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72" r:id="rId4"/>
    <p:sldMasterId id="2147484095" r:id="rId5"/>
    <p:sldMasterId id="2147484101" r:id="rId6"/>
    <p:sldMasterId id="2147484104" r:id="rId7"/>
    <p:sldMasterId id="2147484110" r:id="rId8"/>
    <p:sldMasterId id="2147484112" r:id="rId9"/>
    <p:sldMasterId id="2147484115" r:id="rId10"/>
    <p:sldMasterId id="2147484120" r:id="rId11"/>
    <p:sldMasterId id="2147484129" r:id="rId12"/>
  </p:sldMasterIdLst>
  <p:notesMasterIdLst>
    <p:notesMasterId r:id="rId19"/>
  </p:notesMasterIdLst>
  <p:handoutMasterIdLst>
    <p:handoutMasterId r:id="rId20"/>
  </p:handoutMasterIdLst>
  <p:sldIdLst>
    <p:sldId id="690" r:id="rId13"/>
    <p:sldId id="699" r:id="rId14"/>
    <p:sldId id="698" r:id="rId15"/>
    <p:sldId id="695" r:id="rId16"/>
    <p:sldId id="696" r:id="rId17"/>
    <p:sldId id="697" r:id="rId18"/>
  </p:sldIdLst>
  <p:sldSz cx="9906000" cy="7429500"/>
  <p:notesSz cx="7099300" cy="10234613"/>
  <p:defaultTex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charset="-128"/>
        <a:ea typeface="ＭＳ Ｐゴシック" charset="-128"/>
        <a:cs typeface="+mn-cs"/>
      </a:defRPr>
    </a:lvl1pPr>
    <a:lvl2pPr marL="456368" algn="ctr" rtl="0" fontAlgn="base">
      <a:lnSpc>
        <a:spcPct val="110000"/>
      </a:lnSpc>
      <a:spcBef>
        <a:spcPct val="30000"/>
      </a:spcBef>
      <a:spcAft>
        <a:spcPct val="0"/>
      </a:spcAft>
      <a:defRPr kumimoji="1" sz="1200" kern="1200">
        <a:solidFill>
          <a:schemeClr val="tx1"/>
        </a:solidFill>
        <a:latin typeface="ＭＳ Ｐゴシック" charset="-128"/>
        <a:ea typeface="ＭＳ Ｐゴシック" charset="-128"/>
        <a:cs typeface="+mn-cs"/>
      </a:defRPr>
    </a:lvl2pPr>
    <a:lvl3pPr marL="912732" algn="ctr" rtl="0" fontAlgn="base">
      <a:lnSpc>
        <a:spcPct val="110000"/>
      </a:lnSpc>
      <a:spcBef>
        <a:spcPct val="30000"/>
      </a:spcBef>
      <a:spcAft>
        <a:spcPct val="0"/>
      </a:spcAft>
      <a:defRPr kumimoji="1" sz="1200" kern="1200">
        <a:solidFill>
          <a:schemeClr val="tx1"/>
        </a:solidFill>
        <a:latin typeface="ＭＳ Ｐゴシック" charset="-128"/>
        <a:ea typeface="ＭＳ Ｐゴシック" charset="-128"/>
        <a:cs typeface="+mn-cs"/>
      </a:defRPr>
    </a:lvl3pPr>
    <a:lvl4pPr marL="1369104" algn="ctr" rtl="0" fontAlgn="base">
      <a:lnSpc>
        <a:spcPct val="110000"/>
      </a:lnSpc>
      <a:spcBef>
        <a:spcPct val="30000"/>
      </a:spcBef>
      <a:spcAft>
        <a:spcPct val="0"/>
      </a:spcAft>
      <a:defRPr kumimoji="1" sz="1200" kern="1200">
        <a:solidFill>
          <a:schemeClr val="tx1"/>
        </a:solidFill>
        <a:latin typeface="ＭＳ Ｐゴシック" charset="-128"/>
        <a:ea typeface="ＭＳ Ｐゴシック" charset="-128"/>
        <a:cs typeface="+mn-cs"/>
      </a:defRPr>
    </a:lvl4pPr>
    <a:lvl5pPr marL="1825470" algn="ctr" rtl="0" fontAlgn="base">
      <a:lnSpc>
        <a:spcPct val="110000"/>
      </a:lnSpc>
      <a:spcBef>
        <a:spcPct val="30000"/>
      </a:spcBef>
      <a:spcAft>
        <a:spcPct val="0"/>
      </a:spcAft>
      <a:defRPr kumimoji="1" sz="1200" kern="1200">
        <a:solidFill>
          <a:schemeClr val="tx1"/>
        </a:solidFill>
        <a:latin typeface="ＭＳ Ｐゴシック" charset="-128"/>
        <a:ea typeface="ＭＳ Ｐゴシック" charset="-128"/>
        <a:cs typeface="+mn-cs"/>
      </a:defRPr>
    </a:lvl5pPr>
    <a:lvl6pPr marL="2281834" algn="l" defTabSz="912732" rtl="0" eaLnBrk="1" latinLnBrk="0" hangingPunct="1">
      <a:defRPr kumimoji="1" sz="1200" kern="1200">
        <a:solidFill>
          <a:schemeClr val="tx1"/>
        </a:solidFill>
        <a:latin typeface="ＭＳ Ｐゴシック" charset="-128"/>
        <a:ea typeface="ＭＳ Ｐゴシック" charset="-128"/>
        <a:cs typeface="+mn-cs"/>
      </a:defRPr>
    </a:lvl6pPr>
    <a:lvl7pPr marL="2738199" algn="l" defTabSz="912732" rtl="0" eaLnBrk="1" latinLnBrk="0" hangingPunct="1">
      <a:defRPr kumimoji="1" sz="1200" kern="1200">
        <a:solidFill>
          <a:schemeClr val="tx1"/>
        </a:solidFill>
        <a:latin typeface="ＭＳ Ｐゴシック" charset="-128"/>
        <a:ea typeface="ＭＳ Ｐゴシック" charset="-128"/>
        <a:cs typeface="+mn-cs"/>
      </a:defRPr>
    </a:lvl7pPr>
    <a:lvl8pPr marL="3194563" algn="l" defTabSz="912732" rtl="0" eaLnBrk="1" latinLnBrk="0" hangingPunct="1">
      <a:defRPr kumimoji="1" sz="1200" kern="1200">
        <a:solidFill>
          <a:schemeClr val="tx1"/>
        </a:solidFill>
        <a:latin typeface="ＭＳ Ｐゴシック" charset="-128"/>
        <a:ea typeface="ＭＳ Ｐゴシック" charset="-128"/>
        <a:cs typeface="+mn-cs"/>
      </a:defRPr>
    </a:lvl8pPr>
    <a:lvl9pPr marL="3650928" algn="l" defTabSz="912732" rtl="0" eaLnBrk="1" latinLnBrk="0" hangingPunct="1">
      <a:defRPr kumimoji="1" sz="1200" kern="1200">
        <a:solidFill>
          <a:schemeClr val="tx1"/>
        </a:solidFill>
        <a:latin typeface="ＭＳ Ｐゴシック" charset="-128"/>
        <a:ea typeface="ＭＳ Ｐゴシック" charset="-128"/>
        <a:cs typeface="+mn-cs"/>
      </a:defRPr>
    </a:lvl9pPr>
  </p:defaultTextStyle>
  <p:extLst>
    <p:ext uri="{521415D9-36F7-43E2-AB2F-B90AF26B5E84}">
      <p14:sectionLst xmlns:p14="http://schemas.microsoft.com/office/powerpoint/2010/main">
        <p14:section name="性能モデルと性能結果" id="{0921C1B3-6B68-4F73-AE43-65C1703EAC09}">
          <p14:sldIdLst>
            <p14:sldId id="690"/>
            <p14:sldId id="699"/>
          </p14:sldIdLst>
        </p14:section>
        <p14:section name="モデル①の性能結果" id="{D3ECBBDD-C474-4D62-A337-8B1A732B00FE}">
          <p14:sldIdLst>
            <p14:sldId id="698"/>
            <p14:sldId id="695"/>
            <p14:sldId id="696"/>
            <p14:sldId id="697"/>
          </p14:sldIdLst>
        </p14:section>
      </p14:sectionLst>
    </p:ext>
    <p:ext uri="{EFAFB233-063F-42B5-8137-9DF3F51BA10A}">
      <p15:sldGuideLst xmlns:p15="http://schemas.microsoft.com/office/powerpoint/2012/main">
        <p15:guide id="1" orient="horz" pos="2930" userDrawn="1">
          <p15:clr>
            <a:srgbClr val="A4A3A4"/>
          </p15:clr>
        </p15:guide>
        <p15:guide id="2" orient="horz" pos="4336" userDrawn="1">
          <p15:clr>
            <a:srgbClr val="A4A3A4"/>
          </p15:clr>
        </p15:guide>
        <p15:guide id="3" orient="horz" pos="1025" userDrawn="1">
          <p15:clr>
            <a:srgbClr val="A4A3A4"/>
          </p15:clr>
        </p15:guide>
        <p15:guide id="4" pos="308">
          <p15:clr>
            <a:srgbClr val="A4A3A4"/>
          </p15:clr>
        </p15:guide>
        <p15:guide id="5" pos="3347" userDrawn="1">
          <p15:clr>
            <a:srgbClr val="A4A3A4"/>
          </p15:clr>
        </p15:guide>
        <p15:guide id="6" pos="3120">
          <p15:clr>
            <a:srgbClr val="A4A3A4"/>
          </p15:clr>
        </p15:guide>
        <p15:guide id="7" orient="horz" pos="3474"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FFFFFF"/>
    <a:srgbClr val="5F5F5F"/>
    <a:srgbClr val="C0504D"/>
    <a:srgbClr val="0000FF"/>
    <a:srgbClr val="D9D9D9"/>
    <a:srgbClr val="BFBFBF"/>
    <a:srgbClr val="EBF1DE"/>
    <a:srgbClr val="AAC2E0"/>
    <a:srgbClr val="99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33" autoAdjust="0"/>
    <p:restoredTop sz="96259" autoAdjust="0"/>
  </p:normalViewPr>
  <p:slideViewPr>
    <p:cSldViewPr>
      <p:cViewPr varScale="1">
        <p:scale>
          <a:sx n="116" d="100"/>
          <a:sy n="116" d="100"/>
        </p:scale>
        <p:origin x="90" y="258"/>
      </p:cViewPr>
      <p:guideLst>
        <p:guide orient="horz" pos="2930"/>
        <p:guide orient="horz" pos="4336"/>
        <p:guide orient="horz" pos="1025"/>
        <p:guide pos="308"/>
        <p:guide pos="3347"/>
        <p:guide pos="3120"/>
        <p:guide orient="horz" pos="34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95" d="100"/>
          <a:sy n="95" d="100"/>
        </p:scale>
        <p:origin x="-2550" y="-96"/>
      </p:cViewPr>
      <p:guideLst>
        <p:guide orient="horz" pos="3224"/>
        <p:guide pos="2237"/>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10.220.255.15\devaas_share\17_SA\02_&#26908;&#35342;\108_&#24615;&#33021;&#26908;&#35388;\01_&#12499;&#12472;&#12503;&#12521;&#31227;&#34892;&#12391;&#12398;&#24615;&#33021;&#26908;&#35388;\&#24615;&#33021;&#12469;&#12531;&#12503;&#12523;_2.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10.220.255.15\devaas_share\17_SA\02_&#26908;&#35342;\108_&#24615;&#33021;&#26908;&#35388;\01_&#12499;&#12472;&#12503;&#12521;&#31227;&#34892;&#12391;&#12398;&#24615;&#33021;&#26908;&#35388;\&#24615;&#33021;&#12469;&#12531;&#12503;&#12523;_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10.220.255.15\devaas_share\17_SA\02_&#26908;&#35342;\108_&#24615;&#33021;&#26908;&#35388;\01_&#12499;&#12472;&#12503;&#12521;&#31227;&#34892;&#12391;&#12398;&#24615;&#33021;&#26908;&#35388;\&#24615;&#33021;&#12469;&#12531;&#12503;&#12523;_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10.220.255.15\devaas_share\17_SA\02_&#26908;&#35342;\108_&#24615;&#33021;&#26908;&#35388;\01_&#12499;&#12472;&#12503;&#12521;&#31227;&#34892;&#12391;&#12398;&#24615;&#33021;&#26908;&#35388;\&#24615;&#33021;&#12469;&#12531;&#12503;&#12523;_2.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dirty="0"/>
              <a:t>トークン取得</a:t>
            </a:r>
          </a:p>
        </c:rich>
      </c:tx>
      <c:layout>
        <c:manualLayout>
          <c:xMode val="edge"/>
          <c:yMode val="edge"/>
          <c:x val="0.45171907297725855"/>
          <c:y val="1.985368201123530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clustered"/>
        <c:varyColors val="0"/>
        <c:ser>
          <c:idx val="0"/>
          <c:order val="0"/>
          <c:spPr>
            <a:solidFill>
              <a:schemeClr val="accent1"/>
            </a:solidFill>
            <a:ln>
              <a:noFill/>
            </a:ln>
            <a:effectLst/>
          </c:spPr>
          <c:invertIfNegative val="0"/>
          <c:val>
            <c:numRef>
              <c:f>認証!$J$2:$J$71918</c:f>
              <c:numCache>
                <c:formatCode>General</c:formatCode>
                <c:ptCount val="71917"/>
                <c:pt idx="0">
                  <c:v>2130526</c:v>
                </c:pt>
                <c:pt idx="1">
                  <c:v>2082115</c:v>
                </c:pt>
                <c:pt idx="2">
                  <c:v>1535528</c:v>
                </c:pt>
                <c:pt idx="3">
                  <c:v>1515562</c:v>
                </c:pt>
                <c:pt idx="4">
                  <c:v>1422895</c:v>
                </c:pt>
                <c:pt idx="5">
                  <c:v>1333372</c:v>
                </c:pt>
                <c:pt idx="6">
                  <c:v>1194009</c:v>
                </c:pt>
                <c:pt idx="7">
                  <c:v>1117274</c:v>
                </c:pt>
                <c:pt idx="8">
                  <c:v>1086780</c:v>
                </c:pt>
                <c:pt idx="9">
                  <c:v>1081937</c:v>
                </c:pt>
                <c:pt idx="10">
                  <c:v>1073281</c:v>
                </c:pt>
                <c:pt idx="11">
                  <c:v>1058118</c:v>
                </c:pt>
                <c:pt idx="12">
                  <c:v>1057651</c:v>
                </c:pt>
                <c:pt idx="13">
                  <c:v>1056428</c:v>
                </c:pt>
                <c:pt idx="14">
                  <c:v>1050820</c:v>
                </c:pt>
                <c:pt idx="15">
                  <c:v>1046569</c:v>
                </c:pt>
                <c:pt idx="16">
                  <c:v>1046069</c:v>
                </c:pt>
                <c:pt idx="17">
                  <c:v>1044181</c:v>
                </c:pt>
                <c:pt idx="18">
                  <c:v>1026498</c:v>
                </c:pt>
                <c:pt idx="19">
                  <c:v>982690</c:v>
                </c:pt>
                <c:pt idx="20">
                  <c:v>952675</c:v>
                </c:pt>
                <c:pt idx="21">
                  <c:v>941891</c:v>
                </c:pt>
                <c:pt idx="22">
                  <c:v>735039</c:v>
                </c:pt>
                <c:pt idx="23">
                  <c:v>718407</c:v>
                </c:pt>
                <c:pt idx="24">
                  <c:v>717211</c:v>
                </c:pt>
                <c:pt idx="25">
                  <c:v>679589</c:v>
                </c:pt>
                <c:pt idx="26">
                  <c:v>652451</c:v>
                </c:pt>
                <c:pt idx="27">
                  <c:v>649368</c:v>
                </c:pt>
                <c:pt idx="28">
                  <c:v>648880</c:v>
                </c:pt>
                <c:pt idx="29">
                  <c:v>648484</c:v>
                </c:pt>
                <c:pt idx="30">
                  <c:v>640680</c:v>
                </c:pt>
                <c:pt idx="31">
                  <c:v>616581</c:v>
                </c:pt>
                <c:pt idx="32">
                  <c:v>552441</c:v>
                </c:pt>
                <c:pt idx="33">
                  <c:v>530349</c:v>
                </c:pt>
                <c:pt idx="34">
                  <c:v>521315</c:v>
                </c:pt>
                <c:pt idx="35">
                  <c:v>520780</c:v>
                </c:pt>
                <c:pt idx="36">
                  <c:v>516608</c:v>
                </c:pt>
                <c:pt idx="37">
                  <c:v>460875</c:v>
                </c:pt>
                <c:pt idx="38">
                  <c:v>443239</c:v>
                </c:pt>
                <c:pt idx="39">
                  <c:v>428290</c:v>
                </c:pt>
                <c:pt idx="40">
                  <c:v>426424</c:v>
                </c:pt>
                <c:pt idx="41">
                  <c:v>401968</c:v>
                </c:pt>
                <c:pt idx="42">
                  <c:v>383820</c:v>
                </c:pt>
                <c:pt idx="43">
                  <c:v>381586</c:v>
                </c:pt>
                <c:pt idx="44">
                  <c:v>376683</c:v>
                </c:pt>
                <c:pt idx="45">
                  <c:v>370419</c:v>
                </c:pt>
                <c:pt idx="46">
                  <c:v>360899</c:v>
                </c:pt>
                <c:pt idx="47">
                  <c:v>356633</c:v>
                </c:pt>
                <c:pt idx="48">
                  <c:v>329380</c:v>
                </c:pt>
                <c:pt idx="49">
                  <c:v>325025</c:v>
                </c:pt>
                <c:pt idx="50">
                  <c:v>317574</c:v>
                </c:pt>
                <c:pt idx="51">
                  <c:v>313241</c:v>
                </c:pt>
                <c:pt idx="52">
                  <c:v>304931</c:v>
                </c:pt>
                <c:pt idx="53">
                  <c:v>269335</c:v>
                </c:pt>
                <c:pt idx="54">
                  <c:v>266345</c:v>
                </c:pt>
                <c:pt idx="55">
                  <c:v>254783</c:v>
                </c:pt>
                <c:pt idx="56">
                  <c:v>245626</c:v>
                </c:pt>
                <c:pt idx="57">
                  <c:v>237317</c:v>
                </c:pt>
                <c:pt idx="58">
                  <c:v>235419</c:v>
                </c:pt>
                <c:pt idx="59">
                  <c:v>228005</c:v>
                </c:pt>
                <c:pt idx="60">
                  <c:v>223034</c:v>
                </c:pt>
                <c:pt idx="61">
                  <c:v>222975</c:v>
                </c:pt>
                <c:pt idx="62">
                  <c:v>222810</c:v>
                </c:pt>
                <c:pt idx="63">
                  <c:v>222181</c:v>
                </c:pt>
                <c:pt idx="64">
                  <c:v>216950</c:v>
                </c:pt>
                <c:pt idx="65">
                  <c:v>215395</c:v>
                </c:pt>
                <c:pt idx="66">
                  <c:v>214643</c:v>
                </c:pt>
                <c:pt idx="67">
                  <c:v>214613</c:v>
                </c:pt>
                <c:pt idx="68">
                  <c:v>213711</c:v>
                </c:pt>
                <c:pt idx="69">
                  <c:v>212939</c:v>
                </c:pt>
                <c:pt idx="70">
                  <c:v>209226</c:v>
                </c:pt>
                <c:pt idx="71">
                  <c:v>207122</c:v>
                </c:pt>
                <c:pt idx="72">
                  <c:v>205226</c:v>
                </c:pt>
                <c:pt idx="73">
                  <c:v>204712</c:v>
                </c:pt>
                <c:pt idx="74">
                  <c:v>204085</c:v>
                </c:pt>
                <c:pt idx="75">
                  <c:v>202965</c:v>
                </c:pt>
                <c:pt idx="76">
                  <c:v>200891</c:v>
                </c:pt>
                <c:pt idx="77">
                  <c:v>198634</c:v>
                </c:pt>
                <c:pt idx="78">
                  <c:v>198137</c:v>
                </c:pt>
                <c:pt idx="79">
                  <c:v>197907</c:v>
                </c:pt>
                <c:pt idx="80">
                  <c:v>196782</c:v>
                </c:pt>
                <c:pt idx="81">
                  <c:v>196570</c:v>
                </c:pt>
                <c:pt idx="82">
                  <c:v>196003</c:v>
                </c:pt>
                <c:pt idx="83">
                  <c:v>195808</c:v>
                </c:pt>
                <c:pt idx="84">
                  <c:v>195036</c:v>
                </c:pt>
                <c:pt idx="85">
                  <c:v>194744</c:v>
                </c:pt>
                <c:pt idx="86">
                  <c:v>193382</c:v>
                </c:pt>
                <c:pt idx="87">
                  <c:v>191282</c:v>
                </c:pt>
                <c:pt idx="88">
                  <c:v>190902</c:v>
                </c:pt>
                <c:pt idx="89">
                  <c:v>190201</c:v>
                </c:pt>
                <c:pt idx="90">
                  <c:v>189452</c:v>
                </c:pt>
                <c:pt idx="91">
                  <c:v>188840</c:v>
                </c:pt>
                <c:pt idx="92">
                  <c:v>187706</c:v>
                </c:pt>
                <c:pt idx="93">
                  <c:v>187529</c:v>
                </c:pt>
                <c:pt idx="94">
                  <c:v>187027</c:v>
                </c:pt>
                <c:pt idx="95">
                  <c:v>186634</c:v>
                </c:pt>
                <c:pt idx="96">
                  <c:v>186267</c:v>
                </c:pt>
                <c:pt idx="97">
                  <c:v>186250</c:v>
                </c:pt>
                <c:pt idx="98">
                  <c:v>185162</c:v>
                </c:pt>
                <c:pt idx="99">
                  <c:v>184984</c:v>
                </c:pt>
                <c:pt idx="100">
                  <c:v>184826</c:v>
                </c:pt>
                <c:pt idx="101">
                  <c:v>184142</c:v>
                </c:pt>
                <c:pt idx="102">
                  <c:v>183316</c:v>
                </c:pt>
                <c:pt idx="103">
                  <c:v>182862</c:v>
                </c:pt>
                <c:pt idx="104">
                  <c:v>182741</c:v>
                </c:pt>
                <c:pt idx="105">
                  <c:v>182548</c:v>
                </c:pt>
                <c:pt idx="106">
                  <c:v>181429</c:v>
                </c:pt>
                <c:pt idx="107">
                  <c:v>181404</c:v>
                </c:pt>
                <c:pt idx="108">
                  <c:v>181231</c:v>
                </c:pt>
                <c:pt idx="109">
                  <c:v>180746</c:v>
                </c:pt>
                <c:pt idx="110">
                  <c:v>179868</c:v>
                </c:pt>
                <c:pt idx="111">
                  <c:v>179298</c:v>
                </c:pt>
                <c:pt idx="112">
                  <c:v>179266</c:v>
                </c:pt>
                <c:pt idx="113">
                  <c:v>178437</c:v>
                </c:pt>
                <c:pt idx="114">
                  <c:v>178148</c:v>
                </c:pt>
                <c:pt idx="115">
                  <c:v>177423</c:v>
                </c:pt>
                <c:pt idx="116">
                  <c:v>177412</c:v>
                </c:pt>
                <c:pt idx="117">
                  <c:v>177395</c:v>
                </c:pt>
                <c:pt idx="118">
                  <c:v>176408</c:v>
                </c:pt>
                <c:pt idx="119">
                  <c:v>176217</c:v>
                </c:pt>
                <c:pt idx="120">
                  <c:v>175673</c:v>
                </c:pt>
                <c:pt idx="121">
                  <c:v>170883</c:v>
                </c:pt>
                <c:pt idx="122">
                  <c:v>170501</c:v>
                </c:pt>
                <c:pt idx="123">
                  <c:v>169915</c:v>
                </c:pt>
                <c:pt idx="124">
                  <c:v>169479</c:v>
                </c:pt>
                <c:pt idx="125">
                  <c:v>168889</c:v>
                </c:pt>
                <c:pt idx="126">
                  <c:v>167812</c:v>
                </c:pt>
                <c:pt idx="127">
                  <c:v>167485</c:v>
                </c:pt>
                <c:pt idx="128">
                  <c:v>166376</c:v>
                </c:pt>
                <c:pt idx="129">
                  <c:v>166173</c:v>
                </c:pt>
                <c:pt idx="130">
                  <c:v>165204</c:v>
                </c:pt>
                <c:pt idx="131">
                  <c:v>165191</c:v>
                </c:pt>
                <c:pt idx="132">
                  <c:v>164838</c:v>
                </c:pt>
                <c:pt idx="133">
                  <c:v>164386</c:v>
                </c:pt>
                <c:pt idx="134">
                  <c:v>163683</c:v>
                </c:pt>
                <c:pt idx="135">
                  <c:v>162980</c:v>
                </c:pt>
                <c:pt idx="136">
                  <c:v>162768</c:v>
                </c:pt>
                <c:pt idx="137">
                  <c:v>162075</c:v>
                </c:pt>
                <c:pt idx="138">
                  <c:v>161226</c:v>
                </c:pt>
                <c:pt idx="139">
                  <c:v>160543</c:v>
                </c:pt>
                <c:pt idx="140">
                  <c:v>159663</c:v>
                </c:pt>
                <c:pt idx="141">
                  <c:v>159291</c:v>
                </c:pt>
                <c:pt idx="142">
                  <c:v>159232</c:v>
                </c:pt>
                <c:pt idx="143">
                  <c:v>158082</c:v>
                </c:pt>
                <c:pt idx="144">
                  <c:v>158074</c:v>
                </c:pt>
                <c:pt idx="145">
                  <c:v>156635</c:v>
                </c:pt>
                <c:pt idx="146">
                  <c:v>156150</c:v>
                </c:pt>
                <c:pt idx="147">
                  <c:v>156043</c:v>
                </c:pt>
                <c:pt idx="148">
                  <c:v>155923</c:v>
                </c:pt>
                <c:pt idx="149">
                  <c:v>155602</c:v>
                </c:pt>
                <c:pt idx="150">
                  <c:v>155484</c:v>
                </c:pt>
                <c:pt idx="151">
                  <c:v>155008</c:v>
                </c:pt>
                <c:pt idx="152">
                  <c:v>154505</c:v>
                </c:pt>
                <c:pt idx="153">
                  <c:v>154397</c:v>
                </c:pt>
                <c:pt idx="154">
                  <c:v>154356</c:v>
                </c:pt>
                <c:pt idx="155">
                  <c:v>154209</c:v>
                </c:pt>
                <c:pt idx="156">
                  <c:v>153611</c:v>
                </c:pt>
                <c:pt idx="157">
                  <c:v>153535</c:v>
                </c:pt>
                <c:pt idx="158">
                  <c:v>151286</c:v>
                </c:pt>
                <c:pt idx="159">
                  <c:v>149530</c:v>
                </c:pt>
                <c:pt idx="160">
                  <c:v>149501</c:v>
                </c:pt>
                <c:pt idx="161">
                  <c:v>149246</c:v>
                </c:pt>
                <c:pt idx="162">
                  <c:v>149163</c:v>
                </c:pt>
                <c:pt idx="163">
                  <c:v>148140</c:v>
                </c:pt>
                <c:pt idx="164">
                  <c:v>147953</c:v>
                </c:pt>
                <c:pt idx="165">
                  <c:v>147930</c:v>
                </c:pt>
                <c:pt idx="166">
                  <c:v>147638</c:v>
                </c:pt>
                <c:pt idx="167">
                  <c:v>147489</c:v>
                </c:pt>
                <c:pt idx="168">
                  <c:v>147469</c:v>
                </c:pt>
                <c:pt idx="169">
                  <c:v>147433</c:v>
                </c:pt>
                <c:pt idx="170">
                  <c:v>146946</c:v>
                </c:pt>
                <c:pt idx="171">
                  <c:v>146505</c:v>
                </c:pt>
                <c:pt idx="172">
                  <c:v>146294</c:v>
                </c:pt>
                <c:pt idx="173">
                  <c:v>145520</c:v>
                </c:pt>
                <c:pt idx="174">
                  <c:v>144958</c:v>
                </c:pt>
                <c:pt idx="175">
                  <c:v>144731</c:v>
                </c:pt>
                <c:pt idx="176">
                  <c:v>144187</c:v>
                </c:pt>
                <c:pt idx="177">
                  <c:v>143964</c:v>
                </c:pt>
                <c:pt idx="178">
                  <c:v>143917</c:v>
                </c:pt>
                <c:pt idx="179">
                  <c:v>143887</c:v>
                </c:pt>
                <c:pt idx="180">
                  <c:v>143873</c:v>
                </c:pt>
                <c:pt idx="181">
                  <c:v>143568</c:v>
                </c:pt>
                <c:pt idx="182">
                  <c:v>142383</c:v>
                </c:pt>
                <c:pt idx="183">
                  <c:v>141393</c:v>
                </c:pt>
                <c:pt idx="184">
                  <c:v>141223</c:v>
                </c:pt>
                <c:pt idx="185">
                  <c:v>141106</c:v>
                </c:pt>
                <c:pt idx="186">
                  <c:v>140953</c:v>
                </c:pt>
                <c:pt idx="187">
                  <c:v>140943</c:v>
                </c:pt>
                <c:pt idx="188">
                  <c:v>140827</c:v>
                </c:pt>
                <c:pt idx="189">
                  <c:v>140768</c:v>
                </c:pt>
                <c:pt idx="190">
                  <c:v>139848</c:v>
                </c:pt>
                <c:pt idx="191">
                  <c:v>139592</c:v>
                </c:pt>
                <c:pt idx="192">
                  <c:v>139196</c:v>
                </c:pt>
                <c:pt idx="193">
                  <c:v>139114</c:v>
                </c:pt>
                <c:pt idx="194">
                  <c:v>138737</c:v>
                </c:pt>
                <c:pt idx="195">
                  <c:v>138556</c:v>
                </c:pt>
                <c:pt idx="196">
                  <c:v>138262</c:v>
                </c:pt>
                <c:pt idx="197">
                  <c:v>137896</c:v>
                </c:pt>
                <c:pt idx="198">
                  <c:v>137859</c:v>
                </c:pt>
                <c:pt idx="199">
                  <c:v>137475</c:v>
                </c:pt>
                <c:pt idx="200">
                  <c:v>137299</c:v>
                </c:pt>
                <c:pt idx="201">
                  <c:v>137273</c:v>
                </c:pt>
                <c:pt idx="202">
                  <c:v>137066</c:v>
                </c:pt>
                <c:pt idx="203">
                  <c:v>136658</c:v>
                </c:pt>
                <c:pt idx="204">
                  <c:v>136262</c:v>
                </c:pt>
                <c:pt idx="205">
                  <c:v>136060</c:v>
                </c:pt>
                <c:pt idx="206">
                  <c:v>135796</c:v>
                </c:pt>
                <c:pt idx="207">
                  <c:v>135738</c:v>
                </c:pt>
                <c:pt idx="208">
                  <c:v>135561</c:v>
                </c:pt>
                <c:pt idx="209">
                  <c:v>135363</c:v>
                </c:pt>
                <c:pt idx="210">
                  <c:v>135298</c:v>
                </c:pt>
                <c:pt idx="211">
                  <c:v>135292</c:v>
                </c:pt>
                <c:pt idx="212">
                  <c:v>135156</c:v>
                </c:pt>
                <c:pt idx="213">
                  <c:v>135083</c:v>
                </c:pt>
                <c:pt idx="214">
                  <c:v>134998</c:v>
                </c:pt>
                <c:pt idx="215">
                  <c:v>134482</c:v>
                </c:pt>
                <c:pt idx="216">
                  <c:v>134433</c:v>
                </c:pt>
                <c:pt idx="217">
                  <c:v>134321</c:v>
                </c:pt>
                <c:pt idx="218">
                  <c:v>134214</c:v>
                </c:pt>
                <c:pt idx="219">
                  <c:v>134083</c:v>
                </c:pt>
                <c:pt idx="220">
                  <c:v>133917</c:v>
                </c:pt>
                <c:pt idx="221">
                  <c:v>133179</c:v>
                </c:pt>
                <c:pt idx="222">
                  <c:v>133071</c:v>
                </c:pt>
                <c:pt idx="223">
                  <c:v>132902</c:v>
                </c:pt>
                <c:pt idx="224">
                  <c:v>132575</c:v>
                </c:pt>
                <c:pt idx="225">
                  <c:v>132534</c:v>
                </c:pt>
                <c:pt idx="226">
                  <c:v>132343</c:v>
                </c:pt>
                <c:pt idx="227">
                  <c:v>132114</c:v>
                </c:pt>
                <c:pt idx="228">
                  <c:v>131950</c:v>
                </c:pt>
                <c:pt idx="229">
                  <c:v>131868</c:v>
                </c:pt>
                <c:pt idx="230">
                  <c:v>131828</c:v>
                </c:pt>
                <c:pt idx="231">
                  <c:v>131743</c:v>
                </c:pt>
                <c:pt idx="232">
                  <c:v>131480</c:v>
                </c:pt>
                <c:pt idx="233">
                  <c:v>131304</c:v>
                </c:pt>
                <c:pt idx="234">
                  <c:v>130899</c:v>
                </c:pt>
                <c:pt idx="235">
                  <c:v>130806</c:v>
                </c:pt>
                <c:pt idx="236">
                  <c:v>130242</c:v>
                </c:pt>
                <c:pt idx="237">
                  <c:v>130086</c:v>
                </c:pt>
                <c:pt idx="238">
                  <c:v>129810</c:v>
                </c:pt>
                <c:pt idx="239">
                  <c:v>129802</c:v>
                </c:pt>
                <c:pt idx="240">
                  <c:v>129673</c:v>
                </c:pt>
                <c:pt idx="241">
                  <c:v>129556</c:v>
                </c:pt>
                <c:pt idx="242">
                  <c:v>129314</c:v>
                </c:pt>
                <c:pt idx="243">
                  <c:v>129150</c:v>
                </c:pt>
                <c:pt idx="244">
                  <c:v>129020</c:v>
                </c:pt>
                <c:pt idx="245">
                  <c:v>128987</c:v>
                </c:pt>
                <c:pt idx="246">
                  <c:v>128925</c:v>
                </c:pt>
                <c:pt idx="247">
                  <c:v>128763</c:v>
                </c:pt>
                <c:pt idx="248">
                  <c:v>128661</c:v>
                </c:pt>
                <c:pt idx="249">
                  <c:v>128343</c:v>
                </c:pt>
                <c:pt idx="250">
                  <c:v>127916</c:v>
                </c:pt>
                <c:pt idx="251">
                  <c:v>127879</c:v>
                </c:pt>
                <c:pt idx="252">
                  <c:v>127804</c:v>
                </c:pt>
                <c:pt idx="253">
                  <c:v>127708</c:v>
                </c:pt>
                <c:pt idx="254">
                  <c:v>127669</c:v>
                </c:pt>
                <c:pt idx="255">
                  <c:v>127606</c:v>
                </c:pt>
                <c:pt idx="256">
                  <c:v>127260</c:v>
                </c:pt>
                <c:pt idx="257">
                  <c:v>127216</c:v>
                </c:pt>
                <c:pt idx="258">
                  <c:v>126880</c:v>
                </c:pt>
                <c:pt idx="259">
                  <c:v>126560</c:v>
                </c:pt>
                <c:pt idx="260">
                  <c:v>126419</c:v>
                </c:pt>
                <c:pt idx="261">
                  <c:v>126374</c:v>
                </c:pt>
                <c:pt idx="262">
                  <c:v>125544</c:v>
                </c:pt>
                <c:pt idx="263">
                  <c:v>125327</c:v>
                </c:pt>
                <c:pt idx="264">
                  <c:v>125271</c:v>
                </c:pt>
                <c:pt idx="265">
                  <c:v>125222</c:v>
                </c:pt>
                <c:pt idx="266">
                  <c:v>125131</c:v>
                </c:pt>
                <c:pt idx="267">
                  <c:v>125059</c:v>
                </c:pt>
                <c:pt idx="268">
                  <c:v>124989</c:v>
                </c:pt>
                <c:pt idx="269">
                  <c:v>124844</c:v>
                </c:pt>
                <c:pt idx="270">
                  <c:v>124467</c:v>
                </c:pt>
                <c:pt idx="271">
                  <c:v>124089</c:v>
                </c:pt>
                <c:pt idx="272">
                  <c:v>123954</c:v>
                </c:pt>
                <c:pt idx="273">
                  <c:v>123609</c:v>
                </c:pt>
                <c:pt idx="274">
                  <c:v>123602</c:v>
                </c:pt>
                <c:pt idx="275">
                  <c:v>123446</c:v>
                </c:pt>
                <c:pt idx="276">
                  <c:v>123129</c:v>
                </c:pt>
                <c:pt idx="277">
                  <c:v>123120</c:v>
                </c:pt>
                <c:pt idx="278">
                  <c:v>122976</c:v>
                </c:pt>
                <c:pt idx="279">
                  <c:v>122924</c:v>
                </c:pt>
                <c:pt idx="280">
                  <c:v>122788</c:v>
                </c:pt>
                <c:pt idx="281">
                  <c:v>122711</c:v>
                </c:pt>
                <c:pt idx="282">
                  <c:v>122450</c:v>
                </c:pt>
                <c:pt idx="283">
                  <c:v>122328</c:v>
                </c:pt>
                <c:pt idx="284">
                  <c:v>122023</c:v>
                </c:pt>
                <c:pt idx="285">
                  <c:v>121576</c:v>
                </c:pt>
                <c:pt idx="286">
                  <c:v>121076</c:v>
                </c:pt>
                <c:pt idx="287">
                  <c:v>120894</c:v>
                </c:pt>
                <c:pt idx="288">
                  <c:v>120833</c:v>
                </c:pt>
                <c:pt idx="289">
                  <c:v>120803</c:v>
                </c:pt>
                <c:pt idx="290">
                  <c:v>119478</c:v>
                </c:pt>
                <c:pt idx="291">
                  <c:v>119420</c:v>
                </c:pt>
                <c:pt idx="292">
                  <c:v>119326</c:v>
                </c:pt>
                <c:pt idx="293">
                  <c:v>119239</c:v>
                </c:pt>
                <c:pt idx="294">
                  <c:v>119086</c:v>
                </c:pt>
                <c:pt idx="295">
                  <c:v>118799</c:v>
                </c:pt>
                <c:pt idx="296">
                  <c:v>118423</c:v>
                </c:pt>
                <c:pt idx="297">
                  <c:v>118387</c:v>
                </c:pt>
                <c:pt idx="298">
                  <c:v>118291</c:v>
                </c:pt>
                <c:pt idx="299">
                  <c:v>118044</c:v>
                </c:pt>
                <c:pt idx="300">
                  <c:v>117915</c:v>
                </c:pt>
                <c:pt idx="301">
                  <c:v>117814</c:v>
                </c:pt>
                <c:pt idx="302">
                  <c:v>117445</c:v>
                </c:pt>
                <c:pt idx="303">
                  <c:v>117288</c:v>
                </c:pt>
                <c:pt idx="304">
                  <c:v>117127</c:v>
                </c:pt>
                <c:pt idx="305">
                  <c:v>117043</c:v>
                </c:pt>
                <c:pt idx="306">
                  <c:v>116882</c:v>
                </c:pt>
                <c:pt idx="307">
                  <c:v>116539</c:v>
                </c:pt>
                <c:pt idx="308">
                  <c:v>116362</c:v>
                </c:pt>
                <c:pt idx="309">
                  <c:v>116341</c:v>
                </c:pt>
                <c:pt idx="310">
                  <c:v>116216</c:v>
                </c:pt>
                <c:pt idx="311">
                  <c:v>116157</c:v>
                </c:pt>
                <c:pt idx="312">
                  <c:v>116026</c:v>
                </c:pt>
                <c:pt idx="313">
                  <c:v>115872</c:v>
                </c:pt>
                <c:pt idx="314">
                  <c:v>115821</c:v>
                </c:pt>
                <c:pt idx="315">
                  <c:v>115819</c:v>
                </c:pt>
                <c:pt idx="316">
                  <c:v>115685</c:v>
                </c:pt>
                <c:pt idx="317">
                  <c:v>115547</c:v>
                </c:pt>
                <c:pt idx="318">
                  <c:v>115386</c:v>
                </c:pt>
                <c:pt idx="319">
                  <c:v>115274</c:v>
                </c:pt>
                <c:pt idx="320">
                  <c:v>115084</c:v>
                </c:pt>
                <c:pt idx="321">
                  <c:v>115016</c:v>
                </c:pt>
                <c:pt idx="322">
                  <c:v>114777</c:v>
                </c:pt>
                <c:pt idx="323">
                  <c:v>114492</c:v>
                </c:pt>
                <c:pt idx="324">
                  <c:v>113750</c:v>
                </c:pt>
                <c:pt idx="325">
                  <c:v>113167</c:v>
                </c:pt>
                <c:pt idx="326">
                  <c:v>113116</c:v>
                </c:pt>
                <c:pt idx="327">
                  <c:v>113013</c:v>
                </c:pt>
                <c:pt idx="328">
                  <c:v>112985</c:v>
                </c:pt>
                <c:pt idx="329">
                  <c:v>112957</c:v>
                </c:pt>
                <c:pt idx="330">
                  <c:v>112908</c:v>
                </c:pt>
                <c:pt idx="331">
                  <c:v>112734</c:v>
                </c:pt>
                <c:pt idx="332">
                  <c:v>112621</c:v>
                </c:pt>
                <c:pt idx="333">
                  <c:v>112506</c:v>
                </c:pt>
                <c:pt idx="334">
                  <c:v>112505</c:v>
                </c:pt>
                <c:pt idx="335">
                  <c:v>112306</c:v>
                </c:pt>
                <c:pt idx="336">
                  <c:v>112155</c:v>
                </c:pt>
                <c:pt idx="337">
                  <c:v>112030</c:v>
                </c:pt>
                <c:pt idx="338">
                  <c:v>111999</c:v>
                </c:pt>
                <c:pt idx="339">
                  <c:v>111962</c:v>
                </c:pt>
                <c:pt idx="340">
                  <c:v>111909</c:v>
                </c:pt>
                <c:pt idx="341">
                  <c:v>111867</c:v>
                </c:pt>
                <c:pt idx="342">
                  <c:v>111775</c:v>
                </c:pt>
                <c:pt idx="343">
                  <c:v>111741</c:v>
                </c:pt>
                <c:pt idx="344">
                  <c:v>111607</c:v>
                </c:pt>
                <c:pt idx="345">
                  <c:v>111539</c:v>
                </c:pt>
                <c:pt idx="346">
                  <c:v>111396</c:v>
                </c:pt>
                <c:pt idx="347">
                  <c:v>111335</c:v>
                </c:pt>
                <c:pt idx="348">
                  <c:v>111253</c:v>
                </c:pt>
                <c:pt idx="349">
                  <c:v>111251</c:v>
                </c:pt>
                <c:pt idx="350">
                  <c:v>111209</c:v>
                </c:pt>
                <c:pt idx="351">
                  <c:v>111026</c:v>
                </c:pt>
                <c:pt idx="352">
                  <c:v>110950</c:v>
                </c:pt>
                <c:pt idx="353">
                  <c:v>110861</c:v>
                </c:pt>
                <c:pt idx="354">
                  <c:v>110560</c:v>
                </c:pt>
                <c:pt idx="355">
                  <c:v>110549</c:v>
                </c:pt>
                <c:pt idx="356">
                  <c:v>110441</c:v>
                </c:pt>
                <c:pt idx="357">
                  <c:v>110399</c:v>
                </c:pt>
                <c:pt idx="358">
                  <c:v>110158</c:v>
                </c:pt>
                <c:pt idx="359">
                  <c:v>110077</c:v>
                </c:pt>
                <c:pt idx="360">
                  <c:v>110013</c:v>
                </c:pt>
                <c:pt idx="361">
                  <c:v>109960</c:v>
                </c:pt>
                <c:pt idx="362">
                  <c:v>109794</c:v>
                </c:pt>
                <c:pt idx="363">
                  <c:v>109766</c:v>
                </c:pt>
                <c:pt idx="364">
                  <c:v>109298</c:v>
                </c:pt>
                <c:pt idx="365">
                  <c:v>109265</c:v>
                </c:pt>
                <c:pt idx="366">
                  <c:v>108963</c:v>
                </c:pt>
                <c:pt idx="367">
                  <c:v>108765</c:v>
                </c:pt>
                <c:pt idx="368">
                  <c:v>108480</c:v>
                </c:pt>
                <c:pt idx="369">
                  <c:v>108137</c:v>
                </c:pt>
                <c:pt idx="370">
                  <c:v>108084</c:v>
                </c:pt>
                <c:pt idx="371">
                  <c:v>108069</c:v>
                </c:pt>
                <c:pt idx="372">
                  <c:v>108042</c:v>
                </c:pt>
                <c:pt idx="373">
                  <c:v>108041</c:v>
                </c:pt>
                <c:pt idx="374">
                  <c:v>108003</c:v>
                </c:pt>
                <c:pt idx="375">
                  <c:v>107861</c:v>
                </c:pt>
                <c:pt idx="376">
                  <c:v>107776</c:v>
                </c:pt>
                <c:pt idx="377">
                  <c:v>107441</c:v>
                </c:pt>
                <c:pt idx="378">
                  <c:v>107439</c:v>
                </c:pt>
                <c:pt idx="379">
                  <c:v>107304</c:v>
                </c:pt>
                <c:pt idx="380">
                  <c:v>107225</c:v>
                </c:pt>
                <c:pt idx="381">
                  <c:v>107133</c:v>
                </c:pt>
                <c:pt idx="382">
                  <c:v>106948</c:v>
                </c:pt>
                <c:pt idx="383">
                  <c:v>106803</c:v>
                </c:pt>
                <c:pt idx="384">
                  <c:v>106794</c:v>
                </c:pt>
                <c:pt idx="385">
                  <c:v>106720</c:v>
                </c:pt>
                <c:pt idx="386">
                  <c:v>106564</c:v>
                </c:pt>
                <c:pt idx="387">
                  <c:v>106507</c:v>
                </c:pt>
                <c:pt idx="388">
                  <c:v>106488</c:v>
                </c:pt>
                <c:pt idx="389">
                  <c:v>106386</c:v>
                </c:pt>
                <c:pt idx="390">
                  <c:v>106378</c:v>
                </c:pt>
                <c:pt idx="391">
                  <c:v>106372</c:v>
                </c:pt>
                <c:pt idx="392">
                  <c:v>106337</c:v>
                </c:pt>
                <c:pt idx="393">
                  <c:v>106131</c:v>
                </c:pt>
                <c:pt idx="394">
                  <c:v>106072</c:v>
                </c:pt>
                <c:pt idx="395">
                  <c:v>106058</c:v>
                </c:pt>
                <c:pt idx="396">
                  <c:v>106008</c:v>
                </c:pt>
                <c:pt idx="397">
                  <c:v>105825</c:v>
                </c:pt>
                <c:pt idx="398">
                  <c:v>105618</c:v>
                </c:pt>
                <c:pt idx="399">
                  <c:v>105557</c:v>
                </c:pt>
                <c:pt idx="400">
                  <c:v>105371</c:v>
                </c:pt>
                <c:pt idx="401">
                  <c:v>105278</c:v>
                </c:pt>
                <c:pt idx="402">
                  <c:v>104936</c:v>
                </c:pt>
                <c:pt idx="403">
                  <c:v>104749</c:v>
                </c:pt>
                <c:pt idx="404">
                  <c:v>104583</c:v>
                </c:pt>
                <c:pt idx="405">
                  <c:v>104582</c:v>
                </c:pt>
                <c:pt idx="406">
                  <c:v>104472</c:v>
                </c:pt>
                <c:pt idx="407">
                  <c:v>104466</c:v>
                </c:pt>
                <c:pt idx="408">
                  <c:v>104309</c:v>
                </c:pt>
                <c:pt idx="409">
                  <c:v>104263</c:v>
                </c:pt>
                <c:pt idx="410">
                  <c:v>104076</c:v>
                </c:pt>
                <c:pt idx="411">
                  <c:v>104020</c:v>
                </c:pt>
                <c:pt idx="412">
                  <c:v>103916</c:v>
                </c:pt>
                <c:pt idx="413">
                  <c:v>103842</c:v>
                </c:pt>
                <c:pt idx="414">
                  <c:v>103798</c:v>
                </c:pt>
                <c:pt idx="415">
                  <c:v>103583</c:v>
                </c:pt>
                <c:pt idx="416">
                  <c:v>103042</c:v>
                </c:pt>
                <c:pt idx="417">
                  <c:v>102895</c:v>
                </c:pt>
                <c:pt idx="418">
                  <c:v>102677</c:v>
                </c:pt>
                <c:pt idx="419">
                  <c:v>102667</c:v>
                </c:pt>
                <c:pt idx="420">
                  <c:v>102566</c:v>
                </c:pt>
                <c:pt idx="421">
                  <c:v>102514</c:v>
                </c:pt>
                <c:pt idx="422">
                  <c:v>102480</c:v>
                </c:pt>
                <c:pt idx="423">
                  <c:v>102473</c:v>
                </c:pt>
                <c:pt idx="424">
                  <c:v>102230</c:v>
                </c:pt>
                <c:pt idx="425">
                  <c:v>102091</c:v>
                </c:pt>
                <c:pt idx="426">
                  <c:v>102090</c:v>
                </c:pt>
                <c:pt idx="427">
                  <c:v>101868</c:v>
                </c:pt>
                <c:pt idx="428">
                  <c:v>101849</c:v>
                </c:pt>
                <c:pt idx="429">
                  <c:v>101820</c:v>
                </c:pt>
                <c:pt idx="430">
                  <c:v>101759</c:v>
                </c:pt>
                <c:pt idx="431">
                  <c:v>101626</c:v>
                </c:pt>
                <c:pt idx="432">
                  <c:v>101563</c:v>
                </c:pt>
                <c:pt idx="433">
                  <c:v>101189</c:v>
                </c:pt>
                <c:pt idx="434">
                  <c:v>101134</c:v>
                </c:pt>
                <c:pt idx="435">
                  <c:v>101091</c:v>
                </c:pt>
                <c:pt idx="436">
                  <c:v>101051</c:v>
                </c:pt>
                <c:pt idx="437">
                  <c:v>100932</c:v>
                </c:pt>
                <c:pt idx="438">
                  <c:v>100686</c:v>
                </c:pt>
                <c:pt idx="439">
                  <c:v>100516</c:v>
                </c:pt>
                <c:pt idx="440">
                  <c:v>100453</c:v>
                </c:pt>
                <c:pt idx="441">
                  <c:v>100437</c:v>
                </c:pt>
                <c:pt idx="442">
                  <c:v>100408</c:v>
                </c:pt>
                <c:pt idx="443">
                  <c:v>100394</c:v>
                </c:pt>
                <c:pt idx="444">
                  <c:v>100385</c:v>
                </c:pt>
                <c:pt idx="445">
                  <c:v>100374</c:v>
                </c:pt>
                <c:pt idx="446">
                  <c:v>100293</c:v>
                </c:pt>
                <c:pt idx="447">
                  <c:v>100274</c:v>
                </c:pt>
                <c:pt idx="448">
                  <c:v>100092</c:v>
                </c:pt>
                <c:pt idx="449">
                  <c:v>100085</c:v>
                </c:pt>
                <c:pt idx="450">
                  <c:v>100043</c:v>
                </c:pt>
                <c:pt idx="451">
                  <c:v>99963</c:v>
                </c:pt>
                <c:pt idx="452">
                  <c:v>99923</c:v>
                </c:pt>
                <c:pt idx="453">
                  <c:v>99878</c:v>
                </c:pt>
                <c:pt idx="454">
                  <c:v>99561</c:v>
                </c:pt>
                <c:pt idx="455">
                  <c:v>99553</c:v>
                </c:pt>
                <c:pt idx="456">
                  <c:v>99455</c:v>
                </c:pt>
                <c:pt idx="457">
                  <c:v>99415</c:v>
                </c:pt>
                <c:pt idx="458">
                  <c:v>99357</c:v>
                </c:pt>
                <c:pt idx="459">
                  <c:v>99341</c:v>
                </c:pt>
                <c:pt idx="460">
                  <c:v>99307</c:v>
                </c:pt>
                <c:pt idx="461">
                  <c:v>99268</c:v>
                </c:pt>
                <c:pt idx="462">
                  <c:v>99133</c:v>
                </c:pt>
                <c:pt idx="463">
                  <c:v>99114</c:v>
                </c:pt>
                <c:pt idx="464">
                  <c:v>99039</c:v>
                </c:pt>
                <c:pt idx="465">
                  <c:v>99037</c:v>
                </c:pt>
                <c:pt idx="466">
                  <c:v>99014</c:v>
                </c:pt>
                <c:pt idx="467">
                  <c:v>98975</c:v>
                </c:pt>
                <c:pt idx="468">
                  <c:v>98965</c:v>
                </c:pt>
                <c:pt idx="469">
                  <c:v>98819</c:v>
                </c:pt>
                <c:pt idx="470">
                  <c:v>98753</c:v>
                </c:pt>
                <c:pt idx="471">
                  <c:v>98730</c:v>
                </c:pt>
                <c:pt idx="472">
                  <c:v>98564</c:v>
                </c:pt>
                <c:pt idx="473">
                  <c:v>98471</c:v>
                </c:pt>
                <c:pt idx="474">
                  <c:v>98438</c:v>
                </c:pt>
                <c:pt idx="475">
                  <c:v>98276</c:v>
                </c:pt>
                <c:pt idx="476">
                  <c:v>98275</c:v>
                </c:pt>
                <c:pt idx="477">
                  <c:v>98157</c:v>
                </c:pt>
                <c:pt idx="478">
                  <c:v>98075</c:v>
                </c:pt>
                <c:pt idx="479">
                  <c:v>98051</c:v>
                </c:pt>
                <c:pt idx="480">
                  <c:v>97881</c:v>
                </c:pt>
                <c:pt idx="481">
                  <c:v>97798</c:v>
                </c:pt>
                <c:pt idx="482">
                  <c:v>97738</c:v>
                </c:pt>
                <c:pt idx="483">
                  <c:v>97686</c:v>
                </c:pt>
                <c:pt idx="484">
                  <c:v>97674</c:v>
                </c:pt>
                <c:pt idx="485">
                  <c:v>97647</c:v>
                </c:pt>
                <c:pt idx="486">
                  <c:v>97641</c:v>
                </c:pt>
                <c:pt idx="487">
                  <c:v>97577</c:v>
                </c:pt>
                <c:pt idx="488">
                  <c:v>97501</c:v>
                </c:pt>
                <c:pt idx="489">
                  <c:v>97467</c:v>
                </c:pt>
                <c:pt idx="490">
                  <c:v>97378</c:v>
                </c:pt>
                <c:pt idx="491">
                  <c:v>97266</c:v>
                </c:pt>
                <c:pt idx="492">
                  <c:v>97204</c:v>
                </c:pt>
                <c:pt idx="493">
                  <c:v>97190</c:v>
                </c:pt>
                <c:pt idx="494">
                  <c:v>97170</c:v>
                </c:pt>
                <c:pt idx="495">
                  <c:v>97167</c:v>
                </c:pt>
                <c:pt idx="496">
                  <c:v>97100</c:v>
                </c:pt>
                <c:pt idx="497">
                  <c:v>97057</c:v>
                </c:pt>
                <c:pt idx="498">
                  <c:v>97007</c:v>
                </c:pt>
                <c:pt idx="499">
                  <c:v>96994</c:v>
                </c:pt>
                <c:pt idx="500">
                  <c:v>96898</c:v>
                </c:pt>
                <c:pt idx="501">
                  <c:v>96649</c:v>
                </c:pt>
                <c:pt idx="502">
                  <c:v>96548</c:v>
                </c:pt>
                <c:pt idx="503">
                  <c:v>96547</c:v>
                </c:pt>
                <c:pt idx="504">
                  <c:v>96435</c:v>
                </c:pt>
                <c:pt idx="505">
                  <c:v>96400</c:v>
                </c:pt>
                <c:pt idx="506">
                  <c:v>96346</c:v>
                </c:pt>
                <c:pt idx="507">
                  <c:v>96129</c:v>
                </c:pt>
                <c:pt idx="508">
                  <c:v>96021</c:v>
                </c:pt>
                <c:pt idx="509">
                  <c:v>95992</c:v>
                </c:pt>
                <c:pt idx="510">
                  <c:v>95930</c:v>
                </c:pt>
                <c:pt idx="511">
                  <c:v>95856</c:v>
                </c:pt>
                <c:pt idx="512">
                  <c:v>95842</c:v>
                </c:pt>
                <c:pt idx="513">
                  <c:v>95706</c:v>
                </c:pt>
                <c:pt idx="514">
                  <c:v>95594</c:v>
                </c:pt>
                <c:pt idx="515">
                  <c:v>95589</c:v>
                </c:pt>
                <c:pt idx="516">
                  <c:v>95520</c:v>
                </c:pt>
                <c:pt idx="517">
                  <c:v>95518</c:v>
                </c:pt>
                <c:pt idx="518">
                  <c:v>95517</c:v>
                </c:pt>
                <c:pt idx="519">
                  <c:v>95442</c:v>
                </c:pt>
                <c:pt idx="520">
                  <c:v>95384</c:v>
                </c:pt>
                <c:pt idx="521">
                  <c:v>95382</c:v>
                </c:pt>
                <c:pt idx="522">
                  <c:v>95297</c:v>
                </c:pt>
                <c:pt idx="523">
                  <c:v>95261</c:v>
                </c:pt>
                <c:pt idx="524">
                  <c:v>95197</c:v>
                </c:pt>
                <c:pt idx="525">
                  <c:v>95155</c:v>
                </c:pt>
                <c:pt idx="526">
                  <c:v>95124</c:v>
                </c:pt>
                <c:pt idx="527">
                  <c:v>95115</c:v>
                </c:pt>
                <c:pt idx="528">
                  <c:v>95046</c:v>
                </c:pt>
                <c:pt idx="529">
                  <c:v>94913</c:v>
                </c:pt>
                <c:pt idx="530">
                  <c:v>94842</c:v>
                </c:pt>
                <c:pt idx="531">
                  <c:v>94838</c:v>
                </c:pt>
                <c:pt idx="532">
                  <c:v>94624</c:v>
                </c:pt>
                <c:pt idx="533">
                  <c:v>94486</c:v>
                </c:pt>
                <c:pt idx="534">
                  <c:v>94408</c:v>
                </c:pt>
                <c:pt idx="535">
                  <c:v>94388</c:v>
                </c:pt>
                <c:pt idx="536">
                  <c:v>94378</c:v>
                </c:pt>
                <c:pt idx="537">
                  <c:v>94344</c:v>
                </c:pt>
                <c:pt idx="538">
                  <c:v>94333</c:v>
                </c:pt>
                <c:pt idx="539">
                  <c:v>94291</c:v>
                </c:pt>
                <c:pt idx="540">
                  <c:v>94175</c:v>
                </c:pt>
                <c:pt idx="541">
                  <c:v>94169</c:v>
                </c:pt>
                <c:pt idx="542">
                  <c:v>93911</c:v>
                </c:pt>
                <c:pt idx="543">
                  <c:v>93893</c:v>
                </c:pt>
                <c:pt idx="544">
                  <c:v>93833</c:v>
                </c:pt>
                <c:pt idx="545">
                  <c:v>93759</c:v>
                </c:pt>
                <c:pt idx="546">
                  <c:v>93756</c:v>
                </c:pt>
                <c:pt idx="547">
                  <c:v>93700</c:v>
                </c:pt>
                <c:pt idx="548">
                  <c:v>93661</c:v>
                </c:pt>
                <c:pt idx="549">
                  <c:v>93390</c:v>
                </c:pt>
                <c:pt idx="550">
                  <c:v>93340</c:v>
                </c:pt>
                <c:pt idx="551">
                  <c:v>93232</c:v>
                </c:pt>
                <c:pt idx="552">
                  <c:v>93181</c:v>
                </c:pt>
                <c:pt idx="553">
                  <c:v>93163</c:v>
                </c:pt>
                <c:pt idx="554">
                  <c:v>93125</c:v>
                </c:pt>
                <c:pt idx="555">
                  <c:v>93072</c:v>
                </c:pt>
                <c:pt idx="556">
                  <c:v>92993</c:v>
                </c:pt>
                <c:pt idx="557">
                  <c:v>92957</c:v>
                </c:pt>
                <c:pt idx="558">
                  <c:v>92893</c:v>
                </c:pt>
                <c:pt idx="559">
                  <c:v>92887</c:v>
                </c:pt>
                <c:pt idx="560">
                  <c:v>92827</c:v>
                </c:pt>
                <c:pt idx="561">
                  <c:v>92822</c:v>
                </c:pt>
                <c:pt idx="562">
                  <c:v>92812</c:v>
                </c:pt>
                <c:pt idx="563">
                  <c:v>92770</c:v>
                </c:pt>
                <c:pt idx="564">
                  <c:v>92712</c:v>
                </c:pt>
                <c:pt idx="565">
                  <c:v>92603</c:v>
                </c:pt>
                <c:pt idx="566">
                  <c:v>92587</c:v>
                </c:pt>
                <c:pt idx="567">
                  <c:v>92531</c:v>
                </c:pt>
                <c:pt idx="568">
                  <c:v>92394</c:v>
                </c:pt>
                <c:pt idx="569">
                  <c:v>92394</c:v>
                </c:pt>
                <c:pt idx="570">
                  <c:v>92393</c:v>
                </c:pt>
                <c:pt idx="571">
                  <c:v>92387</c:v>
                </c:pt>
                <c:pt idx="572">
                  <c:v>92262</c:v>
                </c:pt>
                <c:pt idx="573">
                  <c:v>92211</c:v>
                </c:pt>
                <c:pt idx="574">
                  <c:v>92177</c:v>
                </c:pt>
                <c:pt idx="575">
                  <c:v>92150</c:v>
                </c:pt>
                <c:pt idx="576">
                  <c:v>92137</c:v>
                </c:pt>
                <c:pt idx="577">
                  <c:v>92110</c:v>
                </c:pt>
                <c:pt idx="578">
                  <c:v>92052</c:v>
                </c:pt>
                <c:pt idx="579">
                  <c:v>92045</c:v>
                </c:pt>
                <c:pt idx="580">
                  <c:v>92032</c:v>
                </c:pt>
                <c:pt idx="581">
                  <c:v>92010</c:v>
                </c:pt>
                <c:pt idx="582">
                  <c:v>91979</c:v>
                </c:pt>
                <c:pt idx="583">
                  <c:v>91974</c:v>
                </c:pt>
                <c:pt idx="584">
                  <c:v>91950</c:v>
                </c:pt>
                <c:pt idx="585">
                  <c:v>91713</c:v>
                </c:pt>
                <c:pt idx="586">
                  <c:v>91663</c:v>
                </c:pt>
                <c:pt idx="587">
                  <c:v>91603</c:v>
                </c:pt>
                <c:pt idx="588">
                  <c:v>91455</c:v>
                </c:pt>
                <c:pt idx="589">
                  <c:v>91389</c:v>
                </c:pt>
                <c:pt idx="590">
                  <c:v>91356</c:v>
                </c:pt>
                <c:pt idx="591">
                  <c:v>91337</c:v>
                </c:pt>
                <c:pt idx="592">
                  <c:v>91263</c:v>
                </c:pt>
                <c:pt idx="593">
                  <c:v>91244</c:v>
                </c:pt>
                <c:pt idx="594">
                  <c:v>91211</c:v>
                </c:pt>
                <c:pt idx="595">
                  <c:v>91152</c:v>
                </c:pt>
                <c:pt idx="596">
                  <c:v>91078</c:v>
                </c:pt>
                <c:pt idx="597">
                  <c:v>91074</c:v>
                </c:pt>
                <c:pt idx="598">
                  <c:v>91042</c:v>
                </c:pt>
                <c:pt idx="599">
                  <c:v>90948</c:v>
                </c:pt>
                <c:pt idx="600">
                  <c:v>90910</c:v>
                </c:pt>
                <c:pt idx="601">
                  <c:v>90836</c:v>
                </c:pt>
                <c:pt idx="602">
                  <c:v>90832</c:v>
                </c:pt>
                <c:pt idx="603">
                  <c:v>90725</c:v>
                </c:pt>
                <c:pt idx="604">
                  <c:v>90576</c:v>
                </c:pt>
                <c:pt idx="605">
                  <c:v>90527</c:v>
                </c:pt>
                <c:pt idx="606">
                  <c:v>90526</c:v>
                </c:pt>
                <c:pt idx="607">
                  <c:v>90514</c:v>
                </c:pt>
                <c:pt idx="608">
                  <c:v>90509</c:v>
                </c:pt>
                <c:pt idx="609">
                  <c:v>90509</c:v>
                </c:pt>
                <c:pt idx="610">
                  <c:v>90481</c:v>
                </c:pt>
                <c:pt idx="611">
                  <c:v>90417</c:v>
                </c:pt>
                <c:pt idx="612">
                  <c:v>90361</c:v>
                </c:pt>
                <c:pt idx="613">
                  <c:v>90300</c:v>
                </c:pt>
                <c:pt idx="614">
                  <c:v>90223</c:v>
                </c:pt>
                <c:pt idx="615">
                  <c:v>90211</c:v>
                </c:pt>
                <c:pt idx="616">
                  <c:v>90029</c:v>
                </c:pt>
                <c:pt idx="617">
                  <c:v>90012</c:v>
                </c:pt>
                <c:pt idx="618">
                  <c:v>89958</c:v>
                </c:pt>
                <c:pt idx="619">
                  <c:v>89914</c:v>
                </c:pt>
                <c:pt idx="620">
                  <c:v>89881</c:v>
                </c:pt>
                <c:pt idx="621">
                  <c:v>89845</c:v>
                </c:pt>
                <c:pt idx="622">
                  <c:v>89837</c:v>
                </c:pt>
                <c:pt idx="623">
                  <c:v>89816</c:v>
                </c:pt>
                <c:pt idx="624">
                  <c:v>89775</c:v>
                </c:pt>
                <c:pt idx="625">
                  <c:v>89736</c:v>
                </c:pt>
                <c:pt idx="626">
                  <c:v>89681</c:v>
                </c:pt>
                <c:pt idx="627">
                  <c:v>89630</c:v>
                </c:pt>
                <c:pt idx="628">
                  <c:v>89624</c:v>
                </c:pt>
                <c:pt idx="629">
                  <c:v>89538</c:v>
                </c:pt>
                <c:pt idx="630">
                  <c:v>89471</c:v>
                </c:pt>
                <c:pt idx="631">
                  <c:v>89453</c:v>
                </c:pt>
                <c:pt idx="632">
                  <c:v>89366</c:v>
                </c:pt>
                <c:pt idx="633">
                  <c:v>89360</c:v>
                </c:pt>
                <c:pt idx="634">
                  <c:v>89331</c:v>
                </c:pt>
                <c:pt idx="635">
                  <c:v>89294</c:v>
                </c:pt>
                <c:pt idx="636">
                  <c:v>89248</c:v>
                </c:pt>
                <c:pt idx="637">
                  <c:v>89088</c:v>
                </c:pt>
                <c:pt idx="638">
                  <c:v>89086</c:v>
                </c:pt>
                <c:pt idx="639">
                  <c:v>88989</c:v>
                </c:pt>
                <c:pt idx="640">
                  <c:v>88973</c:v>
                </c:pt>
                <c:pt idx="641">
                  <c:v>88957</c:v>
                </c:pt>
                <c:pt idx="642">
                  <c:v>88834</c:v>
                </c:pt>
                <c:pt idx="643">
                  <c:v>88798</c:v>
                </c:pt>
                <c:pt idx="644">
                  <c:v>88769</c:v>
                </c:pt>
                <c:pt idx="645">
                  <c:v>88722</c:v>
                </c:pt>
                <c:pt idx="646">
                  <c:v>88582</c:v>
                </c:pt>
                <c:pt idx="647">
                  <c:v>88579</c:v>
                </c:pt>
                <c:pt idx="648">
                  <c:v>88567</c:v>
                </c:pt>
                <c:pt idx="649">
                  <c:v>88435</c:v>
                </c:pt>
                <c:pt idx="650">
                  <c:v>88353</c:v>
                </c:pt>
                <c:pt idx="651">
                  <c:v>88343</c:v>
                </c:pt>
                <c:pt idx="652">
                  <c:v>88330</c:v>
                </c:pt>
                <c:pt idx="653">
                  <c:v>88279</c:v>
                </c:pt>
                <c:pt idx="654">
                  <c:v>88246</c:v>
                </c:pt>
                <c:pt idx="655">
                  <c:v>88088</c:v>
                </c:pt>
                <c:pt idx="656">
                  <c:v>88085</c:v>
                </c:pt>
                <c:pt idx="657">
                  <c:v>88027</c:v>
                </c:pt>
                <c:pt idx="658">
                  <c:v>87991</c:v>
                </c:pt>
                <c:pt idx="659">
                  <c:v>87987</c:v>
                </c:pt>
                <c:pt idx="660">
                  <c:v>87876</c:v>
                </c:pt>
                <c:pt idx="661">
                  <c:v>87739</c:v>
                </c:pt>
                <c:pt idx="662">
                  <c:v>87577</c:v>
                </c:pt>
                <c:pt idx="663">
                  <c:v>87506</c:v>
                </c:pt>
                <c:pt idx="664">
                  <c:v>87486</c:v>
                </c:pt>
                <c:pt idx="665">
                  <c:v>87360</c:v>
                </c:pt>
                <c:pt idx="666">
                  <c:v>87326</c:v>
                </c:pt>
                <c:pt idx="667">
                  <c:v>87286</c:v>
                </c:pt>
                <c:pt idx="668">
                  <c:v>87214</c:v>
                </c:pt>
                <c:pt idx="669">
                  <c:v>87187</c:v>
                </c:pt>
                <c:pt idx="670">
                  <c:v>87186</c:v>
                </c:pt>
                <c:pt idx="671">
                  <c:v>87147</c:v>
                </c:pt>
                <c:pt idx="672">
                  <c:v>87035</c:v>
                </c:pt>
                <c:pt idx="673">
                  <c:v>87004</c:v>
                </c:pt>
                <c:pt idx="674">
                  <c:v>86905</c:v>
                </c:pt>
                <c:pt idx="675">
                  <c:v>86888</c:v>
                </c:pt>
                <c:pt idx="676">
                  <c:v>86873</c:v>
                </c:pt>
                <c:pt idx="677">
                  <c:v>86846</c:v>
                </c:pt>
                <c:pt idx="678">
                  <c:v>86834</c:v>
                </c:pt>
                <c:pt idx="679">
                  <c:v>86768</c:v>
                </c:pt>
                <c:pt idx="680">
                  <c:v>86723</c:v>
                </c:pt>
                <c:pt idx="681">
                  <c:v>86681</c:v>
                </c:pt>
                <c:pt idx="682">
                  <c:v>86604</c:v>
                </c:pt>
                <c:pt idx="683">
                  <c:v>86520</c:v>
                </c:pt>
                <c:pt idx="684">
                  <c:v>86467</c:v>
                </c:pt>
                <c:pt idx="685">
                  <c:v>86446</c:v>
                </c:pt>
                <c:pt idx="686">
                  <c:v>86419</c:v>
                </c:pt>
                <c:pt idx="687">
                  <c:v>86401</c:v>
                </c:pt>
                <c:pt idx="688">
                  <c:v>86312</c:v>
                </c:pt>
                <c:pt idx="689">
                  <c:v>86303</c:v>
                </c:pt>
                <c:pt idx="690">
                  <c:v>86254</c:v>
                </c:pt>
                <c:pt idx="691">
                  <c:v>86201</c:v>
                </c:pt>
                <c:pt idx="692">
                  <c:v>86168</c:v>
                </c:pt>
                <c:pt idx="693">
                  <c:v>86147</c:v>
                </c:pt>
                <c:pt idx="694">
                  <c:v>86130</c:v>
                </c:pt>
                <c:pt idx="695">
                  <c:v>86101</c:v>
                </c:pt>
                <c:pt idx="696">
                  <c:v>86042</c:v>
                </c:pt>
                <c:pt idx="697">
                  <c:v>86038</c:v>
                </c:pt>
                <c:pt idx="698">
                  <c:v>85748</c:v>
                </c:pt>
                <c:pt idx="699">
                  <c:v>85687</c:v>
                </c:pt>
                <c:pt idx="700">
                  <c:v>85656</c:v>
                </c:pt>
                <c:pt idx="701">
                  <c:v>85612</c:v>
                </c:pt>
                <c:pt idx="702">
                  <c:v>85612</c:v>
                </c:pt>
                <c:pt idx="703">
                  <c:v>85599</c:v>
                </c:pt>
                <c:pt idx="704">
                  <c:v>85429</c:v>
                </c:pt>
                <c:pt idx="705">
                  <c:v>85388</c:v>
                </c:pt>
                <c:pt idx="706">
                  <c:v>85346</c:v>
                </c:pt>
                <c:pt idx="707">
                  <c:v>85242</c:v>
                </c:pt>
                <c:pt idx="708">
                  <c:v>85229</c:v>
                </c:pt>
                <c:pt idx="709">
                  <c:v>85162</c:v>
                </c:pt>
                <c:pt idx="710">
                  <c:v>85048</c:v>
                </c:pt>
                <c:pt idx="711">
                  <c:v>85044</c:v>
                </c:pt>
                <c:pt idx="712">
                  <c:v>85035</c:v>
                </c:pt>
                <c:pt idx="713">
                  <c:v>84958</c:v>
                </c:pt>
                <c:pt idx="714">
                  <c:v>84956</c:v>
                </c:pt>
                <c:pt idx="715">
                  <c:v>84826</c:v>
                </c:pt>
                <c:pt idx="716">
                  <c:v>84822</c:v>
                </c:pt>
                <c:pt idx="717">
                  <c:v>84812</c:v>
                </c:pt>
                <c:pt idx="718">
                  <c:v>84806</c:v>
                </c:pt>
                <c:pt idx="719">
                  <c:v>84806</c:v>
                </c:pt>
                <c:pt idx="720">
                  <c:v>84737</c:v>
                </c:pt>
                <c:pt idx="721">
                  <c:v>84555</c:v>
                </c:pt>
                <c:pt idx="722">
                  <c:v>84552</c:v>
                </c:pt>
                <c:pt idx="723">
                  <c:v>84514</c:v>
                </c:pt>
                <c:pt idx="724">
                  <c:v>84497</c:v>
                </c:pt>
                <c:pt idx="725">
                  <c:v>84392</c:v>
                </c:pt>
                <c:pt idx="726">
                  <c:v>84354</c:v>
                </c:pt>
                <c:pt idx="727">
                  <c:v>84315</c:v>
                </c:pt>
                <c:pt idx="728">
                  <c:v>84310</c:v>
                </c:pt>
                <c:pt idx="729">
                  <c:v>84268</c:v>
                </c:pt>
                <c:pt idx="730">
                  <c:v>84248</c:v>
                </c:pt>
                <c:pt idx="731">
                  <c:v>84119</c:v>
                </c:pt>
                <c:pt idx="732">
                  <c:v>84113</c:v>
                </c:pt>
                <c:pt idx="733">
                  <c:v>84050</c:v>
                </c:pt>
                <c:pt idx="734">
                  <c:v>84040</c:v>
                </c:pt>
                <c:pt idx="735">
                  <c:v>84040</c:v>
                </c:pt>
                <c:pt idx="736">
                  <c:v>84002</c:v>
                </c:pt>
                <c:pt idx="737">
                  <c:v>84002</c:v>
                </c:pt>
                <c:pt idx="738">
                  <c:v>83997</c:v>
                </c:pt>
                <c:pt idx="739">
                  <c:v>83977</c:v>
                </c:pt>
                <c:pt idx="740">
                  <c:v>83906</c:v>
                </c:pt>
                <c:pt idx="741">
                  <c:v>83889</c:v>
                </c:pt>
                <c:pt idx="742">
                  <c:v>83879</c:v>
                </c:pt>
                <c:pt idx="743">
                  <c:v>83868</c:v>
                </c:pt>
                <c:pt idx="744">
                  <c:v>83860</c:v>
                </c:pt>
                <c:pt idx="745">
                  <c:v>83844</c:v>
                </c:pt>
                <c:pt idx="746">
                  <c:v>83827</c:v>
                </c:pt>
                <c:pt idx="747">
                  <c:v>83733</c:v>
                </c:pt>
                <c:pt idx="748">
                  <c:v>83731</c:v>
                </c:pt>
                <c:pt idx="749">
                  <c:v>83724</c:v>
                </c:pt>
                <c:pt idx="750">
                  <c:v>83588</c:v>
                </c:pt>
                <c:pt idx="751">
                  <c:v>83479</c:v>
                </c:pt>
                <c:pt idx="752">
                  <c:v>83398</c:v>
                </c:pt>
                <c:pt idx="753">
                  <c:v>83339</c:v>
                </c:pt>
                <c:pt idx="754">
                  <c:v>83333</c:v>
                </c:pt>
                <c:pt idx="755">
                  <c:v>83324</c:v>
                </c:pt>
                <c:pt idx="756">
                  <c:v>83270</c:v>
                </c:pt>
                <c:pt idx="757">
                  <c:v>83187</c:v>
                </c:pt>
                <c:pt idx="758">
                  <c:v>83169</c:v>
                </c:pt>
                <c:pt idx="759">
                  <c:v>83149</c:v>
                </c:pt>
                <c:pt idx="760">
                  <c:v>83139</c:v>
                </c:pt>
                <c:pt idx="761">
                  <c:v>83118</c:v>
                </c:pt>
                <c:pt idx="762">
                  <c:v>83086</c:v>
                </c:pt>
                <c:pt idx="763">
                  <c:v>83039</c:v>
                </c:pt>
                <c:pt idx="764">
                  <c:v>83035</c:v>
                </c:pt>
                <c:pt idx="765">
                  <c:v>83033</c:v>
                </c:pt>
                <c:pt idx="766">
                  <c:v>83033</c:v>
                </c:pt>
                <c:pt idx="767">
                  <c:v>82996</c:v>
                </c:pt>
                <c:pt idx="768">
                  <c:v>82953</c:v>
                </c:pt>
                <c:pt idx="769">
                  <c:v>82909</c:v>
                </c:pt>
                <c:pt idx="770">
                  <c:v>82905</c:v>
                </c:pt>
                <c:pt idx="771">
                  <c:v>82717</c:v>
                </c:pt>
                <c:pt idx="772">
                  <c:v>82717</c:v>
                </c:pt>
                <c:pt idx="773">
                  <c:v>82677</c:v>
                </c:pt>
                <c:pt idx="774">
                  <c:v>82627</c:v>
                </c:pt>
                <c:pt idx="775">
                  <c:v>82586</c:v>
                </c:pt>
                <c:pt idx="776">
                  <c:v>82537</c:v>
                </c:pt>
                <c:pt idx="777">
                  <c:v>82464</c:v>
                </c:pt>
                <c:pt idx="778">
                  <c:v>82459</c:v>
                </c:pt>
                <c:pt idx="779">
                  <c:v>82371</c:v>
                </c:pt>
                <c:pt idx="780">
                  <c:v>82360</c:v>
                </c:pt>
                <c:pt idx="781">
                  <c:v>82351</c:v>
                </c:pt>
                <c:pt idx="782">
                  <c:v>82334</c:v>
                </c:pt>
                <c:pt idx="783">
                  <c:v>82317</c:v>
                </c:pt>
                <c:pt idx="784">
                  <c:v>82312</c:v>
                </c:pt>
                <c:pt idx="785">
                  <c:v>82252</c:v>
                </c:pt>
                <c:pt idx="786">
                  <c:v>82231</c:v>
                </c:pt>
                <c:pt idx="787">
                  <c:v>82211</c:v>
                </c:pt>
                <c:pt idx="788">
                  <c:v>82156</c:v>
                </c:pt>
                <c:pt idx="789">
                  <c:v>82099</c:v>
                </c:pt>
                <c:pt idx="790">
                  <c:v>82073</c:v>
                </c:pt>
                <c:pt idx="791">
                  <c:v>82042</c:v>
                </c:pt>
                <c:pt idx="792">
                  <c:v>81991</c:v>
                </c:pt>
                <c:pt idx="793">
                  <c:v>81984</c:v>
                </c:pt>
                <c:pt idx="794">
                  <c:v>81972</c:v>
                </c:pt>
                <c:pt idx="795">
                  <c:v>81947</c:v>
                </c:pt>
                <c:pt idx="796">
                  <c:v>81858</c:v>
                </c:pt>
                <c:pt idx="797">
                  <c:v>81856</c:v>
                </c:pt>
                <c:pt idx="798">
                  <c:v>81850</c:v>
                </c:pt>
                <c:pt idx="799">
                  <c:v>81826</c:v>
                </c:pt>
                <c:pt idx="800">
                  <c:v>81804</c:v>
                </c:pt>
                <c:pt idx="801">
                  <c:v>81703</c:v>
                </c:pt>
                <c:pt idx="802">
                  <c:v>81696</c:v>
                </c:pt>
                <c:pt idx="803">
                  <c:v>81685</c:v>
                </c:pt>
                <c:pt idx="804">
                  <c:v>81678</c:v>
                </c:pt>
                <c:pt idx="805">
                  <c:v>81586</c:v>
                </c:pt>
                <c:pt idx="806">
                  <c:v>81573</c:v>
                </c:pt>
                <c:pt idx="807">
                  <c:v>81569</c:v>
                </c:pt>
                <c:pt idx="808">
                  <c:v>81556</c:v>
                </c:pt>
                <c:pt idx="809">
                  <c:v>81473</c:v>
                </c:pt>
                <c:pt idx="810">
                  <c:v>81452</c:v>
                </c:pt>
                <c:pt idx="811">
                  <c:v>81396</c:v>
                </c:pt>
                <c:pt idx="812">
                  <c:v>81283</c:v>
                </c:pt>
                <c:pt idx="813">
                  <c:v>81276</c:v>
                </c:pt>
                <c:pt idx="814">
                  <c:v>81202</c:v>
                </c:pt>
                <c:pt idx="815">
                  <c:v>81184</c:v>
                </c:pt>
                <c:pt idx="816">
                  <c:v>81166</c:v>
                </c:pt>
                <c:pt idx="817">
                  <c:v>81151</c:v>
                </c:pt>
                <c:pt idx="818">
                  <c:v>81146</c:v>
                </c:pt>
                <c:pt idx="819">
                  <c:v>81125</c:v>
                </c:pt>
                <c:pt idx="820">
                  <c:v>81104</c:v>
                </c:pt>
                <c:pt idx="821">
                  <c:v>80843</c:v>
                </c:pt>
                <c:pt idx="822">
                  <c:v>80832</c:v>
                </c:pt>
                <c:pt idx="823">
                  <c:v>80828</c:v>
                </c:pt>
                <c:pt idx="824">
                  <c:v>80772</c:v>
                </c:pt>
                <c:pt idx="825">
                  <c:v>80764</c:v>
                </c:pt>
                <c:pt idx="826">
                  <c:v>80763</c:v>
                </c:pt>
                <c:pt idx="827">
                  <c:v>80761</c:v>
                </c:pt>
                <c:pt idx="828">
                  <c:v>80758</c:v>
                </c:pt>
                <c:pt idx="829">
                  <c:v>80746</c:v>
                </c:pt>
                <c:pt idx="830">
                  <c:v>80697</c:v>
                </c:pt>
                <c:pt idx="831">
                  <c:v>80675</c:v>
                </c:pt>
                <c:pt idx="832">
                  <c:v>80672</c:v>
                </c:pt>
                <c:pt idx="833">
                  <c:v>80633</c:v>
                </c:pt>
                <c:pt idx="834">
                  <c:v>80607</c:v>
                </c:pt>
                <c:pt idx="835">
                  <c:v>80576</c:v>
                </c:pt>
                <c:pt idx="836">
                  <c:v>80574</c:v>
                </c:pt>
                <c:pt idx="837">
                  <c:v>80478</c:v>
                </c:pt>
                <c:pt idx="838">
                  <c:v>80473</c:v>
                </c:pt>
                <c:pt idx="839">
                  <c:v>80469</c:v>
                </c:pt>
                <c:pt idx="840">
                  <c:v>80428</c:v>
                </c:pt>
                <c:pt idx="841">
                  <c:v>80424</c:v>
                </c:pt>
                <c:pt idx="842">
                  <c:v>80421</c:v>
                </c:pt>
                <c:pt idx="843">
                  <c:v>80359</c:v>
                </c:pt>
                <c:pt idx="844">
                  <c:v>80355</c:v>
                </c:pt>
                <c:pt idx="845">
                  <c:v>80343</c:v>
                </c:pt>
                <c:pt idx="846">
                  <c:v>80341</c:v>
                </c:pt>
                <c:pt idx="847">
                  <c:v>80251</c:v>
                </c:pt>
                <c:pt idx="848">
                  <c:v>80247</c:v>
                </c:pt>
                <c:pt idx="849">
                  <c:v>80211</c:v>
                </c:pt>
                <c:pt idx="850">
                  <c:v>80196</c:v>
                </c:pt>
                <c:pt idx="851">
                  <c:v>80158</c:v>
                </c:pt>
                <c:pt idx="852">
                  <c:v>80139</c:v>
                </c:pt>
                <c:pt idx="853">
                  <c:v>80103</c:v>
                </c:pt>
                <c:pt idx="854">
                  <c:v>80096</c:v>
                </c:pt>
                <c:pt idx="855">
                  <c:v>80095</c:v>
                </c:pt>
                <c:pt idx="856">
                  <c:v>80044</c:v>
                </c:pt>
                <c:pt idx="857">
                  <c:v>80043</c:v>
                </c:pt>
                <c:pt idx="858">
                  <c:v>79994</c:v>
                </c:pt>
                <c:pt idx="859">
                  <c:v>79993</c:v>
                </c:pt>
                <c:pt idx="860">
                  <c:v>79985</c:v>
                </c:pt>
                <c:pt idx="861">
                  <c:v>79956</c:v>
                </c:pt>
                <c:pt idx="862">
                  <c:v>79936</c:v>
                </c:pt>
                <c:pt idx="863">
                  <c:v>79930</c:v>
                </c:pt>
                <c:pt idx="864">
                  <c:v>79917</c:v>
                </c:pt>
                <c:pt idx="865">
                  <c:v>79886</c:v>
                </c:pt>
                <c:pt idx="866">
                  <c:v>79866</c:v>
                </c:pt>
                <c:pt idx="867">
                  <c:v>79837</c:v>
                </c:pt>
                <c:pt idx="868">
                  <c:v>79789</c:v>
                </c:pt>
                <c:pt idx="869">
                  <c:v>79717</c:v>
                </c:pt>
                <c:pt idx="870">
                  <c:v>79709</c:v>
                </c:pt>
                <c:pt idx="871">
                  <c:v>79709</c:v>
                </c:pt>
                <c:pt idx="872">
                  <c:v>79702</c:v>
                </c:pt>
                <c:pt idx="873">
                  <c:v>79688</c:v>
                </c:pt>
                <c:pt idx="874">
                  <c:v>79631</c:v>
                </c:pt>
                <c:pt idx="875">
                  <c:v>79605</c:v>
                </c:pt>
                <c:pt idx="876">
                  <c:v>79593</c:v>
                </c:pt>
                <c:pt idx="877">
                  <c:v>79498</c:v>
                </c:pt>
                <c:pt idx="878">
                  <c:v>79437</c:v>
                </c:pt>
                <c:pt idx="879">
                  <c:v>79433</c:v>
                </c:pt>
                <c:pt idx="880">
                  <c:v>79412</c:v>
                </c:pt>
                <c:pt idx="881">
                  <c:v>79382</c:v>
                </c:pt>
                <c:pt idx="882">
                  <c:v>79372</c:v>
                </c:pt>
                <c:pt idx="883">
                  <c:v>79361</c:v>
                </c:pt>
                <c:pt idx="884">
                  <c:v>79333</c:v>
                </c:pt>
                <c:pt idx="885">
                  <c:v>79316</c:v>
                </c:pt>
                <c:pt idx="886">
                  <c:v>79300</c:v>
                </c:pt>
                <c:pt idx="887">
                  <c:v>79288</c:v>
                </c:pt>
                <c:pt idx="888">
                  <c:v>79219</c:v>
                </c:pt>
                <c:pt idx="889">
                  <c:v>79196</c:v>
                </c:pt>
                <c:pt idx="890">
                  <c:v>79137</c:v>
                </c:pt>
                <c:pt idx="891">
                  <c:v>79117</c:v>
                </c:pt>
                <c:pt idx="892">
                  <c:v>79085</c:v>
                </c:pt>
                <c:pt idx="893">
                  <c:v>79068</c:v>
                </c:pt>
                <c:pt idx="894">
                  <c:v>79062</c:v>
                </c:pt>
                <c:pt idx="895">
                  <c:v>79061</c:v>
                </c:pt>
                <c:pt idx="896">
                  <c:v>79035</c:v>
                </c:pt>
                <c:pt idx="897">
                  <c:v>79018</c:v>
                </c:pt>
                <c:pt idx="898">
                  <c:v>79017</c:v>
                </c:pt>
                <c:pt idx="899">
                  <c:v>78974</c:v>
                </c:pt>
                <c:pt idx="900">
                  <c:v>78901</c:v>
                </c:pt>
                <c:pt idx="901">
                  <c:v>78878</c:v>
                </c:pt>
                <c:pt idx="902">
                  <c:v>78872</c:v>
                </c:pt>
                <c:pt idx="903">
                  <c:v>78858</c:v>
                </c:pt>
                <c:pt idx="904">
                  <c:v>78822</c:v>
                </c:pt>
                <c:pt idx="905">
                  <c:v>78818</c:v>
                </c:pt>
                <c:pt idx="906">
                  <c:v>78803</c:v>
                </c:pt>
                <c:pt idx="907">
                  <c:v>78777</c:v>
                </c:pt>
                <c:pt idx="908">
                  <c:v>78755</c:v>
                </c:pt>
                <c:pt idx="909">
                  <c:v>78732</c:v>
                </c:pt>
                <c:pt idx="910">
                  <c:v>78725</c:v>
                </c:pt>
                <c:pt idx="911">
                  <c:v>78708</c:v>
                </c:pt>
                <c:pt idx="912">
                  <c:v>78679</c:v>
                </c:pt>
                <c:pt idx="913">
                  <c:v>78653</c:v>
                </c:pt>
                <c:pt idx="914">
                  <c:v>78647</c:v>
                </c:pt>
                <c:pt idx="915">
                  <c:v>78644</c:v>
                </c:pt>
                <c:pt idx="916">
                  <c:v>78595</c:v>
                </c:pt>
                <c:pt idx="917">
                  <c:v>78571</c:v>
                </c:pt>
                <c:pt idx="918">
                  <c:v>78553</c:v>
                </c:pt>
                <c:pt idx="919">
                  <c:v>78553</c:v>
                </c:pt>
                <c:pt idx="920">
                  <c:v>78533</c:v>
                </c:pt>
                <c:pt idx="921">
                  <c:v>78503</c:v>
                </c:pt>
                <c:pt idx="922">
                  <c:v>78487</c:v>
                </c:pt>
                <c:pt idx="923">
                  <c:v>78455</c:v>
                </c:pt>
                <c:pt idx="924">
                  <c:v>78451</c:v>
                </c:pt>
                <c:pt idx="925">
                  <c:v>78445</c:v>
                </c:pt>
                <c:pt idx="926">
                  <c:v>78404</c:v>
                </c:pt>
                <c:pt idx="927">
                  <c:v>78400</c:v>
                </c:pt>
                <c:pt idx="928">
                  <c:v>78398</c:v>
                </c:pt>
                <c:pt idx="929">
                  <c:v>78380</c:v>
                </c:pt>
                <c:pt idx="930">
                  <c:v>78371</c:v>
                </c:pt>
                <c:pt idx="931">
                  <c:v>78352</c:v>
                </c:pt>
                <c:pt idx="932">
                  <c:v>78350</c:v>
                </c:pt>
                <c:pt idx="933">
                  <c:v>78346</c:v>
                </c:pt>
                <c:pt idx="934">
                  <c:v>78332</c:v>
                </c:pt>
                <c:pt idx="935">
                  <c:v>78240</c:v>
                </c:pt>
                <c:pt idx="936">
                  <c:v>78232</c:v>
                </c:pt>
                <c:pt idx="937">
                  <c:v>78219</c:v>
                </c:pt>
                <c:pt idx="938">
                  <c:v>78213</c:v>
                </c:pt>
                <c:pt idx="939">
                  <c:v>78209</c:v>
                </c:pt>
                <c:pt idx="940">
                  <c:v>78189</c:v>
                </c:pt>
                <c:pt idx="941">
                  <c:v>78148</c:v>
                </c:pt>
                <c:pt idx="942">
                  <c:v>78117</c:v>
                </c:pt>
                <c:pt idx="943">
                  <c:v>78108</c:v>
                </c:pt>
                <c:pt idx="944">
                  <c:v>78096</c:v>
                </c:pt>
                <c:pt idx="945">
                  <c:v>78092</c:v>
                </c:pt>
                <c:pt idx="946">
                  <c:v>78088</c:v>
                </c:pt>
                <c:pt idx="947">
                  <c:v>78058</c:v>
                </c:pt>
                <c:pt idx="948">
                  <c:v>78035</c:v>
                </c:pt>
                <c:pt idx="949">
                  <c:v>78020</c:v>
                </c:pt>
                <c:pt idx="950">
                  <c:v>77992</c:v>
                </c:pt>
                <c:pt idx="951">
                  <c:v>77976</c:v>
                </c:pt>
                <c:pt idx="952">
                  <c:v>77967</c:v>
                </c:pt>
                <c:pt idx="953">
                  <c:v>77964</c:v>
                </c:pt>
                <c:pt idx="954">
                  <c:v>77866</c:v>
                </c:pt>
                <c:pt idx="955">
                  <c:v>77863</c:v>
                </c:pt>
                <c:pt idx="956">
                  <c:v>77861</c:v>
                </c:pt>
                <c:pt idx="957">
                  <c:v>77848</c:v>
                </c:pt>
                <c:pt idx="958">
                  <c:v>77844</c:v>
                </c:pt>
                <c:pt idx="959">
                  <c:v>77826</c:v>
                </c:pt>
                <c:pt idx="960">
                  <c:v>77810</c:v>
                </c:pt>
                <c:pt idx="961">
                  <c:v>77806</c:v>
                </c:pt>
                <c:pt idx="962">
                  <c:v>77753</c:v>
                </c:pt>
                <c:pt idx="963">
                  <c:v>77743</c:v>
                </c:pt>
                <c:pt idx="964">
                  <c:v>77741</c:v>
                </c:pt>
                <c:pt idx="965">
                  <c:v>77726</c:v>
                </c:pt>
                <c:pt idx="966">
                  <c:v>77713</c:v>
                </c:pt>
                <c:pt idx="967">
                  <c:v>77709</c:v>
                </c:pt>
                <c:pt idx="968">
                  <c:v>77692</c:v>
                </c:pt>
                <c:pt idx="969">
                  <c:v>77681</c:v>
                </c:pt>
                <c:pt idx="970">
                  <c:v>77671</c:v>
                </c:pt>
                <c:pt idx="971">
                  <c:v>77670</c:v>
                </c:pt>
                <c:pt idx="972">
                  <c:v>77665</c:v>
                </c:pt>
                <c:pt idx="973">
                  <c:v>77641</c:v>
                </c:pt>
                <c:pt idx="974">
                  <c:v>77640</c:v>
                </c:pt>
                <c:pt idx="975">
                  <c:v>77626</c:v>
                </c:pt>
                <c:pt idx="976">
                  <c:v>77549</c:v>
                </c:pt>
                <c:pt idx="977">
                  <c:v>77528</c:v>
                </c:pt>
                <c:pt idx="978">
                  <c:v>77520</c:v>
                </c:pt>
                <c:pt idx="979">
                  <c:v>77495</c:v>
                </c:pt>
                <c:pt idx="980">
                  <c:v>77479</c:v>
                </c:pt>
                <c:pt idx="981">
                  <c:v>77461</c:v>
                </c:pt>
                <c:pt idx="982">
                  <c:v>77453</c:v>
                </c:pt>
                <c:pt idx="983">
                  <c:v>77387</c:v>
                </c:pt>
                <c:pt idx="984">
                  <c:v>77387</c:v>
                </c:pt>
                <c:pt idx="985">
                  <c:v>77372</c:v>
                </c:pt>
                <c:pt idx="986">
                  <c:v>77371</c:v>
                </c:pt>
                <c:pt idx="987">
                  <c:v>77342</c:v>
                </c:pt>
                <c:pt idx="988">
                  <c:v>77338</c:v>
                </c:pt>
                <c:pt idx="989">
                  <c:v>77312</c:v>
                </c:pt>
                <c:pt idx="990">
                  <c:v>77310</c:v>
                </c:pt>
                <c:pt idx="991">
                  <c:v>77294</c:v>
                </c:pt>
                <c:pt idx="992">
                  <c:v>77290</c:v>
                </c:pt>
                <c:pt idx="993">
                  <c:v>77283</c:v>
                </c:pt>
                <c:pt idx="994">
                  <c:v>77262</c:v>
                </c:pt>
                <c:pt idx="995">
                  <c:v>77252</c:v>
                </c:pt>
                <c:pt idx="996">
                  <c:v>77156</c:v>
                </c:pt>
                <c:pt idx="997">
                  <c:v>77132</c:v>
                </c:pt>
                <c:pt idx="998">
                  <c:v>77127</c:v>
                </c:pt>
                <c:pt idx="999">
                  <c:v>77086</c:v>
                </c:pt>
                <c:pt idx="1000">
                  <c:v>77079</c:v>
                </c:pt>
                <c:pt idx="1001">
                  <c:v>77005</c:v>
                </c:pt>
                <c:pt idx="1002">
                  <c:v>76990</c:v>
                </c:pt>
                <c:pt idx="1003">
                  <c:v>76961</c:v>
                </c:pt>
                <c:pt idx="1004">
                  <c:v>76945</c:v>
                </c:pt>
                <c:pt idx="1005">
                  <c:v>76934</c:v>
                </c:pt>
                <c:pt idx="1006">
                  <c:v>76929</c:v>
                </c:pt>
                <c:pt idx="1007">
                  <c:v>76924</c:v>
                </c:pt>
                <c:pt idx="1008">
                  <c:v>76922</c:v>
                </c:pt>
                <c:pt idx="1009">
                  <c:v>76911</c:v>
                </c:pt>
                <c:pt idx="1010">
                  <c:v>76887</c:v>
                </c:pt>
                <c:pt idx="1011">
                  <c:v>76884</c:v>
                </c:pt>
                <c:pt idx="1012">
                  <c:v>76878</c:v>
                </c:pt>
                <c:pt idx="1013">
                  <c:v>76858</c:v>
                </c:pt>
                <c:pt idx="1014">
                  <c:v>76849</c:v>
                </c:pt>
                <c:pt idx="1015">
                  <c:v>76848</c:v>
                </c:pt>
                <c:pt idx="1016">
                  <c:v>76845</c:v>
                </c:pt>
                <c:pt idx="1017">
                  <c:v>76838</c:v>
                </c:pt>
                <c:pt idx="1018">
                  <c:v>76827</c:v>
                </c:pt>
                <c:pt idx="1019">
                  <c:v>76825</c:v>
                </c:pt>
                <c:pt idx="1020">
                  <c:v>76764</c:v>
                </c:pt>
                <c:pt idx="1021">
                  <c:v>76757</c:v>
                </c:pt>
                <c:pt idx="1022">
                  <c:v>76746</c:v>
                </c:pt>
                <c:pt idx="1023">
                  <c:v>76728</c:v>
                </c:pt>
                <c:pt idx="1024">
                  <c:v>76719</c:v>
                </c:pt>
                <c:pt idx="1025">
                  <c:v>76670</c:v>
                </c:pt>
                <c:pt idx="1026">
                  <c:v>76658</c:v>
                </c:pt>
                <c:pt idx="1027">
                  <c:v>76561</c:v>
                </c:pt>
                <c:pt idx="1028">
                  <c:v>76539</c:v>
                </c:pt>
                <c:pt idx="1029">
                  <c:v>76537</c:v>
                </c:pt>
                <c:pt idx="1030">
                  <c:v>76536</c:v>
                </c:pt>
                <c:pt idx="1031">
                  <c:v>76502</c:v>
                </c:pt>
                <c:pt idx="1032">
                  <c:v>76446</c:v>
                </c:pt>
                <c:pt idx="1033">
                  <c:v>76441</c:v>
                </c:pt>
                <c:pt idx="1034">
                  <c:v>76440</c:v>
                </c:pt>
                <c:pt idx="1035">
                  <c:v>76424</c:v>
                </c:pt>
                <c:pt idx="1036">
                  <c:v>76367</c:v>
                </c:pt>
                <c:pt idx="1037">
                  <c:v>76346</c:v>
                </c:pt>
                <c:pt idx="1038">
                  <c:v>76309</c:v>
                </c:pt>
                <c:pt idx="1039">
                  <c:v>76303</c:v>
                </c:pt>
                <c:pt idx="1040">
                  <c:v>76297</c:v>
                </c:pt>
                <c:pt idx="1041">
                  <c:v>76270</c:v>
                </c:pt>
                <c:pt idx="1042">
                  <c:v>76202</c:v>
                </c:pt>
                <c:pt idx="1043">
                  <c:v>76160</c:v>
                </c:pt>
                <c:pt idx="1044">
                  <c:v>76055</c:v>
                </c:pt>
                <c:pt idx="1045">
                  <c:v>76052</c:v>
                </c:pt>
                <c:pt idx="1046">
                  <c:v>76017</c:v>
                </c:pt>
                <c:pt idx="1047">
                  <c:v>76011</c:v>
                </c:pt>
                <c:pt idx="1048">
                  <c:v>75961</c:v>
                </c:pt>
                <c:pt idx="1049">
                  <c:v>75942</c:v>
                </c:pt>
                <c:pt idx="1050">
                  <c:v>75934</c:v>
                </c:pt>
                <c:pt idx="1051">
                  <c:v>75932</c:v>
                </c:pt>
                <c:pt idx="1052">
                  <c:v>75837</c:v>
                </c:pt>
                <c:pt idx="1053">
                  <c:v>75806</c:v>
                </c:pt>
                <c:pt idx="1054">
                  <c:v>75806</c:v>
                </c:pt>
                <c:pt idx="1055">
                  <c:v>75806</c:v>
                </c:pt>
                <c:pt idx="1056">
                  <c:v>75797</c:v>
                </c:pt>
                <c:pt idx="1057">
                  <c:v>75773</c:v>
                </c:pt>
                <c:pt idx="1058">
                  <c:v>75756</c:v>
                </c:pt>
                <c:pt idx="1059">
                  <c:v>75752</c:v>
                </c:pt>
                <c:pt idx="1060">
                  <c:v>75747</c:v>
                </c:pt>
                <c:pt idx="1061">
                  <c:v>75741</c:v>
                </c:pt>
                <c:pt idx="1062">
                  <c:v>75712</c:v>
                </c:pt>
                <c:pt idx="1063">
                  <c:v>75705</c:v>
                </c:pt>
                <c:pt idx="1064">
                  <c:v>75699</c:v>
                </c:pt>
                <c:pt idx="1065">
                  <c:v>75696</c:v>
                </c:pt>
                <c:pt idx="1066">
                  <c:v>75685</c:v>
                </c:pt>
                <c:pt idx="1067">
                  <c:v>75676</c:v>
                </c:pt>
                <c:pt idx="1068">
                  <c:v>75665</c:v>
                </c:pt>
                <c:pt idx="1069">
                  <c:v>75654</c:v>
                </c:pt>
                <c:pt idx="1070">
                  <c:v>75636</c:v>
                </c:pt>
                <c:pt idx="1071">
                  <c:v>75633</c:v>
                </c:pt>
                <c:pt idx="1072">
                  <c:v>75626</c:v>
                </c:pt>
                <c:pt idx="1073">
                  <c:v>75596</c:v>
                </c:pt>
                <c:pt idx="1074">
                  <c:v>75583</c:v>
                </c:pt>
                <c:pt idx="1075">
                  <c:v>75582</c:v>
                </c:pt>
                <c:pt idx="1076">
                  <c:v>75577</c:v>
                </c:pt>
                <c:pt idx="1077">
                  <c:v>75572</c:v>
                </c:pt>
                <c:pt idx="1078">
                  <c:v>75554</c:v>
                </c:pt>
                <c:pt idx="1079">
                  <c:v>75550</c:v>
                </c:pt>
                <c:pt idx="1080">
                  <c:v>75549</c:v>
                </c:pt>
                <c:pt idx="1081">
                  <c:v>75524</c:v>
                </c:pt>
                <c:pt idx="1082">
                  <c:v>75507</c:v>
                </c:pt>
                <c:pt idx="1083">
                  <c:v>75492</c:v>
                </c:pt>
                <c:pt idx="1084">
                  <c:v>75486</c:v>
                </c:pt>
                <c:pt idx="1085">
                  <c:v>75441</c:v>
                </c:pt>
                <c:pt idx="1086">
                  <c:v>75433</c:v>
                </c:pt>
                <c:pt idx="1087">
                  <c:v>75432</c:v>
                </c:pt>
                <c:pt idx="1088">
                  <c:v>75405</c:v>
                </c:pt>
                <c:pt idx="1089">
                  <c:v>75382</c:v>
                </c:pt>
                <c:pt idx="1090">
                  <c:v>75371</c:v>
                </c:pt>
                <c:pt idx="1091">
                  <c:v>75353</c:v>
                </c:pt>
                <c:pt idx="1092">
                  <c:v>75352</c:v>
                </c:pt>
                <c:pt idx="1093">
                  <c:v>75346</c:v>
                </c:pt>
                <c:pt idx="1094">
                  <c:v>75345</c:v>
                </c:pt>
                <c:pt idx="1095">
                  <c:v>75342</c:v>
                </c:pt>
                <c:pt idx="1096">
                  <c:v>75331</c:v>
                </c:pt>
                <c:pt idx="1097">
                  <c:v>75319</c:v>
                </c:pt>
                <c:pt idx="1098">
                  <c:v>75318</c:v>
                </c:pt>
                <c:pt idx="1099">
                  <c:v>75308</c:v>
                </c:pt>
                <c:pt idx="1100">
                  <c:v>75230</c:v>
                </c:pt>
                <c:pt idx="1101">
                  <c:v>75223</c:v>
                </c:pt>
                <c:pt idx="1102">
                  <c:v>75187</c:v>
                </c:pt>
                <c:pt idx="1103">
                  <c:v>75172</c:v>
                </c:pt>
                <c:pt idx="1104">
                  <c:v>75137</c:v>
                </c:pt>
                <c:pt idx="1105">
                  <c:v>75116</c:v>
                </c:pt>
                <c:pt idx="1106">
                  <c:v>75107</c:v>
                </c:pt>
                <c:pt idx="1107">
                  <c:v>75105</c:v>
                </c:pt>
                <c:pt idx="1108">
                  <c:v>75097</c:v>
                </c:pt>
                <c:pt idx="1109">
                  <c:v>75090</c:v>
                </c:pt>
                <c:pt idx="1110">
                  <c:v>75077</c:v>
                </c:pt>
                <c:pt idx="1111">
                  <c:v>75074</c:v>
                </c:pt>
                <c:pt idx="1112">
                  <c:v>75051</c:v>
                </c:pt>
                <c:pt idx="1113">
                  <c:v>75031</c:v>
                </c:pt>
                <c:pt idx="1114">
                  <c:v>75024</c:v>
                </c:pt>
                <c:pt idx="1115">
                  <c:v>75018</c:v>
                </c:pt>
                <c:pt idx="1116">
                  <c:v>75001</c:v>
                </c:pt>
                <c:pt idx="1117">
                  <c:v>74990</c:v>
                </c:pt>
                <c:pt idx="1118">
                  <c:v>74979</c:v>
                </c:pt>
                <c:pt idx="1119">
                  <c:v>74950</c:v>
                </c:pt>
                <c:pt idx="1120">
                  <c:v>74948</c:v>
                </c:pt>
                <c:pt idx="1121">
                  <c:v>74947</c:v>
                </c:pt>
                <c:pt idx="1122">
                  <c:v>74937</c:v>
                </c:pt>
                <c:pt idx="1123">
                  <c:v>74924</c:v>
                </c:pt>
                <c:pt idx="1124">
                  <c:v>74902</c:v>
                </c:pt>
                <c:pt idx="1125">
                  <c:v>74894</c:v>
                </c:pt>
                <c:pt idx="1126">
                  <c:v>74872</c:v>
                </c:pt>
                <c:pt idx="1127">
                  <c:v>74863</c:v>
                </c:pt>
                <c:pt idx="1128">
                  <c:v>74858</c:v>
                </c:pt>
                <c:pt idx="1129">
                  <c:v>74855</c:v>
                </c:pt>
                <c:pt idx="1130">
                  <c:v>74843</c:v>
                </c:pt>
                <c:pt idx="1131">
                  <c:v>74767</c:v>
                </c:pt>
                <c:pt idx="1132">
                  <c:v>74756</c:v>
                </c:pt>
                <c:pt idx="1133">
                  <c:v>74716</c:v>
                </c:pt>
                <c:pt idx="1134">
                  <c:v>74714</c:v>
                </c:pt>
                <c:pt idx="1135">
                  <c:v>74710</c:v>
                </c:pt>
                <c:pt idx="1136">
                  <c:v>74694</c:v>
                </c:pt>
                <c:pt idx="1137">
                  <c:v>74686</c:v>
                </c:pt>
                <c:pt idx="1138">
                  <c:v>74650</c:v>
                </c:pt>
                <c:pt idx="1139">
                  <c:v>74627</c:v>
                </c:pt>
                <c:pt idx="1140">
                  <c:v>74583</c:v>
                </c:pt>
                <c:pt idx="1141">
                  <c:v>74580</c:v>
                </c:pt>
                <c:pt idx="1142">
                  <c:v>74558</c:v>
                </c:pt>
                <c:pt idx="1143">
                  <c:v>74551</c:v>
                </c:pt>
                <c:pt idx="1144">
                  <c:v>74547</c:v>
                </c:pt>
                <c:pt idx="1145">
                  <c:v>74519</c:v>
                </c:pt>
                <c:pt idx="1146">
                  <c:v>74478</c:v>
                </c:pt>
                <c:pt idx="1147">
                  <c:v>74416</c:v>
                </c:pt>
                <c:pt idx="1148">
                  <c:v>74390</c:v>
                </c:pt>
                <c:pt idx="1149">
                  <c:v>74358</c:v>
                </c:pt>
                <c:pt idx="1150">
                  <c:v>74343</c:v>
                </c:pt>
                <c:pt idx="1151">
                  <c:v>74334</c:v>
                </c:pt>
                <c:pt idx="1152">
                  <c:v>74331</c:v>
                </c:pt>
                <c:pt idx="1153">
                  <c:v>74291</c:v>
                </c:pt>
                <c:pt idx="1154">
                  <c:v>74284</c:v>
                </c:pt>
                <c:pt idx="1155">
                  <c:v>74260</c:v>
                </c:pt>
                <c:pt idx="1156">
                  <c:v>74239</c:v>
                </c:pt>
                <c:pt idx="1157">
                  <c:v>74233</c:v>
                </c:pt>
                <c:pt idx="1158">
                  <c:v>74214</c:v>
                </c:pt>
                <c:pt idx="1159">
                  <c:v>74206</c:v>
                </c:pt>
                <c:pt idx="1160">
                  <c:v>74196</c:v>
                </c:pt>
                <c:pt idx="1161">
                  <c:v>74171</c:v>
                </c:pt>
                <c:pt idx="1162">
                  <c:v>74159</c:v>
                </c:pt>
                <c:pt idx="1163">
                  <c:v>74068</c:v>
                </c:pt>
                <c:pt idx="1164">
                  <c:v>74065</c:v>
                </c:pt>
                <c:pt idx="1165">
                  <c:v>74061</c:v>
                </c:pt>
                <c:pt idx="1166">
                  <c:v>74051</c:v>
                </c:pt>
                <c:pt idx="1167">
                  <c:v>74034</c:v>
                </c:pt>
                <c:pt idx="1168">
                  <c:v>74031</c:v>
                </c:pt>
                <c:pt idx="1169">
                  <c:v>74029</c:v>
                </c:pt>
                <c:pt idx="1170">
                  <c:v>74023</c:v>
                </c:pt>
                <c:pt idx="1171">
                  <c:v>74018</c:v>
                </c:pt>
                <c:pt idx="1172">
                  <c:v>74013</c:v>
                </c:pt>
                <c:pt idx="1173">
                  <c:v>73935</c:v>
                </c:pt>
                <c:pt idx="1174">
                  <c:v>73933</c:v>
                </c:pt>
                <c:pt idx="1175">
                  <c:v>73915</c:v>
                </c:pt>
                <c:pt idx="1176">
                  <c:v>73908</c:v>
                </c:pt>
                <c:pt idx="1177">
                  <c:v>73899</c:v>
                </c:pt>
                <c:pt idx="1178">
                  <c:v>73892</c:v>
                </c:pt>
                <c:pt idx="1179">
                  <c:v>73883</c:v>
                </c:pt>
                <c:pt idx="1180">
                  <c:v>73881</c:v>
                </c:pt>
                <c:pt idx="1181">
                  <c:v>73874</c:v>
                </c:pt>
                <c:pt idx="1182">
                  <c:v>73866</c:v>
                </c:pt>
                <c:pt idx="1183">
                  <c:v>73841</c:v>
                </c:pt>
                <c:pt idx="1184">
                  <c:v>73807</c:v>
                </c:pt>
                <c:pt idx="1185">
                  <c:v>73804</c:v>
                </c:pt>
                <c:pt idx="1186">
                  <c:v>73791</c:v>
                </c:pt>
                <c:pt idx="1187">
                  <c:v>73789</c:v>
                </c:pt>
                <c:pt idx="1188">
                  <c:v>73787</c:v>
                </c:pt>
                <c:pt idx="1189">
                  <c:v>73780</c:v>
                </c:pt>
                <c:pt idx="1190">
                  <c:v>73730</c:v>
                </c:pt>
                <c:pt idx="1191">
                  <c:v>73730</c:v>
                </c:pt>
                <c:pt idx="1192">
                  <c:v>73703</c:v>
                </c:pt>
                <c:pt idx="1193">
                  <c:v>73645</c:v>
                </c:pt>
                <c:pt idx="1194">
                  <c:v>73637</c:v>
                </c:pt>
                <c:pt idx="1195">
                  <c:v>73616</c:v>
                </c:pt>
                <c:pt idx="1196">
                  <c:v>73608</c:v>
                </c:pt>
                <c:pt idx="1197">
                  <c:v>73582</c:v>
                </c:pt>
                <c:pt idx="1198">
                  <c:v>73565</c:v>
                </c:pt>
                <c:pt idx="1199">
                  <c:v>73559</c:v>
                </c:pt>
                <c:pt idx="1200">
                  <c:v>73553</c:v>
                </c:pt>
                <c:pt idx="1201">
                  <c:v>73547</c:v>
                </c:pt>
                <c:pt idx="1202">
                  <c:v>73529</c:v>
                </c:pt>
                <c:pt idx="1203">
                  <c:v>73519</c:v>
                </c:pt>
                <c:pt idx="1204">
                  <c:v>73517</c:v>
                </c:pt>
                <c:pt idx="1205">
                  <c:v>73516</c:v>
                </c:pt>
                <c:pt idx="1206">
                  <c:v>73499</c:v>
                </c:pt>
                <c:pt idx="1207">
                  <c:v>73480</c:v>
                </c:pt>
                <c:pt idx="1208">
                  <c:v>73478</c:v>
                </c:pt>
                <c:pt idx="1209">
                  <c:v>73475</c:v>
                </c:pt>
                <c:pt idx="1210">
                  <c:v>73472</c:v>
                </c:pt>
                <c:pt idx="1211">
                  <c:v>73457</c:v>
                </c:pt>
                <c:pt idx="1212">
                  <c:v>73430</c:v>
                </c:pt>
                <c:pt idx="1213">
                  <c:v>73425</c:v>
                </c:pt>
                <c:pt idx="1214">
                  <c:v>73394</c:v>
                </c:pt>
                <c:pt idx="1215">
                  <c:v>73381</c:v>
                </c:pt>
                <c:pt idx="1216">
                  <c:v>73379</c:v>
                </c:pt>
                <c:pt idx="1217">
                  <c:v>73367</c:v>
                </c:pt>
                <c:pt idx="1218">
                  <c:v>73335</c:v>
                </c:pt>
                <c:pt idx="1219">
                  <c:v>73304</c:v>
                </c:pt>
                <c:pt idx="1220">
                  <c:v>73264</c:v>
                </c:pt>
                <c:pt idx="1221">
                  <c:v>73242</c:v>
                </c:pt>
                <c:pt idx="1222">
                  <c:v>73241</c:v>
                </c:pt>
                <c:pt idx="1223">
                  <c:v>73212</c:v>
                </c:pt>
                <c:pt idx="1224">
                  <c:v>73203</c:v>
                </c:pt>
                <c:pt idx="1225">
                  <c:v>73201</c:v>
                </c:pt>
                <c:pt idx="1226">
                  <c:v>73187</c:v>
                </c:pt>
                <c:pt idx="1227">
                  <c:v>73167</c:v>
                </c:pt>
                <c:pt idx="1228">
                  <c:v>73165</c:v>
                </c:pt>
                <c:pt idx="1229">
                  <c:v>73159</c:v>
                </c:pt>
                <c:pt idx="1230">
                  <c:v>73153</c:v>
                </c:pt>
                <c:pt idx="1231">
                  <c:v>73144</c:v>
                </c:pt>
                <c:pt idx="1232">
                  <c:v>73131</c:v>
                </c:pt>
                <c:pt idx="1233">
                  <c:v>73121</c:v>
                </c:pt>
                <c:pt idx="1234">
                  <c:v>73117</c:v>
                </c:pt>
                <c:pt idx="1235">
                  <c:v>73109</c:v>
                </c:pt>
                <c:pt idx="1236">
                  <c:v>73098</c:v>
                </c:pt>
                <c:pt idx="1237">
                  <c:v>73094</c:v>
                </c:pt>
                <c:pt idx="1238">
                  <c:v>73080</c:v>
                </c:pt>
                <c:pt idx="1239">
                  <c:v>73048</c:v>
                </c:pt>
                <c:pt idx="1240">
                  <c:v>73044</c:v>
                </c:pt>
                <c:pt idx="1241">
                  <c:v>73021</c:v>
                </c:pt>
                <c:pt idx="1242">
                  <c:v>73021</c:v>
                </c:pt>
                <c:pt idx="1243">
                  <c:v>73016</c:v>
                </c:pt>
                <c:pt idx="1244">
                  <c:v>72992</c:v>
                </c:pt>
                <c:pt idx="1245">
                  <c:v>72981</c:v>
                </c:pt>
                <c:pt idx="1246">
                  <c:v>72962</c:v>
                </c:pt>
                <c:pt idx="1247">
                  <c:v>72944</c:v>
                </c:pt>
                <c:pt idx="1248">
                  <c:v>72882</c:v>
                </c:pt>
                <c:pt idx="1249">
                  <c:v>72876</c:v>
                </c:pt>
                <c:pt idx="1250">
                  <c:v>72869</c:v>
                </c:pt>
                <c:pt idx="1251">
                  <c:v>72847</c:v>
                </c:pt>
                <c:pt idx="1252">
                  <c:v>72846</c:v>
                </c:pt>
                <c:pt idx="1253">
                  <c:v>72841</c:v>
                </c:pt>
                <c:pt idx="1254">
                  <c:v>72833</c:v>
                </c:pt>
                <c:pt idx="1255">
                  <c:v>72828</c:v>
                </c:pt>
                <c:pt idx="1256">
                  <c:v>72825</c:v>
                </c:pt>
                <c:pt idx="1257">
                  <c:v>72820</c:v>
                </c:pt>
                <c:pt idx="1258">
                  <c:v>72813</c:v>
                </c:pt>
                <c:pt idx="1259">
                  <c:v>72805</c:v>
                </c:pt>
                <c:pt idx="1260">
                  <c:v>72799</c:v>
                </c:pt>
                <c:pt idx="1261">
                  <c:v>72773</c:v>
                </c:pt>
                <c:pt idx="1262">
                  <c:v>72751</c:v>
                </c:pt>
                <c:pt idx="1263">
                  <c:v>72737</c:v>
                </c:pt>
                <c:pt idx="1264">
                  <c:v>72732</c:v>
                </c:pt>
                <c:pt idx="1265">
                  <c:v>72686</c:v>
                </c:pt>
                <c:pt idx="1266">
                  <c:v>72668</c:v>
                </c:pt>
                <c:pt idx="1267">
                  <c:v>72642</c:v>
                </c:pt>
                <c:pt idx="1268">
                  <c:v>72635</c:v>
                </c:pt>
                <c:pt idx="1269">
                  <c:v>72633</c:v>
                </c:pt>
                <c:pt idx="1270">
                  <c:v>72625</c:v>
                </c:pt>
                <c:pt idx="1271">
                  <c:v>72603</c:v>
                </c:pt>
                <c:pt idx="1272">
                  <c:v>72603</c:v>
                </c:pt>
                <c:pt idx="1273">
                  <c:v>72590</c:v>
                </c:pt>
                <c:pt idx="1274">
                  <c:v>72584</c:v>
                </c:pt>
                <c:pt idx="1275">
                  <c:v>72564</c:v>
                </c:pt>
                <c:pt idx="1276">
                  <c:v>72562</c:v>
                </c:pt>
                <c:pt idx="1277">
                  <c:v>72551</c:v>
                </c:pt>
                <c:pt idx="1278">
                  <c:v>72539</c:v>
                </c:pt>
                <c:pt idx="1279">
                  <c:v>72524</c:v>
                </c:pt>
                <c:pt idx="1280">
                  <c:v>72521</c:v>
                </c:pt>
                <c:pt idx="1281">
                  <c:v>72518</c:v>
                </c:pt>
                <c:pt idx="1282">
                  <c:v>72506</c:v>
                </c:pt>
                <c:pt idx="1283">
                  <c:v>72494</c:v>
                </c:pt>
                <c:pt idx="1284">
                  <c:v>72486</c:v>
                </c:pt>
                <c:pt idx="1285">
                  <c:v>72470</c:v>
                </c:pt>
                <c:pt idx="1286">
                  <c:v>72460</c:v>
                </c:pt>
                <c:pt idx="1287">
                  <c:v>72442</c:v>
                </c:pt>
                <c:pt idx="1288">
                  <c:v>72435</c:v>
                </c:pt>
                <c:pt idx="1289">
                  <c:v>72428</c:v>
                </c:pt>
                <c:pt idx="1290">
                  <c:v>72410</c:v>
                </c:pt>
                <c:pt idx="1291">
                  <c:v>72389</c:v>
                </c:pt>
                <c:pt idx="1292">
                  <c:v>72375</c:v>
                </c:pt>
                <c:pt idx="1293">
                  <c:v>72374</c:v>
                </c:pt>
                <c:pt idx="1294">
                  <c:v>72351</c:v>
                </c:pt>
                <c:pt idx="1295">
                  <c:v>72346</c:v>
                </c:pt>
                <c:pt idx="1296">
                  <c:v>72340</c:v>
                </c:pt>
                <c:pt idx="1297">
                  <c:v>72337</c:v>
                </c:pt>
                <c:pt idx="1298">
                  <c:v>72333</c:v>
                </c:pt>
                <c:pt idx="1299">
                  <c:v>72328</c:v>
                </c:pt>
                <c:pt idx="1300">
                  <c:v>72314</c:v>
                </c:pt>
                <c:pt idx="1301">
                  <c:v>72308</c:v>
                </c:pt>
                <c:pt idx="1302">
                  <c:v>72301</c:v>
                </c:pt>
                <c:pt idx="1303">
                  <c:v>72267</c:v>
                </c:pt>
                <c:pt idx="1304">
                  <c:v>72265</c:v>
                </c:pt>
                <c:pt idx="1305">
                  <c:v>72253</c:v>
                </c:pt>
                <c:pt idx="1306">
                  <c:v>72250</c:v>
                </c:pt>
                <c:pt idx="1307">
                  <c:v>72226</c:v>
                </c:pt>
                <c:pt idx="1308">
                  <c:v>72207</c:v>
                </c:pt>
                <c:pt idx="1309">
                  <c:v>72203</c:v>
                </c:pt>
                <c:pt idx="1310">
                  <c:v>72201</c:v>
                </c:pt>
                <c:pt idx="1311">
                  <c:v>72174</c:v>
                </c:pt>
                <c:pt idx="1312">
                  <c:v>72172</c:v>
                </c:pt>
                <c:pt idx="1313">
                  <c:v>72167</c:v>
                </c:pt>
                <c:pt idx="1314">
                  <c:v>72157</c:v>
                </c:pt>
                <c:pt idx="1315">
                  <c:v>72151</c:v>
                </c:pt>
                <c:pt idx="1316">
                  <c:v>72146</c:v>
                </c:pt>
                <c:pt idx="1317">
                  <c:v>72140</c:v>
                </c:pt>
                <c:pt idx="1318">
                  <c:v>72109</c:v>
                </c:pt>
                <c:pt idx="1319">
                  <c:v>72046</c:v>
                </c:pt>
                <c:pt idx="1320">
                  <c:v>72044</c:v>
                </c:pt>
                <c:pt idx="1321">
                  <c:v>72039</c:v>
                </c:pt>
                <c:pt idx="1322">
                  <c:v>72038</c:v>
                </c:pt>
                <c:pt idx="1323">
                  <c:v>72028</c:v>
                </c:pt>
                <c:pt idx="1324">
                  <c:v>72022</c:v>
                </c:pt>
                <c:pt idx="1325">
                  <c:v>72021</c:v>
                </c:pt>
                <c:pt idx="1326">
                  <c:v>72018</c:v>
                </c:pt>
                <c:pt idx="1327">
                  <c:v>71987</c:v>
                </c:pt>
                <c:pt idx="1328">
                  <c:v>71967</c:v>
                </c:pt>
                <c:pt idx="1329">
                  <c:v>71966</c:v>
                </c:pt>
                <c:pt idx="1330">
                  <c:v>71960</c:v>
                </c:pt>
                <c:pt idx="1331">
                  <c:v>71958</c:v>
                </c:pt>
                <c:pt idx="1332">
                  <c:v>71958</c:v>
                </c:pt>
                <c:pt idx="1333">
                  <c:v>71955</c:v>
                </c:pt>
                <c:pt idx="1334">
                  <c:v>71939</c:v>
                </c:pt>
                <c:pt idx="1335">
                  <c:v>71936</c:v>
                </c:pt>
                <c:pt idx="1336">
                  <c:v>71898</c:v>
                </c:pt>
                <c:pt idx="1337">
                  <c:v>71895</c:v>
                </c:pt>
                <c:pt idx="1338">
                  <c:v>71875</c:v>
                </c:pt>
                <c:pt idx="1339">
                  <c:v>71854</c:v>
                </c:pt>
                <c:pt idx="1340">
                  <c:v>71848</c:v>
                </c:pt>
                <c:pt idx="1341">
                  <c:v>71840</c:v>
                </c:pt>
                <c:pt idx="1342">
                  <c:v>71821</c:v>
                </c:pt>
                <c:pt idx="1343">
                  <c:v>71780</c:v>
                </c:pt>
                <c:pt idx="1344">
                  <c:v>71778</c:v>
                </c:pt>
                <c:pt idx="1345">
                  <c:v>71774</c:v>
                </c:pt>
                <c:pt idx="1346">
                  <c:v>71753</c:v>
                </c:pt>
                <c:pt idx="1347">
                  <c:v>71737</c:v>
                </c:pt>
                <c:pt idx="1348">
                  <c:v>71720</c:v>
                </c:pt>
                <c:pt idx="1349">
                  <c:v>71716</c:v>
                </c:pt>
                <c:pt idx="1350">
                  <c:v>71699</c:v>
                </c:pt>
                <c:pt idx="1351">
                  <c:v>71671</c:v>
                </c:pt>
                <c:pt idx="1352">
                  <c:v>71662</c:v>
                </c:pt>
                <c:pt idx="1353">
                  <c:v>71653</c:v>
                </c:pt>
                <c:pt idx="1354">
                  <c:v>71648</c:v>
                </c:pt>
                <c:pt idx="1355">
                  <c:v>71629</c:v>
                </c:pt>
                <c:pt idx="1356">
                  <c:v>71612</c:v>
                </c:pt>
                <c:pt idx="1357">
                  <c:v>71604</c:v>
                </c:pt>
                <c:pt idx="1358">
                  <c:v>71592</c:v>
                </c:pt>
                <c:pt idx="1359">
                  <c:v>71590</c:v>
                </c:pt>
                <c:pt idx="1360">
                  <c:v>71574</c:v>
                </c:pt>
                <c:pt idx="1361">
                  <c:v>71551</c:v>
                </c:pt>
                <c:pt idx="1362">
                  <c:v>71549</c:v>
                </c:pt>
                <c:pt idx="1363">
                  <c:v>71534</c:v>
                </c:pt>
                <c:pt idx="1364">
                  <c:v>71533</c:v>
                </c:pt>
                <c:pt idx="1365">
                  <c:v>71510</c:v>
                </c:pt>
                <c:pt idx="1366">
                  <c:v>71503</c:v>
                </c:pt>
                <c:pt idx="1367">
                  <c:v>71479</c:v>
                </c:pt>
                <c:pt idx="1368">
                  <c:v>71477</c:v>
                </c:pt>
                <c:pt idx="1369">
                  <c:v>71471</c:v>
                </c:pt>
                <c:pt idx="1370">
                  <c:v>71461</c:v>
                </c:pt>
                <c:pt idx="1371">
                  <c:v>71451</c:v>
                </c:pt>
                <c:pt idx="1372">
                  <c:v>71449</c:v>
                </c:pt>
                <c:pt idx="1373">
                  <c:v>71434</c:v>
                </c:pt>
                <c:pt idx="1374">
                  <c:v>71424</c:v>
                </c:pt>
                <c:pt idx="1375">
                  <c:v>71423</c:v>
                </c:pt>
                <c:pt idx="1376">
                  <c:v>71422</c:v>
                </c:pt>
                <c:pt idx="1377">
                  <c:v>71420</c:v>
                </c:pt>
                <c:pt idx="1378">
                  <c:v>71418</c:v>
                </c:pt>
                <c:pt idx="1379">
                  <c:v>71373</c:v>
                </c:pt>
                <c:pt idx="1380">
                  <c:v>71366</c:v>
                </c:pt>
                <c:pt idx="1381">
                  <c:v>71350</c:v>
                </c:pt>
                <c:pt idx="1382">
                  <c:v>71323</c:v>
                </c:pt>
                <c:pt idx="1383">
                  <c:v>71321</c:v>
                </c:pt>
                <c:pt idx="1384">
                  <c:v>71293</c:v>
                </c:pt>
                <c:pt idx="1385">
                  <c:v>71286</c:v>
                </c:pt>
                <c:pt idx="1386">
                  <c:v>71283</c:v>
                </c:pt>
                <c:pt idx="1387">
                  <c:v>71270</c:v>
                </c:pt>
                <c:pt idx="1388">
                  <c:v>71213</c:v>
                </c:pt>
                <c:pt idx="1389">
                  <c:v>71198</c:v>
                </c:pt>
                <c:pt idx="1390">
                  <c:v>71185</c:v>
                </c:pt>
                <c:pt idx="1391">
                  <c:v>71139</c:v>
                </c:pt>
                <c:pt idx="1392">
                  <c:v>71114</c:v>
                </c:pt>
                <c:pt idx="1393">
                  <c:v>71101</c:v>
                </c:pt>
                <c:pt idx="1394">
                  <c:v>71098</c:v>
                </c:pt>
                <c:pt idx="1395">
                  <c:v>71087</c:v>
                </c:pt>
                <c:pt idx="1396">
                  <c:v>71085</c:v>
                </c:pt>
                <c:pt idx="1397">
                  <c:v>71084</c:v>
                </c:pt>
                <c:pt idx="1398">
                  <c:v>71060</c:v>
                </c:pt>
                <c:pt idx="1399">
                  <c:v>71055</c:v>
                </c:pt>
                <c:pt idx="1400">
                  <c:v>71049</c:v>
                </c:pt>
                <c:pt idx="1401">
                  <c:v>71047</c:v>
                </c:pt>
                <c:pt idx="1402">
                  <c:v>71034</c:v>
                </c:pt>
                <c:pt idx="1403">
                  <c:v>71024</c:v>
                </c:pt>
                <c:pt idx="1404">
                  <c:v>71023</c:v>
                </c:pt>
                <c:pt idx="1405">
                  <c:v>71019</c:v>
                </c:pt>
                <c:pt idx="1406">
                  <c:v>71016</c:v>
                </c:pt>
                <c:pt idx="1407">
                  <c:v>70992</c:v>
                </c:pt>
                <c:pt idx="1408">
                  <c:v>70988</c:v>
                </c:pt>
                <c:pt idx="1409">
                  <c:v>70975</c:v>
                </c:pt>
                <c:pt idx="1410">
                  <c:v>70975</c:v>
                </c:pt>
                <c:pt idx="1411">
                  <c:v>70970</c:v>
                </c:pt>
                <c:pt idx="1412">
                  <c:v>70969</c:v>
                </c:pt>
                <c:pt idx="1413">
                  <c:v>70957</c:v>
                </c:pt>
                <c:pt idx="1414">
                  <c:v>70948</c:v>
                </c:pt>
                <c:pt idx="1415">
                  <c:v>70941</c:v>
                </c:pt>
                <c:pt idx="1416">
                  <c:v>70940</c:v>
                </c:pt>
                <c:pt idx="1417">
                  <c:v>70931</c:v>
                </c:pt>
                <c:pt idx="1418">
                  <c:v>70914</c:v>
                </c:pt>
                <c:pt idx="1419">
                  <c:v>70913</c:v>
                </c:pt>
                <c:pt idx="1420">
                  <c:v>70882</c:v>
                </c:pt>
                <c:pt idx="1421">
                  <c:v>70853</c:v>
                </c:pt>
                <c:pt idx="1422">
                  <c:v>70848</c:v>
                </c:pt>
                <c:pt idx="1423">
                  <c:v>70839</c:v>
                </c:pt>
                <c:pt idx="1424">
                  <c:v>70811</c:v>
                </c:pt>
                <c:pt idx="1425">
                  <c:v>70804</c:v>
                </c:pt>
                <c:pt idx="1426">
                  <c:v>70800</c:v>
                </c:pt>
                <c:pt idx="1427">
                  <c:v>70793</c:v>
                </c:pt>
                <c:pt idx="1428">
                  <c:v>70793</c:v>
                </c:pt>
                <c:pt idx="1429">
                  <c:v>70785</c:v>
                </c:pt>
                <c:pt idx="1430">
                  <c:v>70767</c:v>
                </c:pt>
                <c:pt idx="1431">
                  <c:v>70765</c:v>
                </c:pt>
                <c:pt idx="1432">
                  <c:v>70757</c:v>
                </c:pt>
                <c:pt idx="1433">
                  <c:v>70756</c:v>
                </c:pt>
                <c:pt idx="1434">
                  <c:v>70752</c:v>
                </c:pt>
                <c:pt idx="1435">
                  <c:v>70750</c:v>
                </c:pt>
                <c:pt idx="1436">
                  <c:v>70749</c:v>
                </c:pt>
                <c:pt idx="1437">
                  <c:v>70735</c:v>
                </c:pt>
                <c:pt idx="1438">
                  <c:v>70735</c:v>
                </c:pt>
                <c:pt idx="1439">
                  <c:v>70725</c:v>
                </c:pt>
                <c:pt idx="1440">
                  <c:v>70705</c:v>
                </c:pt>
                <c:pt idx="1441">
                  <c:v>70666</c:v>
                </c:pt>
                <c:pt idx="1442">
                  <c:v>70615</c:v>
                </c:pt>
                <c:pt idx="1443">
                  <c:v>70610</c:v>
                </c:pt>
                <c:pt idx="1444">
                  <c:v>70607</c:v>
                </c:pt>
                <c:pt idx="1445">
                  <c:v>70578</c:v>
                </c:pt>
                <c:pt idx="1446">
                  <c:v>70574</c:v>
                </c:pt>
                <c:pt idx="1447">
                  <c:v>70561</c:v>
                </c:pt>
                <c:pt idx="1448">
                  <c:v>70553</c:v>
                </c:pt>
                <c:pt idx="1449">
                  <c:v>70528</c:v>
                </c:pt>
                <c:pt idx="1450">
                  <c:v>70522</c:v>
                </c:pt>
                <c:pt idx="1451">
                  <c:v>70505</c:v>
                </c:pt>
                <c:pt idx="1452">
                  <c:v>70498</c:v>
                </c:pt>
                <c:pt idx="1453">
                  <c:v>70483</c:v>
                </c:pt>
                <c:pt idx="1454">
                  <c:v>70479</c:v>
                </c:pt>
                <c:pt idx="1455">
                  <c:v>70474</c:v>
                </c:pt>
                <c:pt idx="1456">
                  <c:v>70462</c:v>
                </c:pt>
                <c:pt idx="1457">
                  <c:v>70424</c:v>
                </c:pt>
                <c:pt idx="1458">
                  <c:v>70417</c:v>
                </c:pt>
                <c:pt idx="1459">
                  <c:v>70408</c:v>
                </c:pt>
                <c:pt idx="1460">
                  <c:v>70405</c:v>
                </c:pt>
                <c:pt idx="1461">
                  <c:v>70385</c:v>
                </c:pt>
                <c:pt idx="1462">
                  <c:v>70380</c:v>
                </c:pt>
                <c:pt idx="1463">
                  <c:v>70364</c:v>
                </c:pt>
                <c:pt idx="1464">
                  <c:v>70358</c:v>
                </c:pt>
                <c:pt idx="1465">
                  <c:v>70358</c:v>
                </c:pt>
                <c:pt idx="1466">
                  <c:v>70358</c:v>
                </c:pt>
                <c:pt idx="1467">
                  <c:v>70352</c:v>
                </c:pt>
                <c:pt idx="1468">
                  <c:v>70349</c:v>
                </c:pt>
                <c:pt idx="1469">
                  <c:v>70332</c:v>
                </c:pt>
                <c:pt idx="1470">
                  <c:v>70320</c:v>
                </c:pt>
                <c:pt idx="1471">
                  <c:v>70316</c:v>
                </c:pt>
                <c:pt idx="1472">
                  <c:v>70298</c:v>
                </c:pt>
                <c:pt idx="1473">
                  <c:v>70296</c:v>
                </c:pt>
                <c:pt idx="1474">
                  <c:v>70287</c:v>
                </c:pt>
                <c:pt idx="1475">
                  <c:v>70279</c:v>
                </c:pt>
                <c:pt idx="1476">
                  <c:v>70271</c:v>
                </c:pt>
                <c:pt idx="1477">
                  <c:v>70269</c:v>
                </c:pt>
                <c:pt idx="1478">
                  <c:v>70269</c:v>
                </c:pt>
                <c:pt idx="1479">
                  <c:v>70269</c:v>
                </c:pt>
                <c:pt idx="1480">
                  <c:v>70256</c:v>
                </c:pt>
                <c:pt idx="1481">
                  <c:v>70244</c:v>
                </c:pt>
                <c:pt idx="1482">
                  <c:v>70224</c:v>
                </c:pt>
                <c:pt idx="1483">
                  <c:v>70223</c:v>
                </c:pt>
                <c:pt idx="1484">
                  <c:v>70204</c:v>
                </c:pt>
                <c:pt idx="1485">
                  <c:v>70199</c:v>
                </c:pt>
                <c:pt idx="1486">
                  <c:v>70180</c:v>
                </c:pt>
                <c:pt idx="1487">
                  <c:v>70176</c:v>
                </c:pt>
                <c:pt idx="1488">
                  <c:v>70166</c:v>
                </c:pt>
                <c:pt idx="1489">
                  <c:v>70164</c:v>
                </c:pt>
                <c:pt idx="1490">
                  <c:v>70164</c:v>
                </c:pt>
                <c:pt idx="1491">
                  <c:v>70149</c:v>
                </c:pt>
                <c:pt idx="1492">
                  <c:v>70149</c:v>
                </c:pt>
                <c:pt idx="1493">
                  <c:v>70144</c:v>
                </c:pt>
                <c:pt idx="1494">
                  <c:v>70139</c:v>
                </c:pt>
                <c:pt idx="1495">
                  <c:v>70129</c:v>
                </c:pt>
                <c:pt idx="1496">
                  <c:v>70129</c:v>
                </c:pt>
                <c:pt idx="1497">
                  <c:v>70125</c:v>
                </c:pt>
                <c:pt idx="1498">
                  <c:v>70119</c:v>
                </c:pt>
                <c:pt idx="1499">
                  <c:v>70099</c:v>
                </c:pt>
                <c:pt idx="1500">
                  <c:v>70050</c:v>
                </c:pt>
                <c:pt idx="1501">
                  <c:v>70040</c:v>
                </c:pt>
                <c:pt idx="1502">
                  <c:v>70011</c:v>
                </c:pt>
                <c:pt idx="1503">
                  <c:v>69998</c:v>
                </c:pt>
                <c:pt idx="1504">
                  <c:v>69991</c:v>
                </c:pt>
                <c:pt idx="1505">
                  <c:v>69948</c:v>
                </c:pt>
                <c:pt idx="1506">
                  <c:v>69935</c:v>
                </c:pt>
                <c:pt idx="1507">
                  <c:v>69933</c:v>
                </c:pt>
                <c:pt idx="1508">
                  <c:v>69904</c:v>
                </c:pt>
                <c:pt idx="1509">
                  <c:v>69901</c:v>
                </c:pt>
                <c:pt idx="1510">
                  <c:v>69896</c:v>
                </c:pt>
                <c:pt idx="1511">
                  <c:v>69882</c:v>
                </c:pt>
                <c:pt idx="1512">
                  <c:v>69877</c:v>
                </c:pt>
                <c:pt idx="1513">
                  <c:v>69861</c:v>
                </c:pt>
                <c:pt idx="1514">
                  <c:v>69861</c:v>
                </c:pt>
                <c:pt idx="1515">
                  <c:v>69850</c:v>
                </c:pt>
                <c:pt idx="1516">
                  <c:v>69830</c:v>
                </c:pt>
                <c:pt idx="1517">
                  <c:v>69830</c:v>
                </c:pt>
                <c:pt idx="1518">
                  <c:v>69826</c:v>
                </c:pt>
                <c:pt idx="1519">
                  <c:v>69817</c:v>
                </c:pt>
                <c:pt idx="1520">
                  <c:v>69805</c:v>
                </c:pt>
                <c:pt idx="1521">
                  <c:v>69802</c:v>
                </c:pt>
                <c:pt idx="1522">
                  <c:v>69793</c:v>
                </c:pt>
                <c:pt idx="1523">
                  <c:v>69786</c:v>
                </c:pt>
                <c:pt idx="1524">
                  <c:v>69783</c:v>
                </c:pt>
                <c:pt idx="1525">
                  <c:v>69769</c:v>
                </c:pt>
                <c:pt idx="1526">
                  <c:v>69765</c:v>
                </c:pt>
                <c:pt idx="1527">
                  <c:v>69740</c:v>
                </c:pt>
                <c:pt idx="1528">
                  <c:v>69733</c:v>
                </c:pt>
                <c:pt idx="1529">
                  <c:v>69723</c:v>
                </c:pt>
                <c:pt idx="1530">
                  <c:v>69705</c:v>
                </c:pt>
                <c:pt idx="1531">
                  <c:v>69702</c:v>
                </c:pt>
                <c:pt idx="1532">
                  <c:v>69685</c:v>
                </c:pt>
                <c:pt idx="1533">
                  <c:v>69684</c:v>
                </c:pt>
                <c:pt idx="1534">
                  <c:v>69679</c:v>
                </c:pt>
                <c:pt idx="1535">
                  <c:v>69679</c:v>
                </c:pt>
                <c:pt idx="1536">
                  <c:v>69649</c:v>
                </c:pt>
                <c:pt idx="1537">
                  <c:v>69615</c:v>
                </c:pt>
                <c:pt idx="1538">
                  <c:v>69599</c:v>
                </c:pt>
                <c:pt idx="1539">
                  <c:v>69598</c:v>
                </c:pt>
                <c:pt idx="1540">
                  <c:v>69591</c:v>
                </c:pt>
                <c:pt idx="1541">
                  <c:v>69590</c:v>
                </c:pt>
                <c:pt idx="1542">
                  <c:v>69580</c:v>
                </c:pt>
                <c:pt idx="1543">
                  <c:v>69560</c:v>
                </c:pt>
                <c:pt idx="1544">
                  <c:v>69522</c:v>
                </c:pt>
                <c:pt idx="1545">
                  <c:v>69498</c:v>
                </c:pt>
                <c:pt idx="1546">
                  <c:v>69493</c:v>
                </c:pt>
                <c:pt idx="1547">
                  <c:v>69492</c:v>
                </c:pt>
                <c:pt idx="1548">
                  <c:v>69476</c:v>
                </c:pt>
                <c:pt idx="1549">
                  <c:v>69463</c:v>
                </c:pt>
                <c:pt idx="1550">
                  <c:v>69460</c:v>
                </c:pt>
                <c:pt idx="1551">
                  <c:v>69444</c:v>
                </c:pt>
                <c:pt idx="1552">
                  <c:v>69438</c:v>
                </c:pt>
                <c:pt idx="1553">
                  <c:v>69431</c:v>
                </c:pt>
                <c:pt idx="1554">
                  <c:v>69426</c:v>
                </c:pt>
                <c:pt idx="1555">
                  <c:v>69412</c:v>
                </c:pt>
                <c:pt idx="1556">
                  <c:v>69409</c:v>
                </c:pt>
                <c:pt idx="1557">
                  <c:v>69323</c:v>
                </c:pt>
                <c:pt idx="1558">
                  <c:v>69319</c:v>
                </c:pt>
                <c:pt idx="1559">
                  <c:v>69310</c:v>
                </c:pt>
                <c:pt idx="1560">
                  <c:v>69306</c:v>
                </c:pt>
                <c:pt idx="1561">
                  <c:v>69296</c:v>
                </c:pt>
                <c:pt idx="1562">
                  <c:v>69274</c:v>
                </c:pt>
                <c:pt idx="1563">
                  <c:v>69269</c:v>
                </c:pt>
                <c:pt idx="1564">
                  <c:v>69253</c:v>
                </c:pt>
                <c:pt idx="1565">
                  <c:v>69240</c:v>
                </c:pt>
                <c:pt idx="1566">
                  <c:v>69230</c:v>
                </c:pt>
                <c:pt idx="1567">
                  <c:v>69228</c:v>
                </c:pt>
                <c:pt idx="1568">
                  <c:v>69228</c:v>
                </c:pt>
                <c:pt idx="1569">
                  <c:v>69215</c:v>
                </c:pt>
                <c:pt idx="1570">
                  <c:v>69210</c:v>
                </c:pt>
                <c:pt idx="1571">
                  <c:v>69207</c:v>
                </c:pt>
                <c:pt idx="1572">
                  <c:v>69203</c:v>
                </c:pt>
                <c:pt idx="1573">
                  <c:v>69199</c:v>
                </c:pt>
                <c:pt idx="1574">
                  <c:v>69191</c:v>
                </c:pt>
                <c:pt idx="1575">
                  <c:v>69178</c:v>
                </c:pt>
                <c:pt idx="1576">
                  <c:v>69175</c:v>
                </c:pt>
                <c:pt idx="1577">
                  <c:v>69137</c:v>
                </c:pt>
                <c:pt idx="1578">
                  <c:v>69127</c:v>
                </c:pt>
                <c:pt idx="1579">
                  <c:v>69124</c:v>
                </c:pt>
                <c:pt idx="1580">
                  <c:v>69118</c:v>
                </c:pt>
                <c:pt idx="1581">
                  <c:v>69117</c:v>
                </c:pt>
                <c:pt idx="1582">
                  <c:v>69114</c:v>
                </c:pt>
                <c:pt idx="1583">
                  <c:v>69110</c:v>
                </c:pt>
                <c:pt idx="1584">
                  <c:v>69064</c:v>
                </c:pt>
                <c:pt idx="1585">
                  <c:v>69053</c:v>
                </c:pt>
                <c:pt idx="1586">
                  <c:v>69046</c:v>
                </c:pt>
                <c:pt idx="1587">
                  <c:v>69043</c:v>
                </c:pt>
                <c:pt idx="1588">
                  <c:v>69034</c:v>
                </c:pt>
                <c:pt idx="1589">
                  <c:v>69027</c:v>
                </c:pt>
                <c:pt idx="1590">
                  <c:v>69022</c:v>
                </c:pt>
                <c:pt idx="1591">
                  <c:v>69020</c:v>
                </c:pt>
                <c:pt idx="1592">
                  <c:v>69020</c:v>
                </c:pt>
                <c:pt idx="1593">
                  <c:v>69015</c:v>
                </c:pt>
                <c:pt idx="1594">
                  <c:v>69011</c:v>
                </c:pt>
                <c:pt idx="1595">
                  <c:v>69008</c:v>
                </c:pt>
                <c:pt idx="1596">
                  <c:v>69000</c:v>
                </c:pt>
                <c:pt idx="1597">
                  <c:v>68997</c:v>
                </c:pt>
                <c:pt idx="1598">
                  <c:v>68970</c:v>
                </c:pt>
                <c:pt idx="1599">
                  <c:v>68953</c:v>
                </c:pt>
                <c:pt idx="1600">
                  <c:v>68920</c:v>
                </c:pt>
                <c:pt idx="1601">
                  <c:v>68911</c:v>
                </c:pt>
                <c:pt idx="1602">
                  <c:v>68904</c:v>
                </c:pt>
                <c:pt idx="1603">
                  <c:v>68884</c:v>
                </c:pt>
                <c:pt idx="1604">
                  <c:v>68876</c:v>
                </c:pt>
                <c:pt idx="1605">
                  <c:v>68869</c:v>
                </c:pt>
                <c:pt idx="1606">
                  <c:v>68860</c:v>
                </c:pt>
                <c:pt idx="1607">
                  <c:v>68810</c:v>
                </c:pt>
                <c:pt idx="1608">
                  <c:v>68803</c:v>
                </c:pt>
                <c:pt idx="1609">
                  <c:v>68802</c:v>
                </c:pt>
                <c:pt idx="1610">
                  <c:v>68797</c:v>
                </c:pt>
                <c:pt idx="1611">
                  <c:v>68796</c:v>
                </c:pt>
                <c:pt idx="1612">
                  <c:v>68791</c:v>
                </c:pt>
                <c:pt idx="1613">
                  <c:v>68769</c:v>
                </c:pt>
                <c:pt idx="1614">
                  <c:v>68767</c:v>
                </c:pt>
                <c:pt idx="1615">
                  <c:v>68760</c:v>
                </c:pt>
                <c:pt idx="1616">
                  <c:v>68759</c:v>
                </c:pt>
                <c:pt idx="1617">
                  <c:v>68757</c:v>
                </c:pt>
                <c:pt idx="1618">
                  <c:v>68747</c:v>
                </c:pt>
                <c:pt idx="1619">
                  <c:v>68741</c:v>
                </c:pt>
                <c:pt idx="1620">
                  <c:v>68741</c:v>
                </c:pt>
                <c:pt idx="1621">
                  <c:v>68739</c:v>
                </c:pt>
                <c:pt idx="1622">
                  <c:v>68727</c:v>
                </c:pt>
                <c:pt idx="1623">
                  <c:v>68708</c:v>
                </c:pt>
                <c:pt idx="1624">
                  <c:v>68705</c:v>
                </c:pt>
                <c:pt idx="1625">
                  <c:v>68702</c:v>
                </c:pt>
                <c:pt idx="1626">
                  <c:v>68693</c:v>
                </c:pt>
                <c:pt idx="1627">
                  <c:v>68686</c:v>
                </c:pt>
                <c:pt idx="1628">
                  <c:v>68681</c:v>
                </c:pt>
                <c:pt idx="1629">
                  <c:v>68668</c:v>
                </c:pt>
                <c:pt idx="1630">
                  <c:v>68664</c:v>
                </c:pt>
                <c:pt idx="1631">
                  <c:v>68596</c:v>
                </c:pt>
                <c:pt idx="1632">
                  <c:v>68595</c:v>
                </c:pt>
                <c:pt idx="1633">
                  <c:v>68588</c:v>
                </c:pt>
                <c:pt idx="1634">
                  <c:v>68580</c:v>
                </c:pt>
                <c:pt idx="1635">
                  <c:v>68549</c:v>
                </c:pt>
                <c:pt idx="1636">
                  <c:v>68545</c:v>
                </c:pt>
                <c:pt idx="1637">
                  <c:v>68543</c:v>
                </c:pt>
                <c:pt idx="1638">
                  <c:v>68532</c:v>
                </c:pt>
                <c:pt idx="1639">
                  <c:v>68521</c:v>
                </c:pt>
                <c:pt idx="1640">
                  <c:v>68517</c:v>
                </c:pt>
                <c:pt idx="1641">
                  <c:v>68515</c:v>
                </c:pt>
                <c:pt idx="1642">
                  <c:v>68496</c:v>
                </c:pt>
                <c:pt idx="1643">
                  <c:v>68495</c:v>
                </c:pt>
                <c:pt idx="1644">
                  <c:v>68488</c:v>
                </c:pt>
                <c:pt idx="1645">
                  <c:v>68484</c:v>
                </c:pt>
                <c:pt idx="1646">
                  <c:v>68480</c:v>
                </c:pt>
                <c:pt idx="1647">
                  <c:v>68468</c:v>
                </c:pt>
                <c:pt idx="1648">
                  <c:v>68468</c:v>
                </c:pt>
                <c:pt idx="1649">
                  <c:v>68467</c:v>
                </c:pt>
                <c:pt idx="1650">
                  <c:v>68459</c:v>
                </c:pt>
                <c:pt idx="1651">
                  <c:v>68432</c:v>
                </c:pt>
                <c:pt idx="1652">
                  <c:v>68423</c:v>
                </c:pt>
                <c:pt idx="1653">
                  <c:v>68407</c:v>
                </c:pt>
                <c:pt idx="1654">
                  <c:v>68402</c:v>
                </c:pt>
                <c:pt idx="1655">
                  <c:v>68401</c:v>
                </c:pt>
                <c:pt idx="1656">
                  <c:v>68391</c:v>
                </c:pt>
                <c:pt idx="1657">
                  <c:v>68376</c:v>
                </c:pt>
                <c:pt idx="1658">
                  <c:v>68369</c:v>
                </c:pt>
                <c:pt idx="1659">
                  <c:v>68365</c:v>
                </c:pt>
                <c:pt idx="1660">
                  <c:v>68359</c:v>
                </c:pt>
                <c:pt idx="1661">
                  <c:v>68353</c:v>
                </c:pt>
                <c:pt idx="1662">
                  <c:v>68350</c:v>
                </c:pt>
                <c:pt idx="1663">
                  <c:v>68350</c:v>
                </c:pt>
                <c:pt idx="1664">
                  <c:v>68346</c:v>
                </c:pt>
                <c:pt idx="1665">
                  <c:v>68338</c:v>
                </c:pt>
                <c:pt idx="1666">
                  <c:v>68330</c:v>
                </c:pt>
                <c:pt idx="1667">
                  <c:v>68303</c:v>
                </c:pt>
                <c:pt idx="1668">
                  <c:v>68298</c:v>
                </c:pt>
                <c:pt idx="1669">
                  <c:v>68296</c:v>
                </c:pt>
                <c:pt idx="1670">
                  <c:v>68290</c:v>
                </c:pt>
                <c:pt idx="1671">
                  <c:v>68281</c:v>
                </c:pt>
                <c:pt idx="1672">
                  <c:v>68263</c:v>
                </c:pt>
                <c:pt idx="1673">
                  <c:v>68262</c:v>
                </c:pt>
                <c:pt idx="1674">
                  <c:v>68261</c:v>
                </c:pt>
                <c:pt idx="1675">
                  <c:v>68260</c:v>
                </c:pt>
                <c:pt idx="1676">
                  <c:v>68247</c:v>
                </c:pt>
                <c:pt idx="1677">
                  <c:v>68187</c:v>
                </c:pt>
                <c:pt idx="1678">
                  <c:v>68185</c:v>
                </c:pt>
                <c:pt idx="1679">
                  <c:v>68178</c:v>
                </c:pt>
                <c:pt idx="1680">
                  <c:v>68174</c:v>
                </c:pt>
                <c:pt idx="1681">
                  <c:v>68172</c:v>
                </c:pt>
                <c:pt idx="1682">
                  <c:v>68169</c:v>
                </c:pt>
                <c:pt idx="1683">
                  <c:v>68163</c:v>
                </c:pt>
                <c:pt idx="1684">
                  <c:v>68148</c:v>
                </c:pt>
                <c:pt idx="1685">
                  <c:v>68146</c:v>
                </c:pt>
                <c:pt idx="1686">
                  <c:v>68139</c:v>
                </c:pt>
                <c:pt idx="1687">
                  <c:v>68127</c:v>
                </c:pt>
                <c:pt idx="1688">
                  <c:v>68126</c:v>
                </c:pt>
                <c:pt idx="1689">
                  <c:v>68113</c:v>
                </c:pt>
                <c:pt idx="1690">
                  <c:v>68100</c:v>
                </c:pt>
                <c:pt idx="1691">
                  <c:v>68095</c:v>
                </c:pt>
                <c:pt idx="1692">
                  <c:v>68076</c:v>
                </c:pt>
                <c:pt idx="1693">
                  <c:v>68016</c:v>
                </c:pt>
                <c:pt idx="1694">
                  <c:v>68012</c:v>
                </c:pt>
                <c:pt idx="1695">
                  <c:v>68007</c:v>
                </c:pt>
                <c:pt idx="1696">
                  <c:v>68006</c:v>
                </c:pt>
                <c:pt idx="1697">
                  <c:v>68002</c:v>
                </c:pt>
                <c:pt idx="1698">
                  <c:v>67995</c:v>
                </c:pt>
                <c:pt idx="1699">
                  <c:v>67993</c:v>
                </c:pt>
                <c:pt idx="1700">
                  <c:v>67989</c:v>
                </c:pt>
                <c:pt idx="1701">
                  <c:v>67980</c:v>
                </c:pt>
                <c:pt idx="1702">
                  <c:v>67974</c:v>
                </c:pt>
                <c:pt idx="1703">
                  <c:v>67957</c:v>
                </c:pt>
                <c:pt idx="1704">
                  <c:v>67943</c:v>
                </c:pt>
                <c:pt idx="1705">
                  <c:v>67943</c:v>
                </c:pt>
                <c:pt idx="1706">
                  <c:v>67939</c:v>
                </c:pt>
                <c:pt idx="1707">
                  <c:v>67925</c:v>
                </c:pt>
                <c:pt idx="1708">
                  <c:v>67916</c:v>
                </c:pt>
                <c:pt idx="1709">
                  <c:v>67907</c:v>
                </c:pt>
                <c:pt idx="1710">
                  <c:v>67906</c:v>
                </c:pt>
                <c:pt idx="1711">
                  <c:v>67892</c:v>
                </c:pt>
                <c:pt idx="1712">
                  <c:v>67868</c:v>
                </c:pt>
                <c:pt idx="1713">
                  <c:v>67867</c:v>
                </c:pt>
                <c:pt idx="1714">
                  <c:v>67864</c:v>
                </c:pt>
                <c:pt idx="1715">
                  <c:v>67851</c:v>
                </c:pt>
                <c:pt idx="1716">
                  <c:v>67840</c:v>
                </c:pt>
                <c:pt idx="1717">
                  <c:v>67826</c:v>
                </c:pt>
                <c:pt idx="1718">
                  <c:v>67825</c:v>
                </c:pt>
                <c:pt idx="1719">
                  <c:v>67803</c:v>
                </c:pt>
                <c:pt idx="1720">
                  <c:v>67793</c:v>
                </c:pt>
                <c:pt idx="1721">
                  <c:v>67787</c:v>
                </c:pt>
                <c:pt idx="1722">
                  <c:v>67766</c:v>
                </c:pt>
                <c:pt idx="1723">
                  <c:v>67765</c:v>
                </c:pt>
                <c:pt idx="1724">
                  <c:v>67736</c:v>
                </c:pt>
                <c:pt idx="1725">
                  <c:v>67734</c:v>
                </c:pt>
                <c:pt idx="1726">
                  <c:v>67729</c:v>
                </c:pt>
                <c:pt idx="1727">
                  <c:v>67728</c:v>
                </c:pt>
                <c:pt idx="1728">
                  <c:v>67724</c:v>
                </c:pt>
                <c:pt idx="1729">
                  <c:v>67718</c:v>
                </c:pt>
                <c:pt idx="1730">
                  <c:v>67714</c:v>
                </c:pt>
                <c:pt idx="1731">
                  <c:v>67714</c:v>
                </c:pt>
                <c:pt idx="1732">
                  <c:v>67710</c:v>
                </c:pt>
                <c:pt idx="1733">
                  <c:v>67708</c:v>
                </c:pt>
                <c:pt idx="1734">
                  <c:v>67707</c:v>
                </c:pt>
                <c:pt idx="1735">
                  <c:v>67700</c:v>
                </c:pt>
                <c:pt idx="1736">
                  <c:v>67694</c:v>
                </c:pt>
                <c:pt idx="1737">
                  <c:v>67681</c:v>
                </c:pt>
                <c:pt idx="1738">
                  <c:v>67675</c:v>
                </c:pt>
                <c:pt idx="1739">
                  <c:v>67660</c:v>
                </c:pt>
                <c:pt idx="1740">
                  <c:v>67630</c:v>
                </c:pt>
                <c:pt idx="1741">
                  <c:v>67627</c:v>
                </c:pt>
                <c:pt idx="1742">
                  <c:v>67623</c:v>
                </c:pt>
                <c:pt idx="1743">
                  <c:v>67615</c:v>
                </c:pt>
                <c:pt idx="1744">
                  <c:v>67614</c:v>
                </c:pt>
                <c:pt idx="1745">
                  <c:v>67607</c:v>
                </c:pt>
                <c:pt idx="1746">
                  <c:v>67605</c:v>
                </c:pt>
                <c:pt idx="1747">
                  <c:v>67595</c:v>
                </c:pt>
                <c:pt idx="1748">
                  <c:v>67594</c:v>
                </c:pt>
                <c:pt idx="1749">
                  <c:v>67592</c:v>
                </c:pt>
                <c:pt idx="1750">
                  <c:v>67586</c:v>
                </c:pt>
                <c:pt idx="1751">
                  <c:v>67584</c:v>
                </c:pt>
                <c:pt idx="1752">
                  <c:v>67563</c:v>
                </c:pt>
                <c:pt idx="1753">
                  <c:v>67562</c:v>
                </c:pt>
                <c:pt idx="1754">
                  <c:v>67559</c:v>
                </c:pt>
                <c:pt idx="1755">
                  <c:v>67554</c:v>
                </c:pt>
                <c:pt idx="1756">
                  <c:v>67539</c:v>
                </c:pt>
                <c:pt idx="1757">
                  <c:v>67532</c:v>
                </c:pt>
                <c:pt idx="1758">
                  <c:v>67525</c:v>
                </c:pt>
                <c:pt idx="1759">
                  <c:v>67523</c:v>
                </c:pt>
                <c:pt idx="1760">
                  <c:v>67521</c:v>
                </c:pt>
                <c:pt idx="1761">
                  <c:v>67519</c:v>
                </c:pt>
                <c:pt idx="1762">
                  <c:v>67482</c:v>
                </c:pt>
                <c:pt idx="1763">
                  <c:v>67479</c:v>
                </c:pt>
                <c:pt idx="1764">
                  <c:v>67460</c:v>
                </c:pt>
                <c:pt idx="1765">
                  <c:v>67458</c:v>
                </c:pt>
                <c:pt idx="1766">
                  <c:v>67449</c:v>
                </c:pt>
                <c:pt idx="1767">
                  <c:v>67443</c:v>
                </c:pt>
                <c:pt idx="1768">
                  <c:v>67428</c:v>
                </c:pt>
                <c:pt idx="1769">
                  <c:v>67427</c:v>
                </c:pt>
                <c:pt idx="1770">
                  <c:v>67424</c:v>
                </c:pt>
                <c:pt idx="1771">
                  <c:v>67415</c:v>
                </c:pt>
                <c:pt idx="1772">
                  <c:v>67405</c:v>
                </c:pt>
                <c:pt idx="1773">
                  <c:v>67401</c:v>
                </c:pt>
                <c:pt idx="1774">
                  <c:v>67397</c:v>
                </c:pt>
                <c:pt idx="1775">
                  <c:v>67389</c:v>
                </c:pt>
                <c:pt idx="1776">
                  <c:v>67379</c:v>
                </c:pt>
                <c:pt idx="1777">
                  <c:v>67372</c:v>
                </c:pt>
                <c:pt idx="1778">
                  <c:v>67357</c:v>
                </c:pt>
                <c:pt idx="1779">
                  <c:v>67346</c:v>
                </c:pt>
                <c:pt idx="1780">
                  <c:v>67345</c:v>
                </c:pt>
                <c:pt idx="1781">
                  <c:v>67336</c:v>
                </c:pt>
                <c:pt idx="1782">
                  <c:v>67333</c:v>
                </c:pt>
                <c:pt idx="1783">
                  <c:v>67328</c:v>
                </c:pt>
                <c:pt idx="1784">
                  <c:v>67305</c:v>
                </c:pt>
                <c:pt idx="1785">
                  <c:v>67301</c:v>
                </c:pt>
                <c:pt idx="1786">
                  <c:v>67299</c:v>
                </c:pt>
                <c:pt idx="1787">
                  <c:v>67295</c:v>
                </c:pt>
                <c:pt idx="1788">
                  <c:v>67294</c:v>
                </c:pt>
                <c:pt idx="1789">
                  <c:v>67272</c:v>
                </c:pt>
                <c:pt idx="1790">
                  <c:v>67271</c:v>
                </c:pt>
                <c:pt idx="1791">
                  <c:v>67266</c:v>
                </c:pt>
                <c:pt idx="1792">
                  <c:v>67252</c:v>
                </c:pt>
                <c:pt idx="1793">
                  <c:v>67252</c:v>
                </c:pt>
                <c:pt idx="1794">
                  <c:v>67251</c:v>
                </c:pt>
                <c:pt idx="1795">
                  <c:v>67250</c:v>
                </c:pt>
                <c:pt idx="1796">
                  <c:v>67241</c:v>
                </c:pt>
                <c:pt idx="1797">
                  <c:v>67233</c:v>
                </c:pt>
                <c:pt idx="1798">
                  <c:v>67224</c:v>
                </c:pt>
                <c:pt idx="1799">
                  <c:v>67222</c:v>
                </c:pt>
                <c:pt idx="1800">
                  <c:v>67216</c:v>
                </c:pt>
                <c:pt idx="1801">
                  <c:v>67201</c:v>
                </c:pt>
                <c:pt idx="1802">
                  <c:v>67198</c:v>
                </c:pt>
                <c:pt idx="1803">
                  <c:v>67182</c:v>
                </c:pt>
                <c:pt idx="1804">
                  <c:v>67172</c:v>
                </c:pt>
                <c:pt idx="1805">
                  <c:v>67158</c:v>
                </c:pt>
                <c:pt idx="1806">
                  <c:v>67144</c:v>
                </c:pt>
                <c:pt idx="1807">
                  <c:v>67133</c:v>
                </c:pt>
                <c:pt idx="1808">
                  <c:v>67132</c:v>
                </c:pt>
                <c:pt idx="1809">
                  <c:v>67131</c:v>
                </c:pt>
                <c:pt idx="1810">
                  <c:v>67125</c:v>
                </c:pt>
                <c:pt idx="1811">
                  <c:v>67115</c:v>
                </c:pt>
                <c:pt idx="1812">
                  <c:v>67114</c:v>
                </c:pt>
                <c:pt idx="1813">
                  <c:v>67114</c:v>
                </c:pt>
                <c:pt idx="1814">
                  <c:v>67107</c:v>
                </c:pt>
                <c:pt idx="1815">
                  <c:v>67105</c:v>
                </c:pt>
                <c:pt idx="1816">
                  <c:v>67098</c:v>
                </c:pt>
                <c:pt idx="1817">
                  <c:v>67083</c:v>
                </c:pt>
                <c:pt idx="1818">
                  <c:v>67076</c:v>
                </c:pt>
                <c:pt idx="1819">
                  <c:v>67072</c:v>
                </c:pt>
                <c:pt idx="1820">
                  <c:v>67071</c:v>
                </c:pt>
                <c:pt idx="1821">
                  <c:v>67068</c:v>
                </c:pt>
                <c:pt idx="1822">
                  <c:v>67067</c:v>
                </c:pt>
                <c:pt idx="1823">
                  <c:v>67060</c:v>
                </c:pt>
                <c:pt idx="1824">
                  <c:v>67058</c:v>
                </c:pt>
                <c:pt idx="1825">
                  <c:v>67054</c:v>
                </c:pt>
                <c:pt idx="1826">
                  <c:v>67051</c:v>
                </c:pt>
                <c:pt idx="1827">
                  <c:v>67044</c:v>
                </c:pt>
                <c:pt idx="1828">
                  <c:v>67044</c:v>
                </c:pt>
                <c:pt idx="1829">
                  <c:v>67042</c:v>
                </c:pt>
                <c:pt idx="1830">
                  <c:v>67028</c:v>
                </c:pt>
                <c:pt idx="1831">
                  <c:v>67027</c:v>
                </c:pt>
                <c:pt idx="1832">
                  <c:v>67026</c:v>
                </c:pt>
                <c:pt idx="1833">
                  <c:v>67023</c:v>
                </c:pt>
                <c:pt idx="1834">
                  <c:v>66993</c:v>
                </c:pt>
                <c:pt idx="1835">
                  <c:v>66987</c:v>
                </c:pt>
                <c:pt idx="1836">
                  <c:v>66979</c:v>
                </c:pt>
                <c:pt idx="1837">
                  <c:v>66958</c:v>
                </c:pt>
                <c:pt idx="1838">
                  <c:v>66953</c:v>
                </c:pt>
                <c:pt idx="1839">
                  <c:v>66953</c:v>
                </c:pt>
                <c:pt idx="1840">
                  <c:v>66951</c:v>
                </c:pt>
                <c:pt idx="1841">
                  <c:v>66939</c:v>
                </c:pt>
                <c:pt idx="1842">
                  <c:v>66936</c:v>
                </c:pt>
                <c:pt idx="1843">
                  <c:v>66932</c:v>
                </c:pt>
                <c:pt idx="1844">
                  <c:v>66917</c:v>
                </c:pt>
                <c:pt idx="1845">
                  <c:v>66914</c:v>
                </c:pt>
                <c:pt idx="1846">
                  <c:v>66907</c:v>
                </c:pt>
                <c:pt idx="1847">
                  <c:v>66895</c:v>
                </c:pt>
                <c:pt idx="1848">
                  <c:v>66893</c:v>
                </c:pt>
                <c:pt idx="1849">
                  <c:v>66891</c:v>
                </c:pt>
                <c:pt idx="1850">
                  <c:v>66886</c:v>
                </c:pt>
                <c:pt idx="1851">
                  <c:v>66882</c:v>
                </c:pt>
                <c:pt idx="1852">
                  <c:v>66877</c:v>
                </c:pt>
                <c:pt idx="1853">
                  <c:v>66861</c:v>
                </c:pt>
                <c:pt idx="1854">
                  <c:v>66853</c:v>
                </c:pt>
                <c:pt idx="1855">
                  <c:v>66846</c:v>
                </c:pt>
                <c:pt idx="1856">
                  <c:v>66845</c:v>
                </c:pt>
                <c:pt idx="1857">
                  <c:v>66835</c:v>
                </c:pt>
                <c:pt idx="1858">
                  <c:v>66833</c:v>
                </c:pt>
                <c:pt idx="1859">
                  <c:v>66831</c:v>
                </c:pt>
                <c:pt idx="1860">
                  <c:v>66823</c:v>
                </c:pt>
                <c:pt idx="1861">
                  <c:v>66803</c:v>
                </c:pt>
                <c:pt idx="1862">
                  <c:v>66789</c:v>
                </c:pt>
                <c:pt idx="1863">
                  <c:v>66785</c:v>
                </c:pt>
                <c:pt idx="1864">
                  <c:v>66780</c:v>
                </c:pt>
                <c:pt idx="1865">
                  <c:v>66775</c:v>
                </c:pt>
                <c:pt idx="1866">
                  <c:v>66774</c:v>
                </c:pt>
                <c:pt idx="1867">
                  <c:v>66763</c:v>
                </c:pt>
                <c:pt idx="1868">
                  <c:v>66762</c:v>
                </c:pt>
                <c:pt idx="1869">
                  <c:v>66749</c:v>
                </c:pt>
                <c:pt idx="1870">
                  <c:v>66748</c:v>
                </c:pt>
                <c:pt idx="1871">
                  <c:v>66739</c:v>
                </c:pt>
                <c:pt idx="1872">
                  <c:v>66736</c:v>
                </c:pt>
                <c:pt idx="1873">
                  <c:v>66725</c:v>
                </c:pt>
                <c:pt idx="1874">
                  <c:v>66702</c:v>
                </c:pt>
                <c:pt idx="1875">
                  <c:v>66701</c:v>
                </c:pt>
                <c:pt idx="1876">
                  <c:v>66697</c:v>
                </c:pt>
                <c:pt idx="1877">
                  <c:v>66695</c:v>
                </c:pt>
                <c:pt idx="1878">
                  <c:v>66691</c:v>
                </c:pt>
                <c:pt idx="1879">
                  <c:v>66691</c:v>
                </c:pt>
                <c:pt idx="1880">
                  <c:v>66690</c:v>
                </c:pt>
                <c:pt idx="1881">
                  <c:v>66682</c:v>
                </c:pt>
                <c:pt idx="1882">
                  <c:v>66677</c:v>
                </c:pt>
                <c:pt idx="1883">
                  <c:v>66674</c:v>
                </c:pt>
                <c:pt idx="1884">
                  <c:v>66671</c:v>
                </c:pt>
                <c:pt idx="1885">
                  <c:v>66666</c:v>
                </c:pt>
                <c:pt idx="1886">
                  <c:v>66659</c:v>
                </c:pt>
                <c:pt idx="1887">
                  <c:v>66648</c:v>
                </c:pt>
                <c:pt idx="1888">
                  <c:v>66645</c:v>
                </c:pt>
                <c:pt idx="1889">
                  <c:v>66627</c:v>
                </c:pt>
                <c:pt idx="1890">
                  <c:v>66626</c:v>
                </c:pt>
                <c:pt idx="1891">
                  <c:v>66621</c:v>
                </c:pt>
                <c:pt idx="1892">
                  <c:v>66617</c:v>
                </c:pt>
                <c:pt idx="1893">
                  <c:v>66612</c:v>
                </c:pt>
                <c:pt idx="1894">
                  <c:v>66609</c:v>
                </c:pt>
                <c:pt idx="1895">
                  <c:v>66600</c:v>
                </c:pt>
                <c:pt idx="1896">
                  <c:v>66595</c:v>
                </c:pt>
                <c:pt idx="1897">
                  <c:v>66591</c:v>
                </c:pt>
                <c:pt idx="1898">
                  <c:v>66573</c:v>
                </c:pt>
                <c:pt idx="1899">
                  <c:v>66563</c:v>
                </c:pt>
                <c:pt idx="1900">
                  <c:v>66559</c:v>
                </c:pt>
                <c:pt idx="1901">
                  <c:v>66558</c:v>
                </c:pt>
                <c:pt idx="1902">
                  <c:v>66556</c:v>
                </c:pt>
                <c:pt idx="1903">
                  <c:v>66552</c:v>
                </c:pt>
                <c:pt idx="1904">
                  <c:v>66543</c:v>
                </c:pt>
                <c:pt idx="1905">
                  <c:v>66542</c:v>
                </c:pt>
                <c:pt idx="1906">
                  <c:v>66540</c:v>
                </c:pt>
                <c:pt idx="1907">
                  <c:v>66537</c:v>
                </c:pt>
                <c:pt idx="1908">
                  <c:v>66509</c:v>
                </c:pt>
                <c:pt idx="1909">
                  <c:v>66471</c:v>
                </c:pt>
                <c:pt idx="1910">
                  <c:v>66471</c:v>
                </c:pt>
                <c:pt idx="1911">
                  <c:v>66459</c:v>
                </c:pt>
                <c:pt idx="1912">
                  <c:v>66448</c:v>
                </c:pt>
                <c:pt idx="1913">
                  <c:v>66444</c:v>
                </c:pt>
                <c:pt idx="1914">
                  <c:v>66443</c:v>
                </c:pt>
                <c:pt idx="1915">
                  <c:v>66435</c:v>
                </c:pt>
                <c:pt idx="1916">
                  <c:v>66424</c:v>
                </c:pt>
                <c:pt idx="1917">
                  <c:v>66424</c:v>
                </c:pt>
                <c:pt idx="1918">
                  <c:v>66424</c:v>
                </c:pt>
                <c:pt idx="1919">
                  <c:v>66416</c:v>
                </c:pt>
                <c:pt idx="1920">
                  <c:v>66408</c:v>
                </c:pt>
                <c:pt idx="1921">
                  <c:v>66406</c:v>
                </c:pt>
                <c:pt idx="1922">
                  <c:v>66399</c:v>
                </c:pt>
                <c:pt idx="1923">
                  <c:v>66396</c:v>
                </c:pt>
                <c:pt idx="1924">
                  <c:v>66393</c:v>
                </c:pt>
                <c:pt idx="1925">
                  <c:v>66391</c:v>
                </c:pt>
                <c:pt idx="1926">
                  <c:v>66380</c:v>
                </c:pt>
                <c:pt idx="1927">
                  <c:v>66380</c:v>
                </c:pt>
                <c:pt idx="1928">
                  <c:v>66368</c:v>
                </c:pt>
                <c:pt idx="1929">
                  <c:v>66361</c:v>
                </c:pt>
                <c:pt idx="1930">
                  <c:v>66350</c:v>
                </c:pt>
                <c:pt idx="1931">
                  <c:v>66348</c:v>
                </c:pt>
                <c:pt idx="1932">
                  <c:v>66343</c:v>
                </c:pt>
                <c:pt idx="1933">
                  <c:v>66325</c:v>
                </c:pt>
                <c:pt idx="1934">
                  <c:v>66323</c:v>
                </c:pt>
                <c:pt idx="1935">
                  <c:v>66313</c:v>
                </c:pt>
                <c:pt idx="1936">
                  <c:v>66311</c:v>
                </c:pt>
                <c:pt idx="1937">
                  <c:v>66287</c:v>
                </c:pt>
                <c:pt idx="1938">
                  <c:v>66285</c:v>
                </c:pt>
                <c:pt idx="1939">
                  <c:v>66278</c:v>
                </c:pt>
                <c:pt idx="1940">
                  <c:v>66272</c:v>
                </c:pt>
                <c:pt idx="1941">
                  <c:v>66261</c:v>
                </c:pt>
                <c:pt idx="1942">
                  <c:v>66259</c:v>
                </c:pt>
                <c:pt idx="1943">
                  <c:v>66257</c:v>
                </c:pt>
                <c:pt idx="1944">
                  <c:v>66254</c:v>
                </c:pt>
                <c:pt idx="1945">
                  <c:v>66252</c:v>
                </c:pt>
                <c:pt idx="1946">
                  <c:v>66251</c:v>
                </c:pt>
                <c:pt idx="1947">
                  <c:v>66227</c:v>
                </c:pt>
                <c:pt idx="1948">
                  <c:v>66224</c:v>
                </c:pt>
                <c:pt idx="1949">
                  <c:v>66220</c:v>
                </c:pt>
                <c:pt idx="1950">
                  <c:v>66219</c:v>
                </c:pt>
                <c:pt idx="1951">
                  <c:v>66215</c:v>
                </c:pt>
                <c:pt idx="1952">
                  <c:v>66211</c:v>
                </c:pt>
                <c:pt idx="1953">
                  <c:v>66198</c:v>
                </c:pt>
                <c:pt idx="1954">
                  <c:v>66172</c:v>
                </c:pt>
                <c:pt idx="1955">
                  <c:v>66152</c:v>
                </c:pt>
                <c:pt idx="1956">
                  <c:v>66135</c:v>
                </c:pt>
                <c:pt idx="1957">
                  <c:v>66132</c:v>
                </c:pt>
                <c:pt idx="1958">
                  <c:v>66130</c:v>
                </c:pt>
                <c:pt idx="1959">
                  <c:v>66104</c:v>
                </c:pt>
                <c:pt idx="1960">
                  <c:v>66093</c:v>
                </c:pt>
                <c:pt idx="1961">
                  <c:v>66089</c:v>
                </c:pt>
                <c:pt idx="1962">
                  <c:v>66087</c:v>
                </c:pt>
                <c:pt idx="1963">
                  <c:v>66086</c:v>
                </c:pt>
                <c:pt idx="1964">
                  <c:v>66080</c:v>
                </c:pt>
                <c:pt idx="1965">
                  <c:v>66074</c:v>
                </c:pt>
                <c:pt idx="1966">
                  <c:v>66072</c:v>
                </c:pt>
                <c:pt idx="1967">
                  <c:v>66071</c:v>
                </c:pt>
                <c:pt idx="1968">
                  <c:v>66061</c:v>
                </c:pt>
                <c:pt idx="1969">
                  <c:v>66058</c:v>
                </c:pt>
                <c:pt idx="1970">
                  <c:v>66044</c:v>
                </c:pt>
                <c:pt idx="1971">
                  <c:v>66037</c:v>
                </c:pt>
                <c:pt idx="1972">
                  <c:v>66033</c:v>
                </c:pt>
                <c:pt idx="1973">
                  <c:v>66027</c:v>
                </c:pt>
                <c:pt idx="1974">
                  <c:v>66026</c:v>
                </c:pt>
                <c:pt idx="1975">
                  <c:v>66013</c:v>
                </c:pt>
                <c:pt idx="1976">
                  <c:v>66000</c:v>
                </c:pt>
                <c:pt idx="1977">
                  <c:v>65997</c:v>
                </c:pt>
                <c:pt idx="1978">
                  <c:v>65982</c:v>
                </c:pt>
                <c:pt idx="1979">
                  <c:v>65979</c:v>
                </c:pt>
                <c:pt idx="1980">
                  <c:v>65978</c:v>
                </c:pt>
                <c:pt idx="1981">
                  <c:v>65971</c:v>
                </c:pt>
                <c:pt idx="1982">
                  <c:v>65962</c:v>
                </c:pt>
                <c:pt idx="1983">
                  <c:v>65949</c:v>
                </c:pt>
                <c:pt idx="1984">
                  <c:v>65947</c:v>
                </c:pt>
                <c:pt idx="1985">
                  <c:v>65942</c:v>
                </c:pt>
                <c:pt idx="1986">
                  <c:v>65939</c:v>
                </c:pt>
                <c:pt idx="1987">
                  <c:v>65935</c:v>
                </c:pt>
                <c:pt idx="1988">
                  <c:v>65932</c:v>
                </c:pt>
                <c:pt idx="1989">
                  <c:v>65917</c:v>
                </c:pt>
                <c:pt idx="1990">
                  <c:v>65910</c:v>
                </c:pt>
                <c:pt idx="1991">
                  <c:v>65909</c:v>
                </c:pt>
                <c:pt idx="1992">
                  <c:v>65893</c:v>
                </c:pt>
                <c:pt idx="1993">
                  <c:v>65892</c:v>
                </c:pt>
                <c:pt idx="1994">
                  <c:v>65886</c:v>
                </c:pt>
                <c:pt idx="1995">
                  <c:v>65880</c:v>
                </c:pt>
                <c:pt idx="1996">
                  <c:v>65873</c:v>
                </c:pt>
                <c:pt idx="1997">
                  <c:v>65866</c:v>
                </c:pt>
                <c:pt idx="1998">
                  <c:v>65860</c:v>
                </c:pt>
                <c:pt idx="1999">
                  <c:v>65836</c:v>
                </c:pt>
                <c:pt idx="2000">
                  <c:v>65824</c:v>
                </c:pt>
                <c:pt idx="2001">
                  <c:v>65817</c:v>
                </c:pt>
                <c:pt idx="2002">
                  <c:v>65807</c:v>
                </c:pt>
                <c:pt idx="2003">
                  <c:v>65802</c:v>
                </c:pt>
                <c:pt idx="2004">
                  <c:v>65782</c:v>
                </c:pt>
                <c:pt idx="2005">
                  <c:v>65768</c:v>
                </c:pt>
                <c:pt idx="2006">
                  <c:v>65766</c:v>
                </c:pt>
                <c:pt idx="2007">
                  <c:v>65753</c:v>
                </c:pt>
                <c:pt idx="2008">
                  <c:v>65744</c:v>
                </c:pt>
                <c:pt idx="2009">
                  <c:v>65737</c:v>
                </c:pt>
                <c:pt idx="2010">
                  <c:v>65737</c:v>
                </c:pt>
                <c:pt idx="2011">
                  <c:v>65724</c:v>
                </c:pt>
                <c:pt idx="2012">
                  <c:v>65724</c:v>
                </c:pt>
                <c:pt idx="2013">
                  <c:v>65716</c:v>
                </c:pt>
                <c:pt idx="2014">
                  <c:v>65702</c:v>
                </c:pt>
                <c:pt idx="2015">
                  <c:v>65700</c:v>
                </c:pt>
                <c:pt idx="2016">
                  <c:v>65686</c:v>
                </c:pt>
                <c:pt idx="2017">
                  <c:v>65683</c:v>
                </c:pt>
                <c:pt idx="2018">
                  <c:v>65668</c:v>
                </c:pt>
                <c:pt idx="2019">
                  <c:v>65663</c:v>
                </c:pt>
                <c:pt idx="2020">
                  <c:v>65661</c:v>
                </c:pt>
                <c:pt idx="2021">
                  <c:v>65661</c:v>
                </c:pt>
                <c:pt idx="2022">
                  <c:v>65660</c:v>
                </c:pt>
                <c:pt idx="2023">
                  <c:v>65649</c:v>
                </c:pt>
                <c:pt idx="2024">
                  <c:v>65649</c:v>
                </c:pt>
                <c:pt idx="2025">
                  <c:v>65648</c:v>
                </c:pt>
                <c:pt idx="2026">
                  <c:v>65641</c:v>
                </c:pt>
                <c:pt idx="2027">
                  <c:v>65640</c:v>
                </c:pt>
                <c:pt idx="2028">
                  <c:v>65640</c:v>
                </c:pt>
                <c:pt idx="2029">
                  <c:v>65607</c:v>
                </c:pt>
                <c:pt idx="2030">
                  <c:v>65607</c:v>
                </c:pt>
                <c:pt idx="2031">
                  <c:v>65601</c:v>
                </c:pt>
                <c:pt idx="2032">
                  <c:v>65587</c:v>
                </c:pt>
                <c:pt idx="2033">
                  <c:v>65579</c:v>
                </c:pt>
                <c:pt idx="2034">
                  <c:v>65576</c:v>
                </c:pt>
                <c:pt idx="2035">
                  <c:v>65575</c:v>
                </c:pt>
                <c:pt idx="2036">
                  <c:v>65568</c:v>
                </c:pt>
                <c:pt idx="2037">
                  <c:v>65564</c:v>
                </c:pt>
                <c:pt idx="2038">
                  <c:v>65563</c:v>
                </c:pt>
                <c:pt idx="2039">
                  <c:v>65557</c:v>
                </c:pt>
                <c:pt idx="2040">
                  <c:v>65556</c:v>
                </c:pt>
                <c:pt idx="2041">
                  <c:v>65510</c:v>
                </c:pt>
                <c:pt idx="2042">
                  <c:v>65510</c:v>
                </c:pt>
                <c:pt idx="2043">
                  <c:v>65504</c:v>
                </c:pt>
                <c:pt idx="2044">
                  <c:v>65501</c:v>
                </c:pt>
                <c:pt idx="2045">
                  <c:v>65500</c:v>
                </c:pt>
                <c:pt idx="2046">
                  <c:v>65500</c:v>
                </c:pt>
                <c:pt idx="2047">
                  <c:v>65496</c:v>
                </c:pt>
                <c:pt idx="2048">
                  <c:v>65490</c:v>
                </c:pt>
                <c:pt idx="2049">
                  <c:v>65486</c:v>
                </c:pt>
                <c:pt idx="2050">
                  <c:v>65485</c:v>
                </c:pt>
                <c:pt idx="2051">
                  <c:v>65484</c:v>
                </c:pt>
                <c:pt idx="2052">
                  <c:v>65482</c:v>
                </c:pt>
                <c:pt idx="2053">
                  <c:v>65479</c:v>
                </c:pt>
                <c:pt idx="2054">
                  <c:v>65469</c:v>
                </c:pt>
                <c:pt idx="2055">
                  <c:v>65454</c:v>
                </c:pt>
                <c:pt idx="2056">
                  <c:v>65453</c:v>
                </c:pt>
                <c:pt idx="2057">
                  <c:v>65452</c:v>
                </c:pt>
                <c:pt idx="2058">
                  <c:v>65442</c:v>
                </c:pt>
                <c:pt idx="2059">
                  <c:v>65438</c:v>
                </c:pt>
                <c:pt idx="2060">
                  <c:v>65436</c:v>
                </c:pt>
                <c:pt idx="2061">
                  <c:v>65426</c:v>
                </c:pt>
                <c:pt idx="2062">
                  <c:v>65418</c:v>
                </c:pt>
                <c:pt idx="2063">
                  <c:v>65400</c:v>
                </c:pt>
                <c:pt idx="2064">
                  <c:v>65390</c:v>
                </c:pt>
                <c:pt idx="2065">
                  <c:v>65377</c:v>
                </c:pt>
                <c:pt idx="2066">
                  <c:v>65376</c:v>
                </c:pt>
                <c:pt idx="2067">
                  <c:v>65376</c:v>
                </c:pt>
                <c:pt idx="2068">
                  <c:v>65375</c:v>
                </c:pt>
                <c:pt idx="2069">
                  <c:v>65366</c:v>
                </c:pt>
                <c:pt idx="2070">
                  <c:v>65363</c:v>
                </c:pt>
                <c:pt idx="2071">
                  <c:v>65359</c:v>
                </c:pt>
                <c:pt idx="2072">
                  <c:v>65354</c:v>
                </c:pt>
                <c:pt idx="2073">
                  <c:v>65345</c:v>
                </c:pt>
                <c:pt idx="2074">
                  <c:v>65331</c:v>
                </c:pt>
                <c:pt idx="2075">
                  <c:v>65330</c:v>
                </c:pt>
                <c:pt idx="2076">
                  <c:v>65328</c:v>
                </c:pt>
                <c:pt idx="2077">
                  <c:v>65324</c:v>
                </c:pt>
                <c:pt idx="2078">
                  <c:v>65324</c:v>
                </c:pt>
                <c:pt idx="2079">
                  <c:v>65316</c:v>
                </c:pt>
                <c:pt idx="2080">
                  <c:v>65305</c:v>
                </c:pt>
                <c:pt idx="2081">
                  <c:v>65305</c:v>
                </c:pt>
                <c:pt idx="2082">
                  <c:v>65298</c:v>
                </c:pt>
                <c:pt idx="2083">
                  <c:v>65297</c:v>
                </c:pt>
                <c:pt idx="2084">
                  <c:v>65292</c:v>
                </c:pt>
                <c:pt idx="2085">
                  <c:v>65285</c:v>
                </c:pt>
                <c:pt idx="2086">
                  <c:v>65251</c:v>
                </c:pt>
                <c:pt idx="2087">
                  <c:v>65234</c:v>
                </c:pt>
                <c:pt idx="2088">
                  <c:v>65223</c:v>
                </c:pt>
                <c:pt idx="2089">
                  <c:v>65218</c:v>
                </c:pt>
                <c:pt idx="2090">
                  <c:v>65213</c:v>
                </c:pt>
                <c:pt idx="2091">
                  <c:v>65204</c:v>
                </c:pt>
                <c:pt idx="2092">
                  <c:v>65203</c:v>
                </c:pt>
                <c:pt idx="2093">
                  <c:v>65201</c:v>
                </c:pt>
                <c:pt idx="2094">
                  <c:v>65199</c:v>
                </c:pt>
                <c:pt idx="2095">
                  <c:v>65177</c:v>
                </c:pt>
                <c:pt idx="2096">
                  <c:v>65172</c:v>
                </c:pt>
                <c:pt idx="2097">
                  <c:v>65150</c:v>
                </c:pt>
                <c:pt idx="2098">
                  <c:v>65144</c:v>
                </c:pt>
                <c:pt idx="2099">
                  <c:v>65144</c:v>
                </c:pt>
                <c:pt idx="2100">
                  <c:v>65132</c:v>
                </c:pt>
                <c:pt idx="2101">
                  <c:v>65127</c:v>
                </c:pt>
                <c:pt idx="2102">
                  <c:v>65122</c:v>
                </c:pt>
                <c:pt idx="2103">
                  <c:v>65120</c:v>
                </c:pt>
                <c:pt idx="2104">
                  <c:v>65107</c:v>
                </c:pt>
                <c:pt idx="2105">
                  <c:v>65107</c:v>
                </c:pt>
                <c:pt idx="2106">
                  <c:v>65105</c:v>
                </c:pt>
                <c:pt idx="2107">
                  <c:v>65102</c:v>
                </c:pt>
                <c:pt idx="2108">
                  <c:v>65094</c:v>
                </c:pt>
                <c:pt idx="2109">
                  <c:v>65093</c:v>
                </c:pt>
                <c:pt idx="2110">
                  <c:v>65086</c:v>
                </c:pt>
                <c:pt idx="2111">
                  <c:v>65086</c:v>
                </c:pt>
                <c:pt idx="2112">
                  <c:v>65080</c:v>
                </c:pt>
                <c:pt idx="2113">
                  <c:v>65073</c:v>
                </c:pt>
                <c:pt idx="2114">
                  <c:v>65064</c:v>
                </c:pt>
                <c:pt idx="2115">
                  <c:v>65051</c:v>
                </c:pt>
                <c:pt idx="2116">
                  <c:v>65047</c:v>
                </c:pt>
                <c:pt idx="2117">
                  <c:v>65023</c:v>
                </c:pt>
                <c:pt idx="2118">
                  <c:v>65022</c:v>
                </c:pt>
                <c:pt idx="2119">
                  <c:v>65016</c:v>
                </c:pt>
                <c:pt idx="2120">
                  <c:v>65015</c:v>
                </c:pt>
                <c:pt idx="2121">
                  <c:v>65011</c:v>
                </c:pt>
                <c:pt idx="2122">
                  <c:v>65011</c:v>
                </c:pt>
                <c:pt idx="2123">
                  <c:v>65005</c:v>
                </c:pt>
                <c:pt idx="2124">
                  <c:v>65002</c:v>
                </c:pt>
                <c:pt idx="2125">
                  <c:v>64998</c:v>
                </c:pt>
                <c:pt idx="2126">
                  <c:v>64992</c:v>
                </c:pt>
                <c:pt idx="2127">
                  <c:v>64985</c:v>
                </c:pt>
                <c:pt idx="2128">
                  <c:v>64979</c:v>
                </c:pt>
                <c:pt idx="2129">
                  <c:v>64971</c:v>
                </c:pt>
                <c:pt idx="2130">
                  <c:v>64962</c:v>
                </c:pt>
                <c:pt idx="2131">
                  <c:v>64959</c:v>
                </c:pt>
                <c:pt idx="2132">
                  <c:v>64942</c:v>
                </c:pt>
                <c:pt idx="2133">
                  <c:v>64937</c:v>
                </c:pt>
                <c:pt idx="2134">
                  <c:v>64926</c:v>
                </c:pt>
                <c:pt idx="2135">
                  <c:v>64923</c:v>
                </c:pt>
                <c:pt idx="2136">
                  <c:v>64914</c:v>
                </c:pt>
                <c:pt idx="2137">
                  <c:v>64903</c:v>
                </c:pt>
                <c:pt idx="2138">
                  <c:v>64901</c:v>
                </c:pt>
                <c:pt idx="2139">
                  <c:v>64894</c:v>
                </c:pt>
                <c:pt idx="2140">
                  <c:v>64893</c:v>
                </c:pt>
                <c:pt idx="2141">
                  <c:v>64889</c:v>
                </c:pt>
                <c:pt idx="2142">
                  <c:v>64886</c:v>
                </c:pt>
                <c:pt idx="2143">
                  <c:v>64886</c:v>
                </c:pt>
                <c:pt idx="2144">
                  <c:v>64866</c:v>
                </c:pt>
                <c:pt idx="2145">
                  <c:v>64864</c:v>
                </c:pt>
                <c:pt idx="2146">
                  <c:v>64858</c:v>
                </c:pt>
                <c:pt idx="2147">
                  <c:v>64854</c:v>
                </c:pt>
                <c:pt idx="2148">
                  <c:v>64852</c:v>
                </c:pt>
                <c:pt idx="2149">
                  <c:v>64851</c:v>
                </c:pt>
                <c:pt idx="2150">
                  <c:v>64850</c:v>
                </c:pt>
                <c:pt idx="2151">
                  <c:v>64846</c:v>
                </c:pt>
                <c:pt idx="2152">
                  <c:v>64840</c:v>
                </c:pt>
                <c:pt idx="2153">
                  <c:v>64837</c:v>
                </c:pt>
                <c:pt idx="2154">
                  <c:v>64832</c:v>
                </c:pt>
                <c:pt idx="2155">
                  <c:v>64832</c:v>
                </c:pt>
                <c:pt idx="2156">
                  <c:v>64831</c:v>
                </c:pt>
                <c:pt idx="2157">
                  <c:v>64829</c:v>
                </c:pt>
                <c:pt idx="2158">
                  <c:v>64818</c:v>
                </c:pt>
                <c:pt idx="2159">
                  <c:v>64804</c:v>
                </c:pt>
                <c:pt idx="2160">
                  <c:v>64802</c:v>
                </c:pt>
                <c:pt idx="2161">
                  <c:v>64797</c:v>
                </c:pt>
                <c:pt idx="2162">
                  <c:v>64796</c:v>
                </c:pt>
                <c:pt idx="2163">
                  <c:v>64784</c:v>
                </c:pt>
                <c:pt idx="2164">
                  <c:v>64782</c:v>
                </c:pt>
                <c:pt idx="2165">
                  <c:v>64776</c:v>
                </c:pt>
                <c:pt idx="2166">
                  <c:v>64770</c:v>
                </c:pt>
                <c:pt idx="2167">
                  <c:v>64769</c:v>
                </c:pt>
                <c:pt idx="2168">
                  <c:v>64760</c:v>
                </c:pt>
                <c:pt idx="2169">
                  <c:v>64759</c:v>
                </c:pt>
                <c:pt idx="2170">
                  <c:v>64748</c:v>
                </c:pt>
                <c:pt idx="2171">
                  <c:v>64739</c:v>
                </c:pt>
                <c:pt idx="2172">
                  <c:v>64732</c:v>
                </c:pt>
                <c:pt idx="2173">
                  <c:v>64729</c:v>
                </c:pt>
                <c:pt idx="2174">
                  <c:v>64722</c:v>
                </c:pt>
                <c:pt idx="2175">
                  <c:v>64720</c:v>
                </c:pt>
                <c:pt idx="2176">
                  <c:v>64719</c:v>
                </c:pt>
                <c:pt idx="2177">
                  <c:v>64716</c:v>
                </c:pt>
                <c:pt idx="2178">
                  <c:v>64713</c:v>
                </c:pt>
                <c:pt idx="2179">
                  <c:v>64706</c:v>
                </c:pt>
                <c:pt idx="2180">
                  <c:v>64697</c:v>
                </c:pt>
                <c:pt idx="2181">
                  <c:v>64694</c:v>
                </c:pt>
                <c:pt idx="2182">
                  <c:v>64688</c:v>
                </c:pt>
                <c:pt idx="2183">
                  <c:v>64685</c:v>
                </c:pt>
                <c:pt idx="2184">
                  <c:v>64680</c:v>
                </c:pt>
                <c:pt idx="2185">
                  <c:v>64657</c:v>
                </c:pt>
                <c:pt idx="2186">
                  <c:v>64651</c:v>
                </c:pt>
                <c:pt idx="2187">
                  <c:v>64631</c:v>
                </c:pt>
                <c:pt idx="2188">
                  <c:v>64631</c:v>
                </c:pt>
                <c:pt idx="2189">
                  <c:v>64620</c:v>
                </c:pt>
                <c:pt idx="2190">
                  <c:v>64605</c:v>
                </c:pt>
                <c:pt idx="2191">
                  <c:v>64604</c:v>
                </c:pt>
                <c:pt idx="2192">
                  <c:v>64597</c:v>
                </c:pt>
                <c:pt idx="2193">
                  <c:v>64578</c:v>
                </c:pt>
                <c:pt idx="2194">
                  <c:v>64564</c:v>
                </c:pt>
                <c:pt idx="2195">
                  <c:v>64554</c:v>
                </c:pt>
                <c:pt idx="2196">
                  <c:v>64538</c:v>
                </c:pt>
                <c:pt idx="2197">
                  <c:v>64537</c:v>
                </c:pt>
                <c:pt idx="2198">
                  <c:v>64534</c:v>
                </c:pt>
                <c:pt idx="2199">
                  <c:v>64525</c:v>
                </c:pt>
                <c:pt idx="2200">
                  <c:v>64524</c:v>
                </c:pt>
                <c:pt idx="2201">
                  <c:v>64522</c:v>
                </c:pt>
                <c:pt idx="2202">
                  <c:v>64516</c:v>
                </c:pt>
                <c:pt idx="2203">
                  <c:v>64499</c:v>
                </c:pt>
                <c:pt idx="2204">
                  <c:v>64497</c:v>
                </c:pt>
                <c:pt idx="2205">
                  <c:v>64491</c:v>
                </c:pt>
                <c:pt idx="2206">
                  <c:v>64474</c:v>
                </c:pt>
                <c:pt idx="2207">
                  <c:v>64472</c:v>
                </c:pt>
                <c:pt idx="2208">
                  <c:v>64468</c:v>
                </c:pt>
                <c:pt idx="2209">
                  <c:v>64466</c:v>
                </c:pt>
                <c:pt idx="2210">
                  <c:v>64459</c:v>
                </c:pt>
                <c:pt idx="2211">
                  <c:v>64457</c:v>
                </c:pt>
                <c:pt idx="2212">
                  <c:v>64454</c:v>
                </c:pt>
                <c:pt idx="2213">
                  <c:v>64453</c:v>
                </c:pt>
                <c:pt idx="2214">
                  <c:v>64448</c:v>
                </c:pt>
                <c:pt idx="2215">
                  <c:v>64441</c:v>
                </c:pt>
                <c:pt idx="2216">
                  <c:v>64427</c:v>
                </c:pt>
                <c:pt idx="2217">
                  <c:v>64425</c:v>
                </c:pt>
                <c:pt idx="2218">
                  <c:v>64424</c:v>
                </c:pt>
                <c:pt idx="2219">
                  <c:v>64409</c:v>
                </c:pt>
                <c:pt idx="2220">
                  <c:v>64408</c:v>
                </c:pt>
                <c:pt idx="2221">
                  <c:v>64402</c:v>
                </c:pt>
                <c:pt idx="2222">
                  <c:v>64399</c:v>
                </c:pt>
                <c:pt idx="2223">
                  <c:v>64392</c:v>
                </c:pt>
                <c:pt idx="2224">
                  <c:v>64387</c:v>
                </c:pt>
                <c:pt idx="2225">
                  <c:v>64374</c:v>
                </c:pt>
                <c:pt idx="2226">
                  <c:v>64371</c:v>
                </c:pt>
                <c:pt idx="2227">
                  <c:v>64370</c:v>
                </c:pt>
                <c:pt idx="2228">
                  <c:v>64358</c:v>
                </c:pt>
                <c:pt idx="2229">
                  <c:v>64357</c:v>
                </c:pt>
                <c:pt idx="2230">
                  <c:v>64356</c:v>
                </c:pt>
                <c:pt idx="2231">
                  <c:v>64355</c:v>
                </c:pt>
                <c:pt idx="2232">
                  <c:v>64352</c:v>
                </c:pt>
                <c:pt idx="2233">
                  <c:v>64351</c:v>
                </c:pt>
                <c:pt idx="2234">
                  <c:v>64346</c:v>
                </c:pt>
                <c:pt idx="2235">
                  <c:v>64339</c:v>
                </c:pt>
                <c:pt idx="2236">
                  <c:v>64337</c:v>
                </c:pt>
                <c:pt idx="2237">
                  <c:v>64334</c:v>
                </c:pt>
                <c:pt idx="2238">
                  <c:v>64332</c:v>
                </c:pt>
                <c:pt idx="2239">
                  <c:v>64330</c:v>
                </c:pt>
                <c:pt idx="2240">
                  <c:v>64327</c:v>
                </c:pt>
                <c:pt idx="2241">
                  <c:v>64317</c:v>
                </c:pt>
                <c:pt idx="2242">
                  <c:v>64315</c:v>
                </c:pt>
                <c:pt idx="2243">
                  <c:v>64306</c:v>
                </c:pt>
                <c:pt idx="2244">
                  <c:v>64299</c:v>
                </c:pt>
                <c:pt idx="2245">
                  <c:v>64295</c:v>
                </c:pt>
                <c:pt idx="2246">
                  <c:v>64291</c:v>
                </c:pt>
                <c:pt idx="2247">
                  <c:v>64290</c:v>
                </c:pt>
                <c:pt idx="2248">
                  <c:v>64284</c:v>
                </c:pt>
                <c:pt idx="2249">
                  <c:v>64273</c:v>
                </c:pt>
                <c:pt idx="2250">
                  <c:v>64273</c:v>
                </c:pt>
                <c:pt idx="2251">
                  <c:v>64267</c:v>
                </c:pt>
                <c:pt idx="2252">
                  <c:v>64250</c:v>
                </c:pt>
                <c:pt idx="2253">
                  <c:v>64241</c:v>
                </c:pt>
                <c:pt idx="2254">
                  <c:v>64232</c:v>
                </c:pt>
                <c:pt idx="2255">
                  <c:v>64231</c:v>
                </c:pt>
                <c:pt idx="2256">
                  <c:v>64223</c:v>
                </c:pt>
                <c:pt idx="2257">
                  <c:v>64220</c:v>
                </c:pt>
                <c:pt idx="2258">
                  <c:v>64218</c:v>
                </c:pt>
                <c:pt idx="2259">
                  <c:v>64214</c:v>
                </c:pt>
                <c:pt idx="2260">
                  <c:v>64205</c:v>
                </c:pt>
                <c:pt idx="2261">
                  <c:v>64204</c:v>
                </c:pt>
                <c:pt idx="2262">
                  <c:v>64201</c:v>
                </c:pt>
                <c:pt idx="2263">
                  <c:v>64191</c:v>
                </c:pt>
                <c:pt idx="2264">
                  <c:v>64187</c:v>
                </c:pt>
                <c:pt idx="2265">
                  <c:v>64187</c:v>
                </c:pt>
                <c:pt idx="2266">
                  <c:v>64184</c:v>
                </c:pt>
                <c:pt idx="2267">
                  <c:v>64181</c:v>
                </c:pt>
                <c:pt idx="2268">
                  <c:v>64180</c:v>
                </c:pt>
                <c:pt idx="2269">
                  <c:v>64164</c:v>
                </c:pt>
                <c:pt idx="2270">
                  <c:v>64164</c:v>
                </c:pt>
                <c:pt idx="2271">
                  <c:v>64162</c:v>
                </c:pt>
                <c:pt idx="2272">
                  <c:v>64162</c:v>
                </c:pt>
                <c:pt idx="2273">
                  <c:v>64146</c:v>
                </c:pt>
                <c:pt idx="2274">
                  <c:v>64146</c:v>
                </c:pt>
                <c:pt idx="2275">
                  <c:v>64131</c:v>
                </c:pt>
                <c:pt idx="2276">
                  <c:v>64124</c:v>
                </c:pt>
                <c:pt idx="2277">
                  <c:v>64123</c:v>
                </c:pt>
                <c:pt idx="2278">
                  <c:v>64119</c:v>
                </c:pt>
                <c:pt idx="2279">
                  <c:v>64110</c:v>
                </c:pt>
                <c:pt idx="2280">
                  <c:v>64106</c:v>
                </c:pt>
                <c:pt idx="2281">
                  <c:v>64105</c:v>
                </c:pt>
                <c:pt idx="2282">
                  <c:v>64104</c:v>
                </c:pt>
                <c:pt idx="2283">
                  <c:v>64101</c:v>
                </c:pt>
                <c:pt idx="2284">
                  <c:v>64098</c:v>
                </c:pt>
                <c:pt idx="2285">
                  <c:v>64095</c:v>
                </c:pt>
                <c:pt idx="2286">
                  <c:v>64086</c:v>
                </c:pt>
                <c:pt idx="2287">
                  <c:v>64085</c:v>
                </c:pt>
                <c:pt idx="2288">
                  <c:v>64084</c:v>
                </c:pt>
                <c:pt idx="2289">
                  <c:v>64084</c:v>
                </c:pt>
                <c:pt idx="2290">
                  <c:v>64082</c:v>
                </c:pt>
                <c:pt idx="2291">
                  <c:v>64082</c:v>
                </c:pt>
                <c:pt idx="2292">
                  <c:v>64081</c:v>
                </c:pt>
                <c:pt idx="2293">
                  <c:v>64076</c:v>
                </c:pt>
                <c:pt idx="2294">
                  <c:v>64059</c:v>
                </c:pt>
                <c:pt idx="2295">
                  <c:v>64059</c:v>
                </c:pt>
                <c:pt idx="2296">
                  <c:v>64056</c:v>
                </c:pt>
                <c:pt idx="2297">
                  <c:v>64056</c:v>
                </c:pt>
                <c:pt idx="2298">
                  <c:v>64046</c:v>
                </c:pt>
                <c:pt idx="2299">
                  <c:v>64038</c:v>
                </c:pt>
                <c:pt idx="2300">
                  <c:v>64035</c:v>
                </c:pt>
                <c:pt idx="2301">
                  <c:v>64032</c:v>
                </c:pt>
                <c:pt idx="2302">
                  <c:v>64032</c:v>
                </c:pt>
                <c:pt idx="2303">
                  <c:v>64031</c:v>
                </c:pt>
                <c:pt idx="2304">
                  <c:v>64025</c:v>
                </c:pt>
                <c:pt idx="2305">
                  <c:v>64021</c:v>
                </c:pt>
                <c:pt idx="2306">
                  <c:v>64020</c:v>
                </c:pt>
                <c:pt idx="2307">
                  <c:v>64016</c:v>
                </c:pt>
                <c:pt idx="2308">
                  <c:v>64015</c:v>
                </c:pt>
                <c:pt idx="2309">
                  <c:v>64015</c:v>
                </c:pt>
                <c:pt idx="2310">
                  <c:v>64009</c:v>
                </c:pt>
                <c:pt idx="2311">
                  <c:v>64004</c:v>
                </c:pt>
                <c:pt idx="2312">
                  <c:v>63996</c:v>
                </c:pt>
                <c:pt idx="2313">
                  <c:v>63993</c:v>
                </c:pt>
                <c:pt idx="2314">
                  <c:v>63990</c:v>
                </c:pt>
                <c:pt idx="2315">
                  <c:v>63990</c:v>
                </c:pt>
                <c:pt idx="2316">
                  <c:v>63989</c:v>
                </c:pt>
                <c:pt idx="2317">
                  <c:v>63985</c:v>
                </c:pt>
                <c:pt idx="2318">
                  <c:v>63980</c:v>
                </c:pt>
                <c:pt idx="2319">
                  <c:v>63976</c:v>
                </c:pt>
                <c:pt idx="2320">
                  <c:v>63969</c:v>
                </c:pt>
                <c:pt idx="2321">
                  <c:v>63966</c:v>
                </c:pt>
                <c:pt idx="2322">
                  <c:v>63964</c:v>
                </c:pt>
                <c:pt idx="2323">
                  <c:v>63951</c:v>
                </c:pt>
                <c:pt idx="2324">
                  <c:v>63942</c:v>
                </c:pt>
                <c:pt idx="2325">
                  <c:v>63931</c:v>
                </c:pt>
                <c:pt idx="2326">
                  <c:v>63928</c:v>
                </c:pt>
                <c:pt idx="2327">
                  <c:v>63927</c:v>
                </c:pt>
                <c:pt idx="2328">
                  <c:v>63922</c:v>
                </c:pt>
                <c:pt idx="2329">
                  <c:v>63918</c:v>
                </c:pt>
                <c:pt idx="2330">
                  <c:v>63904</c:v>
                </c:pt>
                <c:pt idx="2331">
                  <c:v>63895</c:v>
                </c:pt>
                <c:pt idx="2332">
                  <c:v>63889</c:v>
                </c:pt>
                <c:pt idx="2333">
                  <c:v>63884</c:v>
                </c:pt>
                <c:pt idx="2334">
                  <c:v>63883</c:v>
                </c:pt>
                <c:pt idx="2335">
                  <c:v>63876</c:v>
                </c:pt>
                <c:pt idx="2336">
                  <c:v>63850</c:v>
                </c:pt>
                <c:pt idx="2337">
                  <c:v>63850</c:v>
                </c:pt>
                <c:pt idx="2338">
                  <c:v>63849</c:v>
                </c:pt>
                <c:pt idx="2339">
                  <c:v>63829</c:v>
                </c:pt>
                <c:pt idx="2340">
                  <c:v>63814</c:v>
                </c:pt>
                <c:pt idx="2341">
                  <c:v>63814</c:v>
                </c:pt>
                <c:pt idx="2342">
                  <c:v>63813</c:v>
                </c:pt>
                <c:pt idx="2343">
                  <c:v>63811</c:v>
                </c:pt>
                <c:pt idx="2344">
                  <c:v>63808</c:v>
                </c:pt>
                <c:pt idx="2345">
                  <c:v>63802</c:v>
                </c:pt>
                <c:pt idx="2346">
                  <c:v>63799</c:v>
                </c:pt>
                <c:pt idx="2347">
                  <c:v>63798</c:v>
                </c:pt>
                <c:pt idx="2348">
                  <c:v>63798</c:v>
                </c:pt>
                <c:pt idx="2349">
                  <c:v>63795</c:v>
                </c:pt>
                <c:pt idx="2350">
                  <c:v>63790</c:v>
                </c:pt>
                <c:pt idx="2351">
                  <c:v>63788</c:v>
                </c:pt>
                <c:pt idx="2352">
                  <c:v>63786</c:v>
                </c:pt>
                <c:pt idx="2353">
                  <c:v>63777</c:v>
                </c:pt>
                <c:pt idx="2354">
                  <c:v>63773</c:v>
                </c:pt>
                <c:pt idx="2355">
                  <c:v>63773</c:v>
                </c:pt>
                <c:pt idx="2356">
                  <c:v>63762</c:v>
                </c:pt>
                <c:pt idx="2357">
                  <c:v>63759</c:v>
                </c:pt>
                <c:pt idx="2358">
                  <c:v>63757</c:v>
                </c:pt>
                <c:pt idx="2359">
                  <c:v>63745</c:v>
                </c:pt>
                <c:pt idx="2360">
                  <c:v>63743</c:v>
                </c:pt>
                <c:pt idx="2361">
                  <c:v>63738</c:v>
                </c:pt>
                <c:pt idx="2362">
                  <c:v>63724</c:v>
                </c:pt>
                <c:pt idx="2363">
                  <c:v>63708</c:v>
                </c:pt>
                <c:pt idx="2364">
                  <c:v>63708</c:v>
                </c:pt>
                <c:pt idx="2365">
                  <c:v>63705</c:v>
                </c:pt>
                <c:pt idx="2366">
                  <c:v>63690</c:v>
                </c:pt>
                <c:pt idx="2367">
                  <c:v>63688</c:v>
                </c:pt>
                <c:pt idx="2368">
                  <c:v>63688</c:v>
                </c:pt>
                <c:pt idx="2369">
                  <c:v>63682</c:v>
                </c:pt>
                <c:pt idx="2370">
                  <c:v>63652</c:v>
                </c:pt>
                <c:pt idx="2371">
                  <c:v>63646</c:v>
                </c:pt>
                <c:pt idx="2372">
                  <c:v>63644</c:v>
                </c:pt>
                <c:pt idx="2373">
                  <c:v>63644</c:v>
                </c:pt>
                <c:pt idx="2374">
                  <c:v>63638</c:v>
                </c:pt>
                <c:pt idx="2375">
                  <c:v>63635</c:v>
                </c:pt>
                <c:pt idx="2376">
                  <c:v>63634</c:v>
                </c:pt>
                <c:pt idx="2377">
                  <c:v>63625</c:v>
                </c:pt>
                <c:pt idx="2378">
                  <c:v>63622</c:v>
                </c:pt>
                <c:pt idx="2379">
                  <c:v>63621</c:v>
                </c:pt>
                <c:pt idx="2380">
                  <c:v>63616</c:v>
                </c:pt>
                <c:pt idx="2381">
                  <c:v>63609</c:v>
                </c:pt>
                <c:pt idx="2382">
                  <c:v>63609</c:v>
                </c:pt>
                <c:pt idx="2383">
                  <c:v>63606</c:v>
                </c:pt>
                <c:pt idx="2384">
                  <c:v>63601</c:v>
                </c:pt>
                <c:pt idx="2385">
                  <c:v>63594</c:v>
                </c:pt>
                <c:pt idx="2386">
                  <c:v>63594</c:v>
                </c:pt>
                <c:pt idx="2387">
                  <c:v>63582</c:v>
                </c:pt>
                <c:pt idx="2388">
                  <c:v>63577</c:v>
                </c:pt>
                <c:pt idx="2389">
                  <c:v>63571</c:v>
                </c:pt>
                <c:pt idx="2390">
                  <c:v>63568</c:v>
                </c:pt>
                <c:pt idx="2391">
                  <c:v>63564</c:v>
                </c:pt>
                <c:pt idx="2392">
                  <c:v>63556</c:v>
                </c:pt>
                <c:pt idx="2393">
                  <c:v>63553</c:v>
                </c:pt>
                <c:pt idx="2394">
                  <c:v>63550</c:v>
                </c:pt>
                <c:pt idx="2395">
                  <c:v>63546</c:v>
                </c:pt>
                <c:pt idx="2396">
                  <c:v>63546</c:v>
                </c:pt>
                <c:pt idx="2397">
                  <c:v>63543</c:v>
                </c:pt>
                <c:pt idx="2398">
                  <c:v>63535</c:v>
                </c:pt>
                <c:pt idx="2399">
                  <c:v>63533</c:v>
                </c:pt>
                <c:pt idx="2400">
                  <c:v>63526</c:v>
                </c:pt>
                <c:pt idx="2401">
                  <c:v>63525</c:v>
                </c:pt>
                <c:pt idx="2402">
                  <c:v>63519</c:v>
                </c:pt>
                <c:pt idx="2403">
                  <c:v>63516</c:v>
                </c:pt>
                <c:pt idx="2404">
                  <c:v>63509</c:v>
                </c:pt>
                <c:pt idx="2405">
                  <c:v>63505</c:v>
                </c:pt>
                <c:pt idx="2406">
                  <c:v>63500</c:v>
                </c:pt>
                <c:pt idx="2407">
                  <c:v>63494</c:v>
                </c:pt>
                <c:pt idx="2408">
                  <c:v>63490</c:v>
                </c:pt>
                <c:pt idx="2409">
                  <c:v>63490</c:v>
                </c:pt>
                <c:pt idx="2410">
                  <c:v>63480</c:v>
                </c:pt>
                <c:pt idx="2411">
                  <c:v>63477</c:v>
                </c:pt>
                <c:pt idx="2412">
                  <c:v>63469</c:v>
                </c:pt>
                <c:pt idx="2413">
                  <c:v>63463</c:v>
                </c:pt>
                <c:pt idx="2414">
                  <c:v>63462</c:v>
                </c:pt>
                <c:pt idx="2415">
                  <c:v>63456</c:v>
                </c:pt>
                <c:pt idx="2416">
                  <c:v>63455</c:v>
                </c:pt>
                <c:pt idx="2417">
                  <c:v>63437</c:v>
                </c:pt>
                <c:pt idx="2418">
                  <c:v>63435</c:v>
                </c:pt>
                <c:pt idx="2419">
                  <c:v>63432</c:v>
                </c:pt>
                <c:pt idx="2420">
                  <c:v>63417</c:v>
                </c:pt>
                <c:pt idx="2421">
                  <c:v>63416</c:v>
                </c:pt>
                <c:pt idx="2422">
                  <c:v>63415</c:v>
                </c:pt>
                <c:pt idx="2423">
                  <c:v>63398</c:v>
                </c:pt>
                <c:pt idx="2424">
                  <c:v>63395</c:v>
                </c:pt>
                <c:pt idx="2425">
                  <c:v>63395</c:v>
                </c:pt>
                <c:pt idx="2426">
                  <c:v>63391</c:v>
                </c:pt>
                <c:pt idx="2427">
                  <c:v>63391</c:v>
                </c:pt>
                <c:pt idx="2428">
                  <c:v>63376</c:v>
                </c:pt>
                <c:pt idx="2429">
                  <c:v>63376</c:v>
                </c:pt>
                <c:pt idx="2430">
                  <c:v>63375</c:v>
                </c:pt>
                <c:pt idx="2431">
                  <c:v>63365</c:v>
                </c:pt>
                <c:pt idx="2432">
                  <c:v>63361</c:v>
                </c:pt>
                <c:pt idx="2433">
                  <c:v>63356</c:v>
                </c:pt>
                <c:pt idx="2434">
                  <c:v>63350</c:v>
                </c:pt>
                <c:pt idx="2435">
                  <c:v>63347</c:v>
                </c:pt>
                <c:pt idx="2436">
                  <c:v>63333</c:v>
                </c:pt>
                <c:pt idx="2437">
                  <c:v>63332</c:v>
                </c:pt>
                <c:pt idx="2438">
                  <c:v>63326</c:v>
                </c:pt>
                <c:pt idx="2439">
                  <c:v>63318</c:v>
                </c:pt>
                <c:pt idx="2440">
                  <c:v>63312</c:v>
                </c:pt>
                <c:pt idx="2441">
                  <c:v>63309</c:v>
                </c:pt>
                <c:pt idx="2442">
                  <c:v>63309</c:v>
                </c:pt>
                <c:pt idx="2443">
                  <c:v>63306</c:v>
                </c:pt>
                <c:pt idx="2444">
                  <c:v>63302</c:v>
                </c:pt>
                <c:pt idx="2445">
                  <c:v>63286</c:v>
                </c:pt>
                <c:pt idx="2446">
                  <c:v>63285</c:v>
                </c:pt>
                <c:pt idx="2447">
                  <c:v>63284</c:v>
                </c:pt>
                <c:pt idx="2448">
                  <c:v>63275</c:v>
                </c:pt>
                <c:pt idx="2449">
                  <c:v>63265</c:v>
                </c:pt>
                <c:pt idx="2450">
                  <c:v>63259</c:v>
                </c:pt>
                <c:pt idx="2451">
                  <c:v>63257</c:v>
                </c:pt>
                <c:pt idx="2452">
                  <c:v>63253</c:v>
                </c:pt>
                <c:pt idx="2453">
                  <c:v>63249</c:v>
                </c:pt>
                <c:pt idx="2454">
                  <c:v>63245</c:v>
                </c:pt>
                <c:pt idx="2455">
                  <c:v>63242</c:v>
                </c:pt>
                <c:pt idx="2456">
                  <c:v>63239</c:v>
                </c:pt>
                <c:pt idx="2457">
                  <c:v>63219</c:v>
                </c:pt>
                <c:pt idx="2458">
                  <c:v>63218</c:v>
                </c:pt>
                <c:pt idx="2459">
                  <c:v>63217</c:v>
                </c:pt>
                <c:pt idx="2460">
                  <c:v>63215</c:v>
                </c:pt>
                <c:pt idx="2461">
                  <c:v>63212</c:v>
                </c:pt>
                <c:pt idx="2462">
                  <c:v>63211</c:v>
                </c:pt>
                <c:pt idx="2463">
                  <c:v>63211</c:v>
                </c:pt>
                <c:pt idx="2464">
                  <c:v>63208</c:v>
                </c:pt>
                <c:pt idx="2465">
                  <c:v>63204</c:v>
                </c:pt>
                <c:pt idx="2466">
                  <c:v>63203</c:v>
                </c:pt>
                <c:pt idx="2467">
                  <c:v>63194</c:v>
                </c:pt>
                <c:pt idx="2468">
                  <c:v>63175</c:v>
                </c:pt>
                <c:pt idx="2469">
                  <c:v>63173</c:v>
                </c:pt>
                <c:pt idx="2470">
                  <c:v>63171</c:v>
                </c:pt>
                <c:pt idx="2471">
                  <c:v>63163</c:v>
                </c:pt>
                <c:pt idx="2472">
                  <c:v>63162</c:v>
                </c:pt>
                <c:pt idx="2473">
                  <c:v>63160</c:v>
                </c:pt>
                <c:pt idx="2474">
                  <c:v>63149</c:v>
                </c:pt>
                <c:pt idx="2475">
                  <c:v>63147</c:v>
                </c:pt>
                <c:pt idx="2476">
                  <c:v>63146</c:v>
                </c:pt>
                <c:pt idx="2477">
                  <c:v>63143</c:v>
                </c:pt>
                <c:pt idx="2478">
                  <c:v>63141</c:v>
                </c:pt>
                <c:pt idx="2479">
                  <c:v>63140</c:v>
                </c:pt>
                <c:pt idx="2480">
                  <c:v>63138</c:v>
                </c:pt>
                <c:pt idx="2481">
                  <c:v>63135</c:v>
                </c:pt>
                <c:pt idx="2482">
                  <c:v>63126</c:v>
                </c:pt>
                <c:pt idx="2483">
                  <c:v>63124</c:v>
                </c:pt>
                <c:pt idx="2484">
                  <c:v>63117</c:v>
                </c:pt>
                <c:pt idx="2485">
                  <c:v>63113</c:v>
                </c:pt>
                <c:pt idx="2486">
                  <c:v>63111</c:v>
                </c:pt>
                <c:pt idx="2487">
                  <c:v>63108</c:v>
                </c:pt>
                <c:pt idx="2488">
                  <c:v>63106</c:v>
                </c:pt>
                <c:pt idx="2489">
                  <c:v>63106</c:v>
                </c:pt>
                <c:pt idx="2490">
                  <c:v>63106</c:v>
                </c:pt>
                <c:pt idx="2491">
                  <c:v>63097</c:v>
                </c:pt>
                <c:pt idx="2492">
                  <c:v>63094</c:v>
                </c:pt>
                <c:pt idx="2493">
                  <c:v>63093</c:v>
                </c:pt>
                <c:pt idx="2494">
                  <c:v>63090</c:v>
                </c:pt>
                <c:pt idx="2495">
                  <c:v>63088</c:v>
                </c:pt>
                <c:pt idx="2496">
                  <c:v>63080</c:v>
                </c:pt>
                <c:pt idx="2497">
                  <c:v>63078</c:v>
                </c:pt>
                <c:pt idx="2498">
                  <c:v>63077</c:v>
                </c:pt>
                <c:pt idx="2499">
                  <c:v>63071</c:v>
                </c:pt>
                <c:pt idx="2500">
                  <c:v>63065</c:v>
                </c:pt>
                <c:pt idx="2501">
                  <c:v>63064</c:v>
                </c:pt>
                <c:pt idx="2502">
                  <c:v>63059</c:v>
                </c:pt>
                <c:pt idx="2503">
                  <c:v>63056</c:v>
                </c:pt>
                <c:pt idx="2504">
                  <c:v>63052</c:v>
                </c:pt>
                <c:pt idx="2505">
                  <c:v>63047</c:v>
                </c:pt>
                <c:pt idx="2506">
                  <c:v>63046</c:v>
                </c:pt>
                <c:pt idx="2507">
                  <c:v>63037</c:v>
                </c:pt>
                <c:pt idx="2508">
                  <c:v>63036</c:v>
                </c:pt>
                <c:pt idx="2509">
                  <c:v>63035</c:v>
                </c:pt>
                <c:pt idx="2510">
                  <c:v>63027</c:v>
                </c:pt>
                <c:pt idx="2511">
                  <c:v>63025</c:v>
                </c:pt>
                <c:pt idx="2512">
                  <c:v>63018</c:v>
                </c:pt>
                <c:pt idx="2513">
                  <c:v>63014</c:v>
                </c:pt>
                <c:pt idx="2514">
                  <c:v>63012</c:v>
                </c:pt>
                <c:pt idx="2515">
                  <c:v>63008</c:v>
                </c:pt>
                <c:pt idx="2516">
                  <c:v>63004</c:v>
                </c:pt>
                <c:pt idx="2517">
                  <c:v>62995</c:v>
                </c:pt>
                <c:pt idx="2518">
                  <c:v>62990</c:v>
                </c:pt>
                <c:pt idx="2519">
                  <c:v>62988</c:v>
                </c:pt>
                <c:pt idx="2520">
                  <c:v>62981</c:v>
                </c:pt>
                <c:pt idx="2521">
                  <c:v>62979</c:v>
                </c:pt>
                <c:pt idx="2522">
                  <c:v>62976</c:v>
                </c:pt>
                <c:pt idx="2523">
                  <c:v>62970</c:v>
                </c:pt>
                <c:pt idx="2524">
                  <c:v>62967</c:v>
                </c:pt>
                <c:pt idx="2525">
                  <c:v>62966</c:v>
                </c:pt>
                <c:pt idx="2526">
                  <c:v>62963</c:v>
                </c:pt>
                <c:pt idx="2527">
                  <c:v>62962</c:v>
                </c:pt>
                <c:pt idx="2528">
                  <c:v>62956</c:v>
                </c:pt>
                <c:pt idx="2529">
                  <c:v>62949</c:v>
                </c:pt>
                <c:pt idx="2530">
                  <c:v>62947</c:v>
                </c:pt>
                <c:pt idx="2531">
                  <c:v>62946</c:v>
                </c:pt>
                <c:pt idx="2532">
                  <c:v>62928</c:v>
                </c:pt>
                <c:pt idx="2533">
                  <c:v>62927</c:v>
                </c:pt>
                <c:pt idx="2534">
                  <c:v>62925</c:v>
                </c:pt>
                <c:pt idx="2535">
                  <c:v>62925</c:v>
                </c:pt>
                <c:pt idx="2536">
                  <c:v>62921</c:v>
                </c:pt>
                <c:pt idx="2537">
                  <c:v>62920</c:v>
                </c:pt>
                <c:pt idx="2538">
                  <c:v>62915</c:v>
                </c:pt>
                <c:pt idx="2539">
                  <c:v>62894</c:v>
                </c:pt>
                <c:pt idx="2540">
                  <c:v>62893</c:v>
                </c:pt>
                <c:pt idx="2541">
                  <c:v>62892</c:v>
                </c:pt>
                <c:pt idx="2542">
                  <c:v>62890</c:v>
                </c:pt>
                <c:pt idx="2543">
                  <c:v>62889</c:v>
                </c:pt>
                <c:pt idx="2544">
                  <c:v>62888</c:v>
                </c:pt>
                <c:pt idx="2545">
                  <c:v>62886</c:v>
                </c:pt>
                <c:pt idx="2546">
                  <c:v>62878</c:v>
                </c:pt>
                <c:pt idx="2547">
                  <c:v>62870</c:v>
                </c:pt>
                <c:pt idx="2548">
                  <c:v>62865</c:v>
                </c:pt>
                <c:pt idx="2549">
                  <c:v>62863</c:v>
                </c:pt>
                <c:pt idx="2550">
                  <c:v>62853</c:v>
                </c:pt>
                <c:pt idx="2551">
                  <c:v>62843</c:v>
                </c:pt>
                <c:pt idx="2552">
                  <c:v>62839</c:v>
                </c:pt>
                <c:pt idx="2553">
                  <c:v>62838</c:v>
                </c:pt>
                <c:pt idx="2554">
                  <c:v>62831</c:v>
                </c:pt>
                <c:pt idx="2555">
                  <c:v>62828</c:v>
                </c:pt>
                <c:pt idx="2556">
                  <c:v>62822</c:v>
                </c:pt>
                <c:pt idx="2557">
                  <c:v>62817</c:v>
                </c:pt>
                <c:pt idx="2558">
                  <c:v>62812</c:v>
                </c:pt>
                <c:pt idx="2559">
                  <c:v>62809</c:v>
                </c:pt>
                <c:pt idx="2560">
                  <c:v>62805</c:v>
                </c:pt>
                <c:pt idx="2561">
                  <c:v>62799</c:v>
                </c:pt>
                <c:pt idx="2562">
                  <c:v>62795</c:v>
                </c:pt>
                <c:pt idx="2563">
                  <c:v>62792</c:v>
                </c:pt>
                <c:pt idx="2564">
                  <c:v>62791</c:v>
                </c:pt>
                <c:pt idx="2565">
                  <c:v>62780</c:v>
                </c:pt>
                <c:pt idx="2566">
                  <c:v>62778</c:v>
                </c:pt>
                <c:pt idx="2567">
                  <c:v>62775</c:v>
                </c:pt>
                <c:pt idx="2568">
                  <c:v>62775</c:v>
                </c:pt>
                <c:pt idx="2569">
                  <c:v>62767</c:v>
                </c:pt>
                <c:pt idx="2570">
                  <c:v>62750</c:v>
                </c:pt>
                <c:pt idx="2571">
                  <c:v>62749</c:v>
                </c:pt>
                <c:pt idx="2572">
                  <c:v>62747</c:v>
                </c:pt>
                <c:pt idx="2573">
                  <c:v>62743</c:v>
                </c:pt>
                <c:pt idx="2574">
                  <c:v>62737</c:v>
                </c:pt>
                <c:pt idx="2575">
                  <c:v>62732</c:v>
                </c:pt>
                <c:pt idx="2576">
                  <c:v>62719</c:v>
                </c:pt>
                <c:pt idx="2577">
                  <c:v>62717</c:v>
                </c:pt>
                <c:pt idx="2578">
                  <c:v>62716</c:v>
                </c:pt>
                <c:pt idx="2579">
                  <c:v>62705</c:v>
                </c:pt>
                <c:pt idx="2580">
                  <c:v>62704</c:v>
                </c:pt>
                <c:pt idx="2581">
                  <c:v>62692</c:v>
                </c:pt>
                <c:pt idx="2582">
                  <c:v>62683</c:v>
                </c:pt>
                <c:pt idx="2583">
                  <c:v>62679</c:v>
                </c:pt>
                <c:pt idx="2584">
                  <c:v>62665</c:v>
                </c:pt>
                <c:pt idx="2585">
                  <c:v>62665</c:v>
                </c:pt>
                <c:pt idx="2586">
                  <c:v>62658</c:v>
                </c:pt>
                <c:pt idx="2587">
                  <c:v>62656</c:v>
                </c:pt>
                <c:pt idx="2588">
                  <c:v>62654</c:v>
                </c:pt>
                <c:pt idx="2589">
                  <c:v>62646</c:v>
                </c:pt>
                <c:pt idx="2590">
                  <c:v>62643</c:v>
                </c:pt>
                <c:pt idx="2591">
                  <c:v>62622</c:v>
                </c:pt>
                <c:pt idx="2592">
                  <c:v>62618</c:v>
                </c:pt>
                <c:pt idx="2593">
                  <c:v>62618</c:v>
                </c:pt>
                <c:pt idx="2594">
                  <c:v>62613</c:v>
                </c:pt>
                <c:pt idx="2595">
                  <c:v>62612</c:v>
                </c:pt>
                <c:pt idx="2596">
                  <c:v>62600</c:v>
                </c:pt>
                <c:pt idx="2597">
                  <c:v>62598</c:v>
                </c:pt>
                <c:pt idx="2598">
                  <c:v>62594</c:v>
                </c:pt>
                <c:pt idx="2599">
                  <c:v>62588</c:v>
                </c:pt>
                <c:pt idx="2600">
                  <c:v>62580</c:v>
                </c:pt>
                <c:pt idx="2601">
                  <c:v>62563</c:v>
                </c:pt>
                <c:pt idx="2602">
                  <c:v>62561</c:v>
                </c:pt>
                <c:pt idx="2603">
                  <c:v>62551</c:v>
                </c:pt>
                <c:pt idx="2604">
                  <c:v>62547</c:v>
                </c:pt>
                <c:pt idx="2605">
                  <c:v>62543</c:v>
                </c:pt>
                <c:pt idx="2606">
                  <c:v>62543</c:v>
                </c:pt>
                <c:pt idx="2607">
                  <c:v>62540</c:v>
                </c:pt>
                <c:pt idx="2608">
                  <c:v>62536</c:v>
                </c:pt>
                <c:pt idx="2609">
                  <c:v>62534</c:v>
                </c:pt>
                <c:pt idx="2610">
                  <c:v>62519</c:v>
                </c:pt>
                <c:pt idx="2611">
                  <c:v>62515</c:v>
                </c:pt>
                <c:pt idx="2612">
                  <c:v>62510</c:v>
                </c:pt>
                <c:pt idx="2613">
                  <c:v>62509</c:v>
                </c:pt>
                <c:pt idx="2614">
                  <c:v>62495</c:v>
                </c:pt>
                <c:pt idx="2615">
                  <c:v>62488</c:v>
                </c:pt>
                <c:pt idx="2616">
                  <c:v>62487</c:v>
                </c:pt>
                <c:pt idx="2617">
                  <c:v>62483</c:v>
                </c:pt>
                <c:pt idx="2618">
                  <c:v>62483</c:v>
                </c:pt>
                <c:pt idx="2619">
                  <c:v>62482</c:v>
                </c:pt>
                <c:pt idx="2620">
                  <c:v>62481</c:v>
                </c:pt>
                <c:pt idx="2621">
                  <c:v>62479</c:v>
                </c:pt>
                <c:pt idx="2622">
                  <c:v>62478</c:v>
                </c:pt>
                <c:pt idx="2623">
                  <c:v>62469</c:v>
                </c:pt>
                <c:pt idx="2624">
                  <c:v>62467</c:v>
                </c:pt>
                <c:pt idx="2625">
                  <c:v>62460</c:v>
                </c:pt>
                <c:pt idx="2626">
                  <c:v>62460</c:v>
                </c:pt>
                <c:pt idx="2627">
                  <c:v>62455</c:v>
                </c:pt>
                <c:pt idx="2628">
                  <c:v>62449</c:v>
                </c:pt>
                <c:pt idx="2629">
                  <c:v>62443</c:v>
                </c:pt>
                <c:pt idx="2630">
                  <c:v>62420</c:v>
                </c:pt>
                <c:pt idx="2631">
                  <c:v>62418</c:v>
                </c:pt>
                <c:pt idx="2632">
                  <c:v>62413</c:v>
                </c:pt>
                <c:pt idx="2633">
                  <c:v>62407</c:v>
                </c:pt>
                <c:pt idx="2634">
                  <c:v>62402</c:v>
                </c:pt>
                <c:pt idx="2635">
                  <c:v>62397</c:v>
                </c:pt>
                <c:pt idx="2636">
                  <c:v>62381</c:v>
                </c:pt>
                <c:pt idx="2637">
                  <c:v>62380</c:v>
                </c:pt>
                <c:pt idx="2638">
                  <c:v>62365</c:v>
                </c:pt>
                <c:pt idx="2639">
                  <c:v>62363</c:v>
                </c:pt>
                <c:pt idx="2640">
                  <c:v>62363</c:v>
                </c:pt>
                <c:pt idx="2641">
                  <c:v>62362</c:v>
                </c:pt>
                <c:pt idx="2642">
                  <c:v>62359</c:v>
                </c:pt>
                <c:pt idx="2643">
                  <c:v>62348</c:v>
                </c:pt>
                <c:pt idx="2644">
                  <c:v>62347</c:v>
                </c:pt>
                <c:pt idx="2645">
                  <c:v>62334</c:v>
                </c:pt>
                <c:pt idx="2646">
                  <c:v>62329</c:v>
                </c:pt>
                <c:pt idx="2647">
                  <c:v>62326</c:v>
                </c:pt>
                <c:pt idx="2648">
                  <c:v>62324</c:v>
                </c:pt>
                <c:pt idx="2649">
                  <c:v>62320</c:v>
                </c:pt>
                <c:pt idx="2650">
                  <c:v>62313</c:v>
                </c:pt>
                <c:pt idx="2651">
                  <c:v>62313</c:v>
                </c:pt>
                <c:pt idx="2652">
                  <c:v>62309</c:v>
                </c:pt>
                <c:pt idx="2653">
                  <c:v>62305</c:v>
                </c:pt>
                <c:pt idx="2654">
                  <c:v>62303</c:v>
                </c:pt>
                <c:pt idx="2655">
                  <c:v>62303</c:v>
                </c:pt>
                <c:pt idx="2656">
                  <c:v>62298</c:v>
                </c:pt>
                <c:pt idx="2657">
                  <c:v>62297</c:v>
                </c:pt>
                <c:pt idx="2658">
                  <c:v>62292</c:v>
                </c:pt>
                <c:pt idx="2659">
                  <c:v>62292</c:v>
                </c:pt>
                <c:pt idx="2660">
                  <c:v>62290</c:v>
                </c:pt>
                <c:pt idx="2661">
                  <c:v>62275</c:v>
                </c:pt>
                <c:pt idx="2662">
                  <c:v>62269</c:v>
                </c:pt>
                <c:pt idx="2663">
                  <c:v>62264</c:v>
                </c:pt>
                <c:pt idx="2664">
                  <c:v>62260</c:v>
                </c:pt>
                <c:pt idx="2665">
                  <c:v>62258</c:v>
                </c:pt>
                <c:pt idx="2666">
                  <c:v>62255</c:v>
                </c:pt>
                <c:pt idx="2667">
                  <c:v>62253</c:v>
                </c:pt>
                <c:pt idx="2668">
                  <c:v>62252</c:v>
                </c:pt>
                <c:pt idx="2669">
                  <c:v>62251</c:v>
                </c:pt>
                <c:pt idx="2670">
                  <c:v>62249</c:v>
                </c:pt>
                <c:pt idx="2671">
                  <c:v>62247</c:v>
                </c:pt>
                <c:pt idx="2672">
                  <c:v>62247</c:v>
                </c:pt>
                <c:pt idx="2673">
                  <c:v>62244</c:v>
                </c:pt>
                <c:pt idx="2674">
                  <c:v>62240</c:v>
                </c:pt>
                <c:pt idx="2675">
                  <c:v>62233</c:v>
                </c:pt>
                <c:pt idx="2676">
                  <c:v>62229</c:v>
                </c:pt>
                <c:pt idx="2677">
                  <c:v>62227</c:v>
                </c:pt>
                <c:pt idx="2678">
                  <c:v>62226</c:v>
                </c:pt>
                <c:pt idx="2679">
                  <c:v>62225</c:v>
                </c:pt>
                <c:pt idx="2680">
                  <c:v>62223</c:v>
                </c:pt>
                <c:pt idx="2681">
                  <c:v>62223</c:v>
                </c:pt>
                <c:pt idx="2682">
                  <c:v>62217</c:v>
                </c:pt>
                <c:pt idx="2683">
                  <c:v>62214</c:v>
                </c:pt>
                <c:pt idx="2684">
                  <c:v>62214</c:v>
                </c:pt>
                <c:pt idx="2685">
                  <c:v>62211</c:v>
                </c:pt>
                <c:pt idx="2686">
                  <c:v>62200</c:v>
                </c:pt>
                <c:pt idx="2687">
                  <c:v>62199</c:v>
                </c:pt>
                <c:pt idx="2688">
                  <c:v>62193</c:v>
                </c:pt>
                <c:pt idx="2689">
                  <c:v>62182</c:v>
                </c:pt>
                <c:pt idx="2690">
                  <c:v>62180</c:v>
                </c:pt>
                <c:pt idx="2691">
                  <c:v>62174</c:v>
                </c:pt>
                <c:pt idx="2692">
                  <c:v>62159</c:v>
                </c:pt>
                <c:pt idx="2693">
                  <c:v>62156</c:v>
                </c:pt>
                <c:pt idx="2694">
                  <c:v>62144</c:v>
                </c:pt>
                <c:pt idx="2695">
                  <c:v>62143</c:v>
                </c:pt>
                <c:pt idx="2696">
                  <c:v>62129</c:v>
                </c:pt>
                <c:pt idx="2697">
                  <c:v>62128</c:v>
                </c:pt>
                <c:pt idx="2698">
                  <c:v>62128</c:v>
                </c:pt>
                <c:pt idx="2699">
                  <c:v>62127</c:v>
                </c:pt>
                <c:pt idx="2700">
                  <c:v>62122</c:v>
                </c:pt>
                <c:pt idx="2701">
                  <c:v>62119</c:v>
                </c:pt>
                <c:pt idx="2702">
                  <c:v>62114</c:v>
                </c:pt>
                <c:pt idx="2703">
                  <c:v>62108</c:v>
                </c:pt>
                <c:pt idx="2704">
                  <c:v>62104</c:v>
                </c:pt>
                <c:pt idx="2705">
                  <c:v>62103</c:v>
                </c:pt>
                <c:pt idx="2706">
                  <c:v>62093</c:v>
                </c:pt>
                <c:pt idx="2707">
                  <c:v>62092</c:v>
                </c:pt>
                <c:pt idx="2708">
                  <c:v>62089</c:v>
                </c:pt>
                <c:pt idx="2709">
                  <c:v>62088</c:v>
                </c:pt>
                <c:pt idx="2710">
                  <c:v>62081</c:v>
                </c:pt>
                <c:pt idx="2711">
                  <c:v>62081</c:v>
                </c:pt>
                <c:pt idx="2712">
                  <c:v>62065</c:v>
                </c:pt>
                <c:pt idx="2713">
                  <c:v>62064</c:v>
                </c:pt>
                <c:pt idx="2714">
                  <c:v>62061</c:v>
                </c:pt>
                <c:pt idx="2715">
                  <c:v>62053</c:v>
                </c:pt>
                <c:pt idx="2716">
                  <c:v>62052</c:v>
                </c:pt>
                <c:pt idx="2717">
                  <c:v>62040</c:v>
                </c:pt>
                <c:pt idx="2718">
                  <c:v>62040</c:v>
                </c:pt>
                <c:pt idx="2719">
                  <c:v>62038</c:v>
                </c:pt>
                <c:pt idx="2720">
                  <c:v>62038</c:v>
                </c:pt>
                <c:pt idx="2721">
                  <c:v>62035</c:v>
                </c:pt>
                <c:pt idx="2722">
                  <c:v>62034</c:v>
                </c:pt>
                <c:pt idx="2723">
                  <c:v>62023</c:v>
                </c:pt>
                <c:pt idx="2724">
                  <c:v>62020</c:v>
                </c:pt>
                <c:pt idx="2725">
                  <c:v>62018</c:v>
                </c:pt>
                <c:pt idx="2726">
                  <c:v>62017</c:v>
                </c:pt>
                <c:pt idx="2727">
                  <c:v>62017</c:v>
                </c:pt>
                <c:pt idx="2728">
                  <c:v>61997</c:v>
                </c:pt>
                <c:pt idx="2729">
                  <c:v>61988</c:v>
                </c:pt>
                <c:pt idx="2730">
                  <c:v>61987</c:v>
                </c:pt>
                <c:pt idx="2731">
                  <c:v>61984</c:v>
                </c:pt>
                <c:pt idx="2732">
                  <c:v>61984</c:v>
                </c:pt>
                <c:pt idx="2733">
                  <c:v>61982</c:v>
                </c:pt>
                <c:pt idx="2734">
                  <c:v>61981</c:v>
                </c:pt>
                <c:pt idx="2735">
                  <c:v>61970</c:v>
                </c:pt>
                <c:pt idx="2736">
                  <c:v>61961</c:v>
                </c:pt>
                <c:pt idx="2737">
                  <c:v>61959</c:v>
                </c:pt>
                <c:pt idx="2738">
                  <c:v>61958</c:v>
                </c:pt>
                <c:pt idx="2739">
                  <c:v>61950</c:v>
                </c:pt>
                <c:pt idx="2740">
                  <c:v>61948</c:v>
                </c:pt>
                <c:pt idx="2741">
                  <c:v>61920</c:v>
                </c:pt>
                <c:pt idx="2742">
                  <c:v>61914</c:v>
                </c:pt>
                <c:pt idx="2743">
                  <c:v>61914</c:v>
                </c:pt>
                <c:pt idx="2744">
                  <c:v>61910</c:v>
                </c:pt>
                <c:pt idx="2745">
                  <c:v>61905</c:v>
                </c:pt>
                <c:pt idx="2746">
                  <c:v>61901</c:v>
                </c:pt>
                <c:pt idx="2747">
                  <c:v>61893</c:v>
                </c:pt>
                <c:pt idx="2748">
                  <c:v>61889</c:v>
                </c:pt>
                <c:pt idx="2749">
                  <c:v>61887</c:v>
                </c:pt>
                <c:pt idx="2750">
                  <c:v>61884</c:v>
                </c:pt>
                <c:pt idx="2751">
                  <c:v>61881</c:v>
                </c:pt>
                <c:pt idx="2752">
                  <c:v>61879</c:v>
                </c:pt>
                <c:pt idx="2753">
                  <c:v>61875</c:v>
                </c:pt>
                <c:pt idx="2754">
                  <c:v>61868</c:v>
                </c:pt>
                <c:pt idx="2755">
                  <c:v>61859</c:v>
                </c:pt>
                <c:pt idx="2756">
                  <c:v>61857</c:v>
                </c:pt>
                <c:pt idx="2757">
                  <c:v>61854</c:v>
                </c:pt>
                <c:pt idx="2758">
                  <c:v>61835</c:v>
                </c:pt>
                <c:pt idx="2759">
                  <c:v>61818</c:v>
                </c:pt>
                <c:pt idx="2760">
                  <c:v>61815</c:v>
                </c:pt>
                <c:pt idx="2761">
                  <c:v>61813</c:v>
                </c:pt>
                <c:pt idx="2762">
                  <c:v>61809</c:v>
                </c:pt>
                <c:pt idx="2763">
                  <c:v>61806</c:v>
                </c:pt>
                <c:pt idx="2764">
                  <c:v>61782</c:v>
                </c:pt>
                <c:pt idx="2765">
                  <c:v>61775</c:v>
                </c:pt>
                <c:pt idx="2766">
                  <c:v>61771</c:v>
                </c:pt>
                <c:pt idx="2767">
                  <c:v>61768</c:v>
                </c:pt>
                <c:pt idx="2768">
                  <c:v>61768</c:v>
                </c:pt>
                <c:pt idx="2769">
                  <c:v>61765</c:v>
                </c:pt>
                <c:pt idx="2770">
                  <c:v>61764</c:v>
                </c:pt>
                <c:pt idx="2771">
                  <c:v>61760</c:v>
                </c:pt>
                <c:pt idx="2772">
                  <c:v>61753</c:v>
                </c:pt>
                <c:pt idx="2773">
                  <c:v>61746</c:v>
                </c:pt>
                <c:pt idx="2774">
                  <c:v>61743</c:v>
                </c:pt>
                <c:pt idx="2775">
                  <c:v>61732</c:v>
                </c:pt>
                <c:pt idx="2776">
                  <c:v>61726</c:v>
                </c:pt>
                <c:pt idx="2777">
                  <c:v>61722</c:v>
                </c:pt>
                <c:pt idx="2778">
                  <c:v>61721</c:v>
                </c:pt>
                <c:pt idx="2779">
                  <c:v>61707</c:v>
                </c:pt>
                <c:pt idx="2780">
                  <c:v>61707</c:v>
                </c:pt>
                <c:pt idx="2781">
                  <c:v>61705</c:v>
                </c:pt>
                <c:pt idx="2782">
                  <c:v>61696</c:v>
                </c:pt>
                <c:pt idx="2783">
                  <c:v>61682</c:v>
                </c:pt>
                <c:pt idx="2784">
                  <c:v>61681</c:v>
                </c:pt>
                <c:pt idx="2785">
                  <c:v>61680</c:v>
                </c:pt>
                <c:pt idx="2786">
                  <c:v>61678</c:v>
                </c:pt>
                <c:pt idx="2787">
                  <c:v>61674</c:v>
                </c:pt>
                <c:pt idx="2788">
                  <c:v>61672</c:v>
                </c:pt>
                <c:pt idx="2789">
                  <c:v>61661</c:v>
                </c:pt>
                <c:pt idx="2790">
                  <c:v>61659</c:v>
                </c:pt>
                <c:pt idx="2791">
                  <c:v>61640</c:v>
                </c:pt>
                <c:pt idx="2792">
                  <c:v>61638</c:v>
                </c:pt>
                <c:pt idx="2793">
                  <c:v>61636</c:v>
                </c:pt>
                <c:pt idx="2794">
                  <c:v>61632</c:v>
                </c:pt>
                <c:pt idx="2795">
                  <c:v>61626</c:v>
                </c:pt>
                <c:pt idx="2796">
                  <c:v>61624</c:v>
                </c:pt>
                <c:pt idx="2797">
                  <c:v>61616</c:v>
                </c:pt>
                <c:pt idx="2798">
                  <c:v>61616</c:v>
                </c:pt>
                <c:pt idx="2799">
                  <c:v>61611</c:v>
                </c:pt>
                <c:pt idx="2800">
                  <c:v>61605</c:v>
                </c:pt>
                <c:pt idx="2801">
                  <c:v>61598</c:v>
                </c:pt>
                <c:pt idx="2802">
                  <c:v>61598</c:v>
                </c:pt>
                <c:pt idx="2803">
                  <c:v>61596</c:v>
                </c:pt>
                <c:pt idx="2804">
                  <c:v>61590</c:v>
                </c:pt>
                <c:pt idx="2805">
                  <c:v>61582</c:v>
                </c:pt>
                <c:pt idx="2806">
                  <c:v>61578</c:v>
                </c:pt>
                <c:pt idx="2807">
                  <c:v>61577</c:v>
                </c:pt>
                <c:pt idx="2808">
                  <c:v>61575</c:v>
                </c:pt>
                <c:pt idx="2809">
                  <c:v>61573</c:v>
                </c:pt>
                <c:pt idx="2810">
                  <c:v>61569</c:v>
                </c:pt>
                <c:pt idx="2811">
                  <c:v>61567</c:v>
                </c:pt>
                <c:pt idx="2812">
                  <c:v>61562</c:v>
                </c:pt>
                <c:pt idx="2813">
                  <c:v>61558</c:v>
                </c:pt>
                <c:pt idx="2814">
                  <c:v>61553</c:v>
                </c:pt>
                <c:pt idx="2815">
                  <c:v>61548</c:v>
                </c:pt>
                <c:pt idx="2816">
                  <c:v>61548</c:v>
                </c:pt>
                <c:pt idx="2817">
                  <c:v>61542</c:v>
                </c:pt>
                <c:pt idx="2818">
                  <c:v>61542</c:v>
                </c:pt>
                <c:pt idx="2819">
                  <c:v>61539</c:v>
                </c:pt>
                <c:pt idx="2820">
                  <c:v>61538</c:v>
                </c:pt>
                <c:pt idx="2821">
                  <c:v>61537</c:v>
                </c:pt>
                <c:pt idx="2822">
                  <c:v>61527</c:v>
                </c:pt>
                <c:pt idx="2823">
                  <c:v>61523</c:v>
                </c:pt>
                <c:pt idx="2824">
                  <c:v>61515</c:v>
                </c:pt>
                <c:pt idx="2825">
                  <c:v>61514</c:v>
                </c:pt>
                <c:pt idx="2826">
                  <c:v>61512</c:v>
                </c:pt>
                <c:pt idx="2827">
                  <c:v>61508</c:v>
                </c:pt>
                <c:pt idx="2828">
                  <c:v>61503</c:v>
                </c:pt>
                <c:pt idx="2829">
                  <c:v>61489</c:v>
                </c:pt>
                <c:pt idx="2830">
                  <c:v>61489</c:v>
                </c:pt>
                <c:pt idx="2831">
                  <c:v>61488</c:v>
                </c:pt>
                <c:pt idx="2832">
                  <c:v>61483</c:v>
                </c:pt>
                <c:pt idx="2833">
                  <c:v>61476</c:v>
                </c:pt>
                <c:pt idx="2834">
                  <c:v>61476</c:v>
                </c:pt>
                <c:pt idx="2835">
                  <c:v>61470</c:v>
                </c:pt>
                <c:pt idx="2836">
                  <c:v>61460</c:v>
                </c:pt>
                <c:pt idx="2837">
                  <c:v>61458</c:v>
                </c:pt>
                <c:pt idx="2838">
                  <c:v>61455</c:v>
                </c:pt>
                <c:pt idx="2839">
                  <c:v>61455</c:v>
                </c:pt>
                <c:pt idx="2840">
                  <c:v>61443</c:v>
                </c:pt>
                <c:pt idx="2841">
                  <c:v>61442</c:v>
                </c:pt>
                <c:pt idx="2842">
                  <c:v>61437</c:v>
                </c:pt>
                <c:pt idx="2843">
                  <c:v>61428</c:v>
                </c:pt>
                <c:pt idx="2844">
                  <c:v>61425</c:v>
                </c:pt>
                <c:pt idx="2845">
                  <c:v>61423</c:v>
                </c:pt>
                <c:pt idx="2846">
                  <c:v>61418</c:v>
                </c:pt>
                <c:pt idx="2847">
                  <c:v>61411</c:v>
                </c:pt>
                <c:pt idx="2848">
                  <c:v>61401</c:v>
                </c:pt>
                <c:pt idx="2849">
                  <c:v>61400</c:v>
                </c:pt>
                <c:pt idx="2850">
                  <c:v>61394</c:v>
                </c:pt>
                <c:pt idx="2851">
                  <c:v>61394</c:v>
                </c:pt>
                <c:pt idx="2852">
                  <c:v>61392</c:v>
                </c:pt>
                <c:pt idx="2853">
                  <c:v>61383</c:v>
                </c:pt>
                <c:pt idx="2854">
                  <c:v>61375</c:v>
                </c:pt>
                <c:pt idx="2855">
                  <c:v>61373</c:v>
                </c:pt>
                <c:pt idx="2856">
                  <c:v>61370</c:v>
                </c:pt>
                <c:pt idx="2857">
                  <c:v>61360</c:v>
                </c:pt>
                <c:pt idx="2858">
                  <c:v>61355</c:v>
                </c:pt>
                <c:pt idx="2859">
                  <c:v>61349</c:v>
                </c:pt>
                <c:pt idx="2860">
                  <c:v>61331</c:v>
                </c:pt>
                <c:pt idx="2861">
                  <c:v>61328</c:v>
                </c:pt>
                <c:pt idx="2862">
                  <c:v>61321</c:v>
                </c:pt>
                <c:pt idx="2863">
                  <c:v>61314</c:v>
                </c:pt>
                <c:pt idx="2864">
                  <c:v>61294</c:v>
                </c:pt>
                <c:pt idx="2865">
                  <c:v>61294</c:v>
                </c:pt>
                <c:pt idx="2866">
                  <c:v>61287</c:v>
                </c:pt>
                <c:pt idx="2867">
                  <c:v>61279</c:v>
                </c:pt>
                <c:pt idx="2868">
                  <c:v>61266</c:v>
                </c:pt>
                <c:pt idx="2869">
                  <c:v>61265</c:v>
                </c:pt>
                <c:pt idx="2870">
                  <c:v>61250</c:v>
                </c:pt>
                <c:pt idx="2871">
                  <c:v>61243</c:v>
                </c:pt>
                <c:pt idx="2872">
                  <c:v>61240</c:v>
                </c:pt>
                <c:pt idx="2873">
                  <c:v>61238</c:v>
                </c:pt>
                <c:pt idx="2874">
                  <c:v>61230</c:v>
                </c:pt>
                <c:pt idx="2875">
                  <c:v>61229</c:v>
                </c:pt>
                <c:pt idx="2876">
                  <c:v>61220</c:v>
                </c:pt>
                <c:pt idx="2877">
                  <c:v>61219</c:v>
                </c:pt>
                <c:pt idx="2878">
                  <c:v>61216</c:v>
                </c:pt>
                <c:pt idx="2879">
                  <c:v>61214</c:v>
                </c:pt>
                <c:pt idx="2880">
                  <c:v>61202</c:v>
                </c:pt>
                <c:pt idx="2881">
                  <c:v>61196</c:v>
                </c:pt>
                <c:pt idx="2882">
                  <c:v>61196</c:v>
                </c:pt>
                <c:pt idx="2883">
                  <c:v>61190</c:v>
                </c:pt>
                <c:pt idx="2884">
                  <c:v>61189</c:v>
                </c:pt>
                <c:pt idx="2885">
                  <c:v>61189</c:v>
                </c:pt>
                <c:pt idx="2886">
                  <c:v>61185</c:v>
                </c:pt>
                <c:pt idx="2887">
                  <c:v>61180</c:v>
                </c:pt>
                <c:pt idx="2888">
                  <c:v>61171</c:v>
                </c:pt>
                <c:pt idx="2889">
                  <c:v>61166</c:v>
                </c:pt>
                <c:pt idx="2890">
                  <c:v>61164</c:v>
                </c:pt>
                <c:pt idx="2891">
                  <c:v>61152</c:v>
                </c:pt>
                <c:pt idx="2892">
                  <c:v>61145</c:v>
                </c:pt>
                <c:pt idx="2893">
                  <c:v>61140</c:v>
                </c:pt>
                <c:pt idx="2894">
                  <c:v>61136</c:v>
                </c:pt>
                <c:pt idx="2895">
                  <c:v>61136</c:v>
                </c:pt>
                <c:pt idx="2896">
                  <c:v>61135</c:v>
                </c:pt>
                <c:pt idx="2897">
                  <c:v>61134</c:v>
                </c:pt>
                <c:pt idx="2898">
                  <c:v>61132</c:v>
                </c:pt>
                <c:pt idx="2899">
                  <c:v>61126</c:v>
                </c:pt>
                <c:pt idx="2900">
                  <c:v>61124</c:v>
                </c:pt>
                <c:pt idx="2901">
                  <c:v>61120</c:v>
                </c:pt>
                <c:pt idx="2902">
                  <c:v>61102</c:v>
                </c:pt>
                <c:pt idx="2903">
                  <c:v>61102</c:v>
                </c:pt>
                <c:pt idx="2904">
                  <c:v>61102</c:v>
                </c:pt>
                <c:pt idx="2905">
                  <c:v>61097</c:v>
                </c:pt>
                <c:pt idx="2906">
                  <c:v>61092</c:v>
                </c:pt>
                <c:pt idx="2907">
                  <c:v>61087</c:v>
                </c:pt>
                <c:pt idx="2908">
                  <c:v>61083</c:v>
                </c:pt>
                <c:pt idx="2909">
                  <c:v>61082</c:v>
                </c:pt>
                <c:pt idx="2910">
                  <c:v>61080</c:v>
                </c:pt>
                <c:pt idx="2911">
                  <c:v>61074</c:v>
                </c:pt>
                <c:pt idx="2912">
                  <c:v>61074</c:v>
                </c:pt>
                <c:pt idx="2913">
                  <c:v>61072</c:v>
                </c:pt>
                <c:pt idx="2914">
                  <c:v>61071</c:v>
                </c:pt>
                <c:pt idx="2915">
                  <c:v>61069</c:v>
                </c:pt>
                <c:pt idx="2916">
                  <c:v>61065</c:v>
                </c:pt>
                <c:pt idx="2917">
                  <c:v>61062</c:v>
                </c:pt>
                <c:pt idx="2918">
                  <c:v>61061</c:v>
                </c:pt>
                <c:pt idx="2919">
                  <c:v>61059</c:v>
                </c:pt>
                <c:pt idx="2920">
                  <c:v>61056</c:v>
                </c:pt>
                <c:pt idx="2921">
                  <c:v>61055</c:v>
                </c:pt>
                <c:pt idx="2922">
                  <c:v>61042</c:v>
                </c:pt>
                <c:pt idx="2923">
                  <c:v>61040</c:v>
                </c:pt>
                <c:pt idx="2924">
                  <c:v>61039</c:v>
                </c:pt>
                <c:pt idx="2925">
                  <c:v>61027</c:v>
                </c:pt>
                <c:pt idx="2926">
                  <c:v>61026</c:v>
                </c:pt>
                <c:pt idx="2927">
                  <c:v>61025</c:v>
                </c:pt>
                <c:pt idx="2928">
                  <c:v>61021</c:v>
                </c:pt>
                <c:pt idx="2929">
                  <c:v>61018</c:v>
                </c:pt>
                <c:pt idx="2930">
                  <c:v>61018</c:v>
                </c:pt>
                <c:pt idx="2931">
                  <c:v>61016</c:v>
                </c:pt>
                <c:pt idx="2932">
                  <c:v>61015</c:v>
                </c:pt>
                <c:pt idx="2933">
                  <c:v>61011</c:v>
                </c:pt>
                <c:pt idx="2934">
                  <c:v>61011</c:v>
                </c:pt>
                <c:pt idx="2935">
                  <c:v>61007</c:v>
                </c:pt>
                <c:pt idx="2936">
                  <c:v>61003</c:v>
                </c:pt>
                <c:pt idx="2937">
                  <c:v>60999</c:v>
                </c:pt>
                <c:pt idx="2938">
                  <c:v>60991</c:v>
                </c:pt>
                <c:pt idx="2939">
                  <c:v>60982</c:v>
                </c:pt>
                <c:pt idx="2940">
                  <c:v>60982</c:v>
                </c:pt>
                <c:pt idx="2941">
                  <c:v>60982</c:v>
                </c:pt>
                <c:pt idx="2942">
                  <c:v>60979</c:v>
                </c:pt>
                <c:pt idx="2943">
                  <c:v>60979</c:v>
                </c:pt>
                <c:pt idx="2944">
                  <c:v>60978</c:v>
                </c:pt>
                <c:pt idx="2945">
                  <c:v>60974</c:v>
                </c:pt>
                <c:pt idx="2946">
                  <c:v>60964</c:v>
                </c:pt>
                <c:pt idx="2947">
                  <c:v>60960</c:v>
                </c:pt>
                <c:pt idx="2948">
                  <c:v>60960</c:v>
                </c:pt>
                <c:pt idx="2949">
                  <c:v>60954</c:v>
                </c:pt>
                <c:pt idx="2950">
                  <c:v>60953</c:v>
                </c:pt>
                <c:pt idx="2951">
                  <c:v>60947</c:v>
                </c:pt>
                <c:pt idx="2952">
                  <c:v>60942</c:v>
                </c:pt>
                <c:pt idx="2953">
                  <c:v>60938</c:v>
                </c:pt>
                <c:pt idx="2954">
                  <c:v>60934</c:v>
                </c:pt>
                <c:pt idx="2955">
                  <c:v>60934</c:v>
                </c:pt>
                <c:pt idx="2956">
                  <c:v>60929</c:v>
                </c:pt>
                <c:pt idx="2957">
                  <c:v>60925</c:v>
                </c:pt>
                <c:pt idx="2958">
                  <c:v>60924</c:v>
                </c:pt>
                <c:pt idx="2959">
                  <c:v>60920</c:v>
                </c:pt>
                <c:pt idx="2960">
                  <c:v>60916</c:v>
                </c:pt>
                <c:pt idx="2961">
                  <c:v>60909</c:v>
                </c:pt>
                <c:pt idx="2962">
                  <c:v>60908</c:v>
                </c:pt>
                <c:pt idx="2963">
                  <c:v>60907</c:v>
                </c:pt>
                <c:pt idx="2964">
                  <c:v>60903</c:v>
                </c:pt>
                <c:pt idx="2965">
                  <c:v>60892</c:v>
                </c:pt>
                <c:pt idx="2966">
                  <c:v>60892</c:v>
                </c:pt>
                <c:pt idx="2967">
                  <c:v>60891</c:v>
                </c:pt>
                <c:pt idx="2968">
                  <c:v>60889</c:v>
                </c:pt>
                <c:pt idx="2969">
                  <c:v>60888</c:v>
                </c:pt>
                <c:pt idx="2970">
                  <c:v>60886</c:v>
                </c:pt>
                <c:pt idx="2971">
                  <c:v>60884</c:v>
                </c:pt>
                <c:pt idx="2972">
                  <c:v>60881</c:v>
                </c:pt>
                <c:pt idx="2973">
                  <c:v>60876</c:v>
                </c:pt>
                <c:pt idx="2974">
                  <c:v>60870</c:v>
                </c:pt>
                <c:pt idx="2975">
                  <c:v>60864</c:v>
                </c:pt>
                <c:pt idx="2976">
                  <c:v>60863</c:v>
                </c:pt>
                <c:pt idx="2977">
                  <c:v>60854</c:v>
                </c:pt>
                <c:pt idx="2978">
                  <c:v>60854</c:v>
                </c:pt>
                <c:pt idx="2979">
                  <c:v>60844</c:v>
                </c:pt>
                <c:pt idx="2980">
                  <c:v>60844</c:v>
                </c:pt>
                <c:pt idx="2981">
                  <c:v>60839</c:v>
                </c:pt>
                <c:pt idx="2982">
                  <c:v>60834</c:v>
                </c:pt>
                <c:pt idx="2983">
                  <c:v>60828</c:v>
                </c:pt>
                <c:pt idx="2984">
                  <c:v>60826</c:v>
                </c:pt>
                <c:pt idx="2985">
                  <c:v>60819</c:v>
                </c:pt>
                <c:pt idx="2986">
                  <c:v>60818</c:v>
                </c:pt>
                <c:pt idx="2987">
                  <c:v>60816</c:v>
                </c:pt>
                <c:pt idx="2988">
                  <c:v>60813</c:v>
                </c:pt>
                <c:pt idx="2989">
                  <c:v>60811</c:v>
                </c:pt>
                <c:pt idx="2990">
                  <c:v>60810</c:v>
                </c:pt>
                <c:pt idx="2991">
                  <c:v>60799</c:v>
                </c:pt>
                <c:pt idx="2992">
                  <c:v>60791</c:v>
                </c:pt>
                <c:pt idx="2993">
                  <c:v>60791</c:v>
                </c:pt>
                <c:pt idx="2994">
                  <c:v>60789</c:v>
                </c:pt>
                <c:pt idx="2995">
                  <c:v>60787</c:v>
                </c:pt>
                <c:pt idx="2996">
                  <c:v>60785</c:v>
                </c:pt>
                <c:pt idx="2997">
                  <c:v>60784</c:v>
                </c:pt>
                <c:pt idx="2998">
                  <c:v>60780</c:v>
                </c:pt>
                <c:pt idx="2999">
                  <c:v>60779</c:v>
                </c:pt>
                <c:pt idx="3000">
                  <c:v>60770</c:v>
                </c:pt>
                <c:pt idx="3001">
                  <c:v>60758</c:v>
                </c:pt>
                <c:pt idx="3002">
                  <c:v>60757</c:v>
                </c:pt>
                <c:pt idx="3003">
                  <c:v>60757</c:v>
                </c:pt>
                <c:pt idx="3004">
                  <c:v>60754</c:v>
                </c:pt>
                <c:pt idx="3005">
                  <c:v>60750</c:v>
                </c:pt>
                <c:pt idx="3006">
                  <c:v>60744</c:v>
                </c:pt>
                <c:pt idx="3007">
                  <c:v>60731</c:v>
                </c:pt>
                <c:pt idx="3008">
                  <c:v>60724</c:v>
                </c:pt>
                <c:pt idx="3009">
                  <c:v>60717</c:v>
                </c:pt>
                <c:pt idx="3010">
                  <c:v>60713</c:v>
                </c:pt>
                <c:pt idx="3011">
                  <c:v>60712</c:v>
                </c:pt>
                <c:pt idx="3012">
                  <c:v>60711</c:v>
                </c:pt>
                <c:pt idx="3013">
                  <c:v>60710</c:v>
                </c:pt>
                <c:pt idx="3014">
                  <c:v>60709</c:v>
                </c:pt>
                <c:pt idx="3015">
                  <c:v>60708</c:v>
                </c:pt>
                <c:pt idx="3016">
                  <c:v>60708</c:v>
                </c:pt>
                <c:pt idx="3017">
                  <c:v>60703</c:v>
                </c:pt>
                <c:pt idx="3018">
                  <c:v>60701</c:v>
                </c:pt>
                <c:pt idx="3019">
                  <c:v>60700</c:v>
                </c:pt>
                <c:pt idx="3020">
                  <c:v>60699</c:v>
                </c:pt>
                <c:pt idx="3021">
                  <c:v>60697</c:v>
                </c:pt>
                <c:pt idx="3022">
                  <c:v>60688</c:v>
                </c:pt>
                <c:pt idx="3023">
                  <c:v>60686</c:v>
                </c:pt>
                <c:pt idx="3024">
                  <c:v>60683</c:v>
                </c:pt>
                <c:pt idx="3025">
                  <c:v>60681</c:v>
                </c:pt>
                <c:pt idx="3026">
                  <c:v>60674</c:v>
                </c:pt>
                <c:pt idx="3027">
                  <c:v>60673</c:v>
                </c:pt>
                <c:pt idx="3028">
                  <c:v>60669</c:v>
                </c:pt>
                <c:pt idx="3029">
                  <c:v>60661</c:v>
                </c:pt>
                <c:pt idx="3030">
                  <c:v>60654</c:v>
                </c:pt>
                <c:pt idx="3031">
                  <c:v>60647</c:v>
                </c:pt>
                <c:pt idx="3032">
                  <c:v>60638</c:v>
                </c:pt>
                <c:pt idx="3033">
                  <c:v>60637</c:v>
                </c:pt>
                <c:pt idx="3034">
                  <c:v>60633</c:v>
                </c:pt>
                <c:pt idx="3035">
                  <c:v>60615</c:v>
                </c:pt>
                <c:pt idx="3036">
                  <c:v>60611</c:v>
                </c:pt>
                <c:pt idx="3037">
                  <c:v>60599</c:v>
                </c:pt>
                <c:pt idx="3038">
                  <c:v>60599</c:v>
                </c:pt>
                <c:pt idx="3039">
                  <c:v>60592</c:v>
                </c:pt>
                <c:pt idx="3040">
                  <c:v>60589</c:v>
                </c:pt>
                <c:pt idx="3041">
                  <c:v>60589</c:v>
                </c:pt>
                <c:pt idx="3042">
                  <c:v>60586</c:v>
                </c:pt>
                <c:pt idx="3043">
                  <c:v>60575</c:v>
                </c:pt>
                <c:pt idx="3044">
                  <c:v>60569</c:v>
                </c:pt>
                <c:pt idx="3045">
                  <c:v>60556</c:v>
                </c:pt>
                <c:pt idx="3046">
                  <c:v>60553</c:v>
                </c:pt>
                <c:pt idx="3047">
                  <c:v>60549</c:v>
                </c:pt>
                <c:pt idx="3048">
                  <c:v>60543</c:v>
                </c:pt>
                <c:pt idx="3049">
                  <c:v>60526</c:v>
                </c:pt>
                <c:pt idx="3050">
                  <c:v>60519</c:v>
                </c:pt>
                <c:pt idx="3051">
                  <c:v>60519</c:v>
                </c:pt>
                <c:pt idx="3052">
                  <c:v>60517</c:v>
                </c:pt>
                <c:pt idx="3053">
                  <c:v>60513</c:v>
                </c:pt>
                <c:pt idx="3054">
                  <c:v>60509</c:v>
                </c:pt>
                <c:pt idx="3055">
                  <c:v>60504</c:v>
                </c:pt>
                <c:pt idx="3056">
                  <c:v>60502</c:v>
                </c:pt>
                <c:pt idx="3057">
                  <c:v>60496</c:v>
                </c:pt>
                <c:pt idx="3058">
                  <c:v>60491</c:v>
                </c:pt>
                <c:pt idx="3059">
                  <c:v>60482</c:v>
                </c:pt>
                <c:pt idx="3060">
                  <c:v>60481</c:v>
                </c:pt>
                <c:pt idx="3061">
                  <c:v>60479</c:v>
                </c:pt>
                <c:pt idx="3062">
                  <c:v>60477</c:v>
                </c:pt>
                <c:pt idx="3063">
                  <c:v>60476</c:v>
                </c:pt>
                <c:pt idx="3064">
                  <c:v>60475</c:v>
                </c:pt>
                <c:pt idx="3065">
                  <c:v>60471</c:v>
                </c:pt>
                <c:pt idx="3066">
                  <c:v>60469</c:v>
                </c:pt>
                <c:pt idx="3067">
                  <c:v>60466</c:v>
                </c:pt>
                <c:pt idx="3068">
                  <c:v>60464</c:v>
                </c:pt>
                <c:pt idx="3069">
                  <c:v>60461</c:v>
                </c:pt>
                <c:pt idx="3070">
                  <c:v>60457</c:v>
                </c:pt>
                <c:pt idx="3071">
                  <c:v>60448</c:v>
                </c:pt>
                <c:pt idx="3072">
                  <c:v>60446</c:v>
                </c:pt>
                <c:pt idx="3073">
                  <c:v>60445</c:v>
                </c:pt>
                <c:pt idx="3074">
                  <c:v>60441</c:v>
                </c:pt>
                <c:pt idx="3075">
                  <c:v>60440</c:v>
                </c:pt>
                <c:pt idx="3076">
                  <c:v>60433</c:v>
                </c:pt>
                <c:pt idx="3077">
                  <c:v>60425</c:v>
                </c:pt>
                <c:pt idx="3078">
                  <c:v>60422</c:v>
                </c:pt>
                <c:pt idx="3079">
                  <c:v>60421</c:v>
                </c:pt>
                <c:pt idx="3080">
                  <c:v>60421</c:v>
                </c:pt>
                <c:pt idx="3081">
                  <c:v>60418</c:v>
                </c:pt>
                <c:pt idx="3082">
                  <c:v>60416</c:v>
                </c:pt>
                <c:pt idx="3083">
                  <c:v>60413</c:v>
                </c:pt>
                <c:pt idx="3084">
                  <c:v>60411</c:v>
                </c:pt>
                <c:pt idx="3085">
                  <c:v>60407</c:v>
                </c:pt>
                <c:pt idx="3086">
                  <c:v>60404</c:v>
                </c:pt>
                <c:pt idx="3087">
                  <c:v>60403</c:v>
                </c:pt>
                <c:pt idx="3088">
                  <c:v>60403</c:v>
                </c:pt>
                <c:pt idx="3089">
                  <c:v>60400</c:v>
                </c:pt>
                <c:pt idx="3090">
                  <c:v>60396</c:v>
                </c:pt>
                <c:pt idx="3091">
                  <c:v>60393</c:v>
                </c:pt>
                <c:pt idx="3092">
                  <c:v>60392</c:v>
                </c:pt>
                <c:pt idx="3093">
                  <c:v>60385</c:v>
                </c:pt>
                <c:pt idx="3094">
                  <c:v>60373</c:v>
                </c:pt>
                <c:pt idx="3095">
                  <c:v>60369</c:v>
                </c:pt>
                <c:pt idx="3096">
                  <c:v>60355</c:v>
                </c:pt>
                <c:pt idx="3097">
                  <c:v>60349</c:v>
                </c:pt>
                <c:pt idx="3098">
                  <c:v>60348</c:v>
                </c:pt>
                <c:pt idx="3099">
                  <c:v>60346</c:v>
                </c:pt>
                <c:pt idx="3100">
                  <c:v>60345</c:v>
                </c:pt>
                <c:pt idx="3101">
                  <c:v>60332</c:v>
                </c:pt>
                <c:pt idx="3102">
                  <c:v>60328</c:v>
                </c:pt>
                <c:pt idx="3103">
                  <c:v>60326</c:v>
                </c:pt>
                <c:pt idx="3104">
                  <c:v>60319</c:v>
                </c:pt>
                <c:pt idx="3105">
                  <c:v>60313</c:v>
                </c:pt>
                <c:pt idx="3106">
                  <c:v>60312</c:v>
                </c:pt>
                <c:pt idx="3107">
                  <c:v>60312</c:v>
                </c:pt>
                <c:pt idx="3108">
                  <c:v>60297</c:v>
                </c:pt>
                <c:pt idx="3109">
                  <c:v>60278</c:v>
                </c:pt>
                <c:pt idx="3110">
                  <c:v>60274</c:v>
                </c:pt>
                <c:pt idx="3111">
                  <c:v>60270</c:v>
                </c:pt>
                <c:pt idx="3112">
                  <c:v>60263</c:v>
                </c:pt>
                <c:pt idx="3113">
                  <c:v>60261</c:v>
                </c:pt>
                <c:pt idx="3114">
                  <c:v>60253</c:v>
                </c:pt>
                <c:pt idx="3115">
                  <c:v>60250</c:v>
                </c:pt>
                <c:pt idx="3116">
                  <c:v>60247</c:v>
                </c:pt>
                <c:pt idx="3117">
                  <c:v>60244</c:v>
                </c:pt>
                <c:pt idx="3118">
                  <c:v>60229</c:v>
                </c:pt>
                <c:pt idx="3119">
                  <c:v>60225</c:v>
                </c:pt>
                <c:pt idx="3120">
                  <c:v>60220</c:v>
                </c:pt>
                <c:pt idx="3121">
                  <c:v>60218</c:v>
                </c:pt>
                <c:pt idx="3122">
                  <c:v>60212</c:v>
                </c:pt>
                <c:pt idx="3123">
                  <c:v>60208</c:v>
                </c:pt>
                <c:pt idx="3124">
                  <c:v>60207</c:v>
                </c:pt>
                <c:pt idx="3125">
                  <c:v>60207</c:v>
                </c:pt>
                <c:pt idx="3126">
                  <c:v>60204</c:v>
                </c:pt>
                <c:pt idx="3127">
                  <c:v>60201</c:v>
                </c:pt>
                <c:pt idx="3128">
                  <c:v>60199</c:v>
                </c:pt>
                <c:pt idx="3129">
                  <c:v>60198</c:v>
                </c:pt>
                <c:pt idx="3130">
                  <c:v>60192</c:v>
                </c:pt>
                <c:pt idx="3131">
                  <c:v>60187</c:v>
                </c:pt>
                <c:pt idx="3132">
                  <c:v>60184</c:v>
                </c:pt>
                <c:pt idx="3133">
                  <c:v>60183</c:v>
                </c:pt>
                <c:pt idx="3134">
                  <c:v>60183</c:v>
                </c:pt>
                <c:pt idx="3135">
                  <c:v>60182</c:v>
                </c:pt>
                <c:pt idx="3136">
                  <c:v>60181</c:v>
                </c:pt>
                <c:pt idx="3137">
                  <c:v>60179</c:v>
                </c:pt>
                <c:pt idx="3138">
                  <c:v>60177</c:v>
                </c:pt>
                <c:pt idx="3139">
                  <c:v>60173</c:v>
                </c:pt>
                <c:pt idx="3140">
                  <c:v>60172</c:v>
                </c:pt>
                <c:pt idx="3141">
                  <c:v>60171</c:v>
                </c:pt>
                <c:pt idx="3142">
                  <c:v>60166</c:v>
                </c:pt>
                <c:pt idx="3143">
                  <c:v>60162</c:v>
                </c:pt>
                <c:pt idx="3144">
                  <c:v>60160</c:v>
                </c:pt>
                <c:pt idx="3145">
                  <c:v>60159</c:v>
                </c:pt>
                <c:pt idx="3146">
                  <c:v>60155</c:v>
                </c:pt>
                <c:pt idx="3147">
                  <c:v>60155</c:v>
                </c:pt>
                <c:pt idx="3148">
                  <c:v>60146</c:v>
                </c:pt>
                <c:pt idx="3149">
                  <c:v>60140</c:v>
                </c:pt>
                <c:pt idx="3150">
                  <c:v>60140</c:v>
                </c:pt>
                <c:pt idx="3151">
                  <c:v>60139</c:v>
                </c:pt>
                <c:pt idx="3152">
                  <c:v>60135</c:v>
                </c:pt>
                <c:pt idx="3153">
                  <c:v>60134</c:v>
                </c:pt>
                <c:pt idx="3154">
                  <c:v>60133</c:v>
                </c:pt>
                <c:pt idx="3155">
                  <c:v>60132</c:v>
                </c:pt>
                <c:pt idx="3156">
                  <c:v>60127</c:v>
                </c:pt>
                <c:pt idx="3157">
                  <c:v>60125</c:v>
                </c:pt>
                <c:pt idx="3158">
                  <c:v>60120</c:v>
                </c:pt>
                <c:pt idx="3159">
                  <c:v>60111</c:v>
                </c:pt>
                <c:pt idx="3160">
                  <c:v>60110</c:v>
                </c:pt>
                <c:pt idx="3161">
                  <c:v>60105</c:v>
                </c:pt>
                <c:pt idx="3162">
                  <c:v>60104</c:v>
                </c:pt>
                <c:pt idx="3163">
                  <c:v>60104</c:v>
                </c:pt>
                <c:pt idx="3164">
                  <c:v>60103</c:v>
                </c:pt>
                <c:pt idx="3165">
                  <c:v>60100</c:v>
                </c:pt>
                <c:pt idx="3166">
                  <c:v>60099</c:v>
                </c:pt>
                <c:pt idx="3167">
                  <c:v>60092</c:v>
                </c:pt>
                <c:pt idx="3168">
                  <c:v>60088</c:v>
                </c:pt>
                <c:pt idx="3169">
                  <c:v>60087</c:v>
                </c:pt>
                <c:pt idx="3170">
                  <c:v>60083</c:v>
                </c:pt>
                <c:pt idx="3171">
                  <c:v>60081</c:v>
                </c:pt>
                <c:pt idx="3172">
                  <c:v>60080</c:v>
                </c:pt>
                <c:pt idx="3173">
                  <c:v>60077</c:v>
                </c:pt>
                <c:pt idx="3174">
                  <c:v>60075</c:v>
                </c:pt>
                <c:pt idx="3175">
                  <c:v>60065</c:v>
                </c:pt>
                <c:pt idx="3176">
                  <c:v>60065</c:v>
                </c:pt>
                <c:pt idx="3177">
                  <c:v>60062</c:v>
                </c:pt>
                <c:pt idx="3178">
                  <c:v>60060</c:v>
                </c:pt>
                <c:pt idx="3179">
                  <c:v>60060</c:v>
                </c:pt>
                <c:pt idx="3180">
                  <c:v>60059</c:v>
                </c:pt>
                <c:pt idx="3181">
                  <c:v>60050</c:v>
                </c:pt>
                <c:pt idx="3182">
                  <c:v>60049</c:v>
                </c:pt>
                <c:pt idx="3183">
                  <c:v>60041</c:v>
                </c:pt>
                <c:pt idx="3184">
                  <c:v>60040</c:v>
                </c:pt>
                <c:pt idx="3185">
                  <c:v>60040</c:v>
                </c:pt>
                <c:pt idx="3186">
                  <c:v>60039</c:v>
                </c:pt>
                <c:pt idx="3187">
                  <c:v>60038</c:v>
                </c:pt>
                <c:pt idx="3188">
                  <c:v>60037</c:v>
                </c:pt>
                <c:pt idx="3189">
                  <c:v>60037</c:v>
                </c:pt>
                <c:pt idx="3190">
                  <c:v>60035</c:v>
                </c:pt>
                <c:pt idx="3191">
                  <c:v>60029</c:v>
                </c:pt>
                <c:pt idx="3192">
                  <c:v>60026</c:v>
                </c:pt>
                <c:pt idx="3193">
                  <c:v>60023</c:v>
                </c:pt>
                <c:pt idx="3194">
                  <c:v>60019</c:v>
                </c:pt>
                <c:pt idx="3195">
                  <c:v>60014</c:v>
                </c:pt>
                <c:pt idx="3196">
                  <c:v>60012</c:v>
                </c:pt>
                <c:pt idx="3197">
                  <c:v>59999</c:v>
                </c:pt>
                <c:pt idx="3198">
                  <c:v>59999</c:v>
                </c:pt>
                <c:pt idx="3199">
                  <c:v>59997</c:v>
                </c:pt>
                <c:pt idx="3200">
                  <c:v>59991</c:v>
                </c:pt>
                <c:pt idx="3201">
                  <c:v>59979</c:v>
                </c:pt>
                <c:pt idx="3202">
                  <c:v>59975</c:v>
                </c:pt>
                <c:pt idx="3203">
                  <c:v>59974</c:v>
                </c:pt>
                <c:pt idx="3204">
                  <c:v>59972</c:v>
                </c:pt>
                <c:pt idx="3205">
                  <c:v>59971</c:v>
                </c:pt>
                <c:pt idx="3206">
                  <c:v>59966</c:v>
                </c:pt>
                <c:pt idx="3207">
                  <c:v>59965</c:v>
                </c:pt>
                <c:pt idx="3208">
                  <c:v>59961</c:v>
                </c:pt>
                <c:pt idx="3209">
                  <c:v>59961</c:v>
                </c:pt>
                <c:pt idx="3210">
                  <c:v>59958</c:v>
                </c:pt>
                <c:pt idx="3211">
                  <c:v>59957</c:v>
                </c:pt>
                <c:pt idx="3212">
                  <c:v>59947</c:v>
                </c:pt>
                <c:pt idx="3213">
                  <c:v>59946</c:v>
                </c:pt>
                <c:pt idx="3214">
                  <c:v>59944</c:v>
                </c:pt>
                <c:pt idx="3215">
                  <c:v>59940</c:v>
                </c:pt>
                <c:pt idx="3216">
                  <c:v>59939</c:v>
                </c:pt>
                <c:pt idx="3217">
                  <c:v>59937</c:v>
                </c:pt>
                <c:pt idx="3218">
                  <c:v>59936</c:v>
                </c:pt>
                <c:pt idx="3219">
                  <c:v>59933</c:v>
                </c:pt>
                <c:pt idx="3220">
                  <c:v>59930</c:v>
                </c:pt>
                <c:pt idx="3221">
                  <c:v>59930</c:v>
                </c:pt>
                <c:pt idx="3222">
                  <c:v>59929</c:v>
                </c:pt>
                <c:pt idx="3223">
                  <c:v>59929</c:v>
                </c:pt>
                <c:pt idx="3224">
                  <c:v>59917</c:v>
                </c:pt>
                <c:pt idx="3225">
                  <c:v>59915</c:v>
                </c:pt>
                <c:pt idx="3226">
                  <c:v>59911</c:v>
                </c:pt>
                <c:pt idx="3227">
                  <c:v>59900</c:v>
                </c:pt>
                <c:pt idx="3228">
                  <c:v>59898</c:v>
                </c:pt>
                <c:pt idx="3229">
                  <c:v>59893</c:v>
                </c:pt>
                <c:pt idx="3230">
                  <c:v>59893</c:v>
                </c:pt>
                <c:pt idx="3231">
                  <c:v>59889</c:v>
                </c:pt>
                <c:pt idx="3232">
                  <c:v>59886</c:v>
                </c:pt>
                <c:pt idx="3233">
                  <c:v>59886</c:v>
                </c:pt>
                <c:pt idx="3234">
                  <c:v>59885</c:v>
                </c:pt>
                <c:pt idx="3235">
                  <c:v>59880</c:v>
                </c:pt>
                <c:pt idx="3236">
                  <c:v>59876</c:v>
                </c:pt>
                <c:pt idx="3237">
                  <c:v>59871</c:v>
                </c:pt>
                <c:pt idx="3238">
                  <c:v>59871</c:v>
                </c:pt>
                <c:pt idx="3239">
                  <c:v>59869</c:v>
                </c:pt>
                <c:pt idx="3240">
                  <c:v>59867</c:v>
                </c:pt>
                <c:pt idx="3241">
                  <c:v>59866</c:v>
                </c:pt>
                <c:pt idx="3242">
                  <c:v>59850</c:v>
                </c:pt>
                <c:pt idx="3243">
                  <c:v>59850</c:v>
                </c:pt>
                <c:pt idx="3244">
                  <c:v>59836</c:v>
                </c:pt>
                <c:pt idx="3245">
                  <c:v>59832</c:v>
                </c:pt>
                <c:pt idx="3246">
                  <c:v>59831</c:v>
                </c:pt>
                <c:pt idx="3247">
                  <c:v>59824</c:v>
                </c:pt>
                <c:pt idx="3248">
                  <c:v>59820</c:v>
                </c:pt>
                <c:pt idx="3249">
                  <c:v>59818</c:v>
                </c:pt>
                <c:pt idx="3250">
                  <c:v>59813</c:v>
                </c:pt>
                <c:pt idx="3251">
                  <c:v>59810</c:v>
                </c:pt>
                <c:pt idx="3252">
                  <c:v>59809</c:v>
                </c:pt>
                <c:pt idx="3253">
                  <c:v>59807</c:v>
                </c:pt>
                <c:pt idx="3254">
                  <c:v>59804</c:v>
                </c:pt>
                <c:pt idx="3255">
                  <c:v>59800</c:v>
                </c:pt>
                <c:pt idx="3256">
                  <c:v>59795</c:v>
                </c:pt>
                <c:pt idx="3257">
                  <c:v>59794</c:v>
                </c:pt>
                <c:pt idx="3258">
                  <c:v>59791</c:v>
                </c:pt>
                <c:pt idx="3259">
                  <c:v>59789</c:v>
                </c:pt>
                <c:pt idx="3260">
                  <c:v>59789</c:v>
                </c:pt>
                <c:pt idx="3261">
                  <c:v>59774</c:v>
                </c:pt>
                <c:pt idx="3262">
                  <c:v>59774</c:v>
                </c:pt>
                <c:pt idx="3263">
                  <c:v>59771</c:v>
                </c:pt>
                <c:pt idx="3264">
                  <c:v>59769</c:v>
                </c:pt>
                <c:pt idx="3265">
                  <c:v>59767</c:v>
                </c:pt>
                <c:pt idx="3266">
                  <c:v>59766</c:v>
                </c:pt>
                <c:pt idx="3267">
                  <c:v>59765</c:v>
                </c:pt>
                <c:pt idx="3268">
                  <c:v>59760</c:v>
                </c:pt>
                <c:pt idx="3269">
                  <c:v>59760</c:v>
                </c:pt>
                <c:pt idx="3270">
                  <c:v>59760</c:v>
                </c:pt>
                <c:pt idx="3271">
                  <c:v>59753</c:v>
                </c:pt>
                <c:pt idx="3272">
                  <c:v>59742</c:v>
                </c:pt>
                <c:pt idx="3273">
                  <c:v>59741</c:v>
                </c:pt>
                <c:pt idx="3274">
                  <c:v>59740</c:v>
                </c:pt>
                <c:pt idx="3275">
                  <c:v>59734</c:v>
                </c:pt>
                <c:pt idx="3276">
                  <c:v>59732</c:v>
                </c:pt>
                <c:pt idx="3277">
                  <c:v>59724</c:v>
                </c:pt>
                <c:pt idx="3278">
                  <c:v>59722</c:v>
                </c:pt>
                <c:pt idx="3279">
                  <c:v>59722</c:v>
                </c:pt>
                <c:pt idx="3280">
                  <c:v>59719</c:v>
                </c:pt>
                <c:pt idx="3281">
                  <c:v>59715</c:v>
                </c:pt>
                <c:pt idx="3282">
                  <c:v>59710</c:v>
                </c:pt>
                <c:pt idx="3283">
                  <c:v>59707</c:v>
                </c:pt>
                <c:pt idx="3284">
                  <c:v>59706</c:v>
                </c:pt>
                <c:pt idx="3285">
                  <c:v>59700</c:v>
                </c:pt>
                <c:pt idx="3286">
                  <c:v>59695</c:v>
                </c:pt>
                <c:pt idx="3287">
                  <c:v>59692</c:v>
                </c:pt>
                <c:pt idx="3288">
                  <c:v>59686</c:v>
                </c:pt>
                <c:pt idx="3289">
                  <c:v>59682</c:v>
                </c:pt>
                <c:pt idx="3290">
                  <c:v>59679</c:v>
                </c:pt>
                <c:pt idx="3291">
                  <c:v>59677</c:v>
                </c:pt>
                <c:pt idx="3292">
                  <c:v>59676</c:v>
                </c:pt>
                <c:pt idx="3293">
                  <c:v>59675</c:v>
                </c:pt>
                <c:pt idx="3294">
                  <c:v>59667</c:v>
                </c:pt>
                <c:pt idx="3295">
                  <c:v>59665</c:v>
                </c:pt>
                <c:pt idx="3296">
                  <c:v>59662</c:v>
                </c:pt>
                <c:pt idx="3297">
                  <c:v>59658</c:v>
                </c:pt>
                <c:pt idx="3298">
                  <c:v>59656</c:v>
                </c:pt>
                <c:pt idx="3299">
                  <c:v>59650</c:v>
                </c:pt>
                <c:pt idx="3300">
                  <c:v>59647</c:v>
                </c:pt>
                <c:pt idx="3301">
                  <c:v>59645</c:v>
                </c:pt>
                <c:pt idx="3302">
                  <c:v>59640</c:v>
                </c:pt>
                <c:pt idx="3303">
                  <c:v>59639</c:v>
                </c:pt>
                <c:pt idx="3304">
                  <c:v>59633</c:v>
                </c:pt>
                <c:pt idx="3305">
                  <c:v>59631</c:v>
                </c:pt>
                <c:pt idx="3306">
                  <c:v>59630</c:v>
                </c:pt>
                <c:pt idx="3307">
                  <c:v>59629</c:v>
                </c:pt>
                <c:pt idx="3308">
                  <c:v>59617</c:v>
                </c:pt>
                <c:pt idx="3309">
                  <c:v>59615</c:v>
                </c:pt>
                <c:pt idx="3310">
                  <c:v>59611</c:v>
                </c:pt>
                <c:pt idx="3311">
                  <c:v>59609</c:v>
                </c:pt>
                <c:pt idx="3312">
                  <c:v>59606</c:v>
                </c:pt>
                <c:pt idx="3313">
                  <c:v>59601</c:v>
                </c:pt>
                <c:pt idx="3314">
                  <c:v>59599</c:v>
                </c:pt>
                <c:pt idx="3315">
                  <c:v>59598</c:v>
                </c:pt>
                <c:pt idx="3316">
                  <c:v>59592</c:v>
                </c:pt>
                <c:pt idx="3317">
                  <c:v>59590</c:v>
                </c:pt>
                <c:pt idx="3318">
                  <c:v>59590</c:v>
                </c:pt>
                <c:pt idx="3319">
                  <c:v>59589</c:v>
                </c:pt>
                <c:pt idx="3320">
                  <c:v>59585</c:v>
                </c:pt>
                <c:pt idx="3321">
                  <c:v>59584</c:v>
                </c:pt>
                <c:pt idx="3322">
                  <c:v>59580</c:v>
                </c:pt>
                <c:pt idx="3323">
                  <c:v>59579</c:v>
                </c:pt>
                <c:pt idx="3324">
                  <c:v>59573</c:v>
                </c:pt>
                <c:pt idx="3325">
                  <c:v>59572</c:v>
                </c:pt>
                <c:pt idx="3326">
                  <c:v>59562</c:v>
                </c:pt>
                <c:pt idx="3327">
                  <c:v>59557</c:v>
                </c:pt>
                <c:pt idx="3328">
                  <c:v>59550</c:v>
                </c:pt>
                <c:pt idx="3329">
                  <c:v>59549</c:v>
                </c:pt>
                <c:pt idx="3330">
                  <c:v>59539</c:v>
                </c:pt>
                <c:pt idx="3331">
                  <c:v>59537</c:v>
                </c:pt>
                <c:pt idx="3332">
                  <c:v>59535</c:v>
                </c:pt>
                <c:pt idx="3333">
                  <c:v>59534</c:v>
                </c:pt>
                <c:pt idx="3334">
                  <c:v>59528</c:v>
                </c:pt>
                <c:pt idx="3335">
                  <c:v>59523</c:v>
                </c:pt>
                <c:pt idx="3336">
                  <c:v>59521</c:v>
                </c:pt>
                <c:pt idx="3337">
                  <c:v>59520</c:v>
                </c:pt>
                <c:pt idx="3338">
                  <c:v>59520</c:v>
                </c:pt>
                <c:pt idx="3339">
                  <c:v>59519</c:v>
                </c:pt>
                <c:pt idx="3340">
                  <c:v>59519</c:v>
                </c:pt>
                <c:pt idx="3341">
                  <c:v>59516</c:v>
                </c:pt>
                <c:pt idx="3342">
                  <c:v>59512</c:v>
                </c:pt>
                <c:pt idx="3343">
                  <c:v>59484</c:v>
                </c:pt>
                <c:pt idx="3344">
                  <c:v>59482</c:v>
                </c:pt>
                <c:pt idx="3345">
                  <c:v>59474</c:v>
                </c:pt>
                <c:pt idx="3346">
                  <c:v>59474</c:v>
                </c:pt>
                <c:pt idx="3347">
                  <c:v>59472</c:v>
                </c:pt>
                <c:pt idx="3348">
                  <c:v>59469</c:v>
                </c:pt>
                <c:pt idx="3349">
                  <c:v>59468</c:v>
                </c:pt>
                <c:pt idx="3350">
                  <c:v>59466</c:v>
                </c:pt>
                <c:pt idx="3351">
                  <c:v>59462</c:v>
                </c:pt>
                <c:pt idx="3352">
                  <c:v>59462</c:v>
                </c:pt>
                <c:pt idx="3353">
                  <c:v>59462</c:v>
                </c:pt>
                <c:pt idx="3354">
                  <c:v>59451</c:v>
                </c:pt>
                <c:pt idx="3355">
                  <c:v>59444</c:v>
                </c:pt>
                <c:pt idx="3356">
                  <c:v>59440</c:v>
                </c:pt>
                <c:pt idx="3357">
                  <c:v>59436</c:v>
                </c:pt>
                <c:pt idx="3358">
                  <c:v>59432</c:v>
                </c:pt>
                <c:pt idx="3359">
                  <c:v>59431</c:v>
                </c:pt>
                <c:pt idx="3360">
                  <c:v>59431</c:v>
                </c:pt>
                <c:pt idx="3361">
                  <c:v>59430</c:v>
                </c:pt>
                <c:pt idx="3362">
                  <c:v>59425</c:v>
                </c:pt>
                <c:pt idx="3363">
                  <c:v>59424</c:v>
                </c:pt>
                <c:pt idx="3364">
                  <c:v>59423</c:v>
                </c:pt>
                <c:pt idx="3365">
                  <c:v>59419</c:v>
                </c:pt>
                <c:pt idx="3366">
                  <c:v>59418</c:v>
                </c:pt>
                <c:pt idx="3367">
                  <c:v>59415</c:v>
                </c:pt>
                <c:pt idx="3368">
                  <c:v>59413</c:v>
                </c:pt>
                <c:pt idx="3369">
                  <c:v>59413</c:v>
                </c:pt>
                <c:pt idx="3370">
                  <c:v>59409</c:v>
                </c:pt>
                <c:pt idx="3371">
                  <c:v>59404</c:v>
                </c:pt>
                <c:pt idx="3372">
                  <c:v>59401</c:v>
                </c:pt>
                <c:pt idx="3373">
                  <c:v>59400</c:v>
                </c:pt>
                <c:pt idx="3374">
                  <c:v>59397</c:v>
                </c:pt>
                <c:pt idx="3375">
                  <c:v>59396</c:v>
                </c:pt>
                <c:pt idx="3376">
                  <c:v>59395</c:v>
                </c:pt>
                <c:pt idx="3377">
                  <c:v>59391</c:v>
                </c:pt>
                <c:pt idx="3378">
                  <c:v>59387</c:v>
                </c:pt>
                <c:pt idx="3379">
                  <c:v>59384</c:v>
                </c:pt>
                <c:pt idx="3380">
                  <c:v>59384</c:v>
                </c:pt>
                <c:pt idx="3381">
                  <c:v>59383</c:v>
                </c:pt>
                <c:pt idx="3382">
                  <c:v>59382</c:v>
                </c:pt>
                <c:pt idx="3383">
                  <c:v>59380</c:v>
                </c:pt>
                <c:pt idx="3384">
                  <c:v>59377</c:v>
                </c:pt>
                <c:pt idx="3385">
                  <c:v>59375</c:v>
                </c:pt>
                <c:pt idx="3386">
                  <c:v>59364</c:v>
                </c:pt>
                <c:pt idx="3387">
                  <c:v>59358</c:v>
                </c:pt>
                <c:pt idx="3388">
                  <c:v>59354</c:v>
                </c:pt>
                <c:pt idx="3389">
                  <c:v>59354</c:v>
                </c:pt>
                <c:pt idx="3390">
                  <c:v>59353</c:v>
                </c:pt>
                <c:pt idx="3391">
                  <c:v>59352</c:v>
                </c:pt>
                <c:pt idx="3392">
                  <c:v>59342</c:v>
                </c:pt>
                <c:pt idx="3393">
                  <c:v>59338</c:v>
                </c:pt>
                <c:pt idx="3394">
                  <c:v>59327</c:v>
                </c:pt>
                <c:pt idx="3395">
                  <c:v>59322</c:v>
                </c:pt>
                <c:pt idx="3396">
                  <c:v>59319</c:v>
                </c:pt>
                <c:pt idx="3397">
                  <c:v>59318</c:v>
                </c:pt>
                <c:pt idx="3398">
                  <c:v>59316</c:v>
                </c:pt>
                <c:pt idx="3399">
                  <c:v>59316</c:v>
                </c:pt>
                <c:pt idx="3400">
                  <c:v>59314</c:v>
                </c:pt>
                <c:pt idx="3401">
                  <c:v>59313</c:v>
                </c:pt>
                <c:pt idx="3402">
                  <c:v>59309</c:v>
                </c:pt>
                <c:pt idx="3403">
                  <c:v>59301</c:v>
                </c:pt>
                <c:pt idx="3404">
                  <c:v>59299</c:v>
                </c:pt>
                <c:pt idx="3405">
                  <c:v>59297</c:v>
                </c:pt>
                <c:pt idx="3406">
                  <c:v>59295</c:v>
                </c:pt>
                <c:pt idx="3407">
                  <c:v>59289</c:v>
                </c:pt>
                <c:pt idx="3408">
                  <c:v>59280</c:v>
                </c:pt>
                <c:pt idx="3409">
                  <c:v>59275</c:v>
                </c:pt>
                <c:pt idx="3410">
                  <c:v>59272</c:v>
                </c:pt>
                <c:pt idx="3411">
                  <c:v>59271</c:v>
                </c:pt>
                <c:pt idx="3412">
                  <c:v>59268</c:v>
                </c:pt>
                <c:pt idx="3413">
                  <c:v>59266</c:v>
                </c:pt>
                <c:pt idx="3414">
                  <c:v>59266</c:v>
                </c:pt>
                <c:pt idx="3415">
                  <c:v>59260</c:v>
                </c:pt>
                <c:pt idx="3416">
                  <c:v>59254</c:v>
                </c:pt>
                <c:pt idx="3417">
                  <c:v>59242</c:v>
                </c:pt>
                <c:pt idx="3418">
                  <c:v>59234</c:v>
                </c:pt>
                <c:pt idx="3419">
                  <c:v>59234</c:v>
                </c:pt>
                <c:pt idx="3420">
                  <c:v>59233</c:v>
                </c:pt>
                <c:pt idx="3421">
                  <c:v>59232</c:v>
                </c:pt>
                <c:pt idx="3422">
                  <c:v>59231</c:v>
                </c:pt>
                <c:pt idx="3423">
                  <c:v>59231</c:v>
                </c:pt>
                <c:pt idx="3424">
                  <c:v>59230</c:v>
                </c:pt>
                <c:pt idx="3425">
                  <c:v>59230</c:v>
                </c:pt>
                <c:pt idx="3426">
                  <c:v>59230</c:v>
                </c:pt>
                <c:pt idx="3427">
                  <c:v>59229</c:v>
                </c:pt>
                <c:pt idx="3428">
                  <c:v>59215</c:v>
                </c:pt>
                <c:pt idx="3429">
                  <c:v>59215</c:v>
                </c:pt>
                <c:pt idx="3430">
                  <c:v>59214</c:v>
                </c:pt>
                <c:pt idx="3431">
                  <c:v>59213</c:v>
                </c:pt>
                <c:pt idx="3432">
                  <c:v>59209</c:v>
                </c:pt>
                <c:pt idx="3433">
                  <c:v>59200</c:v>
                </c:pt>
                <c:pt idx="3434">
                  <c:v>59192</c:v>
                </c:pt>
                <c:pt idx="3435">
                  <c:v>59186</c:v>
                </c:pt>
                <c:pt idx="3436">
                  <c:v>59184</c:v>
                </c:pt>
                <c:pt idx="3437">
                  <c:v>59183</c:v>
                </c:pt>
                <c:pt idx="3438">
                  <c:v>59182</c:v>
                </c:pt>
                <c:pt idx="3439">
                  <c:v>59174</c:v>
                </c:pt>
                <c:pt idx="3440">
                  <c:v>59173</c:v>
                </c:pt>
                <c:pt idx="3441">
                  <c:v>59171</c:v>
                </c:pt>
                <c:pt idx="3442">
                  <c:v>59169</c:v>
                </c:pt>
                <c:pt idx="3443">
                  <c:v>59163</c:v>
                </c:pt>
                <c:pt idx="3444">
                  <c:v>59161</c:v>
                </c:pt>
                <c:pt idx="3445">
                  <c:v>59158</c:v>
                </c:pt>
                <c:pt idx="3446">
                  <c:v>59157</c:v>
                </c:pt>
                <c:pt idx="3447">
                  <c:v>59156</c:v>
                </c:pt>
                <c:pt idx="3448">
                  <c:v>59152</c:v>
                </c:pt>
                <c:pt idx="3449">
                  <c:v>59151</c:v>
                </c:pt>
                <c:pt idx="3450">
                  <c:v>59137</c:v>
                </c:pt>
                <c:pt idx="3451">
                  <c:v>59133</c:v>
                </c:pt>
                <c:pt idx="3452">
                  <c:v>59133</c:v>
                </c:pt>
                <c:pt idx="3453">
                  <c:v>59131</c:v>
                </c:pt>
                <c:pt idx="3454">
                  <c:v>59130</c:v>
                </c:pt>
                <c:pt idx="3455">
                  <c:v>59125</c:v>
                </c:pt>
                <c:pt idx="3456">
                  <c:v>59122</c:v>
                </c:pt>
                <c:pt idx="3457">
                  <c:v>59121</c:v>
                </c:pt>
                <c:pt idx="3458">
                  <c:v>59120</c:v>
                </c:pt>
                <c:pt idx="3459">
                  <c:v>59120</c:v>
                </c:pt>
                <c:pt idx="3460">
                  <c:v>59117</c:v>
                </c:pt>
                <c:pt idx="3461">
                  <c:v>59116</c:v>
                </c:pt>
                <c:pt idx="3462">
                  <c:v>59115</c:v>
                </c:pt>
                <c:pt idx="3463">
                  <c:v>59115</c:v>
                </c:pt>
                <c:pt idx="3464">
                  <c:v>59106</c:v>
                </c:pt>
                <c:pt idx="3465">
                  <c:v>59103</c:v>
                </c:pt>
                <c:pt idx="3466">
                  <c:v>59102</c:v>
                </c:pt>
                <c:pt idx="3467">
                  <c:v>59098</c:v>
                </c:pt>
                <c:pt idx="3468">
                  <c:v>59095</c:v>
                </c:pt>
                <c:pt idx="3469">
                  <c:v>59093</c:v>
                </c:pt>
                <c:pt idx="3470">
                  <c:v>59089</c:v>
                </c:pt>
                <c:pt idx="3471">
                  <c:v>59081</c:v>
                </c:pt>
                <c:pt idx="3472">
                  <c:v>59077</c:v>
                </c:pt>
                <c:pt idx="3473">
                  <c:v>59076</c:v>
                </c:pt>
                <c:pt idx="3474">
                  <c:v>59064</c:v>
                </c:pt>
                <c:pt idx="3475">
                  <c:v>59063</c:v>
                </c:pt>
                <c:pt idx="3476">
                  <c:v>59062</c:v>
                </c:pt>
                <c:pt idx="3477">
                  <c:v>59061</c:v>
                </c:pt>
                <c:pt idx="3478">
                  <c:v>59059</c:v>
                </c:pt>
                <c:pt idx="3479">
                  <c:v>59055</c:v>
                </c:pt>
                <c:pt idx="3480">
                  <c:v>59054</c:v>
                </c:pt>
                <c:pt idx="3481">
                  <c:v>59053</c:v>
                </c:pt>
                <c:pt idx="3482">
                  <c:v>59048</c:v>
                </c:pt>
                <c:pt idx="3483">
                  <c:v>59048</c:v>
                </c:pt>
                <c:pt idx="3484">
                  <c:v>59048</c:v>
                </c:pt>
                <c:pt idx="3485">
                  <c:v>59048</c:v>
                </c:pt>
                <c:pt idx="3486">
                  <c:v>59042</c:v>
                </c:pt>
                <c:pt idx="3487">
                  <c:v>59042</c:v>
                </c:pt>
                <c:pt idx="3488">
                  <c:v>59041</c:v>
                </c:pt>
                <c:pt idx="3489">
                  <c:v>59038</c:v>
                </c:pt>
                <c:pt idx="3490">
                  <c:v>59037</c:v>
                </c:pt>
                <c:pt idx="3491">
                  <c:v>59035</c:v>
                </c:pt>
                <c:pt idx="3492">
                  <c:v>59029</c:v>
                </c:pt>
                <c:pt idx="3493">
                  <c:v>59028</c:v>
                </c:pt>
                <c:pt idx="3494">
                  <c:v>59019</c:v>
                </c:pt>
                <c:pt idx="3495">
                  <c:v>59012</c:v>
                </c:pt>
                <c:pt idx="3496">
                  <c:v>59010</c:v>
                </c:pt>
                <c:pt idx="3497">
                  <c:v>59009</c:v>
                </c:pt>
                <c:pt idx="3498">
                  <c:v>59008</c:v>
                </c:pt>
                <c:pt idx="3499">
                  <c:v>59003</c:v>
                </c:pt>
                <c:pt idx="3500">
                  <c:v>59000</c:v>
                </c:pt>
                <c:pt idx="3501">
                  <c:v>58994</c:v>
                </c:pt>
                <c:pt idx="3502">
                  <c:v>58988</c:v>
                </c:pt>
                <c:pt idx="3503">
                  <c:v>58976</c:v>
                </c:pt>
                <c:pt idx="3504">
                  <c:v>58973</c:v>
                </c:pt>
                <c:pt idx="3505">
                  <c:v>58971</c:v>
                </c:pt>
                <c:pt idx="3506">
                  <c:v>58969</c:v>
                </c:pt>
                <c:pt idx="3507">
                  <c:v>58969</c:v>
                </c:pt>
                <c:pt idx="3508">
                  <c:v>58967</c:v>
                </c:pt>
                <c:pt idx="3509">
                  <c:v>58967</c:v>
                </c:pt>
                <c:pt idx="3510">
                  <c:v>58950</c:v>
                </c:pt>
                <c:pt idx="3511">
                  <c:v>58948</c:v>
                </c:pt>
                <c:pt idx="3512">
                  <c:v>58947</c:v>
                </c:pt>
                <c:pt idx="3513">
                  <c:v>58945</c:v>
                </c:pt>
                <c:pt idx="3514">
                  <c:v>58944</c:v>
                </c:pt>
                <c:pt idx="3515">
                  <c:v>58931</c:v>
                </c:pt>
                <c:pt idx="3516">
                  <c:v>58931</c:v>
                </c:pt>
                <c:pt idx="3517">
                  <c:v>58924</c:v>
                </c:pt>
                <c:pt idx="3518">
                  <c:v>58922</c:v>
                </c:pt>
                <c:pt idx="3519">
                  <c:v>58920</c:v>
                </c:pt>
                <c:pt idx="3520">
                  <c:v>58917</c:v>
                </c:pt>
                <c:pt idx="3521">
                  <c:v>58914</c:v>
                </c:pt>
                <c:pt idx="3522">
                  <c:v>58914</c:v>
                </c:pt>
                <c:pt idx="3523">
                  <c:v>58911</c:v>
                </c:pt>
                <c:pt idx="3524">
                  <c:v>58905</c:v>
                </c:pt>
                <c:pt idx="3525">
                  <c:v>58904</c:v>
                </c:pt>
                <c:pt idx="3526">
                  <c:v>58904</c:v>
                </c:pt>
                <c:pt idx="3527">
                  <c:v>58900</c:v>
                </c:pt>
                <c:pt idx="3528">
                  <c:v>58900</c:v>
                </c:pt>
                <c:pt idx="3529">
                  <c:v>58895</c:v>
                </c:pt>
                <c:pt idx="3530">
                  <c:v>58894</c:v>
                </c:pt>
                <c:pt idx="3531">
                  <c:v>58893</c:v>
                </c:pt>
                <c:pt idx="3532">
                  <c:v>58891</c:v>
                </c:pt>
                <c:pt idx="3533">
                  <c:v>58884</c:v>
                </c:pt>
                <c:pt idx="3534">
                  <c:v>58884</c:v>
                </c:pt>
                <c:pt idx="3535">
                  <c:v>58883</c:v>
                </c:pt>
                <c:pt idx="3536">
                  <c:v>58882</c:v>
                </c:pt>
                <c:pt idx="3537">
                  <c:v>58880</c:v>
                </c:pt>
                <c:pt idx="3538">
                  <c:v>58874</c:v>
                </c:pt>
                <c:pt idx="3539">
                  <c:v>58874</c:v>
                </c:pt>
                <c:pt idx="3540">
                  <c:v>58873</c:v>
                </c:pt>
                <c:pt idx="3541">
                  <c:v>58872</c:v>
                </c:pt>
                <c:pt idx="3542">
                  <c:v>58870</c:v>
                </c:pt>
                <c:pt idx="3543">
                  <c:v>58869</c:v>
                </c:pt>
                <c:pt idx="3544">
                  <c:v>58869</c:v>
                </c:pt>
                <c:pt idx="3545">
                  <c:v>58868</c:v>
                </c:pt>
                <c:pt idx="3546">
                  <c:v>58867</c:v>
                </c:pt>
                <c:pt idx="3547">
                  <c:v>58866</c:v>
                </c:pt>
                <c:pt idx="3548">
                  <c:v>58863</c:v>
                </c:pt>
                <c:pt idx="3549">
                  <c:v>58861</c:v>
                </c:pt>
                <c:pt idx="3550">
                  <c:v>58859</c:v>
                </c:pt>
                <c:pt idx="3551">
                  <c:v>58848</c:v>
                </c:pt>
                <c:pt idx="3552">
                  <c:v>58843</c:v>
                </c:pt>
                <c:pt idx="3553">
                  <c:v>58832</c:v>
                </c:pt>
                <c:pt idx="3554">
                  <c:v>58830</c:v>
                </c:pt>
                <c:pt idx="3555">
                  <c:v>58828</c:v>
                </c:pt>
                <c:pt idx="3556">
                  <c:v>58822</c:v>
                </c:pt>
                <c:pt idx="3557">
                  <c:v>58822</c:v>
                </c:pt>
                <c:pt idx="3558">
                  <c:v>58820</c:v>
                </c:pt>
                <c:pt idx="3559">
                  <c:v>58816</c:v>
                </c:pt>
                <c:pt idx="3560">
                  <c:v>58814</c:v>
                </c:pt>
                <c:pt idx="3561">
                  <c:v>58814</c:v>
                </c:pt>
                <c:pt idx="3562">
                  <c:v>58813</c:v>
                </c:pt>
                <c:pt idx="3563">
                  <c:v>58812</c:v>
                </c:pt>
                <c:pt idx="3564">
                  <c:v>58808</c:v>
                </c:pt>
                <c:pt idx="3565">
                  <c:v>58807</c:v>
                </c:pt>
                <c:pt idx="3566">
                  <c:v>58805</c:v>
                </c:pt>
                <c:pt idx="3567">
                  <c:v>58804</c:v>
                </c:pt>
                <c:pt idx="3568">
                  <c:v>58803</c:v>
                </c:pt>
                <c:pt idx="3569">
                  <c:v>58801</c:v>
                </c:pt>
                <c:pt idx="3570">
                  <c:v>58801</c:v>
                </c:pt>
                <c:pt idx="3571">
                  <c:v>58801</c:v>
                </c:pt>
                <c:pt idx="3572">
                  <c:v>58800</c:v>
                </c:pt>
                <c:pt idx="3573">
                  <c:v>58796</c:v>
                </c:pt>
                <c:pt idx="3574">
                  <c:v>58781</c:v>
                </c:pt>
                <c:pt idx="3575">
                  <c:v>58778</c:v>
                </c:pt>
                <c:pt idx="3576">
                  <c:v>58774</c:v>
                </c:pt>
                <c:pt idx="3577">
                  <c:v>58773</c:v>
                </c:pt>
                <c:pt idx="3578">
                  <c:v>58771</c:v>
                </c:pt>
                <c:pt idx="3579">
                  <c:v>58767</c:v>
                </c:pt>
                <c:pt idx="3580">
                  <c:v>58766</c:v>
                </c:pt>
                <c:pt idx="3581">
                  <c:v>58760</c:v>
                </c:pt>
                <c:pt idx="3582">
                  <c:v>58758</c:v>
                </c:pt>
                <c:pt idx="3583">
                  <c:v>58758</c:v>
                </c:pt>
                <c:pt idx="3584">
                  <c:v>58757</c:v>
                </c:pt>
                <c:pt idx="3585">
                  <c:v>58753</c:v>
                </c:pt>
                <c:pt idx="3586">
                  <c:v>58746</c:v>
                </c:pt>
                <c:pt idx="3587">
                  <c:v>58742</c:v>
                </c:pt>
                <c:pt idx="3588">
                  <c:v>58736</c:v>
                </c:pt>
                <c:pt idx="3589">
                  <c:v>58734</c:v>
                </c:pt>
                <c:pt idx="3590">
                  <c:v>58733</c:v>
                </c:pt>
                <c:pt idx="3591">
                  <c:v>58732</c:v>
                </c:pt>
                <c:pt idx="3592">
                  <c:v>58726</c:v>
                </c:pt>
                <c:pt idx="3593">
                  <c:v>58717</c:v>
                </c:pt>
                <c:pt idx="3594">
                  <c:v>58716</c:v>
                </c:pt>
                <c:pt idx="3595">
                  <c:v>58713</c:v>
                </c:pt>
                <c:pt idx="3596">
                  <c:v>58704</c:v>
                </c:pt>
                <c:pt idx="3597">
                  <c:v>58703</c:v>
                </c:pt>
                <c:pt idx="3598">
                  <c:v>58698</c:v>
                </c:pt>
                <c:pt idx="3599">
                  <c:v>58696</c:v>
                </c:pt>
                <c:pt idx="3600">
                  <c:v>58695</c:v>
                </c:pt>
                <c:pt idx="3601">
                  <c:v>58694</c:v>
                </c:pt>
                <c:pt idx="3602">
                  <c:v>58690</c:v>
                </c:pt>
                <c:pt idx="3603">
                  <c:v>58688</c:v>
                </c:pt>
                <c:pt idx="3604">
                  <c:v>58683</c:v>
                </c:pt>
                <c:pt idx="3605">
                  <c:v>58682</c:v>
                </c:pt>
                <c:pt idx="3606">
                  <c:v>58680</c:v>
                </c:pt>
                <c:pt idx="3607">
                  <c:v>58680</c:v>
                </c:pt>
                <c:pt idx="3608">
                  <c:v>58678</c:v>
                </c:pt>
                <c:pt idx="3609">
                  <c:v>58670</c:v>
                </c:pt>
                <c:pt idx="3610">
                  <c:v>58659</c:v>
                </c:pt>
                <c:pt idx="3611">
                  <c:v>58655</c:v>
                </c:pt>
                <c:pt idx="3612">
                  <c:v>58652</c:v>
                </c:pt>
                <c:pt idx="3613">
                  <c:v>58651</c:v>
                </c:pt>
                <c:pt idx="3614">
                  <c:v>58651</c:v>
                </c:pt>
                <c:pt idx="3615">
                  <c:v>58650</c:v>
                </c:pt>
                <c:pt idx="3616">
                  <c:v>58649</c:v>
                </c:pt>
                <c:pt idx="3617">
                  <c:v>58637</c:v>
                </c:pt>
                <c:pt idx="3618">
                  <c:v>58631</c:v>
                </c:pt>
                <c:pt idx="3619">
                  <c:v>58629</c:v>
                </c:pt>
                <c:pt idx="3620">
                  <c:v>58629</c:v>
                </c:pt>
                <c:pt idx="3621">
                  <c:v>58629</c:v>
                </c:pt>
                <c:pt idx="3622">
                  <c:v>58628</c:v>
                </c:pt>
                <c:pt idx="3623">
                  <c:v>58606</c:v>
                </c:pt>
                <c:pt idx="3624">
                  <c:v>58599</c:v>
                </c:pt>
                <c:pt idx="3625">
                  <c:v>58599</c:v>
                </c:pt>
                <c:pt idx="3626">
                  <c:v>58596</c:v>
                </c:pt>
                <c:pt idx="3627">
                  <c:v>58595</c:v>
                </c:pt>
                <c:pt idx="3628">
                  <c:v>58595</c:v>
                </c:pt>
                <c:pt idx="3629">
                  <c:v>58593</c:v>
                </c:pt>
                <c:pt idx="3630">
                  <c:v>58592</c:v>
                </c:pt>
                <c:pt idx="3631">
                  <c:v>58589</c:v>
                </c:pt>
                <c:pt idx="3632">
                  <c:v>58588</c:v>
                </c:pt>
                <c:pt idx="3633">
                  <c:v>58586</c:v>
                </c:pt>
                <c:pt idx="3634">
                  <c:v>58583</c:v>
                </c:pt>
                <c:pt idx="3635">
                  <c:v>58581</c:v>
                </c:pt>
                <c:pt idx="3636">
                  <c:v>58578</c:v>
                </c:pt>
                <c:pt idx="3637">
                  <c:v>58577</c:v>
                </c:pt>
                <c:pt idx="3638">
                  <c:v>58575</c:v>
                </c:pt>
                <c:pt idx="3639">
                  <c:v>58571</c:v>
                </c:pt>
                <c:pt idx="3640">
                  <c:v>58570</c:v>
                </c:pt>
                <c:pt idx="3641">
                  <c:v>58570</c:v>
                </c:pt>
                <c:pt idx="3642">
                  <c:v>58570</c:v>
                </c:pt>
                <c:pt idx="3643">
                  <c:v>58564</c:v>
                </c:pt>
                <c:pt idx="3644">
                  <c:v>58561</c:v>
                </c:pt>
                <c:pt idx="3645">
                  <c:v>58558</c:v>
                </c:pt>
                <c:pt idx="3646">
                  <c:v>58554</c:v>
                </c:pt>
                <c:pt idx="3647">
                  <c:v>58534</c:v>
                </c:pt>
                <c:pt idx="3648">
                  <c:v>58529</c:v>
                </c:pt>
                <c:pt idx="3649">
                  <c:v>58527</c:v>
                </c:pt>
                <c:pt idx="3650">
                  <c:v>58523</c:v>
                </c:pt>
                <c:pt idx="3651">
                  <c:v>58523</c:v>
                </c:pt>
                <c:pt idx="3652">
                  <c:v>58522</c:v>
                </c:pt>
                <c:pt idx="3653">
                  <c:v>58521</c:v>
                </c:pt>
                <c:pt idx="3654">
                  <c:v>58519</c:v>
                </c:pt>
                <c:pt idx="3655">
                  <c:v>58517</c:v>
                </c:pt>
                <c:pt idx="3656">
                  <c:v>58510</c:v>
                </c:pt>
                <c:pt idx="3657">
                  <c:v>58509</c:v>
                </c:pt>
                <c:pt idx="3658">
                  <c:v>58506</c:v>
                </c:pt>
                <c:pt idx="3659">
                  <c:v>58502</c:v>
                </c:pt>
                <c:pt idx="3660">
                  <c:v>58502</c:v>
                </c:pt>
                <c:pt idx="3661">
                  <c:v>58502</c:v>
                </c:pt>
                <c:pt idx="3662">
                  <c:v>58500</c:v>
                </c:pt>
                <c:pt idx="3663">
                  <c:v>58492</c:v>
                </c:pt>
                <c:pt idx="3664">
                  <c:v>58486</c:v>
                </c:pt>
                <c:pt idx="3665">
                  <c:v>58486</c:v>
                </c:pt>
                <c:pt idx="3666">
                  <c:v>58482</c:v>
                </c:pt>
                <c:pt idx="3667">
                  <c:v>58480</c:v>
                </c:pt>
                <c:pt idx="3668">
                  <c:v>58479</c:v>
                </c:pt>
                <c:pt idx="3669">
                  <c:v>58475</c:v>
                </c:pt>
                <c:pt idx="3670">
                  <c:v>58469</c:v>
                </c:pt>
                <c:pt idx="3671">
                  <c:v>58469</c:v>
                </c:pt>
                <c:pt idx="3672">
                  <c:v>58468</c:v>
                </c:pt>
                <c:pt idx="3673">
                  <c:v>58463</c:v>
                </c:pt>
                <c:pt idx="3674">
                  <c:v>58461</c:v>
                </c:pt>
                <c:pt idx="3675">
                  <c:v>58460</c:v>
                </c:pt>
                <c:pt idx="3676">
                  <c:v>58457</c:v>
                </c:pt>
                <c:pt idx="3677">
                  <c:v>58450</c:v>
                </c:pt>
                <c:pt idx="3678">
                  <c:v>58448</c:v>
                </c:pt>
                <c:pt idx="3679">
                  <c:v>58447</c:v>
                </c:pt>
                <c:pt idx="3680">
                  <c:v>58445</c:v>
                </c:pt>
                <c:pt idx="3681">
                  <c:v>58444</c:v>
                </c:pt>
                <c:pt idx="3682">
                  <c:v>58443</c:v>
                </c:pt>
                <c:pt idx="3683">
                  <c:v>58443</c:v>
                </c:pt>
                <c:pt idx="3684">
                  <c:v>58438</c:v>
                </c:pt>
                <c:pt idx="3685">
                  <c:v>58429</c:v>
                </c:pt>
                <c:pt idx="3686">
                  <c:v>58424</c:v>
                </c:pt>
                <c:pt idx="3687">
                  <c:v>58419</c:v>
                </c:pt>
                <c:pt idx="3688">
                  <c:v>58416</c:v>
                </c:pt>
                <c:pt idx="3689">
                  <c:v>58410</c:v>
                </c:pt>
                <c:pt idx="3690">
                  <c:v>58404</c:v>
                </c:pt>
                <c:pt idx="3691">
                  <c:v>58401</c:v>
                </c:pt>
                <c:pt idx="3692">
                  <c:v>58395</c:v>
                </c:pt>
                <c:pt idx="3693">
                  <c:v>58388</c:v>
                </c:pt>
                <c:pt idx="3694">
                  <c:v>58383</c:v>
                </c:pt>
                <c:pt idx="3695">
                  <c:v>58382</c:v>
                </c:pt>
                <c:pt idx="3696">
                  <c:v>58382</c:v>
                </c:pt>
                <c:pt idx="3697">
                  <c:v>58378</c:v>
                </c:pt>
                <c:pt idx="3698">
                  <c:v>58377</c:v>
                </c:pt>
                <c:pt idx="3699">
                  <c:v>58372</c:v>
                </c:pt>
                <c:pt idx="3700">
                  <c:v>58370</c:v>
                </c:pt>
                <c:pt idx="3701">
                  <c:v>58369</c:v>
                </c:pt>
                <c:pt idx="3702">
                  <c:v>58368</c:v>
                </c:pt>
                <c:pt idx="3703">
                  <c:v>58363</c:v>
                </c:pt>
                <c:pt idx="3704">
                  <c:v>58361</c:v>
                </c:pt>
                <c:pt idx="3705">
                  <c:v>58340</c:v>
                </c:pt>
                <c:pt idx="3706">
                  <c:v>58338</c:v>
                </c:pt>
                <c:pt idx="3707">
                  <c:v>58336</c:v>
                </c:pt>
                <c:pt idx="3708">
                  <c:v>58335</c:v>
                </c:pt>
                <c:pt idx="3709">
                  <c:v>58335</c:v>
                </c:pt>
                <c:pt idx="3710">
                  <c:v>58334</c:v>
                </c:pt>
                <c:pt idx="3711">
                  <c:v>58333</c:v>
                </c:pt>
                <c:pt idx="3712">
                  <c:v>58326</c:v>
                </c:pt>
                <c:pt idx="3713">
                  <c:v>58326</c:v>
                </c:pt>
                <c:pt idx="3714">
                  <c:v>58318</c:v>
                </c:pt>
                <c:pt idx="3715">
                  <c:v>58316</c:v>
                </c:pt>
                <c:pt idx="3716">
                  <c:v>58314</c:v>
                </c:pt>
                <c:pt idx="3717">
                  <c:v>58310</c:v>
                </c:pt>
                <c:pt idx="3718">
                  <c:v>58309</c:v>
                </c:pt>
                <c:pt idx="3719">
                  <c:v>58308</c:v>
                </c:pt>
                <c:pt idx="3720">
                  <c:v>58303</c:v>
                </c:pt>
                <c:pt idx="3721">
                  <c:v>58303</c:v>
                </c:pt>
                <c:pt idx="3722">
                  <c:v>58302</c:v>
                </c:pt>
                <c:pt idx="3723">
                  <c:v>58301</c:v>
                </c:pt>
                <c:pt idx="3724">
                  <c:v>58301</c:v>
                </c:pt>
                <c:pt idx="3725">
                  <c:v>58300</c:v>
                </c:pt>
                <c:pt idx="3726">
                  <c:v>58296</c:v>
                </c:pt>
                <c:pt idx="3727">
                  <c:v>58292</c:v>
                </c:pt>
                <c:pt idx="3728">
                  <c:v>58291</c:v>
                </c:pt>
                <c:pt idx="3729">
                  <c:v>58290</c:v>
                </c:pt>
                <c:pt idx="3730">
                  <c:v>58289</c:v>
                </c:pt>
                <c:pt idx="3731">
                  <c:v>58284</c:v>
                </c:pt>
                <c:pt idx="3732">
                  <c:v>58282</c:v>
                </c:pt>
                <c:pt idx="3733">
                  <c:v>58281</c:v>
                </c:pt>
                <c:pt idx="3734">
                  <c:v>58281</c:v>
                </c:pt>
                <c:pt idx="3735">
                  <c:v>58276</c:v>
                </c:pt>
                <c:pt idx="3736">
                  <c:v>58274</c:v>
                </c:pt>
                <c:pt idx="3737">
                  <c:v>58263</c:v>
                </c:pt>
                <c:pt idx="3738">
                  <c:v>58261</c:v>
                </c:pt>
                <c:pt idx="3739">
                  <c:v>58259</c:v>
                </c:pt>
                <c:pt idx="3740">
                  <c:v>58259</c:v>
                </c:pt>
                <c:pt idx="3741">
                  <c:v>58257</c:v>
                </c:pt>
                <c:pt idx="3742">
                  <c:v>58255</c:v>
                </c:pt>
                <c:pt idx="3743">
                  <c:v>58253</c:v>
                </c:pt>
                <c:pt idx="3744">
                  <c:v>58250</c:v>
                </c:pt>
                <c:pt idx="3745">
                  <c:v>58242</c:v>
                </c:pt>
                <c:pt idx="3746">
                  <c:v>58240</c:v>
                </c:pt>
                <c:pt idx="3747">
                  <c:v>58238</c:v>
                </c:pt>
                <c:pt idx="3748">
                  <c:v>58238</c:v>
                </c:pt>
                <c:pt idx="3749">
                  <c:v>58238</c:v>
                </c:pt>
                <c:pt idx="3750">
                  <c:v>58234</c:v>
                </c:pt>
                <c:pt idx="3751">
                  <c:v>58230</c:v>
                </c:pt>
                <c:pt idx="3752">
                  <c:v>58228</c:v>
                </c:pt>
                <c:pt idx="3753">
                  <c:v>58223</c:v>
                </c:pt>
                <c:pt idx="3754">
                  <c:v>58222</c:v>
                </c:pt>
                <c:pt idx="3755">
                  <c:v>58222</c:v>
                </c:pt>
                <c:pt idx="3756">
                  <c:v>58217</c:v>
                </c:pt>
                <c:pt idx="3757">
                  <c:v>58214</c:v>
                </c:pt>
                <c:pt idx="3758">
                  <c:v>58212</c:v>
                </c:pt>
                <c:pt idx="3759">
                  <c:v>58212</c:v>
                </c:pt>
                <c:pt idx="3760">
                  <c:v>58212</c:v>
                </c:pt>
                <c:pt idx="3761">
                  <c:v>58211</c:v>
                </c:pt>
                <c:pt idx="3762">
                  <c:v>58209</c:v>
                </c:pt>
                <c:pt idx="3763">
                  <c:v>58209</c:v>
                </c:pt>
                <c:pt idx="3764">
                  <c:v>58206</c:v>
                </c:pt>
                <c:pt idx="3765">
                  <c:v>58201</c:v>
                </c:pt>
                <c:pt idx="3766">
                  <c:v>58198</c:v>
                </c:pt>
                <c:pt idx="3767">
                  <c:v>58197</c:v>
                </c:pt>
                <c:pt idx="3768">
                  <c:v>58197</c:v>
                </c:pt>
                <c:pt idx="3769">
                  <c:v>58196</c:v>
                </c:pt>
                <c:pt idx="3770">
                  <c:v>58195</c:v>
                </c:pt>
                <c:pt idx="3771">
                  <c:v>58194</c:v>
                </c:pt>
                <c:pt idx="3772">
                  <c:v>58191</c:v>
                </c:pt>
                <c:pt idx="3773">
                  <c:v>58189</c:v>
                </c:pt>
                <c:pt idx="3774">
                  <c:v>58187</c:v>
                </c:pt>
                <c:pt idx="3775">
                  <c:v>58177</c:v>
                </c:pt>
                <c:pt idx="3776">
                  <c:v>58176</c:v>
                </c:pt>
                <c:pt idx="3777">
                  <c:v>58175</c:v>
                </c:pt>
                <c:pt idx="3778">
                  <c:v>58175</c:v>
                </c:pt>
                <c:pt idx="3779">
                  <c:v>58174</c:v>
                </c:pt>
                <c:pt idx="3780">
                  <c:v>58171</c:v>
                </c:pt>
                <c:pt idx="3781">
                  <c:v>58163</c:v>
                </c:pt>
                <c:pt idx="3782">
                  <c:v>58153</c:v>
                </c:pt>
                <c:pt idx="3783">
                  <c:v>58144</c:v>
                </c:pt>
                <c:pt idx="3784">
                  <c:v>58141</c:v>
                </c:pt>
                <c:pt idx="3785">
                  <c:v>58141</c:v>
                </c:pt>
                <c:pt idx="3786">
                  <c:v>58139</c:v>
                </c:pt>
                <c:pt idx="3787">
                  <c:v>58138</c:v>
                </c:pt>
                <c:pt idx="3788">
                  <c:v>58138</c:v>
                </c:pt>
                <c:pt idx="3789">
                  <c:v>58132</c:v>
                </c:pt>
                <c:pt idx="3790">
                  <c:v>58128</c:v>
                </c:pt>
                <c:pt idx="3791">
                  <c:v>58121</c:v>
                </c:pt>
                <c:pt idx="3792">
                  <c:v>58116</c:v>
                </c:pt>
                <c:pt idx="3793">
                  <c:v>58113</c:v>
                </c:pt>
                <c:pt idx="3794">
                  <c:v>58113</c:v>
                </c:pt>
                <c:pt idx="3795">
                  <c:v>58112</c:v>
                </c:pt>
                <c:pt idx="3796">
                  <c:v>58112</c:v>
                </c:pt>
                <c:pt idx="3797">
                  <c:v>58111</c:v>
                </c:pt>
                <c:pt idx="3798">
                  <c:v>58110</c:v>
                </c:pt>
                <c:pt idx="3799">
                  <c:v>58109</c:v>
                </c:pt>
                <c:pt idx="3800">
                  <c:v>58108</c:v>
                </c:pt>
                <c:pt idx="3801">
                  <c:v>58106</c:v>
                </c:pt>
                <c:pt idx="3802">
                  <c:v>58095</c:v>
                </c:pt>
                <c:pt idx="3803">
                  <c:v>58092</c:v>
                </c:pt>
                <c:pt idx="3804">
                  <c:v>58091</c:v>
                </c:pt>
                <c:pt idx="3805">
                  <c:v>58089</c:v>
                </c:pt>
                <c:pt idx="3806">
                  <c:v>58088</c:v>
                </c:pt>
                <c:pt idx="3807">
                  <c:v>58086</c:v>
                </c:pt>
                <c:pt idx="3808">
                  <c:v>58078</c:v>
                </c:pt>
                <c:pt idx="3809">
                  <c:v>58073</c:v>
                </c:pt>
                <c:pt idx="3810">
                  <c:v>58067</c:v>
                </c:pt>
                <c:pt idx="3811">
                  <c:v>58065</c:v>
                </c:pt>
                <c:pt idx="3812">
                  <c:v>58065</c:v>
                </c:pt>
                <c:pt idx="3813">
                  <c:v>58064</c:v>
                </c:pt>
                <c:pt idx="3814">
                  <c:v>58063</c:v>
                </c:pt>
                <c:pt idx="3815">
                  <c:v>58061</c:v>
                </c:pt>
                <c:pt idx="3816">
                  <c:v>58057</c:v>
                </c:pt>
                <c:pt idx="3817">
                  <c:v>58053</c:v>
                </c:pt>
                <c:pt idx="3818">
                  <c:v>58051</c:v>
                </c:pt>
                <c:pt idx="3819">
                  <c:v>58048</c:v>
                </c:pt>
                <c:pt idx="3820">
                  <c:v>58045</c:v>
                </c:pt>
                <c:pt idx="3821">
                  <c:v>58044</c:v>
                </c:pt>
                <c:pt idx="3822">
                  <c:v>58043</c:v>
                </c:pt>
                <c:pt idx="3823">
                  <c:v>58035</c:v>
                </c:pt>
                <c:pt idx="3824">
                  <c:v>58035</c:v>
                </c:pt>
                <c:pt idx="3825">
                  <c:v>58035</c:v>
                </c:pt>
                <c:pt idx="3826">
                  <c:v>58033</c:v>
                </c:pt>
                <c:pt idx="3827">
                  <c:v>58031</c:v>
                </c:pt>
                <c:pt idx="3828">
                  <c:v>58031</c:v>
                </c:pt>
                <c:pt idx="3829">
                  <c:v>58030</c:v>
                </c:pt>
                <c:pt idx="3830">
                  <c:v>58029</c:v>
                </c:pt>
                <c:pt idx="3831">
                  <c:v>58029</c:v>
                </c:pt>
                <c:pt idx="3832">
                  <c:v>58022</c:v>
                </c:pt>
                <c:pt idx="3833">
                  <c:v>58022</c:v>
                </c:pt>
                <c:pt idx="3834">
                  <c:v>58022</c:v>
                </c:pt>
                <c:pt idx="3835">
                  <c:v>58020</c:v>
                </c:pt>
                <c:pt idx="3836">
                  <c:v>58019</c:v>
                </c:pt>
                <c:pt idx="3837">
                  <c:v>58018</c:v>
                </c:pt>
                <c:pt idx="3838">
                  <c:v>58015</c:v>
                </c:pt>
                <c:pt idx="3839">
                  <c:v>58012</c:v>
                </c:pt>
                <c:pt idx="3840">
                  <c:v>58011</c:v>
                </c:pt>
                <c:pt idx="3841">
                  <c:v>58007</c:v>
                </c:pt>
                <c:pt idx="3842">
                  <c:v>58005</c:v>
                </c:pt>
                <c:pt idx="3843">
                  <c:v>58003</c:v>
                </c:pt>
                <c:pt idx="3844">
                  <c:v>58003</c:v>
                </c:pt>
                <c:pt idx="3845">
                  <c:v>58003</c:v>
                </c:pt>
                <c:pt idx="3846">
                  <c:v>58002</c:v>
                </c:pt>
                <c:pt idx="3847">
                  <c:v>58002</c:v>
                </c:pt>
                <c:pt idx="3848">
                  <c:v>57993</c:v>
                </c:pt>
                <c:pt idx="3849">
                  <c:v>57991</c:v>
                </c:pt>
                <c:pt idx="3850">
                  <c:v>57991</c:v>
                </c:pt>
                <c:pt idx="3851">
                  <c:v>57990</c:v>
                </c:pt>
                <c:pt idx="3852">
                  <c:v>57984</c:v>
                </c:pt>
                <c:pt idx="3853">
                  <c:v>57979</c:v>
                </c:pt>
                <c:pt idx="3854">
                  <c:v>57968</c:v>
                </c:pt>
                <c:pt idx="3855">
                  <c:v>57968</c:v>
                </c:pt>
                <c:pt idx="3856">
                  <c:v>57967</c:v>
                </c:pt>
                <c:pt idx="3857">
                  <c:v>57967</c:v>
                </c:pt>
                <c:pt idx="3858">
                  <c:v>57963</c:v>
                </c:pt>
                <c:pt idx="3859">
                  <c:v>57960</c:v>
                </c:pt>
                <c:pt idx="3860">
                  <c:v>57955</c:v>
                </c:pt>
                <c:pt idx="3861">
                  <c:v>57954</c:v>
                </c:pt>
                <c:pt idx="3862">
                  <c:v>57954</c:v>
                </c:pt>
                <c:pt idx="3863">
                  <c:v>57947</c:v>
                </c:pt>
                <c:pt idx="3864">
                  <c:v>57946</c:v>
                </c:pt>
                <c:pt idx="3865">
                  <c:v>57946</c:v>
                </c:pt>
                <c:pt idx="3866">
                  <c:v>57941</c:v>
                </c:pt>
                <c:pt idx="3867">
                  <c:v>57940</c:v>
                </c:pt>
                <c:pt idx="3868">
                  <c:v>57938</c:v>
                </c:pt>
                <c:pt idx="3869">
                  <c:v>57936</c:v>
                </c:pt>
                <c:pt idx="3870">
                  <c:v>57922</c:v>
                </c:pt>
                <c:pt idx="3871">
                  <c:v>57921</c:v>
                </c:pt>
                <c:pt idx="3872">
                  <c:v>57920</c:v>
                </c:pt>
                <c:pt idx="3873">
                  <c:v>57919</c:v>
                </c:pt>
                <c:pt idx="3874">
                  <c:v>57918</c:v>
                </c:pt>
                <c:pt idx="3875">
                  <c:v>57916</c:v>
                </c:pt>
                <c:pt idx="3876">
                  <c:v>57913</c:v>
                </c:pt>
                <c:pt idx="3877">
                  <c:v>57899</c:v>
                </c:pt>
                <c:pt idx="3878">
                  <c:v>57897</c:v>
                </c:pt>
                <c:pt idx="3879">
                  <c:v>57894</c:v>
                </c:pt>
                <c:pt idx="3880">
                  <c:v>57889</c:v>
                </c:pt>
                <c:pt idx="3881">
                  <c:v>57886</c:v>
                </c:pt>
                <c:pt idx="3882">
                  <c:v>57878</c:v>
                </c:pt>
                <c:pt idx="3883">
                  <c:v>57877</c:v>
                </c:pt>
                <c:pt idx="3884">
                  <c:v>57873</c:v>
                </c:pt>
                <c:pt idx="3885">
                  <c:v>57860</c:v>
                </c:pt>
                <c:pt idx="3886">
                  <c:v>57860</c:v>
                </c:pt>
                <c:pt idx="3887">
                  <c:v>57859</c:v>
                </c:pt>
                <c:pt idx="3888">
                  <c:v>57859</c:v>
                </c:pt>
                <c:pt idx="3889">
                  <c:v>57857</c:v>
                </c:pt>
                <c:pt idx="3890">
                  <c:v>57856</c:v>
                </c:pt>
                <c:pt idx="3891">
                  <c:v>57855</c:v>
                </c:pt>
                <c:pt idx="3892">
                  <c:v>57852</c:v>
                </c:pt>
                <c:pt idx="3893">
                  <c:v>57851</c:v>
                </c:pt>
                <c:pt idx="3894">
                  <c:v>57848</c:v>
                </c:pt>
                <c:pt idx="3895">
                  <c:v>57845</c:v>
                </c:pt>
                <c:pt idx="3896">
                  <c:v>57843</c:v>
                </c:pt>
                <c:pt idx="3897">
                  <c:v>57842</c:v>
                </c:pt>
                <c:pt idx="3898">
                  <c:v>57842</c:v>
                </c:pt>
                <c:pt idx="3899">
                  <c:v>57840</c:v>
                </c:pt>
                <c:pt idx="3900">
                  <c:v>57839</c:v>
                </c:pt>
                <c:pt idx="3901">
                  <c:v>57839</c:v>
                </c:pt>
                <c:pt idx="3902">
                  <c:v>57833</c:v>
                </c:pt>
                <c:pt idx="3903">
                  <c:v>57832</c:v>
                </c:pt>
                <c:pt idx="3904">
                  <c:v>57832</c:v>
                </c:pt>
                <c:pt idx="3905">
                  <c:v>57831</c:v>
                </c:pt>
                <c:pt idx="3906">
                  <c:v>57827</c:v>
                </c:pt>
                <c:pt idx="3907">
                  <c:v>57825</c:v>
                </c:pt>
                <c:pt idx="3908">
                  <c:v>57824</c:v>
                </c:pt>
                <c:pt idx="3909">
                  <c:v>57823</c:v>
                </c:pt>
                <c:pt idx="3910">
                  <c:v>57823</c:v>
                </c:pt>
                <c:pt idx="3911">
                  <c:v>57817</c:v>
                </c:pt>
                <c:pt idx="3912">
                  <c:v>57816</c:v>
                </c:pt>
                <c:pt idx="3913">
                  <c:v>57814</c:v>
                </c:pt>
                <c:pt idx="3914">
                  <c:v>57814</c:v>
                </c:pt>
                <c:pt idx="3915">
                  <c:v>57814</c:v>
                </c:pt>
                <c:pt idx="3916">
                  <c:v>57811</c:v>
                </c:pt>
                <c:pt idx="3917">
                  <c:v>57806</c:v>
                </c:pt>
                <c:pt idx="3918">
                  <c:v>57806</c:v>
                </c:pt>
                <c:pt idx="3919">
                  <c:v>57805</c:v>
                </c:pt>
                <c:pt idx="3920">
                  <c:v>57804</c:v>
                </c:pt>
                <c:pt idx="3921">
                  <c:v>57802</c:v>
                </c:pt>
                <c:pt idx="3922">
                  <c:v>57800</c:v>
                </c:pt>
                <c:pt idx="3923">
                  <c:v>57798</c:v>
                </c:pt>
                <c:pt idx="3924">
                  <c:v>57796</c:v>
                </c:pt>
                <c:pt idx="3925">
                  <c:v>57795</c:v>
                </c:pt>
                <c:pt idx="3926">
                  <c:v>57793</c:v>
                </c:pt>
                <c:pt idx="3927">
                  <c:v>57793</c:v>
                </c:pt>
                <c:pt idx="3928">
                  <c:v>57792</c:v>
                </c:pt>
                <c:pt idx="3929">
                  <c:v>57790</c:v>
                </c:pt>
                <c:pt idx="3930">
                  <c:v>57788</c:v>
                </c:pt>
                <c:pt idx="3931">
                  <c:v>57785</c:v>
                </c:pt>
                <c:pt idx="3932">
                  <c:v>57782</c:v>
                </c:pt>
                <c:pt idx="3933">
                  <c:v>57781</c:v>
                </c:pt>
                <c:pt idx="3934">
                  <c:v>57777</c:v>
                </c:pt>
                <c:pt idx="3935">
                  <c:v>57776</c:v>
                </c:pt>
                <c:pt idx="3936">
                  <c:v>57767</c:v>
                </c:pt>
                <c:pt idx="3937">
                  <c:v>57766</c:v>
                </c:pt>
                <c:pt idx="3938">
                  <c:v>57766</c:v>
                </c:pt>
                <c:pt idx="3939">
                  <c:v>57766</c:v>
                </c:pt>
                <c:pt idx="3940">
                  <c:v>57765</c:v>
                </c:pt>
                <c:pt idx="3941">
                  <c:v>57761</c:v>
                </c:pt>
                <c:pt idx="3942">
                  <c:v>57760</c:v>
                </c:pt>
                <c:pt idx="3943">
                  <c:v>57758</c:v>
                </c:pt>
                <c:pt idx="3944">
                  <c:v>57754</c:v>
                </c:pt>
                <c:pt idx="3945">
                  <c:v>57753</c:v>
                </c:pt>
                <c:pt idx="3946">
                  <c:v>57750</c:v>
                </c:pt>
                <c:pt idx="3947">
                  <c:v>57750</c:v>
                </c:pt>
                <c:pt idx="3948">
                  <c:v>57747</c:v>
                </c:pt>
                <c:pt idx="3949">
                  <c:v>57746</c:v>
                </c:pt>
                <c:pt idx="3950">
                  <c:v>57740</c:v>
                </c:pt>
                <c:pt idx="3951">
                  <c:v>57709</c:v>
                </c:pt>
                <c:pt idx="3952">
                  <c:v>57708</c:v>
                </c:pt>
                <c:pt idx="3953">
                  <c:v>57705</c:v>
                </c:pt>
                <c:pt idx="3954">
                  <c:v>57703</c:v>
                </c:pt>
                <c:pt idx="3955">
                  <c:v>57702</c:v>
                </c:pt>
                <c:pt idx="3956">
                  <c:v>57700</c:v>
                </c:pt>
                <c:pt idx="3957">
                  <c:v>57696</c:v>
                </c:pt>
                <c:pt idx="3958">
                  <c:v>57693</c:v>
                </c:pt>
                <c:pt idx="3959">
                  <c:v>57693</c:v>
                </c:pt>
                <c:pt idx="3960">
                  <c:v>57690</c:v>
                </c:pt>
                <c:pt idx="3961">
                  <c:v>57682</c:v>
                </c:pt>
                <c:pt idx="3962">
                  <c:v>57682</c:v>
                </c:pt>
                <c:pt idx="3963">
                  <c:v>57680</c:v>
                </c:pt>
                <c:pt idx="3964">
                  <c:v>57672</c:v>
                </c:pt>
                <c:pt idx="3965">
                  <c:v>57671</c:v>
                </c:pt>
                <c:pt idx="3966">
                  <c:v>57670</c:v>
                </c:pt>
                <c:pt idx="3967">
                  <c:v>57670</c:v>
                </c:pt>
                <c:pt idx="3968">
                  <c:v>57665</c:v>
                </c:pt>
                <c:pt idx="3969">
                  <c:v>57663</c:v>
                </c:pt>
                <c:pt idx="3970">
                  <c:v>57658</c:v>
                </c:pt>
                <c:pt idx="3971">
                  <c:v>57654</c:v>
                </c:pt>
                <c:pt idx="3972">
                  <c:v>57652</c:v>
                </c:pt>
                <c:pt idx="3973">
                  <c:v>57648</c:v>
                </c:pt>
                <c:pt idx="3974">
                  <c:v>57646</c:v>
                </c:pt>
                <c:pt idx="3975">
                  <c:v>57646</c:v>
                </c:pt>
                <c:pt idx="3976">
                  <c:v>57645</c:v>
                </c:pt>
                <c:pt idx="3977">
                  <c:v>57644</c:v>
                </c:pt>
                <c:pt idx="3978">
                  <c:v>57638</c:v>
                </c:pt>
                <c:pt idx="3979">
                  <c:v>57636</c:v>
                </c:pt>
                <c:pt idx="3980">
                  <c:v>57636</c:v>
                </c:pt>
                <c:pt idx="3981">
                  <c:v>57635</c:v>
                </c:pt>
                <c:pt idx="3982">
                  <c:v>57630</c:v>
                </c:pt>
                <c:pt idx="3983">
                  <c:v>57629</c:v>
                </c:pt>
                <c:pt idx="3984">
                  <c:v>57628</c:v>
                </c:pt>
                <c:pt idx="3985">
                  <c:v>57620</c:v>
                </c:pt>
                <c:pt idx="3986">
                  <c:v>57617</c:v>
                </c:pt>
                <c:pt idx="3987">
                  <c:v>57602</c:v>
                </c:pt>
                <c:pt idx="3988">
                  <c:v>57596</c:v>
                </c:pt>
                <c:pt idx="3989">
                  <c:v>57594</c:v>
                </c:pt>
                <c:pt idx="3990">
                  <c:v>57594</c:v>
                </c:pt>
                <c:pt idx="3991">
                  <c:v>57592</c:v>
                </c:pt>
                <c:pt idx="3992">
                  <c:v>57590</c:v>
                </c:pt>
                <c:pt idx="3993">
                  <c:v>57590</c:v>
                </c:pt>
                <c:pt idx="3994">
                  <c:v>57586</c:v>
                </c:pt>
                <c:pt idx="3995">
                  <c:v>57583</c:v>
                </c:pt>
                <c:pt idx="3996">
                  <c:v>57581</c:v>
                </c:pt>
                <c:pt idx="3997">
                  <c:v>57578</c:v>
                </c:pt>
                <c:pt idx="3998">
                  <c:v>57577</c:v>
                </c:pt>
                <c:pt idx="3999">
                  <c:v>57575</c:v>
                </c:pt>
                <c:pt idx="4000">
                  <c:v>57574</c:v>
                </c:pt>
                <c:pt idx="4001">
                  <c:v>57573</c:v>
                </c:pt>
                <c:pt idx="4002">
                  <c:v>57572</c:v>
                </c:pt>
                <c:pt idx="4003">
                  <c:v>57570</c:v>
                </c:pt>
                <c:pt idx="4004">
                  <c:v>57567</c:v>
                </c:pt>
                <c:pt idx="4005">
                  <c:v>57559</c:v>
                </c:pt>
                <c:pt idx="4006">
                  <c:v>57556</c:v>
                </c:pt>
                <c:pt idx="4007">
                  <c:v>57555</c:v>
                </c:pt>
                <c:pt idx="4008">
                  <c:v>57545</c:v>
                </c:pt>
                <c:pt idx="4009">
                  <c:v>57545</c:v>
                </c:pt>
                <c:pt idx="4010">
                  <c:v>57544</c:v>
                </c:pt>
                <c:pt idx="4011">
                  <c:v>57543</c:v>
                </c:pt>
                <c:pt idx="4012">
                  <c:v>57538</c:v>
                </c:pt>
                <c:pt idx="4013">
                  <c:v>57524</c:v>
                </c:pt>
                <c:pt idx="4014">
                  <c:v>57521</c:v>
                </c:pt>
                <c:pt idx="4015">
                  <c:v>57517</c:v>
                </c:pt>
                <c:pt idx="4016">
                  <c:v>57515</c:v>
                </c:pt>
                <c:pt idx="4017">
                  <c:v>57512</c:v>
                </c:pt>
                <c:pt idx="4018">
                  <c:v>57508</c:v>
                </c:pt>
                <c:pt idx="4019">
                  <c:v>57508</c:v>
                </c:pt>
                <c:pt idx="4020">
                  <c:v>57507</c:v>
                </c:pt>
                <c:pt idx="4021">
                  <c:v>57507</c:v>
                </c:pt>
                <c:pt idx="4022">
                  <c:v>57505</c:v>
                </c:pt>
                <c:pt idx="4023">
                  <c:v>57501</c:v>
                </c:pt>
                <c:pt idx="4024">
                  <c:v>57500</c:v>
                </c:pt>
                <c:pt idx="4025">
                  <c:v>57499</c:v>
                </c:pt>
                <c:pt idx="4026">
                  <c:v>57498</c:v>
                </c:pt>
                <c:pt idx="4027">
                  <c:v>57488</c:v>
                </c:pt>
                <c:pt idx="4028">
                  <c:v>57486</c:v>
                </c:pt>
                <c:pt idx="4029">
                  <c:v>57484</c:v>
                </c:pt>
                <c:pt idx="4030">
                  <c:v>57484</c:v>
                </c:pt>
                <c:pt idx="4031">
                  <c:v>57483</c:v>
                </c:pt>
                <c:pt idx="4032">
                  <c:v>57482</c:v>
                </c:pt>
                <c:pt idx="4033">
                  <c:v>57479</c:v>
                </c:pt>
                <c:pt idx="4034">
                  <c:v>57479</c:v>
                </c:pt>
                <c:pt idx="4035">
                  <c:v>57478</c:v>
                </c:pt>
                <c:pt idx="4036">
                  <c:v>57477</c:v>
                </c:pt>
                <c:pt idx="4037">
                  <c:v>57473</c:v>
                </c:pt>
                <c:pt idx="4038">
                  <c:v>57473</c:v>
                </c:pt>
                <c:pt idx="4039">
                  <c:v>57468</c:v>
                </c:pt>
                <c:pt idx="4040">
                  <c:v>57465</c:v>
                </c:pt>
                <c:pt idx="4041">
                  <c:v>57463</c:v>
                </c:pt>
                <c:pt idx="4042">
                  <c:v>57457</c:v>
                </c:pt>
                <c:pt idx="4043">
                  <c:v>57456</c:v>
                </c:pt>
                <c:pt idx="4044">
                  <c:v>57453</c:v>
                </c:pt>
                <c:pt idx="4045">
                  <c:v>57453</c:v>
                </c:pt>
                <c:pt idx="4046">
                  <c:v>57452</c:v>
                </c:pt>
                <c:pt idx="4047">
                  <c:v>57452</c:v>
                </c:pt>
                <c:pt idx="4048">
                  <c:v>57452</c:v>
                </c:pt>
                <c:pt idx="4049">
                  <c:v>57452</c:v>
                </c:pt>
                <c:pt idx="4050">
                  <c:v>57451</c:v>
                </c:pt>
                <c:pt idx="4051">
                  <c:v>57446</c:v>
                </c:pt>
                <c:pt idx="4052">
                  <c:v>57445</c:v>
                </c:pt>
                <c:pt idx="4053">
                  <c:v>57441</c:v>
                </c:pt>
                <c:pt idx="4054">
                  <c:v>57441</c:v>
                </c:pt>
                <c:pt idx="4055">
                  <c:v>57439</c:v>
                </c:pt>
                <c:pt idx="4056">
                  <c:v>57439</c:v>
                </c:pt>
                <c:pt idx="4057">
                  <c:v>57439</c:v>
                </c:pt>
                <c:pt idx="4058">
                  <c:v>57436</c:v>
                </c:pt>
                <c:pt idx="4059">
                  <c:v>57425</c:v>
                </c:pt>
                <c:pt idx="4060">
                  <c:v>57422</c:v>
                </c:pt>
                <c:pt idx="4061">
                  <c:v>57414</c:v>
                </c:pt>
                <c:pt idx="4062">
                  <c:v>57408</c:v>
                </c:pt>
                <c:pt idx="4063">
                  <c:v>57405</c:v>
                </c:pt>
                <c:pt idx="4064">
                  <c:v>57401</c:v>
                </c:pt>
                <c:pt idx="4065">
                  <c:v>57399</c:v>
                </c:pt>
                <c:pt idx="4066">
                  <c:v>57397</c:v>
                </c:pt>
                <c:pt idx="4067">
                  <c:v>57397</c:v>
                </c:pt>
                <c:pt idx="4068">
                  <c:v>57395</c:v>
                </c:pt>
                <c:pt idx="4069">
                  <c:v>57394</c:v>
                </c:pt>
                <c:pt idx="4070">
                  <c:v>57392</c:v>
                </c:pt>
                <c:pt idx="4071">
                  <c:v>57388</c:v>
                </c:pt>
                <c:pt idx="4072">
                  <c:v>57387</c:v>
                </c:pt>
                <c:pt idx="4073">
                  <c:v>57380</c:v>
                </c:pt>
                <c:pt idx="4074">
                  <c:v>57379</c:v>
                </c:pt>
                <c:pt idx="4075">
                  <c:v>57378</c:v>
                </c:pt>
                <c:pt idx="4076">
                  <c:v>57377</c:v>
                </c:pt>
                <c:pt idx="4077">
                  <c:v>57373</c:v>
                </c:pt>
                <c:pt idx="4078">
                  <c:v>57371</c:v>
                </c:pt>
                <c:pt idx="4079">
                  <c:v>57370</c:v>
                </c:pt>
                <c:pt idx="4080">
                  <c:v>57368</c:v>
                </c:pt>
                <c:pt idx="4081">
                  <c:v>57367</c:v>
                </c:pt>
                <c:pt idx="4082">
                  <c:v>57366</c:v>
                </c:pt>
                <c:pt idx="4083">
                  <c:v>57363</c:v>
                </c:pt>
                <c:pt idx="4084">
                  <c:v>57363</c:v>
                </c:pt>
                <c:pt idx="4085">
                  <c:v>57362</c:v>
                </c:pt>
                <c:pt idx="4086">
                  <c:v>57362</c:v>
                </c:pt>
                <c:pt idx="4087">
                  <c:v>57360</c:v>
                </c:pt>
                <c:pt idx="4088">
                  <c:v>57355</c:v>
                </c:pt>
                <c:pt idx="4089">
                  <c:v>57352</c:v>
                </c:pt>
                <c:pt idx="4090">
                  <c:v>57351</c:v>
                </c:pt>
                <c:pt idx="4091">
                  <c:v>57348</c:v>
                </c:pt>
                <c:pt idx="4092">
                  <c:v>57348</c:v>
                </c:pt>
                <c:pt idx="4093">
                  <c:v>57343</c:v>
                </c:pt>
                <c:pt idx="4094">
                  <c:v>57334</c:v>
                </c:pt>
                <c:pt idx="4095">
                  <c:v>57333</c:v>
                </c:pt>
                <c:pt idx="4096">
                  <c:v>57332</c:v>
                </c:pt>
                <c:pt idx="4097">
                  <c:v>57331</c:v>
                </c:pt>
                <c:pt idx="4098">
                  <c:v>57330</c:v>
                </c:pt>
                <c:pt idx="4099">
                  <c:v>57327</c:v>
                </c:pt>
                <c:pt idx="4100">
                  <c:v>57326</c:v>
                </c:pt>
                <c:pt idx="4101">
                  <c:v>57325</c:v>
                </c:pt>
                <c:pt idx="4102">
                  <c:v>57321</c:v>
                </c:pt>
                <c:pt idx="4103">
                  <c:v>57317</c:v>
                </c:pt>
                <c:pt idx="4104">
                  <c:v>57315</c:v>
                </c:pt>
                <c:pt idx="4105">
                  <c:v>57315</c:v>
                </c:pt>
                <c:pt idx="4106">
                  <c:v>57314</c:v>
                </c:pt>
                <c:pt idx="4107">
                  <c:v>57310</c:v>
                </c:pt>
                <c:pt idx="4108">
                  <c:v>57299</c:v>
                </c:pt>
                <c:pt idx="4109">
                  <c:v>57292</c:v>
                </c:pt>
                <c:pt idx="4110">
                  <c:v>57287</c:v>
                </c:pt>
                <c:pt idx="4111">
                  <c:v>57282</c:v>
                </c:pt>
                <c:pt idx="4112">
                  <c:v>57280</c:v>
                </c:pt>
                <c:pt idx="4113">
                  <c:v>57278</c:v>
                </c:pt>
                <c:pt idx="4114">
                  <c:v>57277</c:v>
                </c:pt>
                <c:pt idx="4115">
                  <c:v>57265</c:v>
                </c:pt>
                <c:pt idx="4116">
                  <c:v>57263</c:v>
                </c:pt>
                <c:pt idx="4117">
                  <c:v>57262</c:v>
                </c:pt>
                <c:pt idx="4118">
                  <c:v>57260</c:v>
                </c:pt>
                <c:pt idx="4119">
                  <c:v>57258</c:v>
                </c:pt>
                <c:pt idx="4120">
                  <c:v>57258</c:v>
                </c:pt>
                <c:pt idx="4121">
                  <c:v>57257</c:v>
                </c:pt>
                <c:pt idx="4122">
                  <c:v>57256</c:v>
                </c:pt>
                <c:pt idx="4123">
                  <c:v>57252</c:v>
                </c:pt>
                <c:pt idx="4124">
                  <c:v>57252</c:v>
                </c:pt>
                <c:pt idx="4125">
                  <c:v>57250</c:v>
                </c:pt>
                <c:pt idx="4126">
                  <c:v>57246</c:v>
                </c:pt>
                <c:pt idx="4127">
                  <c:v>57240</c:v>
                </c:pt>
                <c:pt idx="4128">
                  <c:v>57237</c:v>
                </c:pt>
                <c:pt idx="4129">
                  <c:v>57236</c:v>
                </c:pt>
                <c:pt idx="4130">
                  <c:v>57234</c:v>
                </c:pt>
                <c:pt idx="4131">
                  <c:v>57232</c:v>
                </c:pt>
                <c:pt idx="4132">
                  <c:v>57227</c:v>
                </c:pt>
                <c:pt idx="4133">
                  <c:v>57218</c:v>
                </c:pt>
                <c:pt idx="4134">
                  <c:v>57216</c:v>
                </c:pt>
                <c:pt idx="4135">
                  <c:v>57215</c:v>
                </c:pt>
                <c:pt idx="4136">
                  <c:v>57205</c:v>
                </c:pt>
                <c:pt idx="4137">
                  <c:v>57203</c:v>
                </c:pt>
                <c:pt idx="4138">
                  <c:v>57199</c:v>
                </c:pt>
                <c:pt idx="4139">
                  <c:v>57197</c:v>
                </c:pt>
                <c:pt idx="4140">
                  <c:v>57192</c:v>
                </c:pt>
                <c:pt idx="4141">
                  <c:v>57188</c:v>
                </c:pt>
                <c:pt idx="4142">
                  <c:v>57184</c:v>
                </c:pt>
                <c:pt idx="4143">
                  <c:v>57179</c:v>
                </c:pt>
                <c:pt idx="4144">
                  <c:v>57178</c:v>
                </c:pt>
                <c:pt idx="4145">
                  <c:v>57178</c:v>
                </c:pt>
                <c:pt idx="4146">
                  <c:v>57177</c:v>
                </c:pt>
                <c:pt idx="4147">
                  <c:v>57175</c:v>
                </c:pt>
                <c:pt idx="4148">
                  <c:v>57173</c:v>
                </c:pt>
                <c:pt idx="4149">
                  <c:v>57170</c:v>
                </c:pt>
                <c:pt idx="4150">
                  <c:v>57168</c:v>
                </c:pt>
                <c:pt idx="4151">
                  <c:v>57165</c:v>
                </c:pt>
                <c:pt idx="4152">
                  <c:v>57162</c:v>
                </c:pt>
                <c:pt idx="4153">
                  <c:v>57161</c:v>
                </c:pt>
                <c:pt idx="4154">
                  <c:v>57161</c:v>
                </c:pt>
                <c:pt idx="4155">
                  <c:v>57160</c:v>
                </c:pt>
                <c:pt idx="4156">
                  <c:v>57156</c:v>
                </c:pt>
                <c:pt idx="4157">
                  <c:v>57155</c:v>
                </c:pt>
                <c:pt idx="4158">
                  <c:v>57151</c:v>
                </c:pt>
                <c:pt idx="4159">
                  <c:v>57149</c:v>
                </c:pt>
                <c:pt idx="4160">
                  <c:v>57148</c:v>
                </c:pt>
                <c:pt idx="4161">
                  <c:v>57147</c:v>
                </c:pt>
                <c:pt idx="4162">
                  <c:v>57141</c:v>
                </c:pt>
                <c:pt idx="4163">
                  <c:v>57140</c:v>
                </c:pt>
                <c:pt idx="4164">
                  <c:v>57139</c:v>
                </c:pt>
                <c:pt idx="4165">
                  <c:v>57139</c:v>
                </c:pt>
                <c:pt idx="4166">
                  <c:v>57134</c:v>
                </c:pt>
                <c:pt idx="4167">
                  <c:v>57132</c:v>
                </c:pt>
                <c:pt idx="4168">
                  <c:v>57127</c:v>
                </c:pt>
                <c:pt idx="4169">
                  <c:v>57127</c:v>
                </c:pt>
                <c:pt idx="4170">
                  <c:v>57123</c:v>
                </c:pt>
                <c:pt idx="4171">
                  <c:v>57121</c:v>
                </c:pt>
                <c:pt idx="4172">
                  <c:v>57115</c:v>
                </c:pt>
                <c:pt idx="4173">
                  <c:v>57113</c:v>
                </c:pt>
                <c:pt idx="4174">
                  <c:v>57113</c:v>
                </c:pt>
                <c:pt idx="4175">
                  <c:v>57110</c:v>
                </c:pt>
                <c:pt idx="4176">
                  <c:v>57106</c:v>
                </c:pt>
                <c:pt idx="4177">
                  <c:v>57106</c:v>
                </c:pt>
                <c:pt idx="4178">
                  <c:v>57103</c:v>
                </c:pt>
                <c:pt idx="4179">
                  <c:v>57101</c:v>
                </c:pt>
                <c:pt idx="4180">
                  <c:v>57099</c:v>
                </c:pt>
                <c:pt idx="4181">
                  <c:v>57097</c:v>
                </c:pt>
                <c:pt idx="4182">
                  <c:v>57097</c:v>
                </c:pt>
                <c:pt idx="4183">
                  <c:v>57096</c:v>
                </c:pt>
                <c:pt idx="4184">
                  <c:v>57093</c:v>
                </c:pt>
                <c:pt idx="4185">
                  <c:v>57087</c:v>
                </c:pt>
                <c:pt idx="4186">
                  <c:v>57084</c:v>
                </c:pt>
                <c:pt idx="4187">
                  <c:v>57082</c:v>
                </c:pt>
                <c:pt idx="4188">
                  <c:v>57081</c:v>
                </c:pt>
                <c:pt idx="4189">
                  <c:v>57080</c:v>
                </c:pt>
                <c:pt idx="4190">
                  <c:v>57079</c:v>
                </c:pt>
                <c:pt idx="4191">
                  <c:v>57076</c:v>
                </c:pt>
                <c:pt idx="4192">
                  <c:v>57074</c:v>
                </c:pt>
                <c:pt idx="4193">
                  <c:v>57073</c:v>
                </c:pt>
                <c:pt idx="4194">
                  <c:v>57072</c:v>
                </c:pt>
                <c:pt idx="4195">
                  <c:v>57065</c:v>
                </c:pt>
                <c:pt idx="4196">
                  <c:v>57064</c:v>
                </c:pt>
                <c:pt idx="4197">
                  <c:v>57064</c:v>
                </c:pt>
                <c:pt idx="4198">
                  <c:v>57061</c:v>
                </c:pt>
                <c:pt idx="4199">
                  <c:v>57060</c:v>
                </c:pt>
                <c:pt idx="4200">
                  <c:v>57059</c:v>
                </c:pt>
                <c:pt idx="4201">
                  <c:v>57057</c:v>
                </c:pt>
                <c:pt idx="4202">
                  <c:v>57052</c:v>
                </c:pt>
                <c:pt idx="4203">
                  <c:v>57050</c:v>
                </c:pt>
                <c:pt idx="4204">
                  <c:v>57048</c:v>
                </c:pt>
                <c:pt idx="4205">
                  <c:v>57047</c:v>
                </c:pt>
                <c:pt idx="4206">
                  <c:v>57047</c:v>
                </c:pt>
                <c:pt idx="4207">
                  <c:v>57046</c:v>
                </c:pt>
                <c:pt idx="4208">
                  <c:v>57037</c:v>
                </c:pt>
                <c:pt idx="4209">
                  <c:v>57036</c:v>
                </c:pt>
                <c:pt idx="4210">
                  <c:v>57031</c:v>
                </c:pt>
                <c:pt idx="4211">
                  <c:v>57028</c:v>
                </c:pt>
                <c:pt idx="4212">
                  <c:v>57024</c:v>
                </c:pt>
                <c:pt idx="4213">
                  <c:v>57023</c:v>
                </c:pt>
                <c:pt idx="4214">
                  <c:v>57023</c:v>
                </c:pt>
                <c:pt idx="4215">
                  <c:v>57020</c:v>
                </c:pt>
                <c:pt idx="4216">
                  <c:v>57016</c:v>
                </c:pt>
                <c:pt idx="4217">
                  <c:v>56995</c:v>
                </c:pt>
                <c:pt idx="4218">
                  <c:v>56992</c:v>
                </c:pt>
                <c:pt idx="4219">
                  <c:v>56992</c:v>
                </c:pt>
                <c:pt idx="4220">
                  <c:v>56989</c:v>
                </c:pt>
                <c:pt idx="4221">
                  <c:v>56989</c:v>
                </c:pt>
                <c:pt idx="4222">
                  <c:v>56988</c:v>
                </c:pt>
                <c:pt idx="4223">
                  <c:v>56988</c:v>
                </c:pt>
                <c:pt idx="4224">
                  <c:v>56986</c:v>
                </c:pt>
                <c:pt idx="4225">
                  <c:v>56972</c:v>
                </c:pt>
                <c:pt idx="4226">
                  <c:v>56969</c:v>
                </c:pt>
                <c:pt idx="4227">
                  <c:v>56968</c:v>
                </c:pt>
                <c:pt idx="4228">
                  <c:v>56968</c:v>
                </c:pt>
                <c:pt idx="4229">
                  <c:v>56965</c:v>
                </c:pt>
                <c:pt idx="4230">
                  <c:v>56962</c:v>
                </c:pt>
                <c:pt idx="4231">
                  <c:v>56959</c:v>
                </c:pt>
                <c:pt idx="4232">
                  <c:v>56941</c:v>
                </c:pt>
                <c:pt idx="4233">
                  <c:v>56937</c:v>
                </c:pt>
                <c:pt idx="4234">
                  <c:v>56933</c:v>
                </c:pt>
                <c:pt idx="4235">
                  <c:v>56931</c:v>
                </c:pt>
                <c:pt idx="4236">
                  <c:v>56927</c:v>
                </c:pt>
                <c:pt idx="4237">
                  <c:v>56925</c:v>
                </c:pt>
                <c:pt idx="4238">
                  <c:v>56923</c:v>
                </c:pt>
                <c:pt idx="4239">
                  <c:v>56923</c:v>
                </c:pt>
                <c:pt idx="4240">
                  <c:v>56923</c:v>
                </c:pt>
                <c:pt idx="4241">
                  <c:v>56923</c:v>
                </c:pt>
                <c:pt idx="4242">
                  <c:v>56914</c:v>
                </c:pt>
                <c:pt idx="4243">
                  <c:v>56914</c:v>
                </c:pt>
                <c:pt idx="4244">
                  <c:v>56904</c:v>
                </c:pt>
                <c:pt idx="4245">
                  <c:v>56901</c:v>
                </c:pt>
                <c:pt idx="4246">
                  <c:v>56900</c:v>
                </c:pt>
                <c:pt idx="4247">
                  <c:v>56898</c:v>
                </c:pt>
                <c:pt idx="4248">
                  <c:v>56896</c:v>
                </c:pt>
                <c:pt idx="4249">
                  <c:v>56895</c:v>
                </c:pt>
                <c:pt idx="4250">
                  <c:v>56894</c:v>
                </c:pt>
                <c:pt idx="4251">
                  <c:v>56892</c:v>
                </c:pt>
                <c:pt idx="4252">
                  <c:v>56890</c:v>
                </c:pt>
                <c:pt idx="4253">
                  <c:v>56887</c:v>
                </c:pt>
                <c:pt idx="4254">
                  <c:v>56873</c:v>
                </c:pt>
                <c:pt idx="4255">
                  <c:v>56872</c:v>
                </c:pt>
                <c:pt idx="4256">
                  <c:v>56871</c:v>
                </c:pt>
                <c:pt idx="4257">
                  <c:v>56867</c:v>
                </c:pt>
                <c:pt idx="4258">
                  <c:v>56864</c:v>
                </c:pt>
                <c:pt idx="4259">
                  <c:v>56860</c:v>
                </c:pt>
                <c:pt idx="4260">
                  <c:v>56860</c:v>
                </c:pt>
                <c:pt idx="4261">
                  <c:v>56852</c:v>
                </c:pt>
                <c:pt idx="4262">
                  <c:v>56850</c:v>
                </c:pt>
                <c:pt idx="4263">
                  <c:v>56848</c:v>
                </c:pt>
                <c:pt idx="4264">
                  <c:v>56847</c:v>
                </c:pt>
                <c:pt idx="4265">
                  <c:v>56838</c:v>
                </c:pt>
                <c:pt idx="4266">
                  <c:v>56838</c:v>
                </c:pt>
                <c:pt idx="4267">
                  <c:v>56824</c:v>
                </c:pt>
                <c:pt idx="4268">
                  <c:v>56820</c:v>
                </c:pt>
                <c:pt idx="4269">
                  <c:v>56817</c:v>
                </c:pt>
                <c:pt idx="4270">
                  <c:v>56816</c:v>
                </c:pt>
                <c:pt idx="4271">
                  <c:v>56815</c:v>
                </c:pt>
                <c:pt idx="4272">
                  <c:v>56806</c:v>
                </c:pt>
                <c:pt idx="4273">
                  <c:v>56804</c:v>
                </c:pt>
                <c:pt idx="4274">
                  <c:v>56800</c:v>
                </c:pt>
                <c:pt idx="4275">
                  <c:v>56798</c:v>
                </c:pt>
                <c:pt idx="4276">
                  <c:v>56798</c:v>
                </c:pt>
                <c:pt idx="4277">
                  <c:v>56794</c:v>
                </c:pt>
                <c:pt idx="4278">
                  <c:v>56791</c:v>
                </c:pt>
                <c:pt idx="4279">
                  <c:v>56777</c:v>
                </c:pt>
                <c:pt idx="4280">
                  <c:v>56774</c:v>
                </c:pt>
                <c:pt idx="4281">
                  <c:v>56771</c:v>
                </c:pt>
                <c:pt idx="4282">
                  <c:v>56767</c:v>
                </c:pt>
                <c:pt idx="4283">
                  <c:v>56766</c:v>
                </c:pt>
                <c:pt idx="4284">
                  <c:v>56766</c:v>
                </c:pt>
                <c:pt idx="4285">
                  <c:v>56764</c:v>
                </c:pt>
                <c:pt idx="4286">
                  <c:v>56761</c:v>
                </c:pt>
                <c:pt idx="4287">
                  <c:v>56753</c:v>
                </c:pt>
                <c:pt idx="4288">
                  <c:v>56752</c:v>
                </c:pt>
                <c:pt idx="4289">
                  <c:v>56752</c:v>
                </c:pt>
                <c:pt idx="4290">
                  <c:v>56751</c:v>
                </c:pt>
                <c:pt idx="4291">
                  <c:v>56751</c:v>
                </c:pt>
                <c:pt idx="4292">
                  <c:v>56747</c:v>
                </c:pt>
                <c:pt idx="4293">
                  <c:v>56745</c:v>
                </c:pt>
                <c:pt idx="4294">
                  <c:v>56743</c:v>
                </c:pt>
                <c:pt idx="4295">
                  <c:v>56741</c:v>
                </c:pt>
                <c:pt idx="4296">
                  <c:v>56739</c:v>
                </c:pt>
                <c:pt idx="4297">
                  <c:v>56730</c:v>
                </c:pt>
                <c:pt idx="4298">
                  <c:v>56729</c:v>
                </c:pt>
                <c:pt idx="4299">
                  <c:v>56728</c:v>
                </c:pt>
                <c:pt idx="4300">
                  <c:v>56724</c:v>
                </c:pt>
                <c:pt idx="4301">
                  <c:v>56724</c:v>
                </c:pt>
                <c:pt idx="4302">
                  <c:v>56718</c:v>
                </c:pt>
                <c:pt idx="4303">
                  <c:v>56718</c:v>
                </c:pt>
                <c:pt idx="4304">
                  <c:v>56718</c:v>
                </c:pt>
                <c:pt idx="4305">
                  <c:v>56711</c:v>
                </c:pt>
                <c:pt idx="4306">
                  <c:v>56711</c:v>
                </c:pt>
                <c:pt idx="4307">
                  <c:v>56709</c:v>
                </c:pt>
                <c:pt idx="4308">
                  <c:v>56708</c:v>
                </c:pt>
                <c:pt idx="4309">
                  <c:v>56706</c:v>
                </c:pt>
                <c:pt idx="4310">
                  <c:v>56705</c:v>
                </c:pt>
                <c:pt idx="4311">
                  <c:v>56704</c:v>
                </c:pt>
                <c:pt idx="4312">
                  <c:v>56702</c:v>
                </c:pt>
                <c:pt idx="4313">
                  <c:v>56699</c:v>
                </c:pt>
                <c:pt idx="4314">
                  <c:v>56696</c:v>
                </c:pt>
                <c:pt idx="4315">
                  <c:v>56691</c:v>
                </c:pt>
                <c:pt idx="4316">
                  <c:v>56689</c:v>
                </c:pt>
                <c:pt idx="4317">
                  <c:v>56689</c:v>
                </c:pt>
                <c:pt idx="4318">
                  <c:v>56685</c:v>
                </c:pt>
                <c:pt idx="4319">
                  <c:v>56684</c:v>
                </c:pt>
                <c:pt idx="4320">
                  <c:v>56680</c:v>
                </c:pt>
                <c:pt idx="4321">
                  <c:v>56674</c:v>
                </c:pt>
                <c:pt idx="4322">
                  <c:v>56669</c:v>
                </c:pt>
                <c:pt idx="4323">
                  <c:v>56668</c:v>
                </c:pt>
                <c:pt idx="4324">
                  <c:v>56666</c:v>
                </c:pt>
                <c:pt idx="4325">
                  <c:v>56666</c:v>
                </c:pt>
                <c:pt idx="4326">
                  <c:v>56661</c:v>
                </c:pt>
                <c:pt idx="4327">
                  <c:v>56660</c:v>
                </c:pt>
                <c:pt idx="4328">
                  <c:v>56660</c:v>
                </c:pt>
                <c:pt idx="4329">
                  <c:v>56657</c:v>
                </c:pt>
                <c:pt idx="4330">
                  <c:v>56656</c:v>
                </c:pt>
                <c:pt idx="4331">
                  <c:v>56648</c:v>
                </c:pt>
                <c:pt idx="4332">
                  <c:v>56644</c:v>
                </c:pt>
                <c:pt idx="4333">
                  <c:v>56639</c:v>
                </c:pt>
                <c:pt idx="4334">
                  <c:v>56637</c:v>
                </c:pt>
                <c:pt idx="4335">
                  <c:v>56636</c:v>
                </c:pt>
                <c:pt idx="4336">
                  <c:v>56632</c:v>
                </c:pt>
                <c:pt idx="4337">
                  <c:v>56630</c:v>
                </c:pt>
                <c:pt idx="4338">
                  <c:v>56626</c:v>
                </c:pt>
                <c:pt idx="4339">
                  <c:v>56622</c:v>
                </c:pt>
                <c:pt idx="4340">
                  <c:v>56622</c:v>
                </c:pt>
                <c:pt idx="4341">
                  <c:v>56620</c:v>
                </c:pt>
                <c:pt idx="4342">
                  <c:v>56616</c:v>
                </c:pt>
                <c:pt idx="4343">
                  <c:v>56615</c:v>
                </c:pt>
                <c:pt idx="4344">
                  <c:v>56613</c:v>
                </c:pt>
                <c:pt idx="4345">
                  <c:v>56611</c:v>
                </c:pt>
                <c:pt idx="4346">
                  <c:v>56608</c:v>
                </c:pt>
                <c:pt idx="4347">
                  <c:v>56607</c:v>
                </c:pt>
                <c:pt idx="4348">
                  <c:v>56605</c:v>
                </c:pt>
                <c:pt idx="4349">
                  <c:v>56601</c:v>
                </c:pt>
                <c:pt idx="4350">
                  <c:v>56601</c:v>
                </c:pt>
                <c:pt idx="4351">
                  <c:v>56600</c:v>
                </c:pt>
                <c:pt idx="4352">
                  <c:v>56598</c:v>
                </c:pt>
                <c:pt idx="4353">
                  <c:v>56598</c:v>
                </c:pt>
                <c:pt idx="4354">
                  <c:v>56594</c:v>
                </c:pt>
                <c:pt idx="4355">
                  <c:v>56587</c:v>
                </c:pt>
                <c:pt idx="4356">
                  <c:v>56584</c:v>
                </c:pt>
                <c:pt idx="4357">
                  <c:v>56584</c:v>
                </c:pt>
                <c:pt idx="4358">
                  <c:v>56582</c:v>
                </c:pt>
                <c:pt idx="4359">
                  <c:v>56581</c:v>
                </c:pt>
                <c:pt idx="4360">
                  <c:v>56576</c:v>
                </c:pt>
                <c:pt idx="4361">
                  <c:v>56570</c:v>
                </c:pt>
                <c:pt idx="4362">
                  <c:v>56568</c:v>
                </c:pt>
                <c:pt idx="4363">
                  <c:v>56567</c:v>
                </c:pt>
                <c:pt idx="4364">
                  <c:v>56559</c:v>
                </c:pt>
                <c:pt idx="4365">
                  <c:v>56557</c:v>
                </c:pt>
                <c:pt idx="4366">
                  <c:v>56547</c:v>
                </c:pt>
                <c:pt idx="4367">
                  <c:v>56545</c:v>
                </c:pt>
                <c:pt idx="4368">
                  <c:v>56543</c:v>
                </c:pt>
                <c:pt idx="4369">
                  <c:v>56542</c:v>
                </c:pt>
                <c:pt idx="4370">
                  <c:v>56540</c:v>
                </c:pt>
                <c:pt idx="4371">
                  <c:v>56534</c:v>
                </c:pt>
                <c:pt idx="4372">
                  <c:v>56531</c:v>
                </c:pt>
                <c:pt idx="4373">
                  <c:v>56527</c:v>
                </c:pt>
                <c:pt idx="4374">
                  <c:v>56521</c:v>
                </c:pt>
                <c:pt idx="4375">
                  <c:v>56514</c:v>
                </c:pt>
                <c:pt idx="4376">
                  <c:v>56514</c:v>
                </c:pt>
                <c:pt idx="4377">
                  <c:v>56513</c:v>
                </c:pt>
                <c:pt idx="4378">
                  <c:v>56506</c:v>
                </c:pt>
                <c:pt idx="4379">
                  <c:v>56502</c:v>
                </c:pt>
                <c:pt idx="4380">
                  <c:v>56501</c:v>
                </c:pt>
                <c:pt idx="4381">
                  <c:v>56498</c:v>
                </c:pt>
                <c:pt idx="4382">
                  <c:v>56497</c:v>
                </c:pt>
                <c:pt idx="4383">
                  <c:v>56495</c:v>
                </c:pt>
                <c:pt idx="4384">
                  <c:v>56491</c:v>
                </c:pt>
                <c:pt idx="4385">
                  <c:v>56486</c:v>
                </c:pt>
                <c:pt idx="4386">
                  <c:v>56484</c:v>
                </c:pt>
                <c:pt idx="4387">
                  <c:v>56482</c:v>
                </c:pt>
                <c:pt idx="4388">
                  <c:v>56482</c:v>
                </c:pt>
                <c:pt idx="4389">
                  <c:v>56482</c:v>
                </c:pt>
                <c:pt idx="4390">
                  <c:v>56479</c:v>
                </c:pt>
                <c:pt idx="4391">
                  <c:v>56476</c:v>
                </c:pt>
                <c:pt idx="4392">
                  <c:v>56473</c:v>
                </c:pt>
                <c:pt idx="4393">
                  <c:v>56471</c:v>
                </c:pt>
                <c:pt idx="4394">
                  <c:v>56468</c:v>
                </c:pt>
                <c:pt idx="4395">
                  <c:v>56468</c:v>
                </c:pt>
                <c:pt idx="4396">
                  <c:v>56462</c:v>
                </c:pt>
                <c:pt idx="4397">
                  <c:v>56462</c:v>
                </c:pt>
                <c:pt idx="4398">
                  <c:v>56458</c:v>
                </c:pt>
                <c:pt idx="4399">
                  <c:v>56454</c:v>
                </c:pt>
                <c:pt idx="4400">
                  <c:v>56452</c:v>
                </c:pt>
                <c:pt idx="4401">
                  <c:v>56447</c:v>
                </c:pt>
                <c:pt idx="4402">
                  <c:v>56447</c:v>
                </c:pt>
                <c:pt idx="4403">
                  <c:v>56445</c:v>
                </c:pt>
                <c:pt idx="4404">
                  <c:v>56444</c:v>
                </c:pt>
                <c:pt idx="4405">
                  <c:v>56427</c:v>
                </c:pt>
                <c:pt idx="4406">
                  <c:v>56427</c:v>
                </c:pt>
                <c:pt idx="4407">
                  <c:v>56426</c:v>
                </c:pt>
                <c:pt idx="4408">
                  <c:v>56424</c:v>
                </c:pt>
                <c:pt idx="4409">
                  <c:v>56424</c:v>
                </c:pt>
                <c:pt idx="4410">
                  <c:v>56423</c:v>
                </c:pt>
                <c:pt idx="4411">
                  <c:v>56422</c:v>
                </c:pt>
                <c:pt idx="4412">
                  <c:v>56421</c:v>
                </c:pt>
                <c:pt idx="4413">
                  <c:v>56412</c:v>
                </c:pt>
                <c:pt idx="4414">
                  <c:v>56409</c:v>
                </c:pt>
                <c:pt idx="4415">
                  <c:v>56406</c:v>
                </c:pt>
                <c:pt idx="4416">
                  <c:v>56406</c:v>
                </c:pt>
                <c:pt idx="4417">
                  <c:v>56404</c:v>
                </c:pt>
                <c:pt idx="4418">
                  <c:v>56403</c:v>
                </c:pt>
                <c:pt idx="4419">
                  <c:v>56403</c:v>
                </c:pt>
                <c:pt idx="4420">
                  <c:v>56401</c:v>
                </c:pt>
                <c:pt idx="4421">
                  <c:v>56399</c:v>
                </c:pt>
                <c:pt idx="4422">
                  <c:v>56399</c:v>
                </c:pt>
                <c:pt idx="4423">
                  <c:v>56396</c:v>
                </c:pt>
                <c:pt idx="4424">
                  <c:v>56395</c:v>
                </c:pt>
                <c:pt idx="4425">
                  <c:v>56391</c:v>
                </c:pt>
                <c:pt idx="4426">
                  <c:v>56389</c:v>
                </c:pt>
                <c:pt idx="4427">
                  <c:v>56389</c:v>
                </c:pt>
                <c:pt idx="4428">
                  <c:v>56388</c:v>
                </c:pt>
                <c:pt idx="4429">
                  <c:v>56388</c:v>
                </c:pt>
                <c:pt idx="4430">
                  <c:v>56383</c:v>
                </c:pt>
                <c:pt idx="4431">
                  <c:v>56382</c:v>
                </c:pt>
                <c:pt idx="4432">
                  <c:v>56381</c:v>
                </c:pt>
                <c:pt idx="4433">
                  <c:v>56377</c:v>
                </c:pt>
                <c:pt idx="4434">
                  <c:v>56372</c:v>
                </c:pt>
                <c:pt idx="4435">
                  <c:v>56367</c:v>
                </c:pt>
                <c:pt idx="4436">
                  <c:v>56365</c:v>
                </c:pt>
                <c:pt idx="4437">
                  <c:v>56363</c:v>
                </c:pt>
                <c:pt idx="4438">
                  <c:v>56360</c:v>
                </c:pt>
                <c:pt idx="4439">
                  <c:v>56358</c:v>
                </c:pt>
                <c:pt idx="4440">
                  <c:v>56356</c:v>
                </c:pt>
                <c:pt idx="4441">
                  <c:v>56352</c:v>
                </c:pt>
                <c:pt idx="4442">
                  <c:v>56351</c:v>
                </c:pt>
                <c:pt idx="4443">
                  <c:v>56348</c:v>
                </c:pt>
                <c:pt idx="4444">
                  <c:v>56348</c:v>
                </c:pt>
                <c:pt idx="4445">
                  <c:v>56340</c:v>
                </c:pt>
                <c:pt idx="4446">
                  <c:v>56336</c:v>
                </c:pt>
                <c:pt idx="4447">
                  <c:v>56334</c:v>
                </c:pt>
                <c:pt idx="4448">
                  <c:v>56330</c:v>
                </c:pt>
                <c:pt idx="4449">
                  <c:v>56328</c:v>
                </c:pt>
                <c:pt idx="4450">
                  <c:v>56327</c:v>
                </c:pt>
                <c:pt idx="4451">
                  <c:v>56325</c:v>
                </c:pt>
                <c:pt idx="4452">
                  <c:v>56322</c:v>
                </c:pt>
                <c:pt idx="4453">
                  <c:v>56321</c:v>
                </c:pt>
                <c:pt idx="4454">
                  <c:v>56321</c:v>
                </c:pt>
                <c:pt idx="4455">
                  <c:v>56318</c:v>
                </c:pt>
                <c:pt idx="4456">
                  <c:v>56317</c:v>
                </c:pt>
                <c:pt idx="4457">
                  <c:v>56314</c:v>
                </c:pt>
                <c:pt idx="4458">
                  <c:v>56313</c:v>
                </c:pt>
                <c:pt idx="4459">
                  <c:v>56311</c:v>
                </c:pt>
                <c:pt idx="4460">
                  <c:v>56309</c:v>
                </c:pt>
                <c:pt idx="4461">
                  <c:v>56305</c:v>
                </c:pt>
                <c:pt idx="4462">
                  <c:v>56301</c:v>
                </c:pt>
                <c:pt idx="4463">
                  <c:v>56299</c:v>
                </c:pt>
                <c:pt idx="4464">
                  <c:v>56298</c:v>
                </c:pt>
                <c:pt idx="4465">
                  <c:v>56298</c:v>
                </c:pt>
                <c:pt idx="4466">
                  <c:v>56292</c:v>
                </c:pt>
                <c:pt idx="4467">
                  <c:v>56291</c:v>
                </c:pt>
                <c:pt idx="4468">
                  <c:v>56286</c:v>
                </c:pt>
                <c:pt idx="4469">
                  <c:v>56285</c:v>
                </c:pt>
                <c:pt idx="4470">
                  <c:v>56281</c:v>
                </c:pt>
                <c:pt idx="4471">
                  <c:v>56277</c:v>
                </c:pt>
                <c:pt idx="4472">
                  <c:v>56272</c:v>
                </c:pt>
                <c:pt idx="4473">
                  <c:v>56269</c:v>
                </c:pt>
                <c:pt idx="4474">
                  <c:v>56266</c:v>
                </c:pt>
                <c:pt idx="4475">
                  <c:v>56264</c:v>
                </c:pt>
                <c:pt idx="4476">
                  <c:v>56263</c:v>
                </c:pt>
                <c:pt idx="4477">
                  <c:v>56258</c:v>
                </c:pt>
                <c:pt idx="4478">
                  <c:v>56256</c:v>
                </c:pt>
                <c:pt idx="4479">
                  <c:v>56256</c:v>
                </c:pt>
                <c:pt idx="4480">
                  <c:v>56255</c:v>
                </c:pt>
                <c:pt idx="4481">
                  <c:v>56251</c:v>
                </c:pt>
                <c:pt idx="4482">
                  <c:v>56249</c:v>
                </c:pt>
                <c:pt idx="4483">
                  <c:v>56242</c:v>
                </c:pt>
                <c:pt idx="4484">
                  <c:v>56240</c:v>
                </c:pt>
                <c:pt idx="4485">
                  <c:v>56238</c:v>
                </c:pt>
                <c:pt idx="4486">
                  <c:v>56236</c:v>
                </c:pt>
                <c:pt idx="4487">
                  <c:v>56232</c:v>
                </c:pt>
                <c:pt idx="4488">
                  <c:v>56232</c:v>
                </c:pt>
                <c:pt idx="4489">
                  <c:v>56231</c:v>
                </c:pt>
                <c:pt idx="4490">
                  <c:v>56230</c:v>
                </c:pt>
                <c:pt idx="4491">
                  <c:v>56228</c:v>
                </c:pt>
                <c:pt idx="4492">
                  <c:v>56227</c:v>
                </c:pt>
                <c:pt idx="4493">
                  <c:v>56224</c:v>
                </c:pt>
                <c:pt idx="4494">
                  <c:v>56223</c:v>
                </c:pt>
                <c:pt idx="4495">
                  <c:v>56223</c:v>
                </c:pt>
                <c:pt idx="4496">
                  <c:v>56223</c:v>
                </c:pt>
                <c:pt idx="4497">
                  <c:v>56221</c:v>
                </c:pt>
                <c:pt idx="4498">
                  <c:v>56218</c:v>
                </c:pt>
                <c:pt idx="4499">
                  <c:v>56216</c:v>
                </c:pt>
                <c:pt idx="4500">
                  <c:v>56212</c:v>
                </c:pt>
                <c:pt idx="4501">
                  <c:v>56207</c:v>
                </c:pt>
                <c:pt idx="4502">
                  <c:v>56203</c:v>
                </c:pt>
                <c:pt idx="4503">
                  <c:v>56202</c:v>
                </c:pt>
                <c:pt idx="4504">
                  <c:v>56200</c:v>
                </c:pt>
                <c:pt idx="4505">
                  <c:v>56195</c:v>
                </c:pt>
                <c:pt idx="4506">
                  <c:v>56192</c:v>
                </c:pt>
                <c:pt idx="4507">
                  <c:v>56187</c:v>
                </c:pt>
                <c:pt idx="4508">
                  <c:v>56185</c:v>
                </c:pt>
                <c:pt idx="4509">
                  <c:v>56184</c:v>
                </c:pt>
                <c:pt idx="4510">
                  <c:v>56184</c:v>
                </c:pt>
                <c:pt idx="4511">
                  <c:v>56182</c:v>
                </c:pt>
                <c:pt idx="4512">
                  <c:v>56180</c:v>
                </c:pt>
                <c:pt idx="4513">
                  <c:v>56179</c:v>
                </c:pt>
                <c:pt idx="4514">
                  <c:v>56176</c:v>
                </c:pt>
                <c:pt idx="4515">
                  <c:v>56176</c:v>
                </c:pt>
                <c:pt idx="4516">
                  <c:v>56172</c:v>
                </c:pt>
                <c:pt idx="4517">
                  <c:v>56171</c:v>
                </c:pt>
                <c:pt idx="4518">
                  <c:v>56159</c:v>
                </c:pt>
                <c:pt idx="4519">
                  <c:v>56159</c:v>
                </c:pt>
                <c:pt idx="4520">
                  <c:v>56152</c:v>
                </c:pt>
                <c:pt idx="4521">
                  <c:v>56148</c:v>
                </c:pt>
                <c:pt idx="4522">
                  <c:v>56142</c:v>
                </c:pt>
                <c:pt idx="4523">
                  <c:v>56142</c:v>
                </c:pt>
                <c:pt idx="4524">
                  <c:v>56141</c:v>
                </c:pt>
                <c:pt idx="4525">
                  <c:v>56141</c:v>
                </c:pt>
                <c:pt idx="4526">
                  <c:v>56137</c:v>
                </c:pt>
                <c:pt idx="4527">
                  <c:v>56131</c:v>
                </c:pt>
                <c:pt idx="4528">
                  <c:v>56130</c:v>
                </c:pt>
                <c:pt idx="4529">
                  <c:v>56129</c:v>
                </c:pt>
                <c:pt idx="4530">
                  <c:v>56127</c:v>
                </c:pt>
                <c:pt idx="4531">
                  <c:v>56113</c:v>
                </c:pt>
                <c:pt idx="4532">
                  <c:v>56109</c:v>
                </c:pt>
                <c:pt idx="4533">
                  <c:v>56102</c:v>
                </c:pt>
                <c:pt idx="4534">
                  <c:v>56100</c:v>
                </c:pt>
                <c:pt idx="4535">
                  <c:v>56095</c:v>
                </c:pt>
                <c:pt idx="4536">
                  <c:v>56095</c:v>
                </c:pt>
                <c:pt idx="4537">
                  <c:v>56093</c:v>
                </c:pt>
                <c:pt idx="4538">
                  <c:v>56093</c:v>
                </c:pt>
                <c:pt idx="4539">
                  <c:v>56091</c:v>
                </c:pt>
                <c:pt idx="4540">
                  <c:v>56086</c:v>
                </c:pt>
                <c:pt idx="4541">
                  <c:v>56085</c:v>
                </c:pt>
                <c:pt idx="4542">
                  <c:v>56083</c:v>
                </c:pt>
                <c:pt idx="4543">
                  <c:v>56080</c:v>
                </c:pt>
                <c:pt idx="4544">
                  <c:v>56074</c:v>
                </c:pt>
                <c:pt idx="4545">
                  <c:v>56070</c:v>
                </c:pt>
                <c:pt idx="4546">
                  <c:v>56067</c:v>
                </c:pt>
                <c:pt idx="4547">
                  <c:v>56066</c:v>
                </c:pt>
                <c:pt idx="4548">
                  <c:v>56063</c:v>
                </c:pt>
                <c:pt idx="4549">
                  <c:v>56060</c:v>
                </c:pt>
                <c:pt idx="4550">
                  <c:v>56055</c:v>
                </c:pt>
                <c:pt idx="4551">
                  <c:v>56054</c:v>
                </c:pt>
                <c:pt idx="4552">
                  <c:v>56054</c:v>
                </c:pt>
                <c:pt idx="4553">
                  <c:v>56053</c:v>
                </c:pt>
                <c:pt idx="4554">
                  <c:v>56052</c:v>
                </c:pt>
                <c:pt idx="4555">
                  <c:v>56050</c:v>
                </c:pt>
                <c:pt idx="4556">
                  <c:v>56049</c:v>
                </c:pt>
                <c:pt idx="4557">
                  <c:v>56048</c:v>
                </c:pt>
                <c:pt idx="4558">
                  <c:v>56046</c:v>
                </c:pt>
                <c:pt idx="4559">
                  <c:v>56044</c:v>
                </c:pt>
                <c:pt idx="4560">
                  <c:v>56043</c:v>
                </c:pt>
                <c:pt idx="4561">
                  <c:v>56042</c:v>
                </c:pt>
                <c:pt idx="4562">
                  <c:v>56035</c:v>
                </c:pt>
                <c:pt idx="4563">
                  <c:v>56035</c:v>
                </c:pt>
                <c:pt idx="4564">
                  <c:v>56034</c:v>
                </c:pt>
                <c:pt idx="4565">
                  <c:v>56031</c:v>
                </c:pt>
                <c:pt idx="4566">
                  <c:v>56030</c:v>
                </c:pt>
                <c:pt idx="4567">
                  <c:v>56025</c:v>
                </c:pt>
                <c:pt idx="4568">
                  <c:v>56025</c:v>
                </c:pt>
                <c:pt idx="4569">
                  <c:v>56024</c:v>
                </c:pt>
                <c:pt idx="4570">
                  <c:v>56024</c:v>
                </c:pt>
                <c:pt idx="4571">
                  <c:v>56023</c:v>
                </c:pt>
                <c:pt idx="4572">
                  <c:v>56022</c:v>
                </c:pt>
                <c:pt idx="4573">
                  <c:v>56020</c:v>
                </c:pt>
                <c:pt idx="4574">
                  <c:v>56017</c:v>
                </c:pt>
                <c:pt idx="4575">
                  <c:v>56016</c:v>
                </c:pt>
                <c:pt idx="4576">
                  <c:v>56016</c:v>
                </c:pt>
                <c:pt idx="4577">
                  <c:v>56011</c:v>
                </c:pt>
                <c:pt idx="4578">
                  <c:v>56006</c:v>
                </c:pt>
                <c:pt idx="4579">
                  <c:v>56003</c:v>
                </c:pt>
                <c:pt idx="4580">
                  <c:v>56002</c:v>
                </c:pt>
                <c:pt idx="4581">
                  <c:v>55998</c:v>
                </c:pt>
                <c:pt idx="4582">
                  <c:v>55997</c:v>
                </c:pt>
                <c:pt idx="4583">
                  <c:v>55994</c:v>
                </c:pt>
                <c:pt idx="4584">
                  <c:v>55988</c:v>
                </c:pt>
                <c:pt idx="4585">
                  <c:v>55986</c:v>
                </c:pt>
                <c:pt idx="4586">
                  <c:v>55986</c:v>
                </c:pt>
                <c:pt idx="4587">
                  <c:v>55981</c:v>
                </c:pt>
                <c:pt idx="4588">
                  <c:v>55977</c:v>
                </c:pt>
                <c:pt idx="4589">
                  <c:v>55975</c:v>
                </c:pt>
                <c:pt idx="4590">
                  <c:v>55971</c:v>
                </c:pt>
                <c:pt idx="4591">
                  <c:v>55969</c:v>
                </c:pt>
                <c:pt idx="4592">
                  <c:v>55964</c:v>
                </c:pt>
                <c:pt idx="4593">
                  <c:v>55962</c:v>
                </c:pt>
                <c:pt idx="4594">
                  <c:v>55960</c:v>
                </c:pt>
                <c:pt idx="4595">
                  <c:v>55960</c:v>
                </c:pt>
                <c:pt idx="4596">
                  <c:v>55957</c:v>
                </c:pt>
                <c:pt idx="4597">
                  <c:v>55956</c:v>
                </c:pt>
                <c:pt idx="4598">
                  <c:v>55956</c:v>
                </c:pt>
                <c:pt idx="4599">
                  <c:v>55951</c:v>
                </c:pt>
                <c:pt idx="4600">
                  <c:v>55949</c:v>
                </c:pt>
                <c:pt idx="4601">
                  <c:v>55938</c:v>
                </c:pt>
                <c:pt idx="4602">
                  <c:v>55935</c:v>
                </c:pt>
                <c:pt idx="4603">
                  <c:v>55934</c:v>
                </c:pt>
                <c:pt idx="4604">
                  <c:v>55929</c:v>
                </c:pt>
                <c:pt idx="4605">
                  <c:v>55929</c:v>
                </c:pt>
                <c:pt idx="4606">
                  <c:v>55924</c:v>
                </c:pt>
                <c:pt idx="4607">
                  <c:v>55922</c:v>
                </c:pt>
                <c:pt idx="4608">
                  <c:v>55916</c:v>
                </c:pt>
                <c:pt idx="4609">
                  <c:v>55915</c:v>
                </c:pt>
                <c:pt idx="4610">
                  <c:v>55911</c:v>
                </c:pt>
                <c:pt idx="4611">
                  <c:v>55906</c:v>
                </c:pt>
                <c:pt idx="4612">
                  <c:v>55886</c:v>
                </c:pt>
                <c:pt idx="4613">
                  <c:v>55885</c:v>
                </c:pt>
                <c:pt idx="4614">
                  <c:v>55882</c:v>
                </c:pt>
                <c:pt idx="4615">
                  <c:v>55879</c:v>
                </c:pt>
                <c:pt idx="4616">
                  <c:v>55871</c:v>
                </c:pt>
                <c:pt idx="4617">
                  <c:v>55869</c:v>
                </c:pt>
                <c:pt idx="4618">
                  <c:v>55869</c:v>
                </c:pt>
                <c:pt idx="4619">
                  <c:v>55868</c:v>
                </c:pt>
                <c:pt idx="4620">
                  <c:v>55867</c:v>
                </c:pt>
                <c:pt idx="4621">
                  <c:v>55860</c:v>
                </c:pt>
                <c:pt idx="4622">
                  <c:v>55857</c:v>
                </c:pt>
                <c:pt idx="4623">
                  <c:v>55857</c:v>
                </c:pt>
                <c:pt idx="4624">
                  <c:v>55855</c:v>
                </c:pt>
                <c:pt idx="4625">
                  <c:v>55851</c:v>
                </c:pt>
                <c:pt idx="4626">
                  <c:v>55850</c:v>
                </c:pt>
                <c:pt idx="4627">
                  <c:v>55849</c:v>
                </c:pt>
                <c:pt idx="4628">
                  <c:v>55849</c:v>
                </c:pt>
                <c:pt idx="4629">
                  <c:v>55846</c:v>
                </c:pt>
                <c:pt idx="4630">
                  <c:v>55846</c:v>
                </c:pt>
                <c:pt idx="4631">
                  <c:v>55845</c:v>
                </c:pt>
                <c:pt idx="4632">
                  <c:v>55845</c:v>
                </c:pt>
                <c:pt idx="4633">
                  <c:v>55837</c:v>
                </c:pt>
                <c:pt idx="4634">
                  <c:v>55836</c:v>
                </c:pt>
                <c:pt idx="4635">
                  <c:v>55832</c:v>
                </c:pt>
                <c:pt idx="4636">
                  <c:v>55832</c:v>
                </c:pt>
                <c:pt idx="4637">
                  <c:v>55822</c:v>
                </c:pt>
                <c:pt idx="4638">
                  <c:v>55820</c:v>
                </c:pt>
                <c:pt idx="4639">
                  <c:v>55814</c:v>
                </c:pt>
                <c:pt idx="4640">
                  <c:v>55809</c:v>
                </c:pt>
                <c:pt idx="4641">
                  <c:v>55804</c:v>
                </c:pt>
                <c:pt idx="4642">
                  <c:v>55801</c:v>
                </c:pt>
                <c:pt idx="4643">
                  <c:v>55801</c:v>
                </c:pt>
                <c:pt idx="4644">
                  <c:v>55801</c:v>
                </c:pt>
                <c:pt idx="4645">
                  <c:v>55800</c:v>
                </c:pt>
                <c:pt idx="4646">
                  <c:v>55799</c:v>
                </c:pt>
                <c:pt idx="4647">
                  <c:v>55798</c:v>
                </c:pt>
                <c:pt idx="4648">
                  <c:v>55797</c:v>
                </c:pt>
                <c:pt idx="4649">
                  <c:v>55795</c:v>
                </c:pt>
                <c:pt idx="4650">
                  <c:v>55794</c:v>
                </c:pt>
                <c:pt idx="4651">
                  <c:v>55790</c:v>
                </c:pt>
                <c:pt idx="4652">
                  <c:v>55790</c:v>
                </c:pt>
                <c:pt idx="4653">
                  <c:v>55788</c:v>
                </c:pt>
                <c:pt idx="4654">
                  <c:v>55783</c:v>
                </c:pt>
                <c:pt idx="4655">
                  <c:v>55782</c:v>
                </c:pt>
                <c:pt idx="4656">
                  <c:v>55777</c:v>
                </c:pt>
                <c:pt idx="4657">
                  <c:v>55774</c:v>
                </c:pt>
                <c:pt idx="4658">
                  <c:v>55773</c:v>
                </c:pt>
                <c:pt idx="4659">
                  <c:v>55765</c:v>
                </c:pt>
                <c:pt idx="4660">
                  <c:v>55764</c:v>
                </c:pt>
                <c:pt idx="4661">
                  <c:v>55759</c:v>
                </c:pt>
                <c:pt idx="4662">
                  <c:v>55758</c:v>
                </c:pt>
                <c:pt idx="4663">
                  <c:v>55758</c:v>
                </c:pt>
                <c:pt idx="4664">
                  <c:v>55753</c:v>
                </c:pt>
                <c:pt idx="4665">
                  <c:v>55749</c:v>
                </c:pt>
                <c:pt idx="4666">
                  <c:v>55748</c:v>
                </c:pt>
                <c:pt idx="4667">
                  <c:v>55743</c:v>
                </c:pt>
                <c:pt idx="4668">
                  <c:v>55739</c:v>
                </c:pt>
                <c:pt idx="4669">
                  <c:v>55731</c:v>
                </c:pt>
                <c:pt idx="4670">
                  <c:v>55729</c:v>
                </c:pt>
                <c:pt idx="4671">
                  <c:v>55727</c:v>
                </c:pt>
                <c:pt idx="4672">
                  <c:v>55726</c:v>
                </c:pt>
                <c:pt idx="4673">
                  <c:v>55723</c:v>
                </c:pt>
                <c:pt idx="4674">
                  <c:v>55722</c:v>
                </c:pt>
                <c:pt idx="4675">
                  <c:v>55721</c:v>
                </c:pt>
                <c:pt idx="4676">
                  <c:v>55721</c:v>
                </c:pt>
                <c:pt idx="4677">
                  <c:v>55720</c:v>
                </c:pt>
                <c:pt idx="4678">
                  <c:v>55720</c:v>
                </c:pt>
                <c:pt idx="4679">
                  <c:v>55720</c:v>
                </c:pt>
                <c:pt idx="4680">
                  <c:v>55716</c:v>
                </c:pt>
                <c:pt idx="4681">
                  <c:v>55714</c:v>
                </c:pt>
                <c:pt idx="4682">
                  <c:v>55714</c:v>
                </c:pt>
                <c:pt idx="4683">
                  <c:v>55713</c:v>
                </c:pt>
                <c:pt idx="4684">
                  <c:v>55712</c:v>
                </c:pt>
                <c:pt idx="4685">
                  <c:v>55711</c:v>
                </c:pt>
                <c:pt idx="4686">
                  <c:v>55710</c:v>
                </c:pt>
                <c:pt idx="4687">
                  <c:v>55709</c:v>
                </c:pt>
                <c:pt idx="4688">
                  <c:v>55706</c:v>
                </c:pt>
                <c:pt idx="4689">
                  <c:v>55702</c:v>
                </c:pt>
                <c:pt idx="4690">
                  <c:v>55702</c:v>
                </c:pt>
                <c:pt idx="4691">
                  <c:v>55702</c:v>
                </c:pt>
                <c:pt idx="4692">
                  <c:v>55701</c:v>
                </c:pt>
                <c:pt idx="4693">
                  <c:v>55699</c:v>
                </c:pt>
                <c:pt idx="4694">
                  <c:v>55698</c:v>
                </c:pt>
                <c:pt idx="4695">
                  <c:v>55697</c:v>
                </c:pt>
                <c:pt idx="4696">
                  <c:v>55696</c:v>
                </c:pt>
                <c:pt idx="4697">
                  <c:v>55695</c:v>
                </c:pt>
                <c:pt idx="4698">
                  <c:v>55692</c:v>
                </c:pt>
                <c:pt idx="4699">
                  <c:v>55691</c:v>
                </c:pt>
                <c:pt idx="4700">
                  <c:v>55689</c:v>
                </c:pt>
                <c:pt idx="4701">
                  <c:v>55684</c:v>
                </c:pt>
                <c:pt idx="4702">
                  <c:v>55683</c:v>
                </c:pt>
                <c:pt idx="4703">
                  <c:v>55679</c:v>
                </c:pt>
                <c:pt idx="4704">
                  <c:v>55672</c:v>
                </c:pt>
                <c:pt idx="4705">
                  <c:v>55670</c:v>
                </c:pt>
                <c:pt idx="4706">
                  <c:v>55670</c:v>
                </c:pt>
                <c:pt idx="4707">
                  <c:v>55669</c:v>
                </c:pt>
                <c:pt idx="4708">
                  <c:v>55668</c:v>
                </c:pt>
                <c:pt idx="4709">
                  <c:v>55667</c:v>
                </c:pt>
                <c:pt idx="4710">
                  <c:v>55664</c:v>
                </c:pt>
                <c:pt idx="4711">
                  <c:v>55655</c:v>
                </c:pt>
                <c:pt idx="4712">
                  <c:v>55652</c:v>
                </c:pt>
                <c:pt idx="4713">
                  <c:v>55650</c:v>
                </c:pt>
                <c:pt idx="4714">
                  <c:v>55650</c:v>
                </c:pt>
                <c:pt idx="4715">
                  <c:v>55646</c:v>
                </c:pt>
                <c:pt idx="4716">
                  <c:v>55646</c:v>
                </c:pt>
                <c:pt idx="4717">
                  <c:v>55645</c:v>
                </c:pt>
                <c:pt idx="4718">
                  <c:v>55643</c:v>
                </c:pt>
                <c:pt idx="4719">
                  <c:v>55643</c:v>
                </c:pt>
                <c:pt idx="4720">
                  <c:v>55641</c:v>
                </c:pt>
                <c:pt idx="4721">
                  <c:v>55638</c:v>
                </c:pt>
                <c:pt idx="4722">
                  <c:v>55638</c:v>
                </c:pt>
                <c:pt idx="4723">
                  <c:v>55634</c:v>
                </c:pt>
                <c:pt idx="4724">
                  <c:v>55624</c:v>
                </c:pt>
                <c:pt idx="4725">
                  <c:v>55622</c:v>
                </c:pt>
                <c:pt idx="4726">
                  <c:v>55620</c:v>
                </c:pt>
                <c:pt idx="4727">
                  <c:v>55613</c:v>
                </c:pt>
                <c:pt idx="4728">
                  <c:v>55612</c:v>
                </c:pt>
                <c:pt idx="4729">
                  <c:v>55608</c:v>
                </c:pt>
                <c:pt idx="4730">
                  <c:v>55608</c:v>
                </c:pt>
                <c:pt idx="4731">
                  <c:v>55608</c:v>
                </c:pt>
                <c:pt idx="4732">
                  <c:v>55603</c:v>
                </c:pt>
                <c:pt idx="4733">
                  <c:v>55602</c:v>
                </c:pt>
                <c:pt idx="4734">
                  <c:v>55601</c:v>
                </c:pt>
                <c:pt idx="4735">
                  <c:v>55601</c:v>
                </c:pt>
                <c:pt idx="4736">
                  <c:v>55598</c:v>
                </c:pt>
                <c:pt idx="4737">
                  <c:v>55596</c:v>
                </c:pt>
                <c:pt idx="4738">
                  <c:v>55591</c:v>
                </c:pt>
                <c:pt idx="4739">
                  <c:v>55591</c:v>
                </c:pt>
                <c:pt idx="4740">
                  <c:v>55586</c:v>
                </c:pt>
                <c:pt idx="4741">
                  <c:v>55585</c:v>
                </c:pt>
                <c:pt idx="4742">
                  <c:v>55576</c:v>
                </c:pt>
                <c:pt idx="4743">
                  <c:v>55571</c:v>
                </c:pt>
                <c:pt idx="4744">
                  <c:v>55571</c:v>
                </c:pt>
                <c:pt idx="4745">
                  <c:v>55564</c:v>
                </c:pt>
                <c:pt idx="4746">
                  <c:v>55563</c:v>
                </c:pt>
                <c:pt idx="4747">
                  <c:v>55562</c:v>
                </c:pt>
                <c:pt idx="4748">
                  <c:v>55561</c:v>
                </c:pt>
                <c:pt idx="4749">
                  <c:v>55561</c:v>
                </c:pt>
                <c:pt idx="4750">
                  <c:v>55559</c:v>
                </c:pt>
                <c:pt idx="4751">
                  <c:v>55559</c:v>
                </c:pt>
                <c:pt idx="4752">
                  <c:v>55557</c:v>
                </c:pt>
                <c:pt idx="4753">
                  <c:v>55550</c:v>
                </c:pt>
                <c:pt idx="4754">
                  <c:v>55545</c:v>
                </c:pt>
                <c:pt idx="4755">
                  <c:v>55541</c:v>
                </c:pt>
                <c:pt idx="4756">
                  <c:v>55541</c:v>
                </c:pt>
                <c:pt idx="4757">
                  <c:v>55534</c:v>
                </c:pt>
                <c:pt idx="4758">
                  <c:v>55532</c:v>
                </c:pt>
                <c:pt idx="4759">
                  <c:v>55531</c:v>
                </c:pt>
                <c:pt idx="4760">
                  <c:v>55530</c:v>
                </c:pt>
                <c:pt idx="4761">
                  <c:v>55530</c:v>
                </c:pt>
                <c:pt idx="4762">
                  <c:v>55527</c:v>
                </c:pt>
                <c:pt idx="4763">
                  <c:v>55516</c:v>
                </c:pt>
                <c:pt idx="4764">
                  <c:v>55514</c:v>
                </c:pt>
                <c:pt idx="4765">
                  <c:v>55506</c:v>
                </c:pt>
                <c:pt idx="4766">
                  <c:v>55501</c:v>
                </c:pt>
                <c:pt idx="4767">
                  <c:v>55500</c:v>
                </c:pt>
                <c:pt idx="4768">
                  <c:v>55500</c:v>
                </c:pt>
                <c:pt idx="4769">
                  <c:v>55498</c:v>
                </c:pt>
                <c:pt idx="4770">
                  <c:v>55497</c:v>
                </c:pt>
                <c:pt idx="4771">
                  <c:v>55496</c:v>
                </c:pt>
                <c:pt idx="4772">
                  <c:v>55495</c:v>
                </c:pt>
                <c:pt idx="4773">
                  <c:v>55495</c:v>
                </c:pt>
                <c:pt idx="4774">
                  <c:v>55490</c:v>
                </c:pt>
                <c:pt idx="4775">
                  <c:v>55488</c:v>
                </c:pt>
                <c:pt idx="4776">
                  <c:v>55486</c:v>
                </c:pt>
                <c:pt idx="4777">
                  <c:v>55485</c:v>
                </c:pt>
                <c:pt idx="4778">
                  <c:v>55483</c:v>
                </c:pt>
                <c:pt idx="4779">
                  <c:v>55482</c:v>
                </c:pt>
                <c:pt idx="4780">
                  <c:v>55482</c:v>
                </c:pt>
                <c:pt idx="4781">
                  <c:v>55480</c:v>
                </c:pt>
                <c:pt idx="4782">
                  <c:v>55477</c:v>
                </c:pt>
                <c:pt idx="4783">
                  <c:v>55475</c:v>
                </c:pt>
                <c:pt idx="4784">
                  <c:v>55475</c:v>
                </c:pt>
                <c:pt idx="4785">
                  <c:v>55470</c:v>
                </c:pt>
                <c:pt idx="4786">
                  <c:v>55469</c:v>
                </c:pt>
                <c:pt idx="4787">
                  <c:v>55464</c:v>
                </c:pt>
                <c:pt idx="4788">
                  <c:v>55456</c:v>
                </c:pt>
                <c:pt idx="4789">
                  <c:v>55455</c:v>
                </c:pt>
                <c:pt idx="4790">
                  <c:v>55450</c:v>
                </c:pt>
                <c:pt idx="4791">
                  <c:v>55449</c:v>
                </c:pt>
                <c:pt idx="4792">
                  <c:v>55448</c:v>
                </c:pt>
                <c:pt idx="4793">
                  <c:v>55447</c:v>
                </c:pt>
                <c:pt idx="4794">
                  <c:v>55445</c:v>
                </c:pt>
                <c:pt idx="4795">
                  <c:v>55444</c:v>
                </c:pt>
                <c:pt idx="4796">
                  <c:v>55444</c:v>
                </c:pt>
                <c:pt idx="4797">
                  <c:v>55437</c:v>
                </c:pt>
                <c:pt idx="4798">
                  <c:v>55437</c:v>
                </c:pt>
                <c:pt idx="4799">
                  <c:v>55427</c:v>
                </c:pt>
                <c:pt idx="4800">
                  <c:v>55427</c:v>
                </c:pt>
                <c:pt idx="4801">
                  <c:v>55425</c:v>
                </c:pt>
                <c:pt idx="4802">
                  <c:v>55424</c:v>
                </c:pt>
                <c:pt idx="4803">
                  <c:v>55422</c:v>
                </c:pt>
                <c:pt idx="4804">
                  <c:v>55421</c:v>
                </c:pt>
                <c:pt idx="4805">
                  <c:v>55420</c:v>
                </c:pt>
                <c:pt idx="4806">
                  <c:v>55418</c:v>
                </c:pt>
                <c:pt idx="4807">
                  <c:v>55417</c:v>
                </c:pt>
                <c:pt idx="4808">
                  <c:v>55416</c:v>
                </c:pt>
                <c:pt idx="4809">
                  <c:v>55416</c:v>
                </c:pt>
                <c:pt idx="4810">
                  <c:v>55415</c:v>
                </c:pt>
                <c:pt idx="4811">
                  <c:v>55414</c:v>
                </c:pt>
                <c:pt idx="4812">
                  <c:v>55412</c:v>
                </c:pt>
                <c:pt idx="4813">
                  <c:v>55411</c:v>
                </c:pt>
                <c:pt idx="4814">
                  <c:v>55410</c:v>
                </c:pt>
                <c:pt idx="4815">
                  <c:v>55408</c:v>
                </c:pt>
                <c:pt idx="4816">
                  <c:v>55407</c:v>
                </c:pt>
                <c:pt idx="4817">
                  <c:v>55406</c:v>
                </c:pt>
                <c:pt idx="4818">
                  <c:v>55402</c:v>
                </c:pt>
                <c:pt idx="4819">
                  <c:v>55401</c:v>
                </c:pt>
                <c:pt idx="4820">
                  <c:v>55399</c:v>
                </c:pt>
                <c:pt idx="4821">
                  <c:v>55398</c:v>
                </c:pt>
                <c:pt idx="4822">
                  <c:v>55398</c:v>
                </c:pt>
                <c:pt idx="4823">
                  <c:v>55396</c:v>
                </c:pt>
                <c:pt idx="4824">
                  <c:v>55395</c:v>
                </c:pt>
                <c:pt idx="4825">
                  <c:v>55395</c:v>
                </c:pt>
                <c:pt idx="4826">
                  <c:v>55393</c:v>
                </c:pt>
                <c:pt idx="4827">
                  <c:v>55393</c:v>
                </c:pt>
                <c:pt idx="4828">
                  <c:v>55391</c:v>
                </c:pt>
                <c:pt idx="4829">
                  <c:v>55391</c:v>
                </c:pt>
                <c:pt idx="4830">
                  <c:v>55390</c:v>
                </c:pt>
                <c:pt idx="4831">
                  <c:v>55390</c:v>
                </c:pt>
                <c:pt idx="4832">
                  <c:v>55388</c:v>
                </c:pt>
                <c:pt idx="4833">
                  <c:v>55386</c:v>
                </c:pt>
                <c:pt idx="4834">
                  <c:v>55384</c:v>
                </c:pt>
                <c:pt idx="4835">
                  <c:v>55383</c:v>
                </c:pt>
                <c:pt idx="4836">
                  <c:v>55383</c:v>
                </c:pt>
                <c:pt idx="4837">
                  <c:v>55379</c:v>
                </c:pt>
                <c:pt idx="4838">
                  <c:v>55375</c:v>
                </c:pt>
                <c:pt idx="4839">
                  <c:v>55374</c:v>
                </c:pt>
                <c:pt idx="4840">
                  <c:v>55368</c:v>
                </c:pt>
                <c:pt idx="4841">
                  <c:v>55364</c:v>
                </c:pt>
                <c:pt idx="4842">
                  <c:v>55363</c:v>
                </c:pt>
                <c:pt idx="4843">
                  <c:v>55361</c:v>
                </c:pt>
                <c:pt idx="4844">
                  <c:v>55360</c:v>
                </c:pt>
                <c:pt idx="4845">
                  <c:v>55358</c:v>
                </c:pt>
                <c:pt idx="4846">
                  <c:v>55356</c:v>
                </c:pt>
                <c:pt idx="4847">
                  <c:v>55353</c:v>
                </c:pt>
                <c:pt idx="4848">
                  <c:v>55353</c:v>
                </c:pt>
                <c:pt idx="4849">
                  <c:v>55352</c:v>
                </c:pt>
                <c:pt idx="4850">
                  <c:v>55351</c:v>
                </c:pt>
                <c:pt idx="4851">
                  <c:v>55349</c:v>
                </c:pt>
                <c:pt idx="4852">
                  <c:v>55349</c:v>
                </c:pt>
                <c:pt idx="4853">
                  <c:v>55348</c:v>
                </c:pt>
                <c:pt idx="4854">
                  <c:v>55345</c:v>
                </c:pt>
                <c:pt idx="4855">
                  <c:v>55345</c:v>
                </c:pt>
                <c:pt idx="4856">
                  <c:v>55344</c:v>
                </c:pt>
                <c:pt idx="4857">
                  <c:v>55339</c:v>
                </c:pt>
                <c:pt idx="4858">
                  <c:v>55338</c:v>
                </c:pt>
                <c:pt idx="4859">
                  <c:v>55338</c:v>
                </c:pt>
                <c:pt idx="4860">
                  <c:v>55332</c:v>
                </c:pt>
                <c:pt idx="4861">
                  <c:v>55329</c:v>
                </c:pt>
                <c:pt idx="4862">
                  <c:v>55328</c:v>
                </c:pt>
                <c:pt idx="4863">
                  <c:v>55323</c:v>
                </c:pt>
                <c:pt idx="4864">
                  <c:v>55322</c:v>
                </c:pt>
                <c:pt idx="4865">
                  <c:v>55319</c:v>
                </c:pt>
                <c:pt idx="4866">
                  <c:v>55319</c:v>
                </c:pt>
                <c:pt idx="4867">
                  <c:v>55317</c:v>
                </c:pt>
                <c:pt idx="4868">
                  <c:v>55309</c:v>
                </c:pt>
                <c:pt idx="4869">
                  <c:v>55305</c:v>
                </c:pt>
                <c:pt idx="4870">
                  <c:v>55301</c:v>
                </c:pt>
                <c:pt idx="4871">
                  <c:v>55294</c:v>
                </c:pt>
                <c:pt idx="4872">
                  <c:v>55292</c:v>
                </c:pt>
                <c:pt idx="4873">
                  <c:v>55289</c:v>
                </c:pt>
                <c:pt idx="4874">
                  <c:v>55284</c:v>
                </c:pt>
                <c:pt idx="4875">
                  <c:v>55284</c:v>
                </c:pt>
                <c:pt idx="4876">
                  <c:v>55280</c:v>
                </c:pt>
                <c:pt idx="4877">
                  <c:v>55279</c:v>
                </c:pt>
                <c:pt idx="4878">
                  <c:v>55278</c:v>
                </c:pt>
                <c:pt idx="4879">
                  <c:v>55277</c:v>
                </c:pt>
                <c:pt idx="4880">
                  <c:v>55274</c:v>
                </c:pt>
                <c:pt idx="4881">
                  <c:v>55270</c:v>
                </c:pt>
                <c:pt idx="4882">
                  <c:v>55270</c:v>
                </c:pt>
                <c:pt idx="4883">
                  <c:v>55267</c:v>
                </c:pt>
                <c:pt idx="4884">
                  <c:v>55267</c:v>
                </c:pt>
                <c:pt idx="4885">
                  <c:v>55266</c:v>
                </c:pt>
                <c:pt idx="4886">
                  <c:v>55265</c:v>
                </c:pt>
                <c:pt idx="4887">
                  <c:v>55265</c:v>
                </c:pt>
                <c:pt idx="4888">
                  <c:v>55262</c:v>
                </c:pt>
                <c:pt idx="4889">
                  <c:v>55261</c:v>
                </c:pt>
                <c:pt idx="4890">
                  <c:v>55260</c:v>
                </c:pt>
                <c:pt idx="4891">
                  <c:v>55258</c:v>
                </c:pt>
                <c:pt idx="4892">
                  <c:v>55258</c:v>
                </c:pt>
                <c:pt idx="4893">
                  <c:v>55257</c:v>
                </c:pt>
                <c:pt idx="4894">
                  <c:v>55255</c:v>
                </c:pt>
                <c:pt idx="4895">
                  <c:v>55253</c:v>
                </c:pt>
                <c:pt idx="4896">
                  <c:v>55251</c:v>
                </c:pt>
                <c:pt idx="4897">
                  <c:v>55247</c:v>
                </c:pt>
                <c:pt idx="4898">
                  <c:v>55244</c:v>
                </c:pt>
                <c:pt idx="4899">
                  <c:v>55244</c:v>
                </c:pt>
                <c:pt idx="4900">
                  <c:v>55241</c:v>
                </c:pt>
                <c:pt idx="4901">
                  <c:v>55238</c:v>
                </c:pt>
                <c:pt idx="4902">
                  <c:v>55237</c:v>
                </c:pt>
                <c:pt idx="4903">
                  <c:v>55228</c:v>
                </c:pt>
                <c:pt idx="4904">
                  <c:v>55227</c:v>
                </c:pt>
                <c:pt idx="4905">
                  <c:v>55225</c:v>
                </c:pt>
                <c:pt idx="4906">
                  <c:v>55221</c:v>
                </c:pt>
                <c:pt idx="4907">
                  <c:v>55220</c:v>
                </c:pt>
                <c:pt idx="4908">
                  <c:v>55219</c:v>
                </c:pt>
                <c:pt idx="4909">
                  <c:v>55218</c:v>
                </c:pt>
                <c:pt idx="4910">
                  <c:v>55217</c:v>
                </c:pt>
                <c:pt idx="4911">
                  <c:v>55216</c:v>
                </c:pt>
                <c:pt idx="4912">
                  <c:v>55214</c:v>
                </c:pt>
                <c:pt idx="4913">
                  <c:v>55213</c:v>
                </c:pt>
                <c:pt idx="4914">
                  <c:v>55209</c:v>
                </c:pt>
                <c:pt idx="4915">
                  <c:v>55207</c:v>
                </c:pt>
                <c:pt idx="4916">
                  <c:v>55207</c:v>
                </c:pt>
                <c:pt idx="4917">
                  <c:v>55206</c:v>
                </c:pt>
                <c:pt idx="4918">
                  <c:v>55200</c:v>
                </c:pt>
                <c:pt idx="4919">
                  <c:v>55196</c:v>
                </c:pt>
                <c:pt idx="4920">
                  <c:v>55196</c:v>
                </c:pt>
                <c:pt idx="4921">
                  <c:v>55196</c:v>
                </c:pt>
                <c:pt idx="4922">
                  <c:v>55192</c:v>
                </c:pt>
                <c:pt idx="4923">
                  <c:v>55189</c:v>
                </c:pt>
                <c:pt idx="4924">
                  <c:v>55184</c:v>
                </c:pt>
                <c:pt idx="4925">
                  <c:v>55182</c:v>
                </c:pt>
                <c:pt idx="4926">
                  <c:v>55182</c:v>
                </c:pt>
                <c:pt idx="4927">
                  <c:v>55181</c:v>
                </c:pt>
                <c:pt idx="4928">
                  <c:v>55180</c:v>
                </c:pt>
                <c:pt idx="4929">
                  <c:v>55180</c:v>
                </c:pt>
                <c:pt idx="4930">
                  <c:v>55170</c:v>
                </c:pt>
                <c:pt idx="4931">
                  <c:v>55170</c:v>
                </c:pt>
                <c:pt idx="4932">
                  <c:v>55169</c:v>
                </c:pt>
                <c:pt idx="4933">
                  <c:v>55168</c:v>
                </c:pt>
                <c:pt idx="4934">
                  <c:v>55164</c:v>
                </c:pt>
                <c:pt idx="4935">
                  <c:v>55164</c:v>
                </c:pt>
                <c:pt idx="4936">
                  <c:v>55164</c:v>
                </c:pt>
                <c:pt idx="4937">
                  <c:v>55163</c:v>
                </c:pt>
                <c:pt idx="4938">
                  <c:v>55162</c:v>
                </c:pt>
                <c:pt idx="4939">
                  <c:v>55162</c:v>
                </c:pt>
                <c:pt idx="4940">
                  <c:v>55156</c:v>
                </c:pt>
                <c:pt idx="4941">
                  <c:v>55148</c:v>
                </c:pt>
                <c:pt idx="4942">
                  <c:v>55148</c:v>
                </c:pt>
                <c:pt idx="4943">
                  <c:v>55143</c:v>
                </c:pt>
                <c:pt idx="4944">
                  <c:v>55135</c:v>
                </c:pt>
                <c:pt idx="4945">
                  <c:v>55126</c:v>
                </c:pt>
                <c:pt idx="4946">
                  <c:v>55126</c:v>
                </c:pt>
                <c:pt idx="4947">
                  <c:v>55124</c:v>
                </c:pt>
                <c:pt idx="4948">
                  <c:v>55124</c:v>
                </c:pt>
                <c:pt idx="4949">
                  <c:v>55121</c:v>
                </c:pt>
                <c:pt idx="4950">
                  <c:v>55115</c:v>
                </c:pt>
                <c:pt idx="4951">
                  <c:v>55114</c:v>
                </c:pt>
                <c:pt idx="4952">
                  <c:v>55107</c:v>
                </c:pt>
                <c:pt idx="4953">
                  <c:v>55095</c:v>
                </c:pt>
                <c:pt idx="4954">
                  <c:v>55093</c:v>
                </c:pt>
                <c:pt idx="4955">
                  <c:v>55092</c:v>
                </c:pt>
                <c:pt idx="4956">
                  <c:v>55090</c:v>
                </c:pt>
                <c:pt idx="4957">
                  <c:v>55088</c:v>
                </c:pt>
                <c:pt idx="4958">
                  <c:v>55088</c:v>
                </c:pt>
                <c:pt idx="4959">
                  <c:v>55087</c:v>
                </c:pt>
                <c:pt idx="4960">
                  <c:v>55085</c:v>
                </c:pt>
                <c:pt idx="4961">
                  <c:v>55084</c:v>
                </c:pt>
                <c:pt idx="4962">
                  <c:v>55084</c:v>
                </c:pt>
                <c:pt idx="4963">
                  <c:v>55083</c:v>
                </c:pt>
                <c:pt idx="4964">
                  <c:v>55082</c:v>
                </c:pt>
                <c:pt idx="4965">
                  <c:v>55078</c:v>
                </c:pt>
                <c:pt idx="4966">
                  <c:v>55073</c:v>
                </c:pt>
                <c:pt idx="4967">
                  <c:v>55068</c:v>
                </c:pt>
                <c:pt idx="4968">
                  <c:v>55067</c:v>
                </c:pt>
                <c:pt idx="4969">
                  <c:v>55062</c:v>
                </c:pt>
                <c:pt idx="4970">
                  <c:v>55058</c:v>
                </c:pt>
                <c:pt idx="4971">
                  <c:v>55056</c:v>
                </c:pt>
                <c:pt idx="4972">
                  <c:v>55055</c:v>
                </c:pt>
                <c:pt idx="4973">
                  <c:v>55050</c:v>
                </c:pt>
                <c:pt idx="4974">
                  <c:v>55050</c:v>
                </c:pt>
                <c:pt idx="4975">
                  <c:v>55047</c:v>
                </c:pt>
                <c:pt idx="4976">
                  <c:v>55045</c:v>
                </c:pt>
                <c:pt idx="4977">
                  <c:v>55044</c:v>
                </c:pt>
                <c:pt idx="4978">
                  <c:v>55043</c:v>
                </c:pt>
                <c:pt idx="4979">
                  <c:v>55040</c:v>
                </c:pt>
                <c:pt idx="4980">
                  <c:v>55039</c:v>
                </c:pt>
                <c:pt idx="4981">
                  <c:v>55037</c:v>
                </c:pt>
                <c:pt idx="4982">
                  <c:v>55033</c:v>
                </c:pt>
                <c:pt idx="4983">
                  <c:v>55032</c:v>
                </c:pt>
                <c:pt idx="4984">
                  <c:v>55031</c:v>
                </c:pt>
                <c:pt idx="4985">
                  <c:v>55029</c:v>
                </c:pt>
                <c:pt idx="4986">
                  <c:v>55029</c:v>
                </c:pt>
                <c:pt idx="4987">
                  <c:v>55028</c:v>
                </c:pt>
                <c:pt idx="4988">
                  <c:v>55026</c:v>
                </c:pt>
                <c:pt idx="4989">
                  <c:v>55024</c:v>
                </c:pt>
                <c:pt idx="4990">
                  <c:v>55019</c:v>
                </c:pt>
                <c:pt idx="4991">
                  <c:v>55016</c:v>
                </c:pt>
                <c:pt idx="4992">
                  <c:v>55014</c:v>
                </c:pt>
                <c:pt idx="4993">
                  <c:v>55012</c:v>
                </c:pt>
                <c:pt idx="4994">
                  <c:v>55011</c:v>
                </c:pt>
                <c:pt idx="4995">
                  <c:v>55009</c:v>
                </c:pt>
                <c:pt idx="4996">
                  <c:v>55008</c:v>
                </c:pt>
                <c:pt idx="4997">
                  <c:v>55008</c:v>
                </c:pt>
                <c:pt idx="4998">
                  <c:v>55007</c:v>
                </c:pt>
                <c:pt idx="4999">
                  <c:v>55006</c:v>
                </c:pt>
                <c:pt idx="5000">
                  <c:v>55006</c:v>
                </c:pt>
                <c:pt idx="5001">
                  <c:v>54991</c:v>
                </c:pt>
                <c:pt idx="5002">
                  <c:v>54990</c:v>
                </c:pt>
                <c:pt idx="5003">
                  <c:v>54986</c:v>
                </c:pt>
                <c:pt idx="5004">
                  <c:v>54986</c:v>
                </c:pt>
                <c:pt idx="5005">
                  <c:v>54985</c:v>
                </c:pt>
                <c:pt idx="5006">
                  <c:v>54985</c:v>
                </c:pt>
                <c:pt idx="5007">
                  <c:v>54979</c:v>
                </c:pt>
                <c:pt idx="5008">
                  <c:v>54974</c:v>
                </c:pt>
                <c:pt idx="5009">
                  <c:v>54974</c:v>
                </c:pt>
                <c:pt idx="5010">
                  <c:v>54972</c:v>
                </c:pt>
                <c:pt idx="5011">
                  <c:v>54969</c:v>
                </c:pt>
                <c:pt idx="5012">
                  <c:v>54968</c:v>
                </c:pt>
                <c:pt idx="5013">
                  <c:v>54968</c:v>
                </c:pt>
                <c:pt idx="5014">
                  <c:v>54965</c:v>
                </c:pt>
                <c:pt idx="5015">
                  <c:v>54959</c:v>
                </c:pt>
                <c:pt idx="5016">
                  <c:v>54958</c:v>
                </c:pt>
                <c:pt idx="5017">
                  <c:v>54957</c:v>
                </c:pt>
                <c:pt idx="5018">
                  <c:v>54954</c:v>
                </c:pt>
                <c:pt idx="5019">
                  <c:v>54947</c:v>
                </c:pt>
                <c:pt idx="5020">
                  <c:v>54943</c:v>
                </c:pt>
                <c:pt idx="5021">
                  <c:v>54939</c:v>
                </c:pt>
                <c:pt idx="5022">
                  <c:v>54939</c:v>
                </c:pt>
                <c:pt idx="5023">
                  <c:v>54934</c:v>
                </c:pt>
                <c:pt idx="5024">
                  <c:v>54933</c:v>
                </c:pt>
                <c:pt idx="5025">
                  <c:v>54926</c:v>
                </c:pt>
                <c:pt idx="5026">
                  <c:v>54926</c:v>
                </c:pt>
                <c:pt idx="5027">
                  <c:v>54925</c:v>
                </c:pt>
                <c:pt idx="5028">
                  <c:v>54922</c:v>
                </c:pt>
                <c:pt idx="5029">
                  <c:v>54920</c:v>
                </c:pt>
                <c:pt idx="5030">
                  <c:v>54916</c:v>
                </c:pt>
                <c:pt idx="5031">
                  <c:v>54914</c:v>
                </c:pt>
                <c:pt idx="5032">
                  <c:v>54914</c:v>
                </c:pt>
                <c:pt idx="5033">
                  <c:v>54913</c:v>
                </c:pt>
                <c:pt idx="5034">
                  <c:v>54912</c:v>
                </c:pt>
                <c:pt idx="5035">
                  <c:v>54910</c:v>
                </c:pt>
                <c:pt idx="5036">
                  <c:v>54908</c:v>
                </c:pt>
                <c:pt idx="5037">
                  <c:v>54906</c:v>
                </c:pt>
                <c:pt idx="5038">
                  <c:v>54905</c:v>
                </c:pt>
                <c:pt idx="5039">
                  <c:v>54903</c:v>
                </c:pt>
                <c:pt idx="5040">
                  <c:v>54900</c:v>
                </c:pt>
                <c:pt idx="5041">
                  <c:v>54892</c:v>
                </c:pt>
                <c:pt idx="5042">
                  <c:v>54892</c:v>
                </c:pt>
                <c:pt idx="5043">
                  <c:v>54890</c:v>
                </c:pt>
                <c:pt idx="5044">
                  <c:v>54889</c:v>
                </c:pt>
                <c:pt idx="5045">
                  <c:v>54884</c:v>
                </c:pt>
                <c:pt idx="5046">
                  <c:v>54876</c:v>
                </c:pt>
                <c:pt idx="5047">
                  <c:v>54873</c:v>
                </c:pt>
                <c:pt idx="5048">
                  <c:v>54864</c:v>
                </c:pt>
                <c:pt idx="5049">
                  <c:v>54863</c:v>
                </c:pt>
                <c:pt idx="5050">
                  <c:v>54863</c:v>
                </c:pt>
                <c:pt idx="5051">
                  <c:v>54862</c:v>
                </c:pt>
                <c:pt idx="5052">
                  <c:v>54860</c:v>
                </c:pt>
                <c:pt idx="5053">
                  <c:v>54854</c:v>
                </c:pt>
                <c:pt idx="5054">
                  <c:v>54849</c:v>
                </c:pt>
                <c:pt idx="5055">
                  <c:v>54847</c:v>
                </c:pt>
                <c:pt idx="5056">
                  <c:v>54845</c:v>
                </c:pt>
                <c:pt idx="5057">
                  <c:v>54844</c:v>
                </c:pt>
                <c:pt idx="5058">
                  <c:v>54844</c:v>
                </c:pt>
                <c:pt idx="5059">
                  <c:v>54843</c:v>
                </c:pt>
                <c:pt idx="5060">
                  <c:v>54839</c:v>
                </c:pt>
                <c:pt idx="5061">
                  <c:v>54836</c:v>
                </c:pt>
                <c:pt idx="5062">
                  <c:v>54831</c:v>
                </c:pt>
                <c:pt idx="5063">
                  <c:v>54831</c:v>
                </c:pt>
                <c:pt idx="5064">
                  <c:v>54828</c:v>
                </c:pt>
                <c:pt idx="5065">
                  <c:v>54828</c:v>
                </c:pt>
                <c:pt idx="5066">
                  <c:v>54827</c:v>
                </c:pt>
                <c:pt idx="5067">
                  <c:v>54827</c:v>
                </c:pt>
                <c:pt idx="5068">
                  <c:v>54824</c:v>
                </c:pt>
                <c:pt idx="5069">
                  <c:v>54817</c:v>
                </c:pt>
                <c:pt idx="5070">
                  <c:v>54815</c:v>
                </c:pt>
                <c:pt idx="5071">
                  <c:v>54813</c:v>
                </c:pt>
                <c:pt idx="5072">
                  <c:v>54812</c:v>
                </c:pt>
                <c:pt idx="5073">
                  <c:v>54805</c:v>
                </c:pt>
                <c:pt idx="5074">
                  <c:v>54803</c:v>
                </c:pt>
                <c:pt idx="5075">
                  <c:v>54797</c:v>
                </c:pt>
                <c:pt idx="5076">
                  <c:v>54792</c:v>
                </c:pt>
                <c:pt idx="5077">
                  <c:v>54788</c:v>
                </c:pt>
                <c:pt idx="5078">
                  <c:v>54771</c:v>
                </c:pt>
                <c:pt idx="5079">
                  <c:v>54771</c:v>
                </c:pt>
                <c:pt idx="5080">
                  <c:v>54769</c:v>
                </c:pt>
                <c:pt idx="5081">
                  <c:v>54762</c:v>
                </c:pt>
                <c:pt idx="5082">
                  <c:v>54759</c:v>
                </c:pt>
                <c:pt idx="5083">
                  <c:v>54752</c:v>
                </c:pt>
                <c:pt idx="5084">
                  <c:v>54752</c:v>
                </c:pt>
                <c:pt idx="5085">
                  <c:v>54748</c:v>
                </c:pt>
                <c:pt idx="5086">
                  <c:v>54746</c:v>
                </c:pt>
                <c:pt idx="5087">
                  <c:v>54740</c:v>
                </c:pt>
                <c:pt idx="5088">
                  <c:v>54737</c:v>
                </c:pt>
                <c:pt idx="5089">
                  <c:v>54737</c:v>
                </c:pt>
                <c:pt idx="5090">
                  <c:v>54736</c:v>
                </c:pt>
                <c:pt idx="5091">
                  <c:v>54731</c:v>
                </c:pt>
                <c:pt idx="5092">
                  <c:v>54731</c:v>
                </c:pt>
                <c:pt idx="5093">
                  <c:v>54728</c:v>
                </c:pt>
                <c:pt idx="5094">
                  <c:v>54727</c:v>
                </c:pt>
                <c:pt idx="5095">
                  <c:v>54726</c:v>
                </c:pt>
                <c:pt idx="5096">
                  <c:v>54724</c:v>
                </c:pt>
                <c:pt idx="5097">
                  <c:v>54716</c:v>
                </c:pt>
                <c:pt idx="5098">
                  <c:v>54713</c:v>
                </c:pt>
                <c:pt idx="5099">
                  <c:v>54712</c:v>
                </c:pt>
                <c:pt idx="5100">
                  <c:v>54711</c:v>
                </c:pt>
                <c:pt idx="5101">
                  <c:v>54708</c:v>
                </c:pt>
                <c:pt idx="5102">
                  <c:v>54704</c:v>
                </c:pt>
                <c:pt idx="5103">
                  <c:v>54701</c:v>
                </c:pt>
                <c:pt idx="5104">
                  <c:v>54696</c:v>
                </c:pt>
                <c:pt idx="5105">
                  <c:v>54692</c:v>
                </c:pt>
                <c:pt idx="5106">
                  <c:v>54686</c:v>
                </c:pt>
                <c:pt idx="5107">
                  <c:v>54686</c:v>
                </c:pt>
                <c:pt idx="5108">
                  <c:v>54686</c:v>
                </c:pt>
                <c:pt idx="5109">
                  <c:v>54685</c:v>
                </c:pt>
                <c:pt idx="5110">
                  <c:v>54683</c:v>
                </c:pt>
                <c:pt idx="5111">
                  <c:v>54679</c:v>
                </c:pt>
                <c:pt idx="5112">
                  <c:v>54678</c:v>
                </c:pt>
                <c:pt idx="5113">
                  <c:v>54677</c:v>
                </c:pt>
                <c:pt idx="5114">
                  <c:v>54676</c:v>
                </c:pt>
                <c:pt idx="5115">
                  <c:v>54675</c:v>
                </c:pt>
                <c:pt idx="5116">
                  <c:v>54669</c:v>
                </c:pt>
                <c:pt idx="5117">
                  <c:v>54667</c:v>
                </c:pt>
                <c:pt idx="5118">
                  <c:v>54664</c:v>
                </c:pt>
                <c:pt idx="5119">
                  <c:v>54663</c:v>
                </c:pt>
                <c:pt idx="5120">
                  <c:v>54661</c:v>
                </c:pt>
                <c:pt idx="5121">
                  <c:v>54661</c:v>
                </c:pt>
                <c:pt idx="5122">
                  <c:v>54661</c:v>
                </c:pt>
                <c:pt idx="5123">
                  <c:v>54653</c:v>
                </c:pt>
                <c:pt idx="5124">
                  <c:v>54652</c:v>
                </c:pt>
                <c:pt idx="5125">
                  <c:v>54650</c:v>
                </c:pt>
                <c:pt idx="5126">
                  <c:v>54649</c:v>
                </c:pt>
                <c:pt idx="5127">
                  <c:v>54644</c:v>
                </c:pt>
                <c:pt idx="5128">
                  <c:v>54642</c:v>
                </c:pt>
                <c:pt idx="5129">
                  <c:v>54642</c:v>
                </c:pt>
                <c:pt idx="5130">
                  <c:v>54641</c:v>
                </c:pt>
                <c:pt idx="5131">
                  <c:v>54640</c:v>
                </c:pt>
                <c:pt idx="5132">
                  <c:v>54639</c:v>
                </c:pt>
                <c:pt idx="5133">
                  <c:v>54639</c:v>
                </c:pt>
                <c:pt idx="5134">
                  <c:v>54638</c:v>
                </c:pt>
                <c:pt idx="5135">
                  <c:v>54636</c:v>
                </c:pt>
                <c:pt idx="5136">
                  <c:v>54636</c:v>
                </c:pt>
                <c:pt idx="5137">
                  <c:v>54633</c:v>
                </c:pt>
                <c:pt idx="5138">
                  <c:v>54629</c:v>
                </c:pt>
                <c:pt idx="5139">
                  <c:v>54628</c:v>
                </c:pt>
                <c:pt idx="5140">
                  <c:v>54620</c:v>
                </c:pt>
                <c:pt idx="5141">
                  <c:v>54618</c:v>
                </c:pt>
                <c:pt idx="5142">
                  <c:v>54618</c:v>
                </c:pt>
                <c:pt idx="5143">
                  <c:v>54614</c:v>
                </c:pt>
                <c:pt idx="5144">
                  <c:v>54602</c:v>
                </c:pt>
                <c:pt idx="5145">
                  <c:v>54601</c:v>
                </c:pt>
                <c:pt idx="5146">
                  <c:v>54600</c:v>
                </c:pt>
                <c:pt idx="5147">
                  <c:v>54600</c:v>
                </c:pt>
                <c:pt idx="5148">
                  <c:v>54599</c:v>
                </c:pt>
                <c:pt idx="5149">
                  <c:v>54590</c:v>
                </c:pt>
                <c:pt idx="5150">
                  <c:v>54590</c:v>
                </c:pt>
                <c:pt idx="5151">
                  <c:v>54584</c:v>
                </c:pt>
                <c:pt idx="5152">
                  <c:v>54580</c:v>
                </c:pt>
                <c:pt idx="5153">
                  <c:v>54574</c:v>
                </c:pt>
                <c:pt idx="5154">
                  <c:v>54569</c:v>
                </c:pt>
                <c:pt idx="5155">
                  <c:v>54563</c:v>
                </c:pt>
                <c:pt idx="5156">
                  <c:v>54563</c:v>
                </c:pt>
                <c:pt idx="5157">
                  <c:v>54562</c:v>
                </c:pt>
                <c:pt idx="5158">
                  <c:v>54553</c:v>
                </c:pt>
                <c:pt idx="5159">
                  <c:v>54550</c:v>
                </c:pt>
                <c:pt idx="5160">
                  <c:v>54548</c:v>
                </c:pt>
                <c:pt idx="5161">
                  <c:v>54547</c:v>
                </c:pt>
                <c:pt idx="5162">
                  <c:v>54546</c:v>
                </c:pt>
                <c:pt idx="5163">
                  <c:v>54545</c:v>
                </c:pt>
                <c:pt idx="5164">
                  <c:v>54543</c:v>
                </c:pt>
                <c:pt idx="5165">
                  <c:v>54543</c:v>
                </c:pt>
                <c:pt idx="5166">
                  <c:v>54542</c:v>
                </c:pt>
                <c:pt idx="5167">
                  <c:v>54534</c:v>
                </c:pt>
                <c:pt idx="5168">
                  <c:v>54534</c:v>
                </c:pt>
                <c:pt idx="5169">
                  <c:v>54532</c:v>
                </c:pt>
                <c:pt idx="5170">
                  <c:v>54530</c:v>
                </c:pt>
                <c:pt idx="5171">
                  <c:v>54530</c:v>
                </c:pt>
                <c:pt idx="5172">
                  <c:v>54527</c:v>
                </c:pt>
                <c:pt idx="5173">
                  <c:v>54526</c:v>
                </c:pt>
                <c:pt idx="5174">
                  <c:v>54526</c:v>
                </c:pt>
                <c:pt idx="5175">
                  <c:v>54523</c:v>
                </c:pt>
                <c:pt idx="5176">
                  <c:v>54521</c:v>
                </c:pt>
                <c:pt idx="5177">
                  <c:v>54520</c:v>
                </c:pt>
                <c:pt idx="5178">
                  <c:v>54519</c:v>
                </c:pt>
                <c:pt idx="5179">
                  <c:v>54517</c:v>
                </c:pt>
                <c:pt idx="5180">
                  <c:v>54516</c:v>
                </c:pt>
                <c:pt idx="5181">
                  <c:v>54514</c:v>
                </c:pt>
                <c:pt idx="5182">
                  <c:v>54514</c:v>
                </c:pt>
                <c:pt idx="5183">
                  <c:v>54511</c:v>
                </c:pt>
                <c:pt idx="5184">
                  <c:v>54510</c:v>
                </c:pt>
                <c:pt idx="5185">
                  <c:v>54509</c:v>
                </c:pt>
                <c:pt idx="5186">
                  <c:v>54507</c:v>
                </c:pt>
                <c:pt idx="5187">
                  <c:v>54506</c:v>
                </c:pt>
                <c:pt idx="5188">
                  <c:v>54504</c:v>
                </c:pt>
                <c:pt idx="5189">
                  <c:v>54500</c:v>
                </c:pt>
                <c:pt idx="5190">
                  <c:v>54497</c:v>
                </c:pt>
                <c:pt idx="5191">
                  <c:v>54495</c:v>
                </c:pt>
                <c:pt idx="5192">
                  <c:v>54494</c:v>
                </c:pt>
                <c:pt idx="5193">
                  <c:v>54493</c:v>
                </c:pt>
                <c:pt idx="5194">
                  <c:v>54493</c:v>
                </c:pt>
                <c:pt idx="5195">
                  <c:v>54492</c:v>
                </c:pt>
                <c:pt idx="5196">
                  <c:v>54486</c:v>
                </c:pt>
                <c:pt idx="5197">
                  <c:v>54482</c:v>
                </c:pt>
                <c:pt idx="5198">
                  <c:v>54480</c:v>
                </c:pt>
                <c:pt idx="5199">
                  <c:v>54477</c:v>
                </c:pt>
                <c:pt idx="5200">
                  <c:v>54477</c:v>
                </c:pt>
                <c:pt idx="5201">
                  <c:v>54476</c:v>
                </c:pt>
                <c:pt idx="5202">
                  <c:v>54475</c:v>
                </c:pt>
                <c:pt idx="5203">
                  <c:v>54474</c:v>
                </c:pt>
                <c:pt idx="5204">
                  <c:v>54473</c:v>
                </c:pt>
                <c:pt idx="5205">
                  <c:v>54465</c:v>
                </c:pt>
                <c:pt idx="5206">
                  <c:v>54464</c:v>
                </c:pt>
                <c:pt idx="5207">
                  <c:v>54464</c:v>
                </c:pt>
                <c:pt idx="5208">
                  <c:v>54463</c:v>
                </c:pt>
                <c:pt idx="5209">
                  <c:v>54461</c:v>
                </c:pt>
                <c:pt idx="5210">
                  <c:v>54458</c:v>
                </c:pt>
                <c:pt idx="5211">
                  <c:v>54458</c:v>
                </c:pt>
                <c:pt idx="5212">
                  <c:v>54457</c:v>
                </c:pt>
                <c:pt idx="5213">
                  <c:v>54457</c:v>
                </c:pt>
                <c:pt idx="5214">
                  <c:v>54453</c:v>
                </c:pt>
                <c:pt idx="5215">
                  <c:v>54451</c:v>
                </c:pt>
                <c:pt idx="5216">
                  <c:v>54443</c:v>
                </c:pt>
                <c:pt idx="5217">
                  <c:v>54442</c:v>
                </c:pt>
                <c:pt idx="5218">
                  <c:v>54439</c:v>
                </c:pt>
                <c:pt idx="5219">
                  <c:v>54438</c:v>
                </c:pt>
                <c:pt idx="5220">
                  <c:v>54435</c:v>
                </c:pt>
                <c:pt idx="5221">
                  <c:v>54433</c:v>
                </c:pt>
                <c:pt idx="5222">
                  <c:v>54430</c:v>
                </c:pt>
                <c:pt idx="5223">
                  <c:v>54429</c:v>
                </c:pt>
                <c:pt idx="5224">
                  <c:v>54425</c:v>
                </c:pt>
                <c:pt idx="5225">
                  <c:v>54420</c:v>
                </c:pt>
                <c:pt idx="5226">
                  <c:v>54418</c:v>
                </c:pt>
                <c:pt idx="5227">
                  <c:v>54418</c:v>
                </c:pt>
                <c:pt idx="5228">
                  <c:v>54418</c:v>
                </c:pt>
                <c:pt idx="5229">
                  <c:v>54417</c:v>
                </c:pt>
                <c:pt idx="5230">
                  <c:v>54416</c:v>
                </c:pt>
                <c:pt idx="5231">
                  <c:v>54415</c:v>
                </c:pt>
                <c:pt idx="5232">
                  <c:v>54415</c:v>
                </c:pt>
                <c:pt idx="5233">
                  <c:v>54415</c:v>
                </c:pt>
                <c:pt idx="5234">
                  <c:v>54414</c:v>
                </c:pt>
                <c:pt idx="5235">
                  <c:v>54413</c:v>
                </c:pt>
                <c:pt idx="5236">
                  <c:v>54407</c:v>
                </c:pt>
                <c:pt idx="5237">
                  <c:v>54404</c:v>
                </c:pt>
                <c:pt idx="5238">
                  <c:v>54404</c:v>
                </c:pt>
                <c:pt idx="5239">
                  <c:v>54400</c:v>
                </c:pt>
                <c:pt idx="5240">
                  <c:v>54395</c:v>
                </c:pt>
                <c:pt idx="5241">
                  <c:v>54389</c:v>
                </c:pt>
                <c:pt idx="5242">
                  <c:v>54389</c:v>
                </c:pt>
                <c:pt idx="5243">
                  <c:v>54387</c:v>
                </c:pt>
                <c:pt idx="5244">
                  <c:v>54386</c:v>
                </c:pt>
                <c:pt idx="5245">
                  <c:v>54384</c:v>
                </c:pt>
                <c:pt idx="5246">
                  <c:v>54383</c:v>
                </c:pt>
                <c:pt idx="5247">
                  <c:v>54382</c:v>
                </c:pt>
                <c:pt idx="5248">
                  <c:v>54380</c:v>
                </c:pt>
                <c:pt idx="5249">
                  <c:v>54380</c:v>
                </c:pt>
                <c:pt idx="5250">
                  <c:v>54377</c:v>
                </c:pt>
                <c:pt idx="5251">
                  <c:v>54373</c:v>
                </c:pt>
                <c:pt idx="5252">
                  <c:v>54373</c:v>
                </c:pt>
                <c:pt idx="5253">
                  <c:v>54372</c:v>
                </c:pt>
                <c:pt idx="5254">
                  <c:v>54372</c:v>
                </c:pt>
                <c:pt idx="5255">
                  <c:v>54371</c:v>
                </c:pt>
                <c:pt idx="5256">
                  <c:v>54367</c:v>
                </c:pt>
                <c:pt idx="5257">
                  <c:v>54366</c:v>
                </c:pt>
                <c:pt idx="5258">
                  <c:v>54366</c:v>
                </c:pt>
                <c:pt idx="5259">
                  <c:v>54358</c:v>
                </c:pt>
                <c:pt idx="5260">
                  <c:v>54357</c:v>
                </c:pt>
                <c:pt idx="5261">
                  <c:v>54353</c:v>
                </c:pt>
                <c:pt idx="5262">
                  <c:v>54349</c:v>
                </c:pt>
                <c:pt idx="5263">
                  <c:v>54347</c:v>
                </c:pt>
                <c:pt idx="5264">
                  <c:v>54346</c:v>
                </c:pt>
                <c:pt idx="5265">
                  <c:v>54345</c:v>
                </c:pt>
                <c:pt idx="5266">
                  <c:v>54344</c:v>
                </c:pt>
                <c:pt idx="5267">
                  <c:v>54344</c:v>
                </c:pt>
                <c:pt idx="5268">
                  <c:v>54343</c:v>
                </c:pt>
                <c:pt idx="5269">
                  <c:v>54339</c:v>
                </c:pt>
                <c:pt idx="5270">
                  <c:v>54335</c:v>
                </c:pt>
                <c:pt idx="5271">
                  <c:v>54331</c:v>
                </c:pt>
                <c:pt idx="5272">
                  <c:v>54331</c:v>
                </c:pt>
                <c:pt idx="5273">
                  <c:v>54330</c:v>
                </c:pt>
                <c:pt idx="5274">
                  <c:v>54325</c:v>
                </c:pt>
                <c:pt idx="5275">
                  <c:v>54324</c:v>
                </c:pt>
                <c:pt idx="5276">
                  <c:v>54321</c:v>
                </c:pt>
                <c:pt idx="5277">
                  <c:v>54320</c:v>
                </c:pt>
                <c:pt idx="5278">
                  <c:v>54319</c:v>
                </c:pt>
                <c:pt idx="5279">
                  <c:v>54315</c:v>
                </c:pt>
                <c:pt idx="5280">
                  <c:v>54313</c:v>
                </c:pt>
                <c:pt idx="5281">
                  <c:v>54313</c:v>
                </c:pt>
                <c:pt idx="5282">
                  <c:v>54310</c:v>
                </c:pt>
                <c:pt idx="5283">
                  <c:v>54308</c:v>
                </c:pt>
                <c:pt idx="5284">
                  <c:v>54302</c:v>
                </c:pt>
                <c:pt idx="5285">
                  <c:v>54300</c:v>
                </c:pt>
                <c:pt idx="5286">
                  <c:v>54298</c:v>
                </c:pt>
                <c:pt idx="5287">
                  <c:v>54293</c:v>
                </c:pt>
                <c:pt idx="5288">
                  <c:v>54292</c:v>
                </c:pt>
                <c:pt idx="5289">
                  <c:v>54291</c:v>
                </c:pt>
                <c:pt idx="5290">
                  <c:v>54289</c:v>
                </c:pt>
                <c:pt idx="5291">
                  <c:v>54289</c:v>
                </c:pt>
                <c:pt idx="5292">
                  <c:v>54285</c:v>
                </c:pt>
                <c:pt idx="5293">
                  <c:v>54284</c:v>
                </c:pt>
                <c:pt idx="5294">
                  <c:v>54283</c:v>
                </c:pt>
                <c:pt idx="5295">
                  <c:v>54280</c:v>
                </c:pt>
                <c:pt idx="5296">
                  <c:v>54279</c:v>
                </c:pt>
                <c:pt idx="5297">
                  <c:v>54278</c:v>
                </c:pt>
                <c:pt idx="5298">
                  <c:v>54275</c:v>
                </c:pt>
                <c:pt idx="5299">
                  <c:v>54271</c:v>
                </c:pt>
                <c:pt idx="5300">
                  <c:v>54269</c:v>
                </c:pt>
                <c:pt idx="5301">
                  <c:v>54269</c:v>
                </c:pt>
                <c:pt idx="5302">
                  <c:v>54269</c:v>
                </c:pt>
                <c:pt idx="5303">
                  <c:v>54264</c:v>
                </c:pt>
                <c:pt idx="5304">
                  <c:v>54261</c:v>
                </c:pt>
                <c:pt idx="5305">
                  <c:v>54261</c:v>
                </c:pt>
                <c:pt idx="5306">
                  <c:v>54259</c:v>
                </c:pt>
                <c:pt idx="5307">
                  <c:v>54252</c:v>
                </c:pt>
                <c:pt idx="5308">
                  <c:v>54251</c:v>
                </c:pt>
                <c:pt idx="5309">
                  <c:v>54236</c:v>
                </c:pt>
                <c:pt idx="5310">
                  <c:v>54232</c:v>
                </c:pt>
                <c:pt idx="5311">
                  <c:v>54232</c:v>
                </c:pt>
                <c:pt idx="5312">
                  <c:v>54232</c:v>
                </c:pt>
                <c:pt idx="5313">
                  <c:v>54230</c:v>
                </c:pt>
                <c:pt idx="5314">
                  <c:v>54227</c:v>
                </c:pt>
                <c:pt idx="5315">
                  <c:v>54223</c:v>
                </c:pt>
                <c:pt idx="5316">
                  <c:v>54222</c:v>
                </c:pt>
                <c:pt idx="5317">
                  <c:v>54222</c:v>
                </c:pt>
                <c:pt idx="5318">
                  <c:v>54219</c:v>
                </c:pt>
                <c:pt idx="5319">
                  <c:v>54210</c:v>
                </c:pt>
                <c:pt idx="5320">
                  <c:v>54208</c:v>
                </c:pt>
                <c:pt idx="5321">
                  <c:v>54207</c:v>
                </c:pt>
                <c:pt idx="5322">
                  <c:v>54206</c:v>
                </c:pt>
                <c:pt idx="5323">
                  <c:v>54200</c:v>
                </c:pt>
                <c:pt idx="5324">
                  <c:v>54196</c:v>
                </c:pt>
                <c:pt idx="5325">
                  <c:v>54195</c:v>
                </c:pt>
                <c:pt idx="5326">
                  <c:v>54191</c:v>
                </c:pt>
                <c:pt idx="5327">
                  <c:v>54191</c:v>
                </c:pt>
                <c:pt idx="5328">
                  <c:v>54190</c:v>
                </c:pt>
                <c:pt idx="5329">
                  <c:v>54187</c:v>
                </c:pt>
                <c:pt idx="5330">
                  <c:v>54184</c:v>
                </c:pt>
                <c:pt idx="5331">
                  <c:v>54183</c:v>
                </c:pt>
                <c:pt idx="5332">
                  <c:v>54174</c:v>
                </c:pt>
                <c:pt idx="5333">
                  <c:v>54174</c:v>
                </c:pt>
                <c:pt idx="5334">
                  <c:v>54173</c:v>
                </c:pt>
                <c:pt idx="5335">
                  <c:v>54173</c:v>
                </c:pt>
                <c:pt idx="5336">
                  <c:v>54171</c:v>
                </c:pt>
                <c:pt idx="5337">
                  <c:v>54161</c:v>
                </c:pt>
                <c:pt idx="5338">
                  <c:v>54160</c:v>
                </c:pt>
                <c:pt idx="5339">
                  <c:v>54160</c:v>
                </c:pt>
                <c:pt idx="5340">
                  <c:v>54157</c:v>
                </c:pt>
                <c:pt idx="5341">
                  <c:v>54155</c:v>
                </c:pt>
                <c:pt idx="5342">
                  <c:v>54154</c:v>
                </c:pt>
                <c:pt idx="5343">
                  <c:v>54152</c:v>
                </c:pt>
                <c:pt idx="5344">
                  <c:v>54150</c:v>
                </c:pt>
                <c:pt idx="5345">
                  <c:v>54145</c:v>
                </c:pt>
                <c:pt idx="5346">
                  <c:v>54144</c:v>
                </c:pt>
                <c:pt idx="5347">
                  <c:v>54144</c:v>
                </c:pt>
                <c:pt idx="5348">
                  <c:v>54142</c:v>
                </c:pt>
                <c:pt idx="5349">
                  <c:v>54141</c:v>
                </c:pt>
                <c:pt idx="5350">
                  <c:v>54140</c:v>
                </c:pt>
                <c:pt idx="5351">
                  <c:v>54136</c:v>
                </c:pt>
                <c:pt idx="5352">
                  <c:v>54128</c:v>
                </c:pt>
                <c:pt idx="5353">
                  <c:v>54128</c:v>
                </c:pt>
                <c:pt idx="5354">
                  <c:v>54127</c:v>
                </c:pt>
                <c:pt idx="5355">
                  <c:v>54124</c:v>
                </c:pt>
                <c:pt idx="5356">
                  <c:v>54120</c:v>
                </c:pt>
                <c:pt idx="5357">
                  <c:v>54119</c:v>
                </c:pt>
                <c:pt idx="5358">
                  <c:v>54117</c:v>
                </c:pt>
                <c:pt idx="5359">
                  <c:v>54116</c:v>
                </c:pt>
                <c:pt idx="5360">
                  <c:v>54112</c:v>
                </c:pt>
                <c:pt idx="5361">
                  <c:v>54112</c:v>
                </c:pt>
                <c:pt idx="5362">
                  <c:v>54106</c:v>
                </c:pt>
                <c:pt idx="5363">
                  <c:v>54106</c:v>
                </c:pt>
                <c:pt idx="5364">
                  <c:v>54105</c:v>
                </c:pt>
                <c:pt idx="5365">
                  <c:v>54102</c:v>
                </c:pt>
                <c:pt idx="5366">
                  <c:v>54098</c:v>
                </c:pt>
                <c:pt idx="5367">
                  <c:v>54096</c:v>
                </c:pt>
                <c:pt idx="5368">
                  <c:v>54095</c:v>
                </c:pt>
                <c:pt idx="5369">
                  <c:v>54094</c:v>
                </c:pt>
                <c:pt idx="5370">
                  <c:v>54092</c:v>
                </c:pt>
                <c:pt idx="5371">
                  <c:v>54089</c:v>
                </c:pt>
                <c:pt idx="5372">
                  <c:v>54089</c:v>
                </c:pt>
                <c:pt idx="5373">
                  <c:v>54085</c:v>
                </c:pt>
                <c:pt idx="5374">
                  <c:v>54083</c:v>
                </c:pt>
                <c:pt idx="5375">
                  <c:v>54079</c:v>
                </c:pt>
                <c:pt idx="5376">
                  <c:v>54079</c:v>
                </c:pt>
                <c:pt idx="5377">
                  <c:v>54076</c:v>
                </c:pt>
                <c:pt idx="5378">
                  <c:v>54075</c:v>
                </c:pt>
                <c:pt idx="5379">
                  <c:v>54074</c:v>
                </c:pt>
                <c:pt idx="5380">
                  <c:v>54071</c:v>
                </c:pt>
                <c:pt idx="5381">
                  <c:v>54070</c:v>
                </c:pt>
                <c:pt idx="5382">
                  <c:v>54067</c:v>
                </c:pt>
                <c:pt idx="5383">
                  <c:v>54067</c:v>
                </c:pt>
                <c:pt idx="5384">
                  <c:v>54064</c:v>
                </c:pt>
                <c:pt idx="5385">
                  <c:v>54061</c:v>
                </c:pt>
                <c:pt idx="5386">
                  <c:v>54061</c:v>
                </c:pt>
                <c:pt idx="5387">
                  <c:v>54060</c:v>
                </c:pt>
                <c:pt idx="5388">
                  <c:v>54055</c:v>
                </c:pt>
                <c:pt idx="5389">
                  <c:v>54054</c:v>
                </c:pt>
                <c:pt idx="5390">
                  <c:v>54049</c:v>
                </c:pt>
                <c:pt idx="5391">
                  <c:v>54049</c:v>
                </c:pt>
                <c:pt idx="5392">
                  <c:v>54045</c:v>
                </c:pt>
                <c:pt idx="5393">
                  <c:v>54045</c:v>
                </c:pt>
                <c:pt idx="5394">
                  <c:v>54040</c:v>
                </c:pt>
                <c:pt idx="5395">
                  <c:v>54039</c:v>
                </c:pt>
                <c:pt idx="5396">
                  <c:v>54036</c:v>
                </c:pt>
                <c:pt idx="5397">
                  <c:v>54035</c:v>
                </c:pt>
                <c:pt idx="5398">
                  <c:v>54035</c:v>
                </c:pt>
                <c:pt idx="5399">
                  <c:v>54033</c:v>
                </c:pt>
                <c:pt idx="5400">
                  <c:v>54033</c:v>
                </c:pt>
                <c:pt idx="5401">
                  <c:v>54031</c:v>
                </c:pt>
                <c:pt idx="5402">
                  <c:v>54031</c:v>
                </c:pt>
                <c:pt idx="5403">
                  <c:v>54031</c:v>
                </c:pt>
                <c:pt idx="5404">
                  <c:v>54027</c:v>
                </c:pt>
                <c:pt idx="5405">
                  <c:v>54022</c:v>
                </c:pt>
                <c:pt idx="5406">
                  <c:v>54021</c:v>
                </c:pt>
                <c:pt idx="5407">
                  <c:v>54020</c:v>
                </c:pt>
                <c:pt idx="5408">
                  <c:v>54018</c:v>
                </c:pt>
                <c:pt idx="5409">
                  <c:v>54016</c:v>
                </c:pt>
                <c:pt idx="5410">
                  <c:v>54016</c:v>
                </c:pt>
                <c:pt idx="5411">
                  <c:v>54006</c:v>
                </c:pt>
                <c:pt idx="5412">
                  <c:v>54005</c:v>
                </c:pt>
                <c:pt idx="5413">
                  <c:v>54004</c:v>
                </c:pt>
                <c:pt idx="5414">
                  <c:v>53998</c:v>
                </c:pt>
                <c:pt idx="5415">
                  <c:v>53996</c:v>
                </c:pt>
                <c:pt idx="5416">
                  <c:v>53994</c:v>
                </c:pt>
                <c:pt idx="5417">
                  <c:v>53994</c:v>
                </c:pt>
                <c:pt idx="5418">
                  <c:v>53991</c:v>
                </c:pt>
                <c:pt idx="5419">
                  <c:v>53988</c:v>
                </c:pt>
                <c:pt idx="5420">
                  <c:v>53988</c:v>
                </c:pt>
                <c:pt idx="5421">
                  <c:v>53988</c:v>
                </c:pt>
                <c:pt idx="5422">
                  <c:v>53987</c:v>
                </c:pt>
                <c:pt idx="5423">
                  <c:v>53986</c:v>
                </c:pt>
                <c:pt idx="5424">
                  <c:v>53985</c:v>
                </c:pt>
                <c:pt idx="5425">
                  <c:v>53984</c:v>
                </c:pt>
                <c:pt idx="5426">
                  <c:v>53980</c:v>
                </c:pt>
                <c:pt idx="5427">
                  <c:v>53979</c:v>
                </c:pt>
                <c:pt idx="5428">
                  <c:v>53976</c:v>
                </c:pt>
                <c:pt idx="5429">
                  <c:v>53975</c:v>
                </c:pt>
                <c:pt idx="5430">
                  <c:v>53974</c:v>
                </c:pt>
                <c:pt idx="5431">
                  <c:v>53974</c:v>
                </c:pt>
                <c:pt idx="5432">
                  <c:v>53973</c:v>
                </c:pt>
                <c:pt idx="5433">
                  <c:v>53972</c:v>
                </c:pt>
                <c:pt idx="5434">
                  <c:v>53972</c:v>
                </c:pt>
                <c:pt idx="5435">
                  <c:v>53967</c:v>
                </c:pt>
                <c:pt idx="5436">
                  <c:v>53967</c:v>
                </c:pt>
                <c:pt idx="5437">
                  <c:v>53963</c:v>
                </c:pt>
                <c:pt idx="5438">
                  <c:v>53961</c:v>
                </c:pt>
                <c:pt idx="5439">
                  <c:v>53957</c:v>
                </c:pt>
                <c:pt idx="5440">
                  <c:v>53953</c:v>
                </c:pt>
                <c:pt idx="5441">
                  <c:v>53953</c:v>
                </c:pt>
                <c:pt idx="5442">
                  <c:v>53952</c:v>
                </c:pt>
                <c:pt idx="5443">
                  <c:v>53952</c:v>
                </c:pt>
                <c:pt idx="5444">
                  <c:v>53951</c:v>
                </c:pt>
                <c:pt idx="5445">
                  <c:v>53950</c:v>
                </c:pt>
                <c:pt idx="5446">
                  <c:v>53950</c:v>
                </c:pt>
                <c:pt idx="5447">
                  <c:v>53949</c:v>
                </c:pt>
                <c:pt idx="5448">
                  <c:v>53948</c:v>
                </c:pt>
                <c:pt idx="5449">
                  <c:v>53947</c:v>
                </c:pt>
                <c:pt idx="5450">
                  <c:v>53944</c:v>
                </c:pt>
                <c:pt idx="5451">
                  <c:v>53941</c:v>
                </c:pt>
                <c:pt idx="5452">
                  <c:v>53940</c:v>
                </c:pt>
                <c:pt idx="5453">
                  <c:v>53940</c:v>
                </c:pt>
                <c:pt idx="5454">
                  <c:v>53939</c:v>
                </c:pt>
                <c:pt idx="5455">
                  <c:v>53938</c:v>
                </c:pt>
                <c:pt idx="5456">
                  <c:v>53936</c:v>
                </c:pt>
                <c:pt idx="5457">
                  <c:v>53933</c:v>
                </c:pt>
                <c:pt idx="5458">
                  <c:v>53931</c:v>
                </c:pt>
                <c:pt idx="5459">
                  <c:v>53928</c:v>
                </c:pt>
                <c:pt idx="5460">
                  <c:v>53926</c:v>
                </c:pt>
                <c:pt idx="5461">
                  <c:v>53925</c:v>
                </c:pt>
                <c:pt idx="5462">
                  <c:v>53923</c:v>
                </c:pt>
                <c:pt idx="5463">
                  <c:v>53923</c:v>
                </c:pt>
                <c:pt idx="5464">
                  <c:v>53917</c:v>
                </c:pt>
                <c:pt idx="5465">
                  <c:v>53915</c:v>
                </c:pt>
                <c:pt idx="5466">
                  <c:v>53915</c:v>
                </c:pt>
                <c:pt idx="5467">
                  <c:v>53914</c:v>
                </c:pt>
                <c:pt idx="5468">
                  <c:v>53914</c:v>
                </c:pt>
                <c:pt idx="5469">
                  <c:v>53910</c:v>
                </c:pt>
                <c:pt idx="5470">
                  <c:v>53909</c:v>
                </c:pt>
                <c:pt idx="5471">
                  <c:v>53909</c:v>
                </c:pt>
                <c:pt idx="5472">
                  <c:v>53907</c:v>
                </c:pt>
                <c:pt idx="5473">
                  <c:v>53907</c:v>
                </c:pt>
                <c:pt idx="5474">
                  <c:v>53905</c:v>
                </c:pt>
                <c:pt idx="5475">
                  <c:v>53905</c:v>
                </c:pt>
                <c:pt idx="5476">
                  <c:v>53902</c:v>
                </c:pt>
                <c:pt idx="5477">
                  <c:v>53899</c:v>
                </c:pt>
                <c:pt idx="5478">
                  <c:v>53898</c:v>
                </c:pt>
                <c:pt idx="5479">
                  <c:v>53896</c:v>
                </c:pt>
                <c:pt idx="5480">
                  <c:v>53891</c:v>
                </c:pt>
                <c:pt idx="5481">
                  <c:v>53884</c:v>
                </c:pt>
                <c:pt idx="5482">
                  <c:v>53884</c:v>
                </c:pt>
                <c:pt idx="5483">
                  <c:v>53879</c:v>
                </c:pt>
                <c:pt idx="5484">
                  <c:v>53877</c:v>
                </c:pt>
                <c:pt idx="5485">
                  <c:v>53873</c:v>
                </c:pt>
                <c:pt idx="5486">
                  <c:v>53873</c:v>
                </c:pt>
                <c:pt idx="5487">
                  <c:v>53869</c:v>
                </c:pt>
                <c:pt idx="5488">
                  <c:v>53867</c:v>
                </c:pt>
                <c:pt idx="5489">
                  <c:v>53867</c:v>
                </c:pt>
                <c:pt idx="5490">
                  <c:v>53866</c:v>
                </c:pt>
                <c:pt idx="5491">
                  <c:v>53863</c:v>
                </c:pt>
                <c:pt idx="5492">
                  <c:v>53862</c:v>
                </c:pt>
                <c:pt idx="5493">
                  <c:v>53858</c:v>
                </c:pt>
                <c:pt idx="5494">
                  <c:v>53857</c:v>
                </c:pt>
                <c:pt idx="5495">
                  <c:v>53857</c:v>
                </c:pt>
                <c:pt idx="5496">
                  <c:v>53854</c:v>
                </c:pt>
                <c:pt idx="5497">
                  <c:v>53853</c:v>
                </c:pt>
                <c:pt idx="5498">
                  <c:v>53850</c:v>
                </c:pt>
                <c:pt idx="5499">
                  <c:v>53845</c:v>
                </c:pt>
                <c:pt idx="5500">
                  <c:v>53843</c:v>
                </c:pt>
                <c:pt idx="5501">
                  <c:v>53843</c:v>
                </c:pt>
                <c:pt idx="5502">
                  <c:v>53842</c:v>
                </c:pt>
                <c:pt idx="5503">
                  <c:v>53841</c:v>
                </c:pt>
                <c:pt idx="5504">
                  <c:v>53833</c:v>
                </c:pt>
                <c:pt idx="5505">
                  <c:v>53832</c:v>
                </c:pt>
                <c:pt idx="5506">
                  <c:v>53829</c:v>
                </c:pt>
                <c:pt idx="5507">
                  <c:v>53829</c:v>
                </c:pt>
                <c:pt idx="5508">
                  <c:v>53824</c:v>
                </c:pt>
                <c:pt idx="5509">
                  <c:v>53821</c:v>
                </c:pt>
                <c:pt idx="5510">
                  <c:v>53815</c:v>
                </c:pt>
                <c:pt idx="5511">
                  <c:v>53809</c:v>
                </c:pt>
                <c:pt idx="5512">
                  <c:v>53804</c:v>
                </c:pt>
                <c:pt idx="5513">
                  <c:v>53799</c:v>
                </c:pt>
                <c:pt idx="5514">
                  <c:v>53791</c:v>
                </c:pt>
                <c:pt idx="5515">
                  <c:v>53790</c:v>
                </c:pt>
                <c:pt idx="5516">
                  <c:v>53789</c:v>
                </c:pt>
                <c:pt idx="5517">
                  <c:v>53789</c:v>
                </c:pt>
                <c:pt idx="5518">
                  <c:v>53788</c:v>
                </c:pt>
                <c:pt idx="5519">
                  <c:v>53783</c:v>
                </c:pt>
                <c:pt idx="5520">
                  <c:v>53781</c:v>
                </c:pt>
                <c:pt idx="5521">
                  <c:v>53781</c:v>
                </c:pt>
                <c:pt idx="5522">
                  <c:v>53779</c:v>
                </c:pt>
                <c:pt idx="5523">
                  <c:v>53779</c:v>
                </c:pt>
                <c:pt idx="5524">
                  <c:v>53779</c:v>
                </c:pt>
                <c:pt idx="5525">
                  <c:v>53778</c:v>
                </c:pt>
                <c:pt idx="5526">
                  <c:v>53777</c:v>
                </c:pt>
                <c:pt idx="5527">
                  <c:v>53776</c:v>
                </c:pt>
                <c:pt idx="5528">
                  <c:v>53776</c:v>
                </c:pt>
                <c:pt idx="5529">
                  <c:v>53776</c:v>
                </c:pt>
                <c:pt idx="5530">
                  <c:v>53775</c:v>
                </c:pt>
                <c:pt idx="5531">
                  <c:v>53769</c:v>
                </c:pt>
                <c:pt idx="5532">
                  <c:v>53768</c:v>
                </c:pt>
                <c:pt idx="5533">
                  <c:v>53767</c:v>
                </c:pt>
                <c:pt idx="5534">
                  <c:v>53765</c:v>
                </c:pt>
                <c:pt idx="5535">
                  <c:v>53763</c:v>
                </c:pt>
                <c:pt idx="5536">
                  <c:v>53759</c:v>
                </c:pt>
                <c:pt idx="5537">
                  <c:v>53757</c:v>
                </c:pt>
                <c:pt idx="5538">
                  <c:v>53757</c:v>
                </c:pt>
                <c:pt idx="5539">
                  <c:v>53757</c:v>
                </c:pt>
                <c:pt idx="5540">
                  <c:v>53756</c:v>
                </c:pt>
                <c:pt idx="5541">
                  <c:v>53753</c:v>
                </c:pt>
                <c:pt idx="5542">
                  <c:v>53752</c:v>
                </c:pt>
                <c:pt idx="5543">
                  <c:v>53751</c:v>
                </c:pt>
                <c:pt idx="5544">
                  <c:v>53748</c:v>
                </c:pt>
                <c:pt idx="5545">
                  <c:v>53740</c:v>
                </c:pt>
                <c:pt idx="5546">
                  <c:v>53737</c:v>
                </c:pt>
                <c:pt idx="5547">
                  <c:v>53735</c:v>
                </c:pt>
                <c:pt idx="5548">
                  <c:v>53732</c:v>
                </c:pt>
                <c:pt idx="5549">
                  <c:v>53729</c:v>
                </c:pt>
                <c:pt idx="5550">
                  <c:v>53725</c:v>
                </c:pt>
                <c:pt idx="5551">
                  <c:v>53720</c:v>
                </c:pt>
                <c:pt idx="5552">
                  <c:v>53720</c:v>
                </c:pt>
                <c:pt idx="5553">
                  <c:v>53717</c:v>
                </c:pt>
                <c:pt idx="5554">
                  <c:v>53716</c:v>
                </c:pt>
                <c:pt idx="5555">
                  <c:v>53715</c:v>
                </c:pt>
                <c:pt idx="5556">
                  <c:v>53714</c:v>
                </c:pt>
                <c:pt idx="5557">
                  <c:v>53712</c:v>
                </c:pt>
                <c:pt idx="5558">
                  <c:v>53711</c:v>
                </c:pt>
                <c:pt idx="5559">
                  <c:v>53710</c:v>
                </c:pt>
                <c:pt idx="5560">
                  <c:v>53710</c:v>
                </c:pt>
                <c:pt idx="5561">
                  <c:v>53707</c:v>
                </c:pt>
                <c:pt idx="5562">
                  <c:v>53705</c:v>
                </c:pt>
                <c:pt idx="5563">
                  <c:v>53705</c:v>
                </c:pt>
                <c:pt idx="5564">
                  <c:v>53703</c:v>
                </c:pt>
                <c:pt idx="5565">
                  <c:v>53703</c:v>
                </c:pt>
                <c:pt idx="5566">
                  <c:v>53700</c:v>
                </c:pt>
                <c:pt idx="5567">
                  <c:v>53696</c:v>
                </c:pt>
                <c:pt idx="5568">
                  <c:v>53694</c:v>
                </c:pt>
                <c:pt idx="5569">
                  <c:v>53692</c:v>
                </c:pt>
                <c:pt idx="5570">
                  <c:v>53692</c:v>
                </c:pt>
                <c:pt idx="5571">
                  <c:v>53690</c:v>
                </c:pt>
                <c:pt idx="5572">
                  <c:v>53687</c:v>
                </c:pt>
                <c:pt idx="5573">
                  <c:v>53683</c:v>
                </c:pt>
                <c:pt idx="5574">
                  <c:v>53681</c:v>
                </c:pt>
                <c:pt idx="5575">
                  <c:v>53681</c:v>
                </c:pt>
                <c:pt idx="5576">
                  <c:v>53681</c:v>
                </c:pt>
                <c:pt idx="5577">
                  <c:v>53680</c:v>
                </c:pt>
                <c:pt idx="5578">
                  <c:v>53676</c:v>
                </c:pt>
                <c:pt idx="5579">
                  <c:v>53675</c:v>
                </c:pt>
                <c:pt idx="5580">
                  <c:v>53674</c:v>
                </c:pt>
                <c:pt idx="5581">
                  <c:v>53670</c:v>
                </c:pt>
                <c:pt idx="5582">
                  <c:v>53667</c:v>
                </c:pt>
                <c:pt idx="5583">
                  <c:v>53664</c:v>
                </c:pt>
                <c:pt idx="5584">
                  <c:v>53662</c:v>
                </c:pt>
                <c:pt idx="5585">
                  <c:v>53662</c:v>
                </c:pt>
                <c:pt idx="5586">
                  <c:v>53660</c:v>
                </c:pt>
                <c:pt idx="5587">
                  <c:v>53659</c:v>
                </c:pt>
                <c:pt idx="5588">
                  <c:v>53657</c:v>
                </c:pt>
                <c:pt idx="5589">
                  <c:v>53654</c:v>
                </c:pt>
                <c:pt idx="5590">
                  <c:v>53649</c:v>
                </c:pt>
                <c:pt idx="5591">
                  <c:v>53649</c:v>
                </c:pt>
                <c:pt idx="5592">
                  <c:v>53648</c:v>
                </c:pt>
                <c:pt idx="5593">
                  <c:v>53645</c:v>
                </c:pt>
                <c:pt idx="5594">
                  <c:v>53644</c:v>
                </c:pt>
                <c:pt idx="5595">
                  <c:v>53644</c:v>
                </c:pt>
                <c:pt idx="5596">
                  <c:v>53644</c:v>
                </c:pt>
                <c:pt idx="5597">
                  <c:v>53644</c:v>
                </c:pt>
                <c:pt idx="5598">
                  <c:v>53641</c:v>
                </c:pt>
                <c:pt idx="5599">
                  <c:v>53641</c:v>
                </c:pt>
                <c:pt idx="5600">
                  <c:v>53638</c:v>
                </c:pt>
                <c:pt idx="5601">
                  <c:v>53636</c:v>
                </c:pt>
                <c:pt idx="5602">
                  <c:v>53634</c:v>
                </c:pt>
                <c:pt idx="5603">
                  <c:v>53633</c:v>
                </c:pt>
                <c:pt idx="5604">
                  <c:v>53630</c:v>
                </c:pt>
                <c:pt idx="5605">
                  <c:v>53630</c:v>
                </c:pt>
                <c:pt idx="5606">
                  <c:v>53624</c:v>
                </c:pt>
                <c:pt idx="5607">
                  <c:v>53624</c:v>
                </c:pt>
                <c:pt idx="5608">
                  <c:v>53623</c:v>
                </c:pt>
                <c:pt idx="5609">
                  <c:v>53617</c:v>
                </c:pt>
                <c:pt idx="5610">
                  <c:v>53611</c:v>
                </c:pt>
                <c:pt idx="5611">
                  <c:v>53610</c:v>
                </c:pt>
                <c:pt idx="5612">
                  <c:v>53600</c:v>
                </c:pt>
                <c:pt idx="5613">
                  <c:v>53593</c:v>
                </c:pt>
                <c:pt idx="5614">
                  <c:v>53592</c:v>
                </c:pt>
                <c:pt idx="5615">
                  <c:v>53588</c:v>
                </c:pt>
                <c:pt idx="5616">
                  <c:v>53584</c:v>
                </c:pt>
                <c:pt idx="5617">
                  <c:v>53583</c:v>
                </c:pt>
                <c:pt idx="5618">
                  <c:v>53582</c:v>
                </c:pt>
                <c:pt idx="5619">
                  <c:v>53581</c:v>
                </c:pt>
                <c:pt idx="5620">
                  <c:v>53574</c:v>
                </c:pt>
                <c:pt idx="5621">
                  <c:v>53572</c:v>
                </c:pt>
                <c:pt idx="5622">
                  <c:v>53570</c:v>
                </c:pt>
                <c:pt idx="5623">
                  <c:v>53570</c:v>
                </c:pt>
                <c:pt idx="5624">
                  <c:v>53570</c:v>
                </c:pt>
                <c:pt idx="5625">
                  <c:v>53565</c:v>
                </c:pt>
                <c:pt idx="5626">
                  <c:v>53564</c:v>
                </c:pt>
                <c:pt idx="5627">
                  <c:v>53562</c:v>
                </c:pt>
                <c:pt idx="5628">
                  <c:v>53560</c:v>
                </c:pt>
                <c:pt idx="5629">
                  <c:v>53559</c:v>
                </c:pt>
                <c:pt idx="5630">
                  <c:v>53553</c:v>
                </c:pt>
                <c:pt idx="5631">
                  <c:v>53552</c:v>
                </c:pt>
                <c:pt idx="5632">
                  <c:v>53550</c:v>
                </c:pt>
                <c:pt idx="5633">
                  <c:v>53548</c:v>
                </c:pt>
                <c:pt idx="5634">
                  <c:v>53547</c:v>
                </c:pt>
                <c:pt idx="5635">
                  <c:v>53547</c:v>
                </c:pt>
                <c:pt idx="5636">
                  <c:v>53543</c:v>
                </c:pt>
                <c:pt idx="5637">
                  <c:v>53541</c:v>
                </c:pt>
                <c:pt idx="5638">
                  <c:v>53541</c:v>
                </c:pt>
                <c:pt idx="5639">
                  <c:v>53541</c:v>
                </c:pt>
                <c:pt idx="5640">
                  <c:v>53540</c:v>
                </c:pt>
                <c:pt idx="5641">
                  <c:v>53536</c:v>
                </c:pt>
                <c:pt idx="5642">
                  <c:v>53535</c:v>
                </c:pt>
                <c:pt idx="5643">
                  <c:v>53531</c:v>
                </c:pt>
                <c:pt idx="5644">
                  <c:v>53527</c:v>
                </c:pt>
                <c:pt idx="5645">
                  <c:v>53526</c:v>
                </c:pt>
                <c:pt idx="5646">
                  <c:v>53524</c:v>
                </c:pt>
                <c:pt idx="5647">
                  <c:v>53523</c:v>
                </c:pt>
                <c:pt idx="5648">
                  <c:v>53522</c:v>
                </c:pt>
                <c:pt idx="5649">
                  <c:v>53519</c:v>
                </c:pt>
                <c:pt idx="5650">
                  <c:v>53519</c:v>
                </c:pt>
                <c:pt idx="5651">
                  <c:v>53518</c:v>
                </c:pt>
                <c:pt idx="5652">
                  <c:v>53514</c:v>
                </c:pt>
                <c:pt idx="5653">
                  <c:v>53513</c:v>
                </c:pt>
                <c:pt idx="5654">
                  <c:v>53513</c:v>
                </c:pt>
                <c:pt idx="5655">
                  <c:v>53510</c:v>
                </c:pt>
                <c:pt idx="5656">
                  <c:v>53510</c:v>
                </c:pt>
                <c:pt idx="5657">
                  <c:v>53509</c:v>
                </c:pt>
                <c:pt idx="5658">
                  <c:v>53508</c:v>
                </c:pt>
                <c:pt idx="5659">
                  <c:v>53508</c:v>
                </c:pt>
                <c:pt idx="5660">
                  <c:v>53506</c:v>
                </c:pt>
                <c:pt idx="5661">
                  <c:v>53506</c:v>
                </c:pt>
                <c:pt idx="5662">
                  <c:v>53505</c:v>
                </c:pt>
                <c:pt idx="5663">
                  <c:v>53505</c:v>
                </c:pt>
                <c:pt idx="5664">
                  <c:v>53504</c:v>
                </c:pt>
                <c:pt idx="5665">
                  <c:v>53497</c:v>
                </c:pt>
                <c:pt idx="5666">
                  <c:v>53495</c:v>
                </c:pt>
                <c:pt idx="5667">
                  <c:v>53495</c:v>
                </c:pt>
                <c:pt idx="5668">
                  <c:v>53493</c:v>
                </c:pt>
                <c:pt idx="5669">
                  <c:v>53491</c:v>
                </c:pt>
                <c:pt idx="5670">
                  <c:v>53490</c:v>
                </c:pt>
                <c:pt idx="5671">
                  <c:v>53489</c:v>
                </c:pt>
                <c:pt idx="5672">
                  <c:v>53488</c:v>
                </c:pt>
                <c:pt idx="5673">
                  <c:v>53486</c:v>
                </c:pt>
                <c:pt idx="5674">
                  <c:v>53486</c:v>
                </c:pt>
                <c:pt idx="5675">
                  <c:v>53486</c:v>
                </c:pt>
                <c:pt idx="5676">
                  <c:v>53484</c:v>
                </c:pt>
                <c:pt idx="5677">
                  <c:v>53481</c:v>
                </c:pt>
                <c:pt idx="5678">
                  <c:v>53481</c:v>
                </c:pt>
                <c:pt idx="5679">
                  <c:v>53480</c:v>
                </c:pt>
                <c:pt idx="5680">
                  <c:v>53474</c:v>
                </c:pt>
                <c:pt idx="5681">
                  <c:v>53472</c:v>
                </c:pt>
                <c:pt idx="5682">
                  <c:v>53466</c:v>
                </c:pt>
                <c:pt idx="5683">
                  <c:v>53465</c:v>
                </c:pt>
                <c:pt idx="5684">
                  <c:v>53462</c:v>
                </c:pt>
                <c:pt idx="5685">
                  <c:v>53460</c:v>
                </c:pt>
                <c:pt idx="5686">
                  <c:v>53459</c:v>
                </c:pt>
                <c:pt idx="5687">
                  <c:v>53459</c:v>
                </c:pt>
                <c:pt idx="5688">
                  <c:v>53456</c:v>
                </c:pt>
                <c:pt idx="5689">
                  <c:v>53456</c:v>
                </c:pt>
                <c:pt idx="5690">
                  <c:v>53455</c:v>
                </c:pt>
                <c:pt idx="5691">
                  <c:v>53453</c:v>
                </c:pt>
                <c:pt idx="5692">
                  <c:v>53452</c:v>
                </c:pt>
                <c:pt idx="5693">
                  <c:v>53450</c:v>
                </c:pt>
                <c:pt idx="5694">
                  <c:v>53448</c:v>
                </c:pt>
                <c:pt idx="5695">
                  <c:v>53446</c:v>
                </c:pt>
                <c:pt idx="5696">
                  <c:v>53446</c:v>
                </c:pt>
                <c:pt idx="5697">
                  <c:v>53446</c:v>
                </c:pt>
                <c:pt idx="5698">
                  <c:v>53432</c:v>
                </c:pt>
                <c:pt idx="5699">
                  <c:v>53431</c:v>
                </c:pt>
                <c:pt idx="5700">
                  <c:v>53431</c:v>
                </c:pt>
                <c:pt idx="5701">
                  <c:v>53428</c:v>
                </c:pt>
                <c:pt idx="5702">
                  <c:v>53425</c:v>
                </c:pt>
                <c:pt idx="5703">
                  <c:v>53425</c:v>
                </c:pt>
                <c:pt idx="5704">
                  <c:v>53421</c:v>
                </c:pt>
                <c:pt idx="5705">
                  <c:v>53421</c:v>
                </c:pt>
                <c:pt idx="5706">
                  <c:v>53420</c:v>
                </c:pt>
                <c:pt idx="5707">
                  <c:v>53419</c:v>
                </c:pt>
                <c:pt idx="5708">
                  <c:v>53418</c:v>
                </c:pt>
                <c:pt idx="5709">
                  <c:v>53416</c:v>
                </c:pt>
                <c:pt idx="5710">
                  <c:v>53415</c:v>
                </c:pt>
                <c:pt idx="5711">
                  <c:v>53414</c:v>
                </c:pt>
                <c:pt idx="5712">
                  <c:v>53408</c:v>
                </c:pt>
                <c:pt idx="5713">
                  <c:v>53408</c:v>
                </c:pt>
                <c:pt idx="5714">
                  <c:v>53406</c:v>
                </c:pt>
                <c:pt idx="5715">
                  <c:v>53403</c:v>
                </c:pt>
                <c:pt idx="5716">
                  <c:v>53402</c:v>
                </c:pt>
                <c:pt idx="5717">
                  <c:v>53399</c:v>
                </c:pt>
                <c:pt idx="5718">
                  <c:v>53396</c:v>
                </c:pt>
                <c:pt idx="5719">
                  <c:v>53396</c:v>
                </c:pt>
                <c:pt idx="5720">
                  <c:v>53391</c:v>
                </c:pt>
                <c:pt idx="5721">
                  <c:v>53390</c:v>
                </c:pt>
                <c:pt idx="5722">
                  <c:v>53390</c:v>
                </c:pt>
                <c:pt idx="5723">
                  <c:v>53390</c:v>
                </c:pt>
                <c:pt idx="5724">
                  <c:v>53388</c:v>
                </c:pt>
                <c:pt idx="5725">
                  <c:v>53386</c:v>
                </c:pt>
                <c:pt idx="5726">
                  <c:v>53384</c:v>
                </c:pt>
                <c:pt idx="5727">
                  <c:v>53383</c:v>
                </c:pt>
                <c:pt idx="5728">
                  <c:v>53380</c:v>
                </c:pt>
                <c:pt idx="5729">
                  <c:v>53378</c:v>
                </c:pt>
                <c:pt idx="5730">
                  <c:v>53376</c:v>
                </c:pt>
                <c:pt idx="5731">
                  <c:v>53374</c:v>
                </c:pt>
                <c:pt idx="5732">
                  <c:v>53373</c:v>
                </c:pt>
                <c:pt idx="5733">
                  <c:v>53370</c:v>
                </c:pt>
                <c:pt idx="5734">
                  <c:v>53370</c:v>
                </c:pt>
                <c:pt idx="5735">
                  <c:v>53364</c:v>
                </c:pt>
                <c:pt idx="5736">
                  <c:v>53364</c:v>
                </c:pt>
                <c:pt idx="5737">
                  <c:v>53356</c:v>
                </c:pt>
                <c:pt idx="5738">
                  <c:v>53356</c:v>
                </c:pt>
                <c:pt idx="5739">
                  <c:v>53355</c:v>
                </c:pt>
                <c:pt idx="5740">
                  <c:v>53353</c:v>
                </c:pt>
                <c:pt idx="5741">
                  <c:v>53352</c:v>
                </c:pt>
                <c:pt idx="5742">
                  <c:v>53349</c:v>
                </c:pt>
                <c:pt idx="5743">
                  <c:v>53349</c:v>
                </c:pt>
                <c:pt idx="5744">
                  <c:v>53348</c:v>
                </c:pt>
                <c:pt idx="5745">
                  <c:v>53346</c:v>
                </c:pt>
                <c:pt idx="5746">
                  <c:v>53342</c:v>
                </c:pt>
                <c:pt idx="5747">
                  <c:v>53341</c:v>
                </c:pt>
                <c:pt idx="5748">
                  <c:v>53341</c:v>
                </c:pt>
                <c:pt idx="5749">
                  <c:v>53338</c:v>
                </c:pt>
                <c:pt idx="5750">
                  <c:v>53338</c:v>
                </c:pt>
                <c:pt idx="5751">
                  <c:v>53337</c:v>
                </c:pt>
                <c:pt idx="5752">
                  <c:v>53335</c:v>
                </c:pt>
                <c:pt idx="5753">
                  <c:v>53333</c:v>
                </c:pt>
                <c:pt idx="5754">
                  <c:v>53329</c:v>
                </c:pt>
                <c:pt idx="5755">
                  <c:v>53328</c:v>
                </c:pt>
                <c:pt idx="5756">
                  <c:v>53326</c:v>
                </c:pt>
                <c:pt idx="5757">
                  <c:v>53324</c:v>
                </c:pt>
                <c:pt idx="5758">
                  <c:v>53319</c:v>
                </c:pt>
                <c:pt idx="5759">
                  <c:v>53318</c:v>
                </c:pt>
                <c:pt idx="5760">
                  <c:v>53315</c:v>
                </c:pt>
                <c:pt idx="5761">
                  <c:v>53314</c:v>
                </c:pt>
                <c:pt idx="5762">
                  <c:v>53312</c:v>
                </c:pt>
                <c:pt idx="5763">
                  <c:v>53303</c:v>
                </c:pt>
                <c:pt idx="5764">
                  <c:v>53302</c:v>
                </c:pt>
                <c:pt idx="5765">
                  <c:v>53300</c:v>
                </c:pt>
                <c:pt idx="5766">
                  <c:v>53297</c:v>
                </c:pt>
                <c:pt idx="5767">
                  <c:v>53297</c:v>
                </c:pt>
                <c:pt idx="5768">
                  <c:v>53294</c:v>
                </c:pt>
                <c:pt idx="5769">
                  <c:v>53291</c:v>
                </c:pt>
                <c:pt idx="5770">
                  <c:v>53291</c:v>
                </c:pt>
                <c:pt idx="5771">
                  <c:v>53282</c:v>
                </c:pt>
                <c:pt idx="5772">
                  <c:v>53280</c:v>
                </c:pt>
                <c:pt idx="5773">
                  <c:v>53278</c:v>
                </c:pt>
                <c:pt idx="5774">
                  <c:v>53274</c:v>
                </c:pt>
                <c:pt idx="5775">
                  <c:v>53270</c:v>
                </c:pt>
                <c:pt idx="5776">
                  <c:v>53265</c:v>
                </c:pt>
                <c:pt idx="5777">
                  <c:v>53257</c:v>
                </c:pt>
                <c:pt idx="5778">
                  <c:v>53256</c:v>
                </c:pt>
                <c:pt idx="5779">
                  <c:v>53253</c:v>
                </c:pt>
                <c:pt idx="5780">
                  <c:v>53252</c:v>
                </c:pt>
                <c:pt idx="5781">
                  <c:v>53251</c:v>
                </c:pt>
                <c:pt idx="5782">
                  <c:v>53250</c:v>
                </c:pt>
                <c:pt idx="5783">
                  <c:v>53247</c:v>
                </c:pt>
                <c:pt idx="5784">
                  <c:v>53246</c:v>
                </c:pt>
                <c:pt idx="5785">
                  <c:v>53241</c:v>
                </c:pt>
                <c:pt idx="5786">
                  <c:v>53240</c:v>
                </c:pt>
                <c:pt idx="5787">
                  <c:v>53238</c:v>
                </c:pt>
                <c:pt idx="5788">
                  <c:v>53237</c:v>
                </c:pt>
                <c:pt idx="5789">
                  <c:v>53237</c:v>
                </c:pt>
                <c:pt idx="5790">
                  <c:v>53231</c:v>
                </c:pt>
                <c:pt idx="5791">
                  <c:v>53229</c:v>
                </c:pt>
                <c:pt idx="5792">
                  <c:v>53229</c:v>
                </c:pt>
                <c:pt idx="5793">
                  <c:v>53228</c:v>
                </c:pt>
                <c:pt idx="5794">
                  <c:v>53226</c:v>
                </c:pt>
                <c:pt idx="5795">
                  <c:v>53222</c:v>
                </c:pt>
                <c:pt idx="5796">
                  <c:v>53222</c:v>
                </c:pt>
                <c:pt idx="5797">
                  <c:v>53221</c:v>
                </c:pt>
                <c:pt idx="5798">
                  <c:v>53221</c:v>
                </c:pt>
                <c:pt idx="5799">
                  <c:v>53220</c:v>
                </c:pt>
                <c:pt idx="5800">
                  <c:v>53216</c:v>
                </c:pt>
                <c:pt idx="5801">
                  <c:v>53204</c:v>
                </c:pt>
                <c:pt idx="5802">
                  <c:v>53199</c:v>
                </c:pt>
                <c:pt idx="5803">
                  <c:v>53199</c:v>
                </c:pt>
                <c:pt idx="5804">
                  <c:v>53198</c:v>
                </c:pt>
                <c:pt idx="5805">
                  <c:v>53195</c:v>
                </c:pt>
                <c:pt idx="5806">
                  <c:v>53195</c:v>
                </c:pt>
                <c:pt idx="5807">
                  <c:v>53193</c:v>
                </c:pt>
                <c:pt idx="5808">
                  <c:v>53190</c:v>
                </c:pt>
                <c:pt idx="5809">
                  <c:v>53188</c:v>
                </c:pt>
                <c:pt idx="5810">
                  <c:v>53187</c:v>
                </c:pt>
                <c:pt idx="5811">
                  <c:v>53184</c:v>
                </c:pt>
                <c:pt idx="5812">
                  <c:v>53182</c:v>
                </c:pt>
                <c:pt idx="5813">
                  <c:v>53181</c:v>
                </c:pt>
                <c:pt idx="5814">
                  <c:v>53179</c:v>
                </c:pt>
                <c:pt idx="5815">
                  <c:v>53179</c:v>
                </c:pt>
                <c:pt idx="5816">
                  <c:v>53179</c:v>
                </c:pt>
                <c:pt idx="5817">
                  <c:v>53171</c:v>
                </c:pt>
                <c:pt idx="5818">
                  <c:v>53170</c:v>
                </c:pt>
                <c:pt idx="5819">
                  <c:v>53163</c:v>
                </c:pt>
                <c:pt idx="5820">
                  <c:v>53162</c:v>
                </c:pt>
                <c:pt idx="5821">
                  <c:v>53157</c:v>
                </c:pt>
                <c:pt idx="5822">
                  <c:v>53155</c:v>
                </c:pt>
                <c:pt idx="5823">
                  <c:v>53145</c:v>
                </c:pt>
                <c:pt idx="5824">
                  <c:v>53144</c:v>
                </c:pt>
                <c:pt idx="5825">
                  <c:v>53144</c:v>
                </c:pt>
                <c:pt idx="5826">
                  <c:v>53142</c:v>
                </c:pt>
                <c:pt idx="5827">
                  <c:v>53140</c:v>
                </c:pt>
                <c:pt idx="5828">
                  <c:v>53138</c:v>
                </c:pt>
                <c:pt idx="5829">
                  <c:v>53133</c:v>
                </c:pt>
                <c:pt idx="5830">
                  <c:v>53132</c:v>
                </c:pt>
                <c:pt idx="5831">
                  <c:v>53122</c:v>
                </c:pt>
                <c:pt idx="5832">
                  <c:v>53120</c:v>
                </c:pt>
                <c:pt idx="5833">
                  <c:v>53118</c:v>
                </c:pt>
                <c:pt idx="5834">
                  <c:v>53117</c:v>
                </c:pt>
                <c:pt idx="5835">
                  <c:v>53116</c:v>
                </c:pt>
                <c:pt idx="5836">
                  <c:v>53112</c:v>
                </c:pt>
                <c:pt idx="5837">
                  <c:v>53111</c:v>
                </c:pt>
                <c:pt idx="5838">
                  <c:v>53109</c:v>
                </c:pt>
                <c:pt idx="5839">
                  <c:v>53109</c:v>
                </c:pt>
                <c:pt idx="5840">
                  <c:v>53106</c:v>
                </c:pt>
                <c:pt idx="5841">
                  <c:v>53106</c:v>
                </c:pt>
                <c:pt idx="5842">
                  <c:v>53102</c:v>
                </c:pt>
                <c:pt idx="5843">
                  <c:v>53101</c:v>
                </c:pt>
                <c:pt idx="5844">
                  <c:v>53099</c:v>
                </c:pt>
                <c:pt idx="5845">
                  <c:v>53099</c:v>
                </c:pt>
                <c:pt idx="5846">
                  <c:v>53095</c:v>
                </c:pt>
                <c:pt idx="5847">
                  <c:v>53095</c:v>
                </c:pt>
                <c:pt idx="5848">
                  <c:v>53087</c:v>
                </c:pt>
                <c:pt idx="5849">
                  <c:v>53077</c:v>
                </c:pt>
                <c:pt idx="5850">
                  <c:v>53077</c:v>
                </c:pt>
                <c:pt idx="5851">
                  <c:v>53074</c:v>
                </c:pt>
                <c:pt idx="5852">
                  <c:v>53071</c:v>
                </c:pt>
                <c:pt idx="5853">
                  <c:v>53071</c:v>
                </c:pt>
                <c:pt idx="5854">
                  <c:v>53062</c:v>
                </c:pt>
                <c:pt idx="5855">
                  <c:v>53062</c:v>
                </c:pt>
                <c:pt idx="5856">
                  <c:v>53061</c:v>
                </c:pt>
                <c:pt idx="5857">
                  <c:v>53057</c:v>
                </c:pt>
                <c:pt idx="5858">
                  <c:v>53053</c:v>
                </c:pt>
                <c:pt idx="5859">
                  <c:v>53052</c:v>
                </c:pt>
                <c:pt idx="5860">
                  <c:v>53051</c:v>
                </c:pt>
                <c:pt idx="5861">
                  <c:v>53047</c:v>
                </c:pt>
                <c:pt idx="5862">
                  <c:v>53044</c:v>
                </c:pt>
                <c:pt idx="5863">
                  <c:v>53038</c:v>
                </c:pt>
                <c:pt idx="5864">
                  <c:v>53036</c:v>
                </c:pt>
                <c:pt idx="5865">
                  <c:v>53035</c:v>
                </c:pt>
                <c:pt idx="5866">
                  <c:v>53034</c:v>
                </c:pt>
                <c:pt idx="5867">
                  <c:v>53030</c:v>
                </c:pt>
                <c:pt idx="5868">
                  <c:v>53028</c:v>
                </c:pt>
                <c:pt idx="5869">
                  <c:v>53027</c:v>
                </c:pt>
                <c:pt idx="5870">
                  <c:v>53023</c:v>
                </c:pt>
                <c:pt idx="5871">
                  <c:v>53023</c:v>
                </c:pt>
                <c:pt idx="5872">
                  <c:v>53015</c:v>
                </c:pt>
                <c:pt idx="5873">
                  <c:v>53010</c:v>
                </c:pt>
                <c:pt idx="5874">
                  <c:v>53010</c:v>
                </c:pt>
                <c:pt idx="5875">
                  <c:v>53009</c:v>
                </c:pt>
                <c:pt idx="5876">
                  <c:v>53008</c:v>
                </c:pt>
                <c:pt idx="5877">
                  <c:v>53007</c:v>
                </c:pt>
                <c:pt idx="5878">
                  <c:v>53007</c:v>
                </c:pt>
                <c:pt idx="5879">
                  <c:v>53006</c:v>
                </c:pt>
                <c:pt idx="5880">
                  <c:v>53004</c:v>
                </c:pt>
                <c:pt idx="5881">
                  <c:v>52998</c:v>
                </c:pt>
                <c:pt idx="5882">
                  <c:v>52997</c:v>
                </c:pt>
                <c:pt idx="5883">
                  <c:v>52994</c:v>
                </c:pt>
                <c:pt idx="5884">
                  <c:v>52994</c:v>
                </c:pt>
                <c:pt idx="5885">
                  <c:v>52994</c:v>
                </c:pt>
                <c:pt idx="5886">
                  <c:v>52991</c:v>
                </c:pt>
                <c:pt idx="5887">
                  <c:v>52991</c:v>
                </c:pt>
                <c:pt idx="5888">
                  <c:v>52990</c:v>
                </c:pt>
                <c:pt idx="5889">
                  <c:v>52989</c:v>
                </c:pt>
                <c:pt idx="5890">
                  <c:v>52987</c:v>
                </c:pt>
                <c:pt idx="5891">
                  <c:v>52982</c:v>
                </c:pt>
                <c:pt idx="5892">
                  <c:v>52981</c:v>
                </c:pt>
                <c:pt idx="5893">
                  <c:v>52977</c:v>
                </c:pt>
                <c:pt idx="5894">
                  <c:v>52975</c:v>
                </c:pt>
                <c:pt idx="5895">
                  <c:v>52975</c:v>
                </c:pt>
                <c:pt idx="5896">
                  <c:v>52975</c:v>
                </c:pt>
                <c:pt idx="5897">
                  <c:v>52975</c:v>
                </c:pt>
                <c:pt idx="5898">
                  <c:v>52973</c:v>
                </c:pt>
                <c:pt idx="5899">
                  <c:v>52973</c:v>
                </c:pt>
                <c:pt idx="5900">
                  <c:v>52972</c:v>
                </c:pt>
                <c:pt idx="5901">
                  <c:v>52970</c:v>
                </c:pt>
                <c:pt idx="5902">
                  <c:v>52969</c:v>
                </c:pt>
                <c:pt idx="5903">
                  <c:v>52966</c:v>
                </c:pt>
                <c:pt idx="5904">
                  <c:v>52961</c:v>
                </c:pt>
                <c:pt idx="5905">
                  <c:v>52960</c:v>
                </c:pt>
                <c:pt idx="5906">
                  <c:v>52959</c:v>
                </c:pt>
                <c:pt idx="5907">
                  <c:v>52957</c:v>
                </c:pt>
                <c:pt idx="5908">
                  <c:v>52957</c:v>
                </c:pt>
                <c:pt idx="5909">
                  <c:v>52948</c:v>
                </c:pt>
                <c:pt idx="5910">
                  <c:v>52943</c:v>
                </c:pt>
                <c:pt idx="5911">
                  <c:v>52942</c:v>
                </c:pt>
                <c:pt idx="5912">
                  <c:v>52941</c:v>
                </c:pt>
                <c:pt idx="5913">
                  <c:v>52940</c:v>
                </c:pt>
                <c:pt idx="5914">
                  <c:v>52932</c:v>
                </c:pt>
                <c:pt idx="5915">
                  <c:v>52927</c:v>
                </c:pt>
                <c:pt idx="5916">
                  <c:v>52925</c:v>
                </c:pt>
                <c:pt idx="5917">
                  <c:v>52925</c:v>
                </c:pt>
                <c:pt idx="5918">
                  <c:v>52922</c:v>
                </c:pt>
                <c:pt idx="5919">
                  <c:v>52919</c:v>
                </c:pt>
                <c:pt idx="5920">
                  <c:v>52911</c:v>
                </c:pt>
                <c:pt idx="5921">
                  <c:v>52909</c:v>
                </c:pt>
                <c:pt idx="5922">
                  <c:v>52902</c:v>
                </c:pt>
                <c:pt idx="5923">
                  <c:v>52902</c:v>
                </c:pt>
                <c:pt idx="5924">
                  <c:v>52900</c:v>
                </c:pt>
                <c:pt idx="5925">
                  <c:v>52899</c:v>
                </c:pt>
                <c:pt idx="5926">
                  <c:v>52898</c:v>
                </c:pt>
                <c:pt idx="5927">
                  <c:v>52898</c:v>
                </c:pt>
                <c:pt idx="5928">
                  <c:v>52896</c:v>
                </c:pt>
                <c:pt idx="5929">
                  <c:v>52892</c:v>
                </c:pt>
                <c:pt idx="5930">
                  <c:v>52892</c:v>
                </c:pt>
                <c:pt idx="5931">
                  <c:v>52890</c:v>
                </c:pt>
                <c:pt idx="5932">
                  <c:v>52888</c:v>
                </c:pt>
                <c:pt idx="5933">
                  <c:v>52888</c:v>
                </c:pt>
                <c:pt idx="5934">
                  <c:v>52888</c:v>
                </c:pt>
                <c:pt idx="5935">
                  <c:v>52887</c:v>
                </c:pt>
                <c:pt idx="5936">
                  <c:v>52886</c:v>
                </c:pt>
                <c:pt idx="5937">
                  <c:v>52879</c:v>
                </c:pt>
                <c:pt idx="5938">
                  <c:v>52877</c:v>
                </c:pt>
                <c:pt idx="5939">
                  <c:v>52875</c:v>
                </c:pt>
                <c:pt idx="5940">
                  <c:v>52874</c:v>
                </c:pt>
                <c:pt idx="5941">
                  <c:v>52873</c:v>
                </c:pt>
                <c:pt idx="5942">
                  <c:v>52872</c:v>
                </c:pt>
                <c:pt idx="5943">
                  <c:v>52872</c:v>
                </c:pt>
                <c:pt idx="5944">
                  <c:v>52870</c:v>
                </c:pt>
                <c:pt idx="5945">
                  <c:v>52870</c:v>
                </c:pt>
                <c:pt idx="5946">
                  <c:v>52870</c:v>
                </c:pt>
                <c:pt idx="5947">
                  <c:v>52862</c:v>
                </c:pt>
                <c:pt idx="5948">
                  <c:v>52860</c:v>
                </c:pt>
                <c:pt idx="5949">
                  <c:v>52857</c:v>
                </c:pt>
                <c:pt idx="5950">
                  <c:v>52856</c:v>
                </c:pt>
                <c:pt idx="5951">
                  <c:v>52854</c:v>
                </c:pt>
                <c:pt idx="5952">
                  <c:v>52852</c:v>
                </c:pt>
                <c:pt idx="5953">
                  <c:v>52851</c:v>
                </c:pt>
                <c:pt idx="5954">
                  <c:v>52848</c:v>
                </c:pt>
                <c:pt idx="5955">
                  <c:v>52846</c:v>
                </c:pt>
                <c:pt idx="5956">
                  <c:v>52844</c:v>
                </c:pt>
                <c:pt idx="5957">
                  <c:v>52841</c:v>
                </c:pt>
                <c:pt idx="5958">
                  <c:v>52840</c:v>
                </c:pt>
                <c:pt idx="5959">
                  <c:v>52840</c:v>
                </c:pt>
                <c:pt idx="5960">
                  <c:v>52839</c:v>
                </c:pt>
                <c:pt idx="5961">
                  <c:v>52833</c:v>
                </c:pt>
                <c:pt idx="5962">
                  <c:v>52830</c:v>
                </c:pt>
                <c:pt idx="5963">
                  <c:v>52830</c:v>
                </c:pt>
                <c:pt idx="5964">
                  <c:v>52829</c:v>
                </c:pt>
                <c:pt idx="5965">
                  <c:v>52827</c:v>
                </c:pt>
                <c:pt idx="5966">
                  <c:v>52827</c:v>
                </c:pt>
                <c:pt idx="5967">
                  <c:v>52827</c:v>
                </c:pt>
                <c:pt idx="5968">
                  <c:v>52817</c:v>
                </c:pt>
                <c:pt idx="5969">
                  <c:v>52816</c:v>
                </c:pt>
                <c:pt idx="5970">
                  <c:v>52814</c:v>
                </c:pt>
                <c:pt idx="5971">
                  <c:v>52812</c:v>
                </c:pt>
                <c:pt idx="5972">
                  <c:v>52812</c:v>
                </c:pt>
                <c:pt idx="5973">
                  <c:v>52811</c:v>
                </c:pt>
                <c:pt idx="5974">
                  <c:v>52810</c:v>
                </c:pt>
                <c:pt idx="5975">
                  <c:v>52808</c:v>
                </c:pt>
                <c:pt idx="5976">
                  <c:v>52806</c:v>
                </c:pt>
                <c:pt idx="5977">
                  <c:v>52806</c:v>
                </c:pt>
                <c:pt idx="5978">
                  <c:v>52805</c:v>
                </c:pt>
                <c:pt idx="5979">
                  <c:v>52804</c:v>
                </c:pt>
                <c:pt idx="5980">
                  <c:v>52804</c:v>
                </c:pt>
                <c:pt idx="5981">
                  <c:v>52798</c:v>
                </c:pt>
                <c:pt idx="5982">
                  <c:v>52796</c:v>
                </c:pt>
                <c:pt idx="5983">
                  <c:v>52796</c:v>
                </c:pt>
                <c:pt idx="5984">
                  <c:v>52795</c:v>
                </c:pt>
                <c:pt idx="5985">
                  <c:v>52790</c:v>
                </c:pt>
                <c:pt idx="5986">
                  <c:v>52784</c:v>
                </c:pt>
                <c:pt idx="5987">
                  <c:v>52784</c:v>
                </c:pt>
                <c:pt idx="5988">
                  <c:v>52782</c:v>
                </c:pt>
                <c:pt idx="5989">
                  <c:v>52782</c:v>
                </c:pt>
                <c:pt idx="5990">
                  <c:v>52781</c:v>
                </c:pt>
                <c:pt idx="5991">
                  <c:v>52780</c:v>
                </c:pt>
                <c:pt idx="5992">
                  <c:v>52778</c:v>
                </c:pt>
                <c:pt idx="5993">
                  <c:v>52778</c:v>
                </c:pt>
                <c:pt idx="5994">
                  <c:v>52776</c:v>
                </c:pt>
                <c:pt idx="5995">
                  <c:v>52775</c:v>
                </c:pt>
                <c:pt idx="5996">
                  <c:v>52773</c:v>
                </c:pt>
                <c:pt idx="5997">
                  <c:v>52770</c:v>
                </c:pt>
                <c:pt idx="5998">
                  <c:v>52770</c:v>
                </c:pt>
                <c:pt idx="5999">
                  <c:v>52770</c:v>
                </c:pt>
                <c:pt idx="6000">
                  <c:v>52768</c:v>
                </c:pt>
                <c:pt idx="6001">
                  <c:v>52768</c:v>
                </c:pt>
                <c:pt idx="6002">
                  <c:v>52766</c:v>
                </c:pt>
                <c:pt idx="6003">
                  <c:v>52766</c:v>
                </c:pt>
                <c:pt idx="6004">
                  <c:v>52765</c:v>
                </c:pt>
                <c:pt idx="6005">
                  <c:v>52760</c:v>
                </c:pt>
                <c:pt idx="6006">
                  <c:v>52760</c:v>
                </c:pt>
                <c:pt idx="6007">
                  <c:v>52758</c:v>
                </c:pt>
                <c:pt idx="6008">
                  <c:v>52758</c:v>
                </c:pt>
                <c:pt idx="6009">
                  <c:v>52755</c:v>
                </c:pt>
                <c:pt idx="6010">
                  <c:v>52753</c:v>
                </c:pt>
                <c:pt idx="6011">
                  <c:v>52753</c:v>
                </c:pt>
                <c:pt idx="6012">
                  <c:v>52748</c:v>
                </c:pt>
                <c:pt idx="6013">
                  <c:v>52747</c:v>
                </c:pt>
                <c:pt idx="6014">
                  <c:v>52745</c:v>
                </c:pt>
                <c:pt idx="6015">
                  <c:v>52742</c:v>
                </c:pt>
                <c:pt idx="6016">
                  <c:v>52739</c:v>
                </c:pt>
                <c:pt idx="6017">
                  <c:v>52737</c:v>
                </c:pt>
                <c:pt idx="6018">
                  <c:v>52735</c:v>
                </c:pt>
                <c:pt idx="6019">
                  <c:v>52733</c:v>
                </c:pt>
                <c:pt idx="6020">
                  <c:v>52733</c:v>
                </c:pt>
                <c:pt idx="6021">
                  <c:v>52732</c:v>
                </c:pt>
                <c:pt idx="6022">
                  <c:v>52732</c:v>
                </c:pt>
                <c:pt idx="6023">
                  <c:v>52732</c:v>
                </c:pt>
                <c:pt idx="6024">
                  <c:v>52725</c:v>
                </c:pt>
                <c:pt idx="6025">
                  <c:v>52724</c:v>
                </c:pt>
                <c:pt idx="6026">
                  <c:v>52721</c:v>
                </c:pt>
                <c:pt idx="6027">
                  <c:v>52716</c:v>
                </c:pt>
                <c:pt idx="6028">
                  <c:v>52713</c:v>
                </c:pt>
                <c:pt idx="6029">
                  <c:v>52713</c:v>
                </c:pt>
                <c:pt idx="6030">
                  <c:v>52710</c:v>
                </c:pt>
                <c:pt idx="6031">
                  <c:v>52705</c:v>
                </c:pt>
                <c:pt idx="6032">
                  <c:v>52705</c:v>
                </c:pt>
                <c:pt idx="6033">
                  <c:v>52705</c:v>
                </c:pt>
                <c:pt idx="6034">
                  <c:v>52704</c:v>
                </c:pt>
                <c:pt idx="6035">
                  <c:v>52703</c:v>
                </c:pt>
                <c:pt idx="6036">
                  <c:v>52702</c:v>
                </c:pt>
                <c:pt idx="6037">
                  <c:v>52700</c:v>
                </c:pt>
                <c:pt idx="6038">
                  <c:v>52696</c:v>
                </c:pt>
                <c:pt idx="6039">
                  <c:v>52694</c:v>
                </c:pt>
                <c:pt idx="6040">
                  <c:v>52693</c:v>
                </c:pt>
                <c:pt idx="6041">
                  <c:v>52690</c:v>
                </c:pt>
                <c:pt idx="6042">
                  <c:v>52689</c:v>
                </c:pt>
                <c:pt idx="6043">
                  <c:v>52687</c:v>
                </c:pt>
                <c:pt idx="6044">
                  <c:v>52686</c:v>
                </c:pt>
                <c:pt idx="6045">
                  <c:v>52686</c:v>
                </c:pt>
                <c:pt idx="6046">
                  <c:v>52683</c:v>
                </c:pt>
                <c:pt idx="6047">
                  <c:v>52682</c:v>
                </c:pt>
                <c:pt idx="6048">
                  <c:v>52680</c:v>
                </c:pt>
                <c:pt idx="6049">
                  <c:v>52679</c:v>
                </c:pt>
                <c:pt idx="6050">
                  <c:v>52679</c:v>
                </c:pt>
                <c:pt idx="6051">
                  <c:v>52678</c:v>
                </c:pt>
                <c:pt idx="6052">
                  <c:v>52676</c:v>
                </c:pt>
                <c:pt idx="6053">
                  <c:v>52675</c:v>
                </c:pt>
                <c:pt idx="6054">
                  <c:v>52675</c:v>
                </c:pt>
                <c:pt idx="6055">
                  <c:v>52673</c:v>
                </c:pt>
                <c:pt idx="6056">
                  <c:v>52669</c:v>
                </c:pt>
                <c:pt idx="6057">
                  <c:v>52669</c:v>
                </c:pt>
                <c:pt idx="6058">
                  <c:v>52666</c:v>
                </c:pt>
                <c:pt idx="6059">
                  <c:v>52665</c:v>
                </c:pt>
                <c:pt idx="6060">
                  <c:v>52664</c:v>
                </c:pt>
                <c:pt idx="6061">
                  <c:v>52663</c:v>
                </c:pt>
                <c:pt idx="6062">
                  <c:v>52660</c:v>
                </c:pt>
                <c:pt idx="6063">
                  <c:v>52660</c:v>
                </c:pt>
                <c:pt idx="6064">
                  <c:v>52660</c:v>
                </c:pt>
                <c:pt idx="6065">
                  <c:v>52657</c:v>
                </c:pt>
                <c:pt idx="6066">
                  <c:v>52656</c:v>
                </c:pt>
                <c:pt idx="6067">
                  <c:v>52652</c:v>
                </c:pt>
                <c:pt idx="6068">
                  <c:v>52651</c:v>
                </c:pt>
                <c:pt idx="6069">
                  <c:v>52651</c:v>
                </c:pt>
                <c:pt idx="6070">
                  <c:v>52650</c:v>
                </c:pt>
                <c:pt idx="6071">
                  <c:v>52650</c:v>
                </c:pt>
                <c:pt idx="6072">
                  <c:v>52648</c:v>
                </c:pt>
                <c:pt idx="6073">
                  <c:v>52644</c:v>
                </c:pt>
                <c:pt idx="6074">
                  <c:v>52643</c:v>
                </c:pt>
                <c:pt idx="6075">
                  <c:v>52640</c:v>
                </c:pt>
                <c:pt idx="6076">
                  <c:v>52637</c:v>
                </c:pt>
                <c:pt idx="6077">
                  <c:v>52636</c:v>
                </c:pt>
                <c:pt idx="6078">
                  <c:v>52635</c:v>
                </c:pt>
                <c:pt idx="6079">
                  <c:v>52633</c:v>
                </c:pt>
                <c:pt idx="6080">
                  <c:v>52633</c:v>
                </c:pt>
                <c:pt idx="6081">
                  <c:v>52625</c:v>
                </c:pt>
                <c:pt idx="6082">
                  <c:v>52625</c:v>
                </c:pt>
                <c:pt idx="6083">
                  <c:v>52624</c:v>
                </c:pt>
                <c:pt idx="6084">
                  <c:v>52623</c:v>
                </c:pt>
                <c:pt idx="6085">
                  <c:v>52623</c:v>
                </c:pt>
                <c:pt idx="6086">
                  <c:v>52618</c:v>
                </c:pt>
                <c:pt idx="6087">
                  <c:v>52617</c:v>
                </c:pt>
                <c:pt idx="6088">
                  <c:v>52615</c:v>
                </c:pt>
                <c:pt idx="6089">
                  <c:v>52611</c:v>
                </c:pt>
                <c:pt idx="6090">
                  <c:v>52600</c:v>
                </c:pt>
                <c:pt idx="6091">
                  <c:v>52600</c:v>
                </c:pt>
                <c:pt idx="6092">
                  <c:v>52598</c:v>
                </c:pt>
                <c:pt idx="6093">
                  <c:v>52589</c:v>
                </c:pt>
                <c:pt idx="6094">
                  <c:v>52587</c:v>
                </c:pt>
                <c:pt idx="6095">
                  <c:v>52587</c:v>
                </c:pt>
                <c:pt idx="6096">
                  <c:v>52585</c:v>
                </c:pt>
                <c:pt idx="6097">
                  <c:v>52584</c:v>
                </c:pt>
                <c:pt idx="6098">
                  <c:v>52584</c:v>
                </c:pt>
                <c:pt idx="6099">
                  <c:v>52584</c:v>
                </c:pt>
                <c:pt idx="6100">
                  <c:v>52582</c:v>
                </c:pt>
                <c:pt idx="6101">
                  <c:v>52581</c:v>
                </c:pt>
                <c:pt idx="6102">
                  <c:v>52578</c:v>
                </c:pt>
                <c:pt idx="6103">
                  <c:v>52572</c:v>
                </c:pt>
                <c:pt idx="6104">
                  <c:v>52572</c:v>
                </c:pt>
                <c:pt idx="6105">
                  <c:v>52564</c:v>
                </c:pt>
                <c:pt idx="6106">
                  <c:v>52564</c:v>
                </c:pt>
                <c:pt idx="6107">
                  <c:v>52563</c:v>
                </c:pt>
                <c:pt idx="6108">
                  <c:v>52562</c:v>
                </c:pt>
                <c:pt idx="6109">
                  <c:v>52550</c:v>
                </c:pt>
                <c:pt idx="6110">
                  <c:v>52549</c:v>
                </c:pt>
                <c:pt idx="6111">
                  <c:v>52544</c:v>
                </c:pt>
                <c:pt idx="6112">
                  <c:v>52542</c:v>
                </c:pt>
                <c:pt idx="6113">
                  <c:v>52541</c:v>
                </c:pt>
                <c:pt idx="6114">
                  <c:v>52536</c:v>
                </c:pt>
                <c:pt idx="6115">
                  <c:v>52534</c:v>
                </c:pt>
                <c:pt idx="6116">
                  <c:v>52527</c:v>
                </c:pt>
                <c:pt idx="6117">
                  <c:v>52527</c:v>
                </c:pt>
                <c:pt idx="6118">
                  <c:v>52520</c:v>
                </c:pt>
                <c:pt idx="6119">
                  <c:v>52519</c:v>
                </c:pt>
                <c:pt idx="6120">
                  <c:v>52514</c:v>
                </c:pt>
                <c:pt idx="6121">
                  <c:v>52511</c:v>
                </c:pt>
                <c:pt idx="6122">
                  <c:v>52511</c:v>
                </c:pt>
                <c:pt idx="6123">
                  <c:v>52504</c:v>
                </c:pt>
                <c:pt idx="6124">
                  <c:v>52503</c:v>
                </c:pt>
                <c:pt idx="6125">
                  <c:v>52501</c:v>
                </c:pt>
                <c:pt idx="6126">
                  <c:v>52500</c:v>
                </c:pt>
                <c:pt idx="6127">
                  <c:v>52498</c:v>
                </c:pt>
                <c:pt idx="6128">
                  <c:v>52496</c:v>
                </c:pt>
                <c:pt idx="6129">
                  <c:v>52495</c:v>
                </c:pt>
                <c:pt idx="6130">
                  <c:v>52491</c:v>
                </c:pt>
                <c:pt idx="6131">
                  <c:v>52489</c:v>
                </c:pt>
                <c:pt idx="6132">
                  <c:v>52488</c:v>
                </c:pt>
                <c:pt idx="6133">
                  <c:v>52487</c:v>
                </c:pt>
                <c:pt idx="6134">
                  <c:v>52486</c:v>
                </c:pt>
                <c:pt idx="6135">
                  <c:v>52485</c:v>
                </c:pt>
                <c:pt idx="6136">
                  <c:v>52485</c:v>
                </c:pt>
                <c:pt idx="6137">
                  <c:v>52485</c:v>
                </c:pt>
                <c:pt idx="6138">
                  <c:v>52480</c:v>
                </c:pt>
                <c:pt idx="6139">
                  <c:v>52479</c:v>
                </c:pt>
                <c:pt idx="6140">
                  <c:v>52478</c:v>
                </c:pt>
                <c:pt idx="6141">
                  <c:v>52473</c:v>
                </c:pt>
                <c:pt idx="6142">
                  <c:v>52472</c:v>
                </c:pt>
                <c:pt idx="6143">
                  <c:v>52469</c:v>
                </c:pt>
                <c:pt idx="6144">
                  <c:v>52468</c:v>
                </c:pt>
                <c:pt idx="6145">
                  <c:v>52463</c:v>
                </c:pt>
                <c:pt idx="6146">
                  <c:v>52461</c:v>
                </c:pt>
                <c:pt idx="6147">
                  <c:v>52455</c:v>
                </c:pt>
                <c:pt idx="6148">
                  <c:v>52454</c:v>
                </c:pt>
                <c:pt idx="6149">
                  <c:v>52454</c:v>
                </c:pt>
                <c:pt idx="6150">
                  <c:v>52454</c:v>
                </c:pt>
                <c:pt idx="6151">
                  <c:v>52453</c:v>
                </c:pt>
                <c:pt idx="6152">
                  <c:v>52450</c:v>
                </c:pt>
                <c:pt idx="6153">
                  <c:v>52449</c:v>
                </c:pt>
                <c:pt idx="6154">
                  <c:v>52447</c:v>
                </c:pt>
                <c:pt idx="6155">
                  <c:v>52446</c:v>
                </c:pt>
                <c:pt idx="6156">
                  <c:v>52444</c:v>
                </c:pt>
                <c:pt idx="6157">
                  <c:v>52444</c:v>
                </c:pt>
                <c:pt idx="6158">
                  <c:v>52442</c:v>
                </c:pt>
                <c:pt idx="6159">
                  <c:v>52440</c:v>
                </c:pt>
                <c:pt idx="6160">
                  <c:v>52439</c:v>
                </c:pt>
                <c:pt idx="6161">
                  <c:v>52438</c:v>
                </c:pt>
                <c:pt idx="6162">
                  <c:v>52437</c:v>
                </c:pt>
                <c:pt idx="6163">
                  <c:v>52437</c:v>
                </c:pt>
                <c:pt idx="6164">
                  <c:v>52437</c:v>
                </c:pt>
                <c:pt idx="6165">
                  <c:v>52434</c:v>
                </c:pt>
                <c:pt idx="6166">
                  <c:v>52432</c:v>
                </c:pt>
                <c:pt idx="6167">
                  <c:v>52431</c:v>
                </c:pt>
                <c:pt idx="6168">
                  <c:v>52428</c:v>
                </c:pt>
                <c:pt idx="6169">
                  <c:v>52427</c:v>
                </c:pt>
                <c:pt idx="6170">
                  <c:v>52425</c:v>
                </c:pt>
                <c:pt idx="6171">
                  <c:v>52424</c:v>
                </c:pt>
                <c:pt idx="6172">
                  <c:v>52424</c:v>
                </c:pt>
                <c:pt idx="6173">
                  <c:v>52423</c:v>
                </c:pt>
                <c:pt idx="6174">
                  <c:v>52421</c:v>
                </c:pt>
                <c:pt idx="6175">
                  <c:v>52420</c:v>
                </c:pt>
                <c:pt idx="6176">
                  <c:v>52418</c:v>
                </c:pt>
                <c:pt idx="6177">
                  <c:v>52414</c:v>
                </c:pt>
                <c:pt idx="6178">
                  <c:v>52411</c:v>
                </c:pt>
                <c:pt idx="6179">
                  <c:v>52409</c:v>
                </c:pt>
                <c:pt idx="6180">
                  <c:v>52406</c:v>
                </c:pt>
                <c:pt idx="6181">
                  <c:v>52406</c:v>
                </c:pt>
                <c:pt idx="6182">
                  <c:v>52403</c:v>
                </c:pt>
                <c:pt idx="6183">
                  <c:v>52402</c:v>
                </c:pt>
                <c:pt idx="6184">
                  <c:v>52400</c:v>
                </c:pt>
                <c:pt idx="6185">
                  <c:v>52398</c:v>
                </c:pt>
                <c:pt idx="6186">
                  <c:v>52396</c:v>
                </c:pt>
                <c:pt idx="6187">
                  <c:v>52395</c:v>
                </c:pt>
                <c:pt idx="6188">
                  <c:v>52395</c:v>
                </c:pt>
                <c:pt idx="6189">
                  <c:v>52394</c:v>
                </c:pt>
                <c:pt idx="6190">
                  <c:v>52393</c:v>
                </c:pt>
                <c:pt idx="6191">
                  <c:v>52391</c:v>
                </c:pt>
                <c:pt idx="6192">
                  <c:v>52390</c:v>
                </c:pt>
                <c:pt idx="6193">
                  <c:v>52388</c:v>
                </c:pt>
                <c:pt idx="6194">
                  <c:v>52388</c:v>
                </c:pt>
                <c:pt idx="6195">
                  <c:v>52385</c:v>
                </c:pt>
                <c:pt idx="6196">
                  <c:v>52384</c:v>
                </c:pt>
                <c:pt idx="6197">
                  <c:v>52384</c:v>
                </c:pt>
                <c:pt idx="6198">
                  <c:v>52383</c:v>
                </c:pt>
                <c:pt idx="6199">
                  <c:v>52383</c:v>
                </c:pt>
                <c:pt idx="6200">
                  <c:v>52382</c:v>
                </c:pt>
                <c:pt idx="6201">
                  <c:v>52381</c:v>
                </c:pt>
                <c:pt idx="6202">
                  <c:v>52379</c:v>
                </c:pt>
                <c:pt idx="6203">
                  <c:v>52378</c:v>
                </c:pt>
                <c:pt idx="6204">
                  <c:v>52378</c:v>
                </c:pt>
                <c:pt idx="6205">
                  <c:v>52375</c:v>
                </c:pt>
                <c:pt idx="6206">
                  <c:v>52374</c:v>
                </c:pt>
                <c:pt idx="6207">
                  <c:v>52373</c:v>
                </c:pt>
                <c:pt idx="6208">
                  <c:v>52372</c:v>
                </c:pt>
                <c:pt idx="6209">
                  <c:v>52371</c:v>
                </c:pt>
                <c:pt idx="6210">
                  <c:v>52369</c:v>
                </c:pt>
                <c:pt idx="6211">
                  <c:v>52368</c:v>
                </c:pt>
                <c:pt idx="6212">
                  <c:v>52366</c:v>
                </c:pt>
                <c:pt idx="6213">
                  <c:v>52366</c:v>
                </c:pt>
                <c:pt idx="6214">
                  <c:v>52362</c:v>
                </c:pt>
                <c:pt idx="6215">
                  <c:v>52361</c:v>
                </c:pt>
                <c:pt idx="6216">
                  <c:v>52361</c:v>
                </c:pt>
                <c:pt idx="6217">
                  <c:v>52358</c:v>
                </c:pt>
                <c:pt idx="6218">
                  <c:v>52358</c:v>
                </c:pt>
                <c:pt idx="6219">
                  <c:v>52357</c:v>
                </c:pt>
                <c:pt idx="6220">
                  <c:v>52356</c:v>
                </c:pt>
                <c:pt idx="6221">
                  <c:v>52352</c:v>
                </c:pt>
                <c:pt idx="6222">
                  <c:v>52352</c:v>
                </c:pt>
                <c:pt idx="6223">
                  <c:v>52350</c:v>
                </c:pt>
                <c:pt idx="6224">
                  <c:v>52346</c:v>
                </c:pt>
                <c:pt idx="6225">
                  <c:v>52343</c:v>
                </c:pt>
                <c:pt idx="6226">
                  <c:v>52337</c:v>
                </c:pt>
                <c:pt idx="6227">
                  <c:v>52337</c:v>
                </c:pt>
                <c:pt idx="6228">
                  <c:v>52332</c:v>
                </c:pt>
                <c:pt idx="6229">
                  <c:v>52331</c:v>
                </c:pt>
                <c:pt idx="6230">
                  <c:v>52330</c:v>
                </c:pt>
                <c:pt idx="6231">
                  <c:v>52329</c:v>
                </c:pt>
                <c:pt idx="6232">
                  <c:v>52327</c:v>
                </c:pt>
                <c:pt idx="6233">
                  <c:v>52324</c:v>
                </c:pt>
                <c:pt idx="6234">
                  <c:v>52324</c:v>
                </c:pt>
                <c:pt idx="6235">
                  <c:v>52323</c:v>
                </c:pt>
                <c:pt idx="6236">
                  <c:v>52321</c:v>
                </c:pt>
                <c:pt idx="6237">
                  <c:v>52320</c:v>
                </c:pt>
                <c:pt idx="6238">
                  <c:v>52317</c:v>
                </c:pt>
                <c:pt idx="6239">
                  <c:v>52317</c:v>
                </c:pt>
                <c:pt idx="6240">
                  <c:v>52317</c:v>
                </c:pt>
                <c:pt idx="6241">
                  <c:v>52316</c:v>
                </c:pt>
                <c:pt idx="6242">
                  <c:v>52313</c:v>
                </c:pt>
                <c:pt idx="6243">
                  <c:v>52313</c:v>
                </c:pt>
                <c:pt idx="6244">
                  <c:v>52311</c:v>
                </c:pt>
                <c:pt idx="6245">
                  <c:v>52310</c:v>
                </c:pt>
                <c:pt idx="6246">
                  <c:v>52310</c:v>
                </c:pt>
                <c:pt idx="6247">
                  <c:v>52309</c:v>
                </c:pt>
                <c:pt idx="6248">
                  <c:v>52308</c:v>
                </c:pt>
                <c:pt idx="6249">
                  <c:v>52307</c:v>
                </c:pt>
                <c:pt idx="6250">
                  <c:v>52306</c:v>
                </c:pt>
                <c:pt idx="6251">
                  <c:v>52305</c:v>
                </c:pt>
                <c:pt idx="6252">
                  <c:v>52304</c:v>
                </c:pt>
                <c:pt idx="6253">
                  <c:v>52304</c:v>
                </c:pt>
                <c:pt idx="6254">
                  <c:v>52301</c:v>
                </c:pt>
                <c:pt idx="6255">
                  <c:v>52298</c:v>
                </c:pt>
                <c:pt idx="6256">
                  <c:v>52295</c:v>
                </c:pt>
                <c:pt idx="6257">
                  <c:v>52295</c:v>
                </c:pt>
                <c:pt idx="6258">
                  <c:v>52294</c:v>
                </c:pt>
                <c:pt idx="6259">
                  <c:v>52294</c:v>
                </c:pt>
                <c:pt idx="6260">
                  <c:v>52294</c:v>
                </c:pt>
                <c:pt idx="6261">
                  <c:v>52286</c:v>
                </c:pt>
                <c:pt idx="6262">
                  <c:v>52285</c:v>
                </c:pt>
                <c:pt idx="6263">
                  <c:v>52283</c:v>
                </c:pt>
                <c:pt idx="6264">
                  <c:v>52281</c:v>
                </c:pt>
                <c:pt idx="6265">
                  <c:v>52281</c:v>
                </c:pt>
                <c:pt idx="6266">
                  <c:v>52280</c:v>
                </c:pt>
                <c:pt idx="6267">
                  <c:v>52280</c:v>
                </c:pt>
                <c:pt idx="6268">
                  <c:v>52277</c:v>
                </c:pt>
                <c:pt idx="6269">
                  <c:v>52276</c:v>
                </c:pt>
                <c:pt idx="6270">
                  <c:v>52275</c:v>
                </c:pt>
                <c:pt idx="6271">
                  <c:v>52275</c:v>
                </c:pt>
                <c:pt idx="6272">
                  <c:v>52271</c:v>
                </c:pt>
                <c:pt idx="6273">
                  <c:v>52270</c:v>
                </c:pt>
                <c:pt idx="6274">
                  <c:v>52269</c:v>
                </c:pt>
                <c:pt idx="6275">
                  <c:v>52267</c:v>
                </c:pt>
                <c:pt idx="6276">
                  <c:v>52265</c:v>
                </c:pt>
                <c:pt idx="6277">
                  <c:v>52264</c:v>
                </c:pt>
                <c:pt idx="6278">
                  <c:v>52263</c:v>
                </c:pt>
                <c:pt idx="6279">
                  <c:v>52259</c:v>
                </c:pt>
                <c:pt idx="6280">
                  <c:v>52253</c:v>
                </c:pt>
                <c:pt idx="6281">
                  <c:v>52252</c:v>
                </c:pt>
                <c:pt idx="6282">
                  <c:v>52252</c:v>
                </c:pt>
                <c:pt idx="6283">
                  <c:v>52247</c:v>
                </c:pt>
                <c:pt idx="6284">
                  <c:v>52247</c:v>
                </c:pt>
                <c:pt idx="6285">
                  <c:v>52245</c:v>
                </c:pt>
                <c:pt idx="6286">
                  <c:v>52245</c:v>
                </c:pt>
                <c:pt idx="6287">
                  <c:v>52243</c:v>
                </c:pt>
                <c:pt idx="6288">
                  <c:v>52242</c:v>
                </c:pt>
                <c:pt idx="6289">
                  <c:v>52241</c:v>
                </c:pt>
                <c:pt idx="6290">
                  <c:v>52240</c:v>
                </c:pt>
                <c:pt idx="6291">
                  <c:v>52238</c:v>
                </c:pt>
                <c:pt idx="6292">
                  <c:v>52236</c:v>
                </c:pt>
                <c:pt idx="6293">
                  <c:v>52235</c:v>
                </c:pt>
                <c:pt idx="6294">
                  <c:v>52234</c:v>
                </c:pt>
                <c:pt idx="6295">
                  <c:v>52234</c:v>
                </c:pt>
                <c:pt idx="6296">
                  <c:v>52233</c:v>
                </c:pt>
                <c:pt idx="6297">
                  <c:v>52233</c:v>
                </c:pt>
                <c:pt idx="6298">
                  <c:v>52230</c:v>
                </c:pt>
                <c:pt idx="6299">
                  <c:v>52228</c:v>
                </c:pt>
                <c:pt idx="6300">
                  <c:v>52225</c:v>
                </c:pt>
                <c:pt idx="6301">
                  <c:v>52224</c:v>
                </c:pt>
                <c:pt idx="6302">
                  <c:v>52218</c:v>
                </c:pt>
                <c:pt idx="6303">
                  <c:v>52216</c:v>
                </c:pt>
                <c:pt idx="6304">
                  <c:v>52215</c:v>
                </c:pt>
                <c:pt idx="6305">
                  <c:v>52214</c:v>
                </c:pt>
                <c:pt idx="6306">
                  <c:v>52213</c:v>
                </c:pt>
                <c:pt idx="6307">
                  <c:v>52213</c:v>
                </c:pt>
                <c:pt idx="6308">
                  <c:v>52211</c:v>
                </c:pt>
                <c:pt idx="6309">
                  <c:v>52210</c:v>
                </c:pt>
                <c:pt idx="6310">
                  <c:v>52209</c:v>
                </c:pt>
                <c:pt idx="6311">
                  <c:v>52206</c:v>
                </c:pt>
                <c:pt idx="6312">
                  <c:v>52199</c:v>
                </c:pt>
                <c:pt idx="6313">
                  <c:v>52198</c:v>
                </c:pt>
                <c:pt idx="6314">
                  <c:v>52196</c:v>
                </c:pt>
                <c:pt idx="6315">
                  <c:v>52195</c:v>
                </c:pt>
                <c:pt idx="6316">
                  <c:v>52190</c:v>
                </c:pt>
                <c:pt idx="6317">
                  <c:v>52189</c:v>
                </c:pt>
                <c:pt idx="6318">
                  <c:v>52189</c:v>
                </c:pt>
                <c:pt idx="6319">
                  <c:v>52188</c:v>
                </c:pt>
                <c:pt idx="6320">
                  <c:v>52188</c:v>
                </c:pt>
                <c:pt idx="6321">
                  <c:v>52184</c:v>
                </c:pt>
                <c:pt idx="6322">
                  <c:v>52184</c:v>
                </c:pt>
                <c:pt idx="6323">
                  <c:v>52183</c:v>
                </c:pt>
                <c:pt idx="6324">
                  <c:v>52182</c:v>
                </c:pt>
                <c:pt idx="6325">
                  <c:v>52179</c:v>
                </c:pt>
                <c:pt idx="6326">
                  <c:v>52178</c:v>
                </c:pt>
                <c:pt idx="6327">
                  <c:v>52178</c:v>
                </c:pt>
                <c:pt idx="6328">
                  <c:v>52174</c:v>
                </c:pt>
                <c:pt idx="6329">
                  <c:v>52171</c:v>
                </c:pt>
                <c:pt idx="6330">
                  <c:v>52170</c:v>
                </c:pt>
                <c:pt idx="6331">
                  <c:v>52162</c:v>
                </c:pt>
                <c:pt idx="6332">
                  <c:v>52160</c:v>
                </c:pt>
                <c:pt idx="6333">
                  <c:v>52158</c:v>
                </c:pt>
                <c:pt idx="6334">
                  <c:v>52156</c:v>
                </c:pt>
                <c:pt idx="6335">
                  <c:v>52156</c:v>
                </c:pt>
                <c:pt idx="6336">
                  <c:v>52153</c:v>
                </c:pt>
                <c:pt idx="6337">
                  <c:v>52151</c:v>
                </c:pt>
                <c:pt idx="6338">
                  <c:v>52147</c:v>
                </c:pt>
                <c:pt idx="6339">
                  <c:v>52146</c:v>
                </c:pt>
                <c:pt idx="6340">
                  <c:v>52143</c:v>
                </c:pt>
                <c:pt idx="6341">
                  <c:v>52143</c:v>
                </c:pt>
                <c:pt idx="6342">
                  <c:v>52142</c:v>
                </c:pt>
                <c:pt idx="6343">
                  <c:v>52139</c:v>
                </c:pt>
                <c:pt idx="6344">
                  <c:v>52137</c:v>
                </c:pt>
                <c:pt idx="6345">
                  <c:v>52137</c:v>
                </c:pt>
                <c:pt idx="6346">
                  <c:v>52137</c:v>
                </c:pt>
                <c:pt idx="6347">
                  <c:v>52133</c:v>
                </c:pt>
                <c:pt idx="6348">
                  <c:v>52130</c:v>
                </c:pt>
                <c:pt idx="6349">
                  <c:v>52126</c:v>
                </c:pt>
                <c:pt idx="6350">
                  <c:v>52125</c:v>
                </c:pt>
                <c:pt idx="6351">
                  <c:v>52123</c:v>
                </c:pt>
                <c:pt idx="6352">
                  <c:v>52123</c:v>
                </c:pt>
                <c:pt idx="6353">
                  <c:v>52122</c:v>
                </c:pt>
                <c:pt idx="6354">
                  <c:v>52122</c:v>
                </c:pt>
                <c:pt idx="6355">
                  <c:v>52120</c:v>
                </c:pt>
                <c:pt idx="6356">
                  <c:v>52119</c:v>
                </c:pt>
                <c:pt idx="6357">
                  <c:v>52118</c:v>
                </c:pt>
                <c:pt idx="6358">
                  <c:v>52117</c:v>
                </c:pt>
                <c:pt idx="6359">
                  <c:v>52114</c:v>
                </c:pt>
                <c:pt idx="6360">
                  <c:v>52112</c:v>
                </c:pt>
                <c:pt idx="6361">
                  <c:v>52111</c:v>
                </c:pt>
                <c:pt idx="6362">
                  <c:v>52109</c:v>
                </c:pt>
                <c:pt idx="6363">
                  <c:v>52107</c:v>
                </c:pt>
                <c:pt idx="6364">
                  <c:v>52106</c:v>
                </c:pt>
                <c:pt idx="6365">
                  <c:v>52102</c:v>
                </c:pt>
                <c:pt idx="6366">
                  <c:v>52101</c:v>
                </c:pt>
                <c:pt idx="6367">
                  <c:v>52100</c:v>
                </c:pt>
                <c:pt idx="6368">
                  <c:v>52099</c:v>
                </c:pt>
                <c:pt idx="6369">
                  <c:v>52099</c:v>
                </c:pt>
                <c:pt idx="6370">
                  <c:v>52098</c:v>
                </c:pt>
                <c:pt idx="6371">
                  <c:v>52096</c:v>
                </c:pt>
                <c:pt idx="6372">
                  <c:v>52095</c:v>
                </c:pt>
                <c:pt idx="6373">
                  <c:v>52092</c:v>
                </c:pt>
                <c:pt idx="6374">
                  <c:v>52090</c:v>
                </c:pt>
                <c:pt idx="6375">
                  <c:v>52089</c:v>
                </c:pt>
                <c:pt idx="6376">
                  <c:v>52089</c:v>
                </c:pt>
                <c:pt idx="6377">
                  <c:v>52086</c:v>
                </c:pt>
                <c:pt idx="6378">
                  <c:v>52085</c:v>
                </c:pt>
                <c:pt idx="6379">
                  <c:v>52083</c:v>
                </c:pt>
                <c:pt idx="6380">
                  <c:v>52082</c:v>
                </c:pt>
                <c:pt idx="6381">
                  <c:v>52080</c:v>
                </c:pt>
                <c:pt idx="6382">
                  <c:v>52079</c:v>
                </c:pt>
                <c:pt idx="6383">
                  <c:v>52078</c:v>
                </c:pt>
                <c:pt idx="6384">
                  <c:v>52078</c:v>
                </c:pt>
                <c:pt idx="6385">
                  <c:v>52077</c:v>
                </c:pt>
                <c:pt idx="6386">
                  <c:v>52077</c:v>
                </c:pt>
                <c:pt idx="6387">
                  <c:v>52076</c:v>
                </c:pt>
                <c:pt idx="6388">
                  <c:v>52075</c:v>
                </c:pt>
                <c:pt idx="6389">
                  <c:v>52075</c:v>
                </c:pt>
                <c:pt idx="6390">
                  <c:v>52074</c:v>
                </c:pt>
                <c:pt idx="6391">
                  <c:v>52072</c:v>
                </c:pt>
                <c:pt idx="6392">
                  <c:v>52070</c:v>
                </c:pt>
                <c:pt idx="6393">
                  <c:v>52067</c:v>
                </c:pt>
                <c:pt idx="6394">
                  <c:v>52064</c:v>
                </c:pt>
                <c:pt idx="6395">
                  <c:v>52064</c:v>
                </c:pt>
                <c:pt idx="6396">
                  <c:v>52063</c:v>
                </c:pt>
                <c:pt idx="6397">
                  <c:v>52063</c:v>
                </c:pt>
                <c:pt idx="6398">
                  <c:v>52062</c:v>
                </c:pt>
                <c:pt idx="6399">
                  <c:v>52061</c:v>
                </c:pt>
                <c:pt idx="6400">
                  <c:v>52060</c:v>
                </c:pt>
                <c:pt idx="6401">
                  <c:v>52060</c:v>
                </c:pt>
                <c:pt idx="6402">
                  <c:v>52052</c:v>
                </c:pt>
                <c:pt idx="6403">
                  <c:v>52052</c:v>
                </c:pt>
                <c:pt idx="6404">
                  <c:v>52046</c:v>
                </c:pt>
                <c:pt idx="6405">
                  <c:v>52046</c:v>
                </c:pt>
                <c:pt idx="6406">
                  <c:v>52044</c:v>
                </c:pt>
                <c:pt idx="6407">
                  <c:v>52043</c:v>
                </c:pt>
                <c:pt idx="6408">
                  <c:v>52042</c:v>
                </c:pt>
                <c:pt idx="6409">
                  <c:v>52036</c:v>
                </c:pt>
                <c:pt idx="6410">
                  <c:v>52034</c:v>
                </c:pt>
                <c:pt idx="6411">
                  <c:v>52034</c:v>
                </c:pt>
                <c:pt idx="6412">
                  <c:v>52034</c:v>
                </c:pt>
                <c:pt idx="6413">
                  <c:v>52030</c:v>
                </c:pt>
                <c:pt idx="6414">
                  <c:v>52030</c:v>
                </c:pt>
                <c:pt idx="6415">
                  <c:v>52029</c:v>
                </c:pt>
                <c:pt idx="6416">
                  <c:v>52027</c:v>
                </c:pt>
                <c:pt idx="6417">
                  <c:v>52025</c:v>
                </c:pt>
                <c:pt idx="6418">
                  <c:v>52024</c:v>
                </c:pt>
                <c:pt idx="6419">
                  <c:v>52024</c:v>
                </c:pt>
                <c:pt idx="6420">
                  <c:v>52023</c:v>
                </c:pt>
                <c:pt idx="6421">
                  <c:v>52023</c:v>
                </c:pt>
                <c:pt idx="6422">
                  <c:v>52019</c:v>
                </c:pt>
                <c:pt idx="6423">
                  <c:v>52016</c:v>
                </c:pt>
                <c:pt idx="6424">
                  <c:v>52015</c:v>
                </c:pt>
                <c:pt idx="6425">
                  <c:v>52014</c:v>
                </c:pt>
                <c:pt idx="6426">
                  <c:v>52012</c:v>
                </c:pt>
                <c:pt idx="6427">
                  <c:v>52011</c:v>
                </c:pt>
                <c:pt idx="6428">
                  <c:v>52004</c:v>
                </c:pt>
                <c:pt idx="6429">
                  <c:v>52002</c:v>
                </c:pt>
                <c:pt idx="6430">
                  <c:v>51998</c:v>
                </c:pt>
                <c:pt idx="6431">
                  <c:v>51996</c:v>
                </c:pt>
                <c:pt idx="6432">
                  <c:v>51996</c:v>
                </c:pt>
                <c:pt idx="6433">
                  <c:v>51995</c:v>
                </c:pt>
                <c:pt idx="6434">
                  <c:v>51994</c:v>
                </c:pt>
                <c:pt idx="6435">
                  <c:v>51992</c:v>
                </c:pt>
                <c:pt idx="6436">
                  <c:v>51992</c:v>
                </c:pt>
                <c:pt idx="6437">
                  <c:v>51990</c:v>
                </c:pt>
                <c:pt idx="6438">
                  <c:v>51988</c:v>
                </c:pt>
                <c:pt idx="6439">
                  <c:v>51985</c:v>
                </c:pt>
                <c:pt idx="6440">
                  <c:v>51985</c:v>
                </c:pt>
                <c:pt idx="6441">
                  <c:v>51985</c:v>
                </c:pt>
                <c:pt idx="6442">
                  <c:v>51984</c:v>
                </c:pt>
                <c:pt idx="6443">
                  <c:v>51979</c:v>
                </c:pt>
                <c:pt idx="6444">
                  <c:v>51977</c:v>
                </c:pt>
                <c:pt idx="6445">
                  <c:v>51977</c:v>
                </c:pt>
                <c:pt idx="6446">
                  <c:v>51974</c:v>
                </c:pt>
                <c:pt idx="6447">
                  <c:v>51973</c:v>
                </c:pt>
                <c:pt idx="6448">
                  <c:v>51973</c:v>
                </c:pt>
                <c:pt idx="6449">
                  <c:v>51972</c:v>
                </c:pt>
                <c:pt idx="6450">
                  <c:v>51969</c:v>
                </c:pt>
                <c:pt idx="6451">
                  <c:v>51968</c:v>
                </c:pt>
                <c:pt idx="6452">
                  <c:v>51955</c:v>
                </c:pt>
                <c:pt idx="6453">
                  <c:v>51954</c:v>
                </c:pt>
                <c:pt idx="6454">
                  <c:v>51953</c:v>
                </c:pt>
                <c:pt idx="6455">
                  <c:v>51952</c:v>
                </c:pt>
                <c:pt idx="6456">
                  <c:v>51950</c:v>
                </c:pt>
                <c:pt idx="6457">
                  <c:v>51949</c:v>
                </c:pt>
                <c:pt idx="6458">
                  <c:v>51949</c:v>
                </c:pt>
                <c:pt idx="6459">
                  <c:v>51946</c:v>
                </c:pt>
                <c:pt idx="6460">
                  <c:v>51944</c:v>
                </c:pt>
                <c:pt idx="6461">
                  <c:v>51940</c:v>
                </c:pt>
                <c:pt idx="6462">
                  <c:v>51939</c:v>
                </c:pt>
                <c:pt idx="6463">
                  <c:v>51938</c:v>
                </c:pt>
                <c:pt idx="6464">
                  <c:v>51938</c:v>
                </c:pt>
                <c:pt idx="6465">
                  <c:v>51934</c:v>
                </c:pt>
                <c:pt idx="6466">
                  <c:v>51932</c:v>
                </c:pt>
                <c:pt idx="6467">
                  <c:v>51929</c:v>
                </c:pt>
                <c:pt idx="6468">
                  <c:v>51929</c:v>
                </c:pt>
                <c:pt idx="6469">
                  <c:v>51928</c:v>
                </c:pt>
                <c:pt idx="6470">
                  <c:v>51928</c:v>
                </c:pt>
                <c:pt idx="6471">
                  <c:v>51926</c:v>
                </c:pt>
                <c:pt idx="6472">
                  <c:v>51925</c:v>
                </c:pt>
                <c:pt idx="6473">
                  <c:v>51922</c:v>
                </c:pt>
                <c:pt idx="6474">
                  <c:v>51916</c:v>
                </c:pt>
                <c:pt idx="6475">
                  <c:v>51915</c:v>
                </c:pt>
                <c:pt idx="6476">
                  <c:v>51914</c:v>
                </c:pt>
                <c:pt idx="6477">
                  <c:v>51911</c:v>
                </c:pt>
                <c:pt idx="6478">
                  <c:v>51909</c:v>
                </c:pt>
                <c:pt idx="6479">
                  <c:v>51907</c:v>
                </c:pt>
                <c:pt idx="6480">
                  <c:v>51906</c:v>
                </c:pt>
                <c:pt idx="6481">
                  <c:v>51905</c:v>
                </c:pt>
                <c:pt idx="6482">
                  <c:v>51905</c:v>
                </c:pt>
                <c:pt idx="6483">
                  <c:v>51905</c:v>
                </c:pt>
                <c:pt idx="6484">
                  <c:v>51903</c:v>
                </c:pt>
                <c:pt idx="6485">
                  <c:v>51900</c:v>
                </c:pt>
                <c:pt idx="6486">
                  <c:v>51897</c:v>
                </c:pt>
                <c:pt idx="6487">
                  <c:v>51896</c:v>
                </c:pt>
                <c:pt idx="6488">
                  <c:v>51896</c:v>
                </c:pt>
                <c:pt idx="6489">
                  <c:v>51888</c:v>
                </c:pt>
                <c:pt idx="6490">
                  <c:v>51888</c:v>
                </c:pt>
                <c:pt idx="6491">
                  <c:v>51887</c:v>
                </c:pt>
                <c:pt idx="6492">
                  <c:v>51883</c:v>
                </c:pt>
                <c:pt idx="6493">
                  <c:v>51881</c:v>
                </c:pt>
                <c:pt idx="6494">
                  <c:v>51881</c:v>
                </c:pt>
                <c:pt idx="6495">
                  <c:v>51879</c:v>
                </c:pt>
                <c:pt idx="6496">
                  <c:v>51879</c:v>
                </c:pt>
                <c:pt idx="6497">
                  <c:v>51875</c:v>
                </c:pt>
                <c:pt idx="6498">
                  <c:v>51872</c:v>
                </c:pt>
                <c:pt idx="6499">
                  <c:v>51869</c:v>
                </c:pt>
                <c:pt idx="6500">
                  <c:v>51869</c:v>
                </c:pt>
                <c:pt idx="6501">
                  <c:v>51868</c:v>
                </c:pt>
                <c:pt idx="6502">
                  <c:v>51868</c:v>
                </c:pt>
                <c:pt idx="6503">
                  <c:v>51867</c:v>
                </c:pt>
                <c:pt idx="6504">
                  <c:v>51863</c:v>
                </c:pt>
                <c:pt idx="6505">
                  <c:v>51861</c:v>
                </c:pt>
                <c:pt idx="6506">
                  <c:v>51859</c:v>
                </c:pt>
                <c:pt idx="6507">
                  <c:v>51858</c:v>
                </c:pt>
                <c:pt idx="6508">
                  <c:v>51855</c:v>
                </c:pt>
                <c:pt idx="6509">
                  <c:v>51853</c:v>
                </c:pt>
                <c:pt idx="6510">
                  <c:v>51852</c:v>
                </c:pt>
                <c:pt idx="6511">
                  <c:v>51850</c:v>
                </c:pt>
                <c:pt idx="6512">
                  <c:v>51850</c:v>
                </c:pt>
                <c:pt idx="6513">
                  <c:v>51849</c:v>
                </c:pt>
                <c:pt idx="6514">
                  <c:v>51849</c:v>
                </c:pt>
                <c:pt idx="6515">
                  <c:v>51846</c:v>
                </c:pt>
                <c:pt idx="6516">
                  <c:v>51841</c:v>
                </c:pt>
                <c:pt idx="6517">
                  <c:v>51837</c:v>
                </c:pt>
                <c:pt idx="6518">
                  <c:v>51837</c:v>
                </c:pt>
                <c:pt idx="6519">
                  <c:v>51836</c:v>
                </c:pt>
                <c:pt idx="6520">
                  <c:v>51833</c:v>
                </c:pt>
                <c:pt idx="6521">
                  <c:v>51832</c:v>
                </c:pt>
                <c:pt idx="6522">
                  <c:v>51832</c:v>
                </c:pt>
                <c:pt idx="6523">
                  <c:v>51830</c:v>
                </c:pt>
                <c:pt idx="6524">
                  <c:v>51830</c:v>
                </c:pt>
                <c:pt idx="6525">
                  <c:v>51829</c:v>
                </c:pt>
                <c:pt idx="6526">
                  <c:v>51828</c:v>
                </c:pt>
                <c:pt idx="6527">
                  <c:v>51825</c:v>
                </c:pt>
                <c:pt idx="6528">
                  <c:v>51824</c:v>
                </c:pt>
                <c:pt idx="6529">
                  <c:v>51823</c:v>
                </c:pt>
                <c:pt idx="6530">
                  <c:v>51822</c:v>
                </c:pt>
                <c:pt idx="6531">
                  <c:v>51821</c:v>
                </c:pt>
                <c:pt idx="6532">
                  <c:v>51820</c:v>
                </c:pt>
                <c:pt idx="6533">
                  <c:v>51820</c:v>
                </c:pt>
                <c:pt idx="6534">
                  <c:v>51820</c:v>
                </c:pt>
                <c:pt idx="6535">
                  <c:v>51820</c:v>
                </c:pt>
                <c:pt idx="6536">
                  <c:v>51819</c:v>
                </c:pt>
                <c:pt idx="6537">
                  <c:v>51818</c:v>
                </c:pt>
                <c:pt idx="6538">
                  <c:v>51815</c:v>
                </c:pt>
                <c:pt idx="6539">
                  <c:v>51811</c:v>
                </c:pt>
                <c:pt idx="6540">
                  <c:v>51809</c:v>
                </c:pt>
                <c:pt idx="6541">
                  <c:v>51808</c:v>
                </c:pt>
                <c:pt idx="6542">
                  <c:v>51808</c:v>
                </c:pt>
                <c:pt idx="6543">
                  <c:v>51807</c:v>
                </c:pt>
                <c:pt idx="6544">
                  <c:v>51805</c:v>
                </c:pt>
                <c:pt idx="6545">
                  <c:v>51805</c:v>
                </c:pt>
                <c:pt idx="6546">
                  <c:v>51804</c:v>
                </c:pt>
                <c:pt idx="6547">
                  <c:v>51801</c:v>
                </c:pt>
                <c:pt idx="6548">
                  <c:v>51795</c:v>
                </c:pt>
                <c:pt idx="6549">
                  <c:v>51794</c:v>
                </c:pt>
                <c:pt idx="6550">
                  <c:v>51793</c:v>
                </c:pt>
                <c:pt idx="6551">
                  <c:v>51791</c:v>
                </c:pt>
                <c:pt idx="6552">
                  <c:v>51789</c:v>
                </c:pt>
                <c:pt idx="6553">
                  <c:v>51787</c:v>
                </c:pt>
                <c:pt idx="6554">
                  <c:v>51787</c:v>
                </c:pt>
                <c:pt idx="6555">
                  <c:v>51786</c:v>
                </c:pt>
                <c:pt idx="6556">
                  <c:v>51785</c:v>
                </c:pt>
                <c:pt idx="6557">
                  <c:v>51784</c:v>
                </c:pt>
                <c:pt idx="6558">
                  <c:v>51783</c:v>
                </c:pt>
                <c:pt idx="6559">
                  <c:v>51779</c:v>
                </c:pt>
                <c:pt idx="6560">
                  <c:v>51778</c:v>
                </c:pt>
                <c:pt idx="6561">
                  <c:v>51778</c:v>
                </c:pt>
                <c:pt idx="6562">
                  <c:v>51777</c:v>
                </c:pt>
                <c:pt idx="6563">
                  <c:v>51775</c:v>
                </c:pt>
                <c:pt idx="6564">
                  <c:v>51774</c:v>
                </c:pt>
                <c:pt idx="6565">
                  <c:v>51769</c:v>
                </c:pt>
                <c:pt idx="6566">
                  <c:v>51769</c:v>
                </c:pt>
                <c:pt idx="6567">
                  <c:v>51768</c:v>
                </c:pt>
                <c:pt idx="6568">
                  <c:v>51767</c:v>
                </c:pt>
                <c:pt idx="6569">
                  <c:v>51764</c:v>
                </c:pt>
                <c:pt idx="6570">
                  <c:v>51763</c:v>
                </c:pt>
                <c:pt idx="6571">
                  <c:v>51762</c:v>
                </c:pt>
                <c:pt idx="6572">
                  <c:v>51761</c:v>
                </c:pt>
                <c:pt idx="6573">
                  <c:v>51760</c:v>
                </c:pt>
                <c:pt idx="6574">
                  <c:v>51759</c:v>
                </c:pt>
                <c:pt idx="6575">
                  <c:v>51759</c:v>
                </c:pt>
                <c:pt idx="6576">
                  <c:v>51753</c:v>
                </c:pt>
                <c:pt idx="6577">
                  <c:v>51752</c:v>
                </c:pt>
                <c:pt idx="6578">
                  <c:v>51750</c:v>
                </c:pt>
                <c:pt idx="6579">
                  <c:v>51750</c:v>
                </c:pt>
                <c:pt idx="6580">
                  <c:v>51747</c:v>
                </c:pt>
                <c:pt idx="6581">
                  <c:v>51743</c:v>
                </c:pt>
                <c:pt idx="6582">
                  <c:v>51742</c:v>
                </c:pt>
                <c:pt idx="6583">
                  <c:v>51741</c:v>
                </c:pt>
                <c:pt idx="6584">
                  <c:v>51740</c:v>
                </c:pt>
                <c:pt idx="6585">
                  <c:v>51738</c:v>
                </c:pt>
                <c:pt idx="6586">
                  <c:v>51738</c:v>
                </c:pt>
                <c:pt idx="6587">
                  <c:v>51738</c:v>
                </c:pt>
                <c:pt idx="6588">
                  <c:v>51738</c:v>
                </c:pt>
                <c:pt idx="6589">
                  <c:v>51735</c:v>
                </c:pt>
                <c:pt idx="6590">
                  <c:v>51726</c:v>
                </c:pt>
                <c:pt idx="6591">
                  <c:v>51725</c:v>
                </c:pt>
                <c:pt idx="6592">
                  <c:v>51723</c:v>
                </c:pt>
                <c:pt idx="6593">
                  <c:v>51720</c:v>
                </c:pt>
                <c:pt idx="6594">
                  <c:v>51717</c:v>
                </c:pt>
                <c:pt idx="6595">
                  <c:v>51714</c:v>
                </c:pt>
                <c:pt idx="6596">
                  <c:v>51714</c:v>
                </c:pt>
                <c:pt idx="6597">
                  <c:v>51713</c:v>
                </c:pt>
                <c:pt idx="6598">
                  <c:v>51713</c:v>
                </c:pt>
                <c:pt idx="6599">
                  <c:v>51711</c:v>
                </c:pt>
                <c:pt idx="6600">
                  <c:v>51710</c:v>
                </c:pt>
                <c:pt idx="6601">
                  <c:v>51709</c:v>
                </c:pt>
                <c:pt idx="6602">
                  <c:v>51707</c:v>
                </c:pt>
                <c:pt idx="6603">
                  <c:v>51706</c:v>
                </c:pt>
                <c:pt idx="6604">
                  <c:v>51704</c:v>
                </c:pt>
                <c:pt idx="6605">
                  <c:v>51703</c:v>
                </c:pt>
                <c:pt idx="6606">
                  <c:v>51702</c:v>
                </c:pt>
                <c:pt idx="6607">
                  <c:v>51697</c:v>
                </c:pt>
                <c:pt idx="6608">
                  <c:v>51697</c:v>
                </c:pt>
                <c:pt idx="6609">
                  <c:v>51696</c:v>
                </c:pt>
                <c:pt idx="6610">
                  <c:v>51694</c:v>
                </c:pt>
                <c:pt idx="6611">
                  <c:v>51692</c:v>
                </c:pt>
                <c:pt idx="6612">
                  <c:v>51690</c:v>
                </c:pt>
                <c:pt idx="6613">
                  <c:v>51690</c:v>
                </c:pt>
                <c:pt idx="6614">
                  <c:v>51686</c:v>
                </c:pt>
                <c:pt idx="6615">
                  <c:v>51686</c:v>
                </c:pt>
                <c:pt idx="6616">
                  <c:v>51681</c:v>
                </c:pt>
                <c:pt idx="6617">
                  <c:v>51677</c:v>
                </c:pt>
                <c:pt idx="6618">
                  <c:v>51677</c:v>
                </c:pt>
                <c:pt idx="6619">
                  <c:v>51675</c:v>
                </c:pt>
                <c:pt idx="6620">
                  <c:v>51672</c:v>
                </c:pt>
                <c:pt idx="6621">
                  <c:v>51669</c:v>
                </c:pt>
                <c:pt idx="6622">
                  <c:v>51665</c:v>
                </c:pt>
                <c:pt idx="6623">
                  <c:v>51664</c:v>
                </c:pt>
                <c:pt idx="6624">
                  <c:v>51661</c:v>
                </c:pt>
                <c:pt idx="6625">
                  <c:v>51661</c:v>
                </c:pt>
                <c:pt idx="6626">
                  <c:v>51659</c:v>
                </c:pt>
                <c:pt idx="6627">
                  <c:v>51653</c:v>
                </c:pt>
                <c:pt idx="6628">
                  <c:v>51653</c:v>
                </c:pt>
                <c:pt idx="6629">
                  <c:v>51649</c:v>
                </c:pt>
                <c:pt idx="6630">
                  <c:v>51648</c:v>
                </c:pt>
                <c:pt idx="6631">
                  <c:v>51647</c:v>
                </c:pt>
                <c:pt idx="6632">
                  <c:v>51647</c:v>
                </c:pt>
                <c:pt idx="6633">
                  <c:v>51647</c:v>
                </c:pt>
                <c:pt idx="6634">
                  <c:v>51645</c:v>
                </c:pt>
                <c:pt idx="6635">
                  <c:v>51645</c:v>
                </c:pt>
                <c:pt idx="6636">
                  <c:v>51644</c:v>
                </c:pt>
                <c:pt idx="6637">
                  <c:v>51642</c:v>
                </c:pt>
                <c:pt idx="6638">
                  <c:v>51641</c:v>
                </c:pt>
                <c:pt idx="6639">
                  <c:v>51637</c:v>
                </c:pt>
                <c:pt idx="6640">
                  <c:v>51636</c:v>
                </c:pt>
                <c:pt idx="6641">
                  <c:v>51636</c:v>
                </c:pt>
                <c:pt idx="6642">
                  <c:v>51627</c:v>
                </c:pt>
                <c:pt idx="6643">
                  <c:v>51623</c:v>
                </c:pt>
                <c:pt idx="6644">
                  <c:v>51622</c:v>
                </c:pt>
                <c:pt idx="6645">
                  <c:v>51619</c:v>
                </c:pt>
                <c:pt idx="6646">
                  <c:v>51619</c:v>
                </c:pt>
                <c:pt idx="6647">
                  <c:v>51618</c:v>
                </c:pt>
                <c:pt idx="6648">
                  <c:v>51613</c:v>
                </c:pt>
                <c:pt idx="6649">
                  <c:v>51612</c:v>
                </c:pt>
                <c:pt idx="6650">
                  <c:v>51608</c:v>
                </c:pt>
                <c:pt idx="6651">
                  <c:v>51608</c:v>
                </c:pt>
                <c:pt idx="6652">
                  <c:v>51607</c:v>
                </c:pt>
                <c:pt idx="6653">
                  <c:v>51606</c:v>
                </c:pt>
                <c:pt idx="6654">
                  <c:v>51604</c:v>
                </c:pt>
                <c:pt idx="6655">
                  <c:v>51603</c:v>
                </c:pt>
                <c:pt idx="6656">
                  <c:v>51601</c:v>
                </c:pt>
                <c:pt idx="6657">
                  <c:v>51598</c:v>
                </c:pt>
                <c:pt idx="6658">
                  <c:v>51596</c:v>
                </c:pt>
                <c:pt idx="6659">
                  <c:v>51593</c:v>
                </c:pt>
                <c:pt idx="6660">
                  <c:v>51593</c:v>
                </c:pt>
                <c:pt idx="6661">
                  <c:v>51587</c:v>
                </c:pt>
                <c:pt idx="6662">
                  <c:v>51586</c:v>
                </c:pt>
                <c:pt idx="6663">
                  <c:v>51586</c:v>
                </c:pt>
                <c:pt idx="6664">
                  <c:v>51585</c:v>
                </c:pt>
                <c:pt idx="6665">
                  <c:v>51585</c:v>
                </c:pt>
                <c:pt idx="6666">
                  <c:v>51582</c:v>
                </c:pt>
                <c:pt idx="6667">
                  <c:v>51580</c:v>
                </c:pt>
                <c:pt idx="6668">
                  <c:v>51576</c:v>
                </c:pt>
                <c:pt idx="6669">
                  <c:v>51575</c:v>
                </c:pt>
                <c:pt idx="6670">
                  <c:v>51572</c:v>
                </c:pt>
                <c:pt idx="6671">
                  <c:v>51569</c:v>
                </c:pt>
                <c:pt idx="6672">
                  <c:v>51567</c:v>
                </c:pt>
                <c:pt idx="6673">
                  <c:v>51566</c:v>
                </c:pt>
                <c:pt idx="6674">
                  <c:v>51560</c:v>
                </c:pt>
                <c:pt idx="6675">
                  <c:v>51560</c:v>
                </c:pt>
                <c:pt idx="6676">
                  <c:v>51560</c:v>
                </c:pt>
                <c:pt idx="6677">
                  <c:v>51559</c:v>
                </c:pt>
                <c:pt idx="6678">
                  <c:v>51555</c:v>
                </c:pt>
                <c:pt idx="6679">
                  <c:v>51554</c:v>
                </c:pt>
                <c:pt idx="6680">
                  <c:v>51552</c:v>
                </c:pt>
                <c:pt idx="6681">
                  <c:v>51552</c:v>
                </c:pt>
                <c:pt idx="6682">
                  <c:v>51548</c:v>
                </c:pt>
                <c:pt idx="6683">
                  <c:v>51545</c:v>
                </c:pt>
                <c:pt idx="6684">
                  <c:v>51542</c:v>
                </c:pt>
                <c:pt idx="6685">
                  <c:v>51540</c:v>
                </c:pt>
                <c:pt idx="6686">
                  <c:v>51535</c:v>
                </c:pt>
                <c:pt idx="6687">
                  <c:v>51535</c:v>
                </c:pt>
                <c:pt idx="6688">
                  <c:v>51532</c:v>
                </c:pt>
                <c:pt idx="6689">
                  <c:v>51531</c:v>
                </c:pt>
                <c:pt idx="6690">
                  <c:v>51530</c:v>
                </c:pt>
                <c:pt idx="6691">
                  <c:v>51529</c:v>
                </c:pt>
                <c:pt idx="6692">
                  <c:v>51526</c:v>
                </c:pt>
                <c:pt idx="6693">
                  <c:v>51525</c:v>
                </c:pt>
                <c:pt idx="6694">
                  <c:v>51525</c:v>
                </c:pt>
                <c:pt idx="6695">
                  <c:v>51524</c:v>
                </c:pt>
                <c:pt idx="6696">
                  <c:v>51523</c:v>
                </c:pt>
                <c:pt idx="6697">
                  <c:v>51523</c:v>
                </c:pt>
                <c:pt idx="6698">
                  <c:v>51521</c:v>
                </c:pt>
                <c:pt idx="6699">
                  <c:v>51519</c:v>
                </c:pt>
                <c:pt idx="6700">
                  <c:v>51519</c:v>
                </c:pt>
                <c:pt idx="6701">
                  <c:v>51517</c:v>
                </c:pt>
                <c:pt idx="6702">
                  <c:v>51517</c:v>
                </c:pt>
                <c:pt idx="6703">
                  <c:v>51516</c:v>
                </c:pt>
                <c:pt idx="6704">
                  <c:v>51514</c:v>
                </c:pt>
                <c:pt idx="6705">
                  <c:v>51513</c:v>
                </c:pt>
                <c:pt idx="6706">
                  <c:v>51512</c:v>
                </c:pt>
                <c:pt idx="6707">
                  <c:v>51511</c:v>
                </c:pt>
                <c:pt idx="6708">
                  <c:v>51509</c:v>
                </c:pt>
                <c:pt idx="6709">
                  <c:v>51508</c:v>
                </c:pt>
                <c:pt idx="6710">
                  <c:v>51508</c:v>
                </c:pt>
                <c:pt idx="6711">
                  <c:v>51504</c:v>
                </c:pt>
                <c:pt idx="6712">
                  <c:v>51502</c:v>
                </c:pt>
                <c:pt idx="6713">
                  <c:v>51502</c:v>
                </c:pt>
                <c:pt idx="6714">
                  <c:v>51500</c:v>
                </c:pt>
                <c:pt idx="6715">
                  <c:v>51492</c:v>
                </c:pt>
                <c:pt idx="6716">
                  <c:v>51492</c:v>
                </c:pt>
                <c:pt idx="6717">
                  <c:v>51492</c:v>
                </c:pt>
                <c:pt idx="6718">
                  <c:v>51490</c:v>
                </c:pt>
                <c:pt idx="6719">
                  <c:v>51489</c:v>
                </c:pt>
                <c:pt idx="6720">
                  <c:v>51488</c:v>
                </c:pt>
                <c:pt idx="6721">
                  <c:v>51487</c:v>
                </c:pt>
                <c:pt idx="6722">
                  <c:v>51487</c:v>
                </c:pt>
                <c:pt idx="6723">
                  <c:v>51486</c:v>
                </c:pt>
                <c:pt idx="6724">
                  <c:v>51481</c:v>
                </c:pt>
                <c:pt idx="6725">
                  <c:v>51480</c:v>
                </c:pt>
                <c:pt idx="6726">
                  <c:v>51479</c:v>
                </c:pt>
                <c:pt idx="6727">
                  <c:v>51474</c:v>
                </c:pt>
                <c:pt idx="6728">
                  <c:v>51471</c:v>
                </c:pt>
                <c:pt idx="6729">
                  <c:v>51470</c:v>
                </c:pt>
                <c:pt idx="6730">
                  <c:v>51470</c:v>
                </c:pt>
                <c:pt idx="6731">
                  <c:v>51469</c:v>
                </c:pt>
                <c:pt idx="6732">
                  <c:v>51467</c:v>
                </c:pt>
                <c:pt idx="6733">
                  <c:v>51466</c:v>
                </c:pt>
                <c:pt idx="6734">
                  <c:v>51465</c:v>
                </c:pt>
                <c:pt idx="6735">
                  <c:v>51465</c:v>
                </c:pt>
                <c:pt idx="6736">
                  <c:v>51462</c:v>
                </c:pt>
                <c:pt idx="6737">
                  <c:v>51461</c:v>
                </c:pt>
                <c:pt idx="6738">
                  <c:v>51459</c:v>
                </c:pt>
                <c:pt idx="6739">
                  <c:v>51458</c:v>
                </c:pt>
                <c:pt idx="6740">
                  <c:v>51457</c:v>
                </c:pt>
                <c:pt idx="6741">
                  <c:v>51456</c:v>
                </c:pt>
                <c:pt idx="6742">
                  <c:v>51453</c:v>
                </c:pt>
                <c:pt idx="6743">
                  <c:v>51452</c:v>
                </c:pt>
                <c:pt idx="6744">
                  <c:v>51452</c:v>
                </c:pt>
                <c:pt idx="6745">
                  <c:v>51452</c:v>
                </c:pt>
                <c:pt idx="6746">
                  <c:v>51451</c:v>
                </c:pt>
                <c:pt idx="6747">
                  <c:v>51451</c:v>
                </c:pt>
                <c:pt idx="6748">
                  <c:v>51447</c:v>
                </c:pt>
                <c:pt idx="6749">
                  <c:v>51441</c:v>
                </c:pt>
                <c:pt idx="6750">
                  <c:v>51439</c:v>
                </c:pt>
                <c:pt idx="6751">
                  <c:v>51436</c:v>
                </c:pt>
                <c:pt idx="6752">
                  <c:v>51434</c:v>
                </c:pt>
                <c:pt idx="6753">
                  <c:v>51433</c:v>
                </c:pt>
                <c:pt idx="6754">
                  <c:v>51426</c:v>
                </c:pt>
                <c:pt idx="6755">
                  <c:v>51425</c:v>
                </c:pt>
                <c:pt idx="6756">
                  <c:v>51424</c:v>
                </c:pt>
                <c:pt idx="6757">
                  <c:v>51422</c:v>
                </c:pt>
                <c:pt idx="6758">
                  <c:v>51422</c:v>
                </c:pt>
                <c:pt idx="6759">
                  <c:v>51418</c:v>
                </c:pt>
                <c:pt idx="6760">
                  <c:v>51418</c:v>
                </c:pt>
                <c:pt idx="6761">
                  <c:v>51417</c:v>
                </c:pt>
                <c:pt idx="6762">
                  <c:v>51416</c:v>
                </c:pt>
                <c:pt idx="6763">
                  <c:v>51410</c:v>
                </c:pt>
                <c:pt idx="6764">
                  <c:v>51409</c:v>
                </c:pt>
                <c:pt idx="6765">
                  <c:v>51409</c:v>
                </c:pt>
                <c:pt idx="6766">
                  <c:v>51409</c:v>
                </c:pt>
                <c:pt idx="6767">
                  <c:v>51408</c:v>
                </c:pt>
                <c:pt idx="6768">
                  <c:v>51408</c:v>
                </c:pt>
                <c:pt idx="6769">
                  <c:v>51408</c:v>
                </c:pt>
                <c:pt idx="6770">
                  <c:v>51408</c:v>
                </c:pt>
                <c:pt idx="6771">
                  <c:v>51407</c:v>
                </c:pt>
                <c:pt idx="6772">
                  <c:v>51407</c:v>
                </c:pt>
                <c:pt idx="6773">
                  <c:v>51406</c:v>
                </c:pt>
                <c:pt idx="6774">
                  <c:v>51405</c:v>
                </c:pt>
                <c:pt idx="6775">
                  <c:v>51405</c:v>
                </c:pt>
                <c:pt idx="6776">
                  <c:v>51403</c:v>
                </c:pt>
                <c:pt idx="6777">
                  <c:v>51400</c:v>
                </c:pt>
                <c:pt idx="6778">
                  <c:v>51398</c:v>
                </c:pt>
                <c:pt idx="6779">
                  <c:v>51397</c:v>
                </c:pt>
                <c:pt idx="6780">
                  <c:v>51396</c:v>
                </c:pt>
                <c:pt idx="6781">
                  <c:v>51392</c:v>
                </c:pt>
                <c:pt idx="6782">
                  <c:v>51388</c:v>
                </c:pt>
                <c:pt idx="6783">
                  <c:v>51384</c:v>
                </c:pt>
                <c:pt idx="6784">
                  <c:v>51383</c:v>
                </c:pt>
                <c:pt idx="6785">
                  <c:v>51380</c:v>
                </c:pt>
                <c:pt idx="6786">
                  <c:v>51379</c:v>
                </c:pt>
                <c:pt idx="6787">
                  <c:v>51379</c:v>
                </c:pt>
                <c:pt idx="6788">
                  <c:v>51379</c:v>
                </c:pt>
                <c:pt idx="6789">
                  <c:v>51377</c:v>
                </c:pt>
                <c:pt idx="6790">
                  <c:v>51369</c:v>
                </c:pt>
                <c:pt idx="6791">
                  <c:v>51369</c:v>
                </c:pt>
                <c:pt idx="6792">
                  <c:v>51369</c:v>
                </c:pt>
                <c:pt idx="6793">
                  <c:v>51367</c:v>
                </c:pt>
                <c:pt idx="6794">
                  <c:v>51366</c:v>
                </c:pt>
                <c:pt idx="6795">
                  <c:v>51366</c:v>
                </c:pt>
                <c:pt idx="6796">
                  <c:v>51364</c:v>
                </c:pt>
                <c:pt idx="6797">
                  <c:v>51364</c:v>
                </c:pt>
                <c:pt idx="6798">
                  <c:v>51363</c:v>
                </c:pt>
                <c:pt idx="6799">
                  <c:v>51363</c:v>
                </c:pt>
                <c:pt idx="6800">
                  <c:v>51363</c:v>
                </c:pt>
                <c:pt idx="6801">
                  <c:v>51358</c:v>
                </c:pt>
                <c:pt idx="6802">
                  <c:v>51357</c:v>
                </c:pt>
                <c:pt idx="6803">
                  <c:v>51352</c:v>
                </c:pt>
                <c:pt idx="6804">
                  <c:v>51350</c:v>
                </c:pt>
                <c:pt idx="6805">
                  <c:v>51349</c:v>
                </c:pt>
                <c:pt idx="6806">
                  <c:v>51346</c:v>
                </c:pt>
                <c:pt idx="6807">
                  <c:v>51343</c:v>
                </c:pt>
                <c:pt idx="6808">
                  <c:v>51343</c:v>
                </c:pt>
                <c:pt idx="6809">
                  <c:v>51342</c:v>
                </c:pt>
                <c:pt idx="6810">
                  <c:v>51337</c:v>
                </c:pt>
                <c:pt idx="6811">
                  <c:v>51335</c:v>
                </c:pt>
                <c:pt idx="6812">
                  <c:v>51335</c:v>
                </c:pt>
                <c:pt idx="6813">
                  <c:v>51330</c:v>
                </c:pt>
                <c:pt idx="6814">
                  <c:v>51330</c:v>
                </c:pt>
                <c:pt idx="6815">
                  <c:v>51329</c:v>
                </c:pt>
                <c:pt idx="6816">
                  <c:v>51326</c:v>
                </c:pt>
                <c:pt idx="6817">
                  <c:v>51324</c:v>
                </c:pt>
                <c:pt idx="6818">
                  <c:v>51324</c:v>
                </c:pt>
                <c:pt idx="6819">
                  <c:v>51321</c:v>
                </c:pt>
                <c:pt idx="6820">
                  <c:v>51321</c:v>
                </c:pt>
                <c:pt idx="6821">
                  <c:v>51320</c:v>
                </c:pt>
                <c:pt idx="6822">
                  <c:v>51320</c:v>
                </c:pt>
                <c:pt idx="6823">
                  <c:v>51318</c:v>
                </c:pt>
                <c:pt idx="6824">
                  <c:v>51317</c:v>
                </c:pt>
                <c:pt idx="6825">
                  <c:v>51314</c:v>
                </c:pt>
                <c:pt idx="6826">
                  <c:v>51310</c:v>
                </c:pt>
                <c:pt idx="6827">
                  <c:v>51307</c:v>
                </c:pt>
                <c:pt idx="6828">
                  <c:v>51306</c:v>
                </c:pt>
                <c:pt idx="6829">
                  <c:v>51303</c:v>
                </c:pt>
                <c:pt idx="6830">
                  <c:v>51302</c:v>
                </c:pt>
                <c:pt idx="6831">
                  <c:v>51302</c:v>
                </c:pt>
                <c:pt idx="6832">
                  <c:v>51300</c:v>
                </c:pt>
                <c:pt idx="6833">
                  <c:v>51299</c:v>
                </c:pt>
                <c:pt idx="6834">
                  <c:v>51297</c:v>
                </c:pt>
                <c:pt idx="6835">
                  <c:v>51294</c:v>
                </c:pt>
                <c:pt idx="6836">
                  <c:v>51293</c:v>
                </c:pt>
                <c:pt idx="6837">
                  <c:v>51293</c:v>
                </c:pt>
                <c:pt idx="6838">
                  <c:v>51291</c:v>
                </c:pt>
                <c:pt idx="6839">
                  <c:v>51291</c:v>
                </c:pt>
                <c:pt idx="6840">
                  <c:v>51290</c:v>
                </c:pt>
                <c:pt idx="6841">
                  <c:v>51290</c:v>
                </c:pt>
                <c:pt idx="6842">
                  <c:v>51286</c:v>
                </c:pt>
                <c:pt idx="6843">
                  <c:v>51284</c:v>
                </c:pt>
                <c:pt idx="6844">
                  <c:v>51284</c:v>
                </c:pt>
                <c:pt idx="6845">
                  <c:v>51282</c:v>
                </c:pt>
                <c:pt idx="6846">
                  <c:v>51280</c:v>
                </c:pt>
                <c:pt idx="6847">
                  <c:v>51275</c:v>
                </c:pt>
                <c:pt idx="6848">
                  <c:v>51274</c:v>
                </c:pt>
                <c:pt idx="6849">
                  <c:v>51274</c:v>
                </c:pt>
                <c:pt idx="6850">
                  <c:v>51268</c:v>
                </c:pt>
                <c:pt idx="6851">
                  <c:v>51268</c:v>
                </c:pt>
                <c:pt idx="6852">
                  <c:v>51264</c:v>
                </c:pt>
                <c:pt idx="6853">
                  <c:v>51263</c:v>
                </c:pt>
                <c:pt idx="6854">
                  <c:v>51262</c:v>
                </c:pt>
                <c:pt idx="6855">
                  <c:v>51262</c:v>
                </c:pt>
                <c:pt idx="6856">
                  <c:v>51260</c:v>
                </c:pt>
                <c:pt idx="6857">
                  <c:v>51259</c:v>
                </c:pt>
                <c:pt idx="6858">
                  <c:v>51257</c:v>
                </c:pt>
                <c:pt idx="6859">
                  <c:v>51257</c:v>
                </c:pt>
                <c:pt idx="6860">
                  <c:v>51249</c:v>
                </c:pt>
                <c:pt idx="6861">
                  <c:v>51248</c:v>
                </c:pt>
                <c:pt idx="6862">
                  <c:v>51248</c:v>
                </c:pt>
                <c:pt idx="6863">
                  <c:v>51246</c:v>
                </c:pt>
                <c:pt idx="6864">
                  <c:v>51245</c:v>
                </c:pt>
                <c:pt idx="6865">
                  <c:v>51245</c:v>
                </c:pt>
                <c:pt idx="6866">
                  <c:v>51243</c:v>
                </c:pt>
                <c:pt idx="6867">
                  <c:v>51241</c:v>
                </c:pt>
                <c:pt idx="6868">
                  <c:v>51240</c:v>
                </c:pt>
                <c:pt idx="6869">
                  <c:v>51240</c:v>
                </c:pt>
                <c:pt idx="6870">
                  <c:v>51239</c:v>
                </c:pt>
                <c:pt idx="6871">
                  <c:v>51232</c:v>
                </c:pt>
                <c:pt idx="6872">
                  <c:v>51231</c:v>
                </c:pt>
                <c:pt idx="6873">
                  <c:v>51228</c:v>
                </c:pt>
                <c:pt idx="6874">
                  <c:v>51227</c:v>
                </c:pt>
                <c:pt idx="6875">
                  <c:v>51226</c:v>
                </c:pt>
                <c:pt idx="6876">
                  <c:v>51226</c:v>
                </c:pt>
                <c:pt idx="6877">
                  <c:v>51222</c:v>
                </c:pt>
                <c:pt idx="6878">
                  <c:v>51221</c:v>
                </c:pt>
                <c:pt idx="6879">
                  <c:v>51219</c:v>
                </c:pt>
                <c:pt idx="6880">
                  <c:v>51219</c:v>
                </c:pt>
                <c:pt idx="6881">
                  <c:v>51217</c:v>
                </c:pt>
                <c:pt idx="6882">
                  <c:v>51216</c:v>
                </c:pt>
                <c:pt idx="6883">
                  <c:v>51215</c:v>
                </c:pt>
                <c:pt idx="6884">
                  <c:v>51214</c:v>
                </c:pt>
                <c:pt idx="6885">
                  <c:v>51213</c:v>
                </c:pt>
                <c:pt idx="6886">
                  <c:v>51209</c:v>
                </c:pt>
                <c:pt idx="6887">
                  <c:v>51209</c:v>
                </c:pt>
                <c:pt idx="6888">
                  <c:v>51207</c:v>
                </c:pt>
                <c:pt idx="6889">
                  <c:v>51205</c:v>
                </c:pt>
                <c:pt idx="6890">
                  <c:v>51205</c:v>
                </c:pt>
                <c:pt idx="6891">
                  <c:v>51205</c:v>
                </c:pt>
                <c:pt idx="6892">
                  <c:v>51204</c:v>
                </c:pt>
                <c:pt idx="6893">
                  <c:v>51203</c:v>
                </c:pt>
                <c:pt idx="6894">
                  <c:v>51196</c:v>
                </c:pt>
                <c:pt idx="6895">
                  <c:v>51196</c:v>
                </c:pt>
                <c:pt idx="6896">
                  <c:v>51196</c:v>
                </c:pt>
                <c:pt idx="6897">
                  <c:v>51196</c:v>
                </c:pt>
                <c:pt idx="6898">
                  <c:v>51193</c:v>
                </c:pt>
                <c:pt idx="6899">
                  <c:v>51192</c:v>
                </c:pt>
                <c:pt idx="6900">
                  <c:v>51190</c:v>
                </c:pt>
                <c:pt idx="6901">
                  <c:v>51189</c:v>
                </c:pt>
                <c:pt idx="6902">
                  <c:v>51188</c:v>
                </c:pt>
                <c:pt idx="6903">
                  <c:v>51186</c:v>
                </c:pt>
                <c:pt idx="6904">
                  <c:v>51186</c:v>
                </c:pt>
                <c:pt idx="6905">
                  <c:v>51185</c:v>
                </c:pt>
                <c:pt idx="6906">
                  <c:v>51181</c:v>
                </c:pt>
                <c:pt idx="6907">
                  <c:v>51181</c:v>
                </c:pt>
                <c:pt idx="6908">
                  <c:v>51177</c:v>
                </c:pt>
                <c:pt idx="6909">
                  <c:v>51177</c:v>
                </c:pt>
                <c:pt idx="6910">
                  <c:v>51177</c:v>
                </c:pt>
                <c:pt idx="6911">
                  <c:v>51177</c:v>
                </c:pt>
                <c:pt idx="6912">
                  <c:v>51176</c:v>
                </c:pt>
                <c:pt idx="6913">
                  <c:v>51174</c:v>
                </c:pt>
                <c:pt idx="6914">
                  <c:v>51174</c:v>
                </c:pt>
                <c:pt idx="6915">
                  <c:v>51170</c:v>
                </c:pt>
                <c:pt idx="6916">
                  <c:v>51167</c:v>
                </c:pt>
                <c:pt idx="6917">
                  <c:v>51164</c:v>
                </c:pt>
                <c:pt idx="6918">
                  <c:v>51164</c:v>
                </c:pt>
                <c:pt idx="6919">
                  <c:v>51164</c:v>
                </c:pt>
                <c:pt idx="6920">
                  <c:v>51162</c:v>
                </c:pt>
                <c:pt idx="6921">
                  <c:v>51158</c:v>
                </c:pt>
                <c:pt idx="6922">
                  <c:v>51154</c:v>
                </c:pt>
                <c:pt idx="6923">
                  <c:v>51150</c:v>
                </c:pt>
                <c:pt idx="6924">
                  <c:v>51150</c:v>
                </c:pt>
                <c:pt idx="6925">
                  <c:v>51150</c:v>
                </c:pt>
                <c:pt idx="6926">
                  <c:v>51149</c:v>
                </c:pt>
                <c:pt idx="6927">
                  <c:v>51147</c:v>
                </c:pt>
                <c:pt idx="6928">
                  <c:v>51147</c:v>
                </c:pt>
                <c:pt idx="6929">
                  <c:v>51146</c:v>
                </c:pt>
                <c:pt idx="6930">
                  <c:v>51144</c:v>
                </c:pt>
                <c:pt idx="6931">
                  <c:v>51142</c:v>
                </c:pt>
                <c:pt idx="6932">
                  <c:v>51141</c:v>
                </c:pt>
                <c:pt idx="6933">
                  <c:v>51141</c:v>
                </c:pt>
                <c:pt idx="6934">
                  <c:v>51141</c:v>
                </c:pt>
                <c:pt idx="6935">
                  <c:v>51140</c:v>
                </c:pt>
                <c:pt idx="6936">
                  <c:v>51138</c:v>
                </c:pt>
                <c:pt idx="6937">
                  <c:v>51137</c:v>
                </c:pt>
                <c:pt idx="6938">
                  <c:v>51133</c:v>
                </c:pt>
                <c:pt idx="6939">
                  <c:v>51131</c:v>
                </c:pt>
                <c:pt idx="6940">
                  <c:v>51131</c:v>
                </c:pt>
                <c:pt idx="6941">
                  <c:v>51130</c:v>
                </c:pt>
                <c:pt idx="6942">
                  <c:v>51129</c:v>
                </c:pt>
                <c:pt idx="6943">
                  <c:v>51128</c:v>
                </c:pt>
                <c:pt idx="6944">
                  <c:v>51128</c:v>
                </c:pt>
                <c:pt idx="6945">
                  <c:v>51127</c:v>
                </c:pt>
                <c:pt idx="6946">
                  <c:v>51127</c:v>
                </c:pt>
                <c:pt idx="6947">
                  <c:v>51126</c:v>
                </c:pt>
                <c:pt idx="6948">
                  <c:v>51123</c:v>
                </c:pt>
                <c:pt idx="6949">
                  <c:v>51122</c:v>
                </c:pt>
                <c:pt idx="6950">
                  <c:v>51120</c:v>
                </c:pt>
                <c:pt idx="6951">
                  <c:v>51119</c:v>
                </c:pt>
                <c:pt idx="6952">
                  <c:v>51117</c:v>
                </c:pt>
                <c:pt idx="6953">
                  <c:v>51113</c:v>
                </c:pt>
                <c:pt idx="6954">
                  <c:v>51112</c:v>
                </c:pt>
                <c:pt idx="6955">
                  <c:v>51111</c:v>
                </c:pt>
                <c:pt idx="6956">
                  <c:v>51111</c:v>
                </c:pt>
                <c:pt idx="6957">
                  <c:v>51109</c:v>
                </c:pt>
                <c:pt idx="6958">
                  <c:v>51108</c:v>
                </c:pt>
                <c:pt idx="6959">
                  <c:v>51106</c:v>
                </c:pt>
                <c:pt idx="6960">
                  <c:v>51105</c:v>
                </c:pt>
                <c:pt idx="6961">
                  <c:v>51104</c:v>
                </c:pt>
                <c:pt idx="6962">
                  <c:v>51102</c:v>
                </c:pt>
                <c:pt idx="6963">
                  <c:v>51101</c:v>
                </c:pt>
                <c:pt idx="6964">
                  <c:v>51100</c:v>
                </c:pt>
                <c:pt idx="6965">
                  <c:v>51100</c:v>
                </c:pt>
                <c:pt idx="6966">
                  <c:v>51099</c:v>
                </c:pt>
                <c:pt idx="6967">
                  <c:v>51095</c:v>
                </c:pt>
                <c:pt idx="6968">
                  <c:v>51093</c:v>
                </c:pt>
                <c:pt idx="6969">
                  <c:v>51086</c:v>
                </c:pt>
                <c:pt idx="6970">
                  <c:v>51086</c:v>
                </c:pt>
                <c:pt idx="6971">
                  <c:v>51077</c:v>
                </c:pt>
                <c:pt idx="6972">
                  <c:v>51077</c:v>
                </c:pt>
                <c:pt idx="6973">
                  <c:v>51076</c:v>
                </c:pt>
                <c:pt idx="6974">
                  <c:v>51070</c:v>
                </c:pt>
                <c:pt idx="6975">
                  <c:v>51068</c:v>
                </c:pt>
                <c:pt idx="6976">
                  <c:v>51068</c:v>
                </c:pt>
                <c:pt idx="6977">
                  <c:v>51067</c:v>
                </c:pt>
                <c:pt idx="6978">
                  <c:v>51067</c:v>
                </c:pt>
                <c:pt idx="6979">
                  <c:v>51065</c:v>
                </c:pt>
                <c:pt idx="6980">
                  <c:v>51063</c:v>
                </c:pt>
                <c:pt idx="6981">
                  <c:v>51059</c:v>
                </c:pt>
                <c:pt idx="6982">
                  <c:v>51057</c:v>
                </c:pt>
                <c:pt idx="6983">
                  <c:v>51056</c:v>
                </c:pt>
                <c:pt idx="6984">
                  <c:v>51055</c:v>
                </c:pt>
                <c:pt idx="6985">
                  <c:v>51055</c:v>
                </c:pt>
                <c:pt idx="6986">
                  <c:v>51048</c:v>
                </c:pt>
                <c:pt idx="6987">
                  <c:v>51047</c:v>
                </c:pt>
                <c:pt idx="6988">
                  <c:v>51045</c:v>
                </c:pt>
                <c:pt idx="6989">
                  <c:v>51044</c:v>
                </c:pt>
                <c:pt idx="6990">
                  <c:v>51044</c:v>
                </c:pt>
                <c:pt idx="6991">
                  <c:v>51044</c:v>
                </c:pt>
                <c:pt idx="6992">
                  <c:v>51044</c:v>
                </c:pt>
                <c:pt idx="6993">
                  <c:v>51043</c:v>
                </c:pt>
                <c:pt idx="6994">
                  <c:v>51043</c:v>
                </c:pt>
                <c:pt idx="6995">
                  <c:v>51042</c:v>
                </c:pt>
                <c:pt idx="6996">
                  <c:v>51037</c:v>
                </c:pt>
                <c:pt idx="6997">
                  <c:v>51037</c:v>
                </c:pt>
                <c:pt idx="6998">
                  <c:v>51037</c:v>
                </c:pt>
                <c:pt idx="6999">
                  <c:v>51035</c:v>
                </c:pt>
                <c:pt idx="7000">
                  <c:v>51033</c:v>
                </c:pt>
                <c:pt idx="7001">
                  <c:v>51031</c:v>
                </c:pt>
                <c:pt idx="7002">
                  <c:v>51025</c:v>
                </c:pt>
                <c:pt idx="7003">
                  <c:v>51024</c:v>
                </c:pt>
                <c:pt idx="7004">
                  <c:v>51023</c:v>
                </c:pt>
                <c:pt idx="7005">
                  <c:v>51022</c:v>
                </c:pt>
                <c:pt idx="7006">
                  <c:v>51021</c:v>
                </c:pt>
                <c:pt idx="7007">
                  <c:v>51020</c:v>
                </c:pt>
                <c:pt idx="7008">
                  <c:v>51019</c:v>
                </c:pt>
                <c:pt idx="7009">
                  <c:v>51016</c:v>
                </c:pt>
                <c:pt idx="7010">
                  <c:v>51016</c:v>
                </c:pt>
                <c:pt idx="7011">
                  <c:v>51012</c:v>
                </c:pt>
                <c:pt idx="7012">
                  <c:v>51009</c:v>
                </c:pt>
                <c:pt idx="7013">
                  <c:v>51009</c:v>
                </c:pt>
                <c:pt idx="7014">
                  <c:v>50997</c:v>
                </c:pt>
                <c:pt idx="7015">
                  <c:v>50996</c:v>
                </c:pt>
                <c:pt idx="7016">
                  <c:v>50996</c:v>
                </c:pt>
                <c:pt idx="7017">
                  <c:v>50995</c:v>
                </c:pt>
                <c:pt idx="7018">
                  <c:v>50992</c:v>
                </c:pt>
                <c:pt idx="7019">
                  <c:v>50992</c:v>
                </c:pt>
                <c:pt idx="7020">
                  <c:v>50991</c:v>
                </c:pt>
                <c:pt idx="7021">
                  <c:v>50990</c:v>
                </c:pt>
                <c:pt idx="7022">
                  <c:v>50986</c:v>
                </c:pt>
                <c:pt idx="7023">
                  <c:v>50986</c:v>
                </c:pt>
                <c:pt idx="7024">
                  <c:v>50985</c:v>
                </c:pt>
                <c:pt idx="7025">
                  <c:v>50981</c:v>
                </c:pt>
                <c:pt idx="7026">
                  <c:v>50979</c:v>
                </c:pt>
                <c:pt idx="7027">
                  <c:v>50979</c:v>
                </c:pt>
                <c:pt idx="7028">
                  <c:v>50976</c:v>
                </c:pt>
                <c:pt idx="7029">
                  <c:v>50975</c:v>
                </c:pt>
                <c:pt idx="7030">
                  <c:v>50973</c:v>
                </c:pt>
                <c:pt idx="7031">
                  <c:v>50967</c:v>
                </c:pt>
                <c:pt idx="7032">
                  <c:v>50965</c:v>
                </c:pt>
                <c:pt idx="7033">
                  <c:v>50963</c:v>
                </c:pt>
                <c:pt idx="7034">
                  <c:v>50962</c:v>
                </c:pt>
                <c:pt idx="7035">
                  <c:v>50961</c:v>
                </c:pt>
                <c:pt idx="7036">
                  <c:v>50957</c:v>
                </c:pt>
                <c:pt idx="7037">
                  <c:v>50955</c:v>
                </c:pt>
                <c:pt idx="7038">
                  <c:v>50955</c:v>
                </c:pt>
                <c:pt idx="7039">
                  <c:v>50954</c:v>
                </c:pt>
                <c:pt idx="7040">
                  <c:v>50950</c:v>
                </c:pt>
                <c:pt idx="7041">
                  <c:v>50949</c:v>
                </c:pt>
                <c:pt idx="7042">
                  <c:v>50949</c:v>
                </c:pt>
                <c:pt idx="7043">
                  <c:v>50946</c:v>
                </c:pt>
                <c:pt idx="7044">
                  <c:v>50946</c:v>
                </c:pt>
                <c:pt idx="7045">
                  <c:v>50944</c:v>
                </c:pt>
                <c:pt idx="7046">
                  <c:v>50942</c:v>
                </c:pt>
                <c:pt idx="7047">
                  <c:v>50942</c:v>
                </c:pt>
                <c:pt idx="7048">
                  <c:v>50939</c:v>
                </c:pt>
                <c:pt idx="7049">
                  <c:v>50939</c:v>
                </c:pt>
                <c:pt idx="7050">
                  <c:v>50936</c:v>
                </c:pt>
                <c:pt idx="7051">
                  <c:v>50934</c:v>
                </c:pt>
                <c:pt idx="7052">
                  <c:v>50934</c:v>
                </c:pt>
                <c:pt idx="7053">
                  <c:v>50934</c:v>
                </c:pt>
                <c:pt idx="7054">
                  <c:v>50934</c:v>
                </c:pt>
                <c:pt idx="7055">
                  <c:v>50934</c:v>
                </c:pt>
                <c:pt idx="7056">
                  <c:v>50934</c:v>
                </c:pt>
                <c:pt idx="7057">
                  <c:v>50933</c:v>
                </c:pt>
                <c:pt idx="7058">
                  <c:v>50930</c:v>
                </c:pt>
                <c:pt idx="7059">
                  <c:v>50928</c:v>
                </c:pt>
                <c:pt idx="7060">
                  <c:v>50926</c:v>
                </c:pt>
                <c:pt idx="7061">
                  <c:v>50925</c:v>
                </c:pt>
                <c:pt idx="7062">
                  <c:v>50923</c:v>
                </c:pt>
                <c:pt idx="7063">
                  <c:v>50922</c:v>
                </c:pt>
                <c:pt idx="7064">
                  <c:v>50920</c:v>
                </c:pt>
                <c:pt idx="7065">
                  <c:v>50917</c:v>
                </c:pt>
                <c:pt idx="7066">
                  <c:v>50915</c:v>
                </c:pt>
                <c:pt idx="7067">
                  <c:v>50914</c:v>
                </c:pt>
                <c:pt idx="7068">
                  <c:v>50912</c:v>
                </c:pt>
                <c:pt idx="7069">
                  <c:v>50912</c:v>
                </c:pt>
                <c:pt idx="7070">
                  <c:v>50912</c:v>
                </c:pt>
                <c:pt idx="7071">
                  <c:v>50910</c:v>
                </c:pt>
                <c:pt idx="7072">
                  <c:v>50908</c:v>
                </c:pt>
                <c:pt idx="7073">
                  <c:v>50908</c:v>
                </c:pt>
                <c:pt idx="7074">
                  <c:v>50907</c:v>
                </c:pt>
                <c:pt idx="7075">
                  <c:v>50906</c:v>
                </c:pt>
                <c:pt idx="7076">
                  <c:v>50901</c:v>
                </c:pt>
                <c:pt idx="7077">
                  <c:v>50900</c:v>
                </c:pt>
                <c:pt idx="7078">
                  <c:v>50898</c:v>
                </c:pt>
                <c:pt idx="7079">
                  <c:v>50898</c:v>
                </c:pt>
                <c:pt idx="7080">
                  <c:v>50895</c:v>
                </c:pt>
                <c:pt idx="7081">
                  <c:v>50895</c:v>
                </c:pt>
                <c:pt idx="7082">
                  <c:v>50891</c:v>
                </c:pt>
                <c:pt idx="7083">
                  <c:v>50890</c:v>
                </c:pt>
                <c:pt idx="7084">
                  <c:v>50890</c:v>
                </c:pt>
                <c:pt idx="7085">
                  <c:v>50890</c:v>
                </c:pt>
                <c:pt idx="7086">
                  <c:v>50888</c:v>
                </c:pt>
                <c:pt idx="7087">
                  <c:v>50887</c:v>
                </c:pt>
                <c:pt idx="7088">
                  <c:v>50887</c:v>
                </c:pt>
                <c:pt idx="7089">
                  <c:v>50886</c:v>
                </c:pt>
                <c:pt idx="7090">
                  <c:v>50885</c:v>
                </c:pt>
                <c:pt idx="7091">
                  <c:v>50884</c:v>
                </c:pt>
                <c:pt idx="7092">
                  <c:v>50884</c:v>
                </c:pt>
                <c:pt idx="7093">
                  <c:v>50884</c:v>
                </c:pt>
                <c:pt idx="7094">
                  <c:v>50883</c:v>
                </c:pt>
                <c:pt idx="7095">
                  <c:v>50881</c:v>
                </c:pt>
                <c:pt idx="7096">
                  <c:v>50881</c:v>
                </c:pt>
                <c:pt idx="7097">
                  <c:v>50879</c:v>
                </c:pt>
                <c:pt idx="7098">
                  <c:v>50879</c:v>
                </c:pt>
                <c:pt idx="7099">
                  <c:v>50876</c:v>
                </c:pt>
                <c:pt idx="7100">
                  <c:v>50874</c:v>
                </c:pt>
                <c:pt idx="7101">
                  <c:v>50874</c:v>
                </c:pt>
                <c:pt idx="7102">
                  <c:v>50872</c:v>
                </c:pt>
                <c:pt idx="7103">
                  <c:v>50871</c:v>
                </c:pt>
                <c:pt idx="7104">
                  <c:v>50870</c:v>
                </c:pt>
                <c:pt idx="7105">
                  <c:v>50869</c:v>
                </c:pt>
                <c:pt idx="7106">
                  <c:v>50868</c:v>
                </c:pt>
                <c:pt idx="7107">
                  <c:v>50866</c:v>
                </c:pt>
                <c:pt idx="7108">
                  <c:v>50862</c:v>
                </c:pt>
                <c:pt idx="7109">
                  <c:v>50861</c:v>
                </c:pt>
                <c:pt idx="7110">
                  <c:v>50860</c:v>
                </c:pt>
                <c:pt idx="7111">
                  <c:v>50859</c:v>
                </c:pt>
                <c:pt idx="7112">
                  <c:v>50858</c:v>
                </c:pt>
                <c:pt idx="7113">
                  <c:v>50856</c:v>
                </c:pt>
                <c:pt idx="7114">
                  <c:v>50853</c:v>
                </c:pt>
                <c:pt idx="7115">
                  <c:v>50848</c:v>
                </c:pt>
                <c:pt idx="7116">
                  <c:v>50846</c:v>
                </c:pt>
                <c:pt idx="7117">
                  <c:v>50846</c:v>
                </c:pt>
                <c:pt idx="7118">
                  <c:v>50841</c:v>
                </c:pt>
                <c:pt idx="7119">
                  <c:v>50840</c:v>
                </c:pt>
                <c:pt idx="7120">
                  <c:v>50839</c:v>
                </c:pt>
                <c:pt idx="7121">
                  <c:v>50839</c:v>
                </c:pt>
                <c:pt idx="7122">
                  <c:v>50837</c:v>
                </c:pt>
                <c:pt idx="7123">
                  <c:v>50834</c:v>
                </c:pt>
                <c:pt idx="7124">
                  <c:v>50834</c:v>
                </c:pt>
                <c:pt idx="7125">
                  <c:v>50833</c:v>
                </c:pt>
                <c:pt idx="7126">
                  <c:v>50824</c:v>
                </c:pt>
                <c:pt idx="7127">
                  <c:v>50815</c:v>
                </c:pt>
                <c:pt idx="7128">
                  <c:v>50807</c:v>
                </c:pt>
                <c:pt idx="7129">
                  <c:v>50804</c:v>
                </c:pt>
                <c:pt idx="7130">
                  <c:v>50798</c:v>
                </c:pt>
                <c:pt idx="7131">
                  <c:v>50791</c:v>
                </c:pt>
                <c:pt idx="7132">
                  <c:v>50790</c:v>
                </c:pt>
                <c:pt idx="7133">
                  <c:v>50790</c:v>
                </c:pt>
                <c:pt idx="7134">
                  <c:v>50789</c:v>
                </c:pt>
                <c:pt idx="7135">
                  <c:v>50789</c:v>
                </c:pt>
                <c:pt idx="7136">
                  <c:v>50789</c:v>
                </c:pt>
                <c:pt idx="7137">
                  <c:v>50789</c:v>
                </c:pt>
                <c:pt idx="7138">
                  <c:v>50787</c:v>
                </c:pt>
                <c:pt idx="7139">
                  <c:v>50786</c:v>
                </c:pt>
                <c:pt idx="7140">
                  <c:v>50785</c:v>
                </c:pt>
                <c:pt idx="7141">
                  <c:v>50783</c:v>
                </c:pt>
                <c:pt idx="7142">
                  <c:v>50782</c:v>
                </c:pt>
                <c:pt idx="7143">
                  <c:v>50776</c:v>
                </c:pt>
                <c:pt idx="7144">
                  <c:v>50775</c:v>
                </c:pt>
                <c:pt idx="7145">
                  <c:v>50775</c:v>
                </c:pt>
                <c:pt idx="7146">
                  <c:v>50772</c:v>
                </c:pt>
                <c:pt idx="7147">
                  <c:v>50771</c:v>
                </c:pt>
                <c:pt idx="7148">
                  <c:v>50768</c:v>
                </c:pt>
                <c:pt idx="7149">
                  <c:v>50766</c:v>
                </c:pt>
                <c:pt idx="7150">
                  <c:v>50765</c:v>
                </c:pt>
                <c:pt idx="7151">
                  <c:v>50765</c:v>
                </c:pt>
                <c:pt idx="7152">
                  <c:v>50760</c:v>
                </c:pt>
                <c:pt idx="7153">
                  <c:v>50758</c:v>
                </c:pt>
                <c:pt idx="7154">
                  <c:v>50756</c:v>
                </c:pt>
                <c:pt idx="7155">
                  <c:v>50752</c:v>
                </c:pt>
                <c:pt idx="7156">
                  <c:v>50749</c:v>
                </c:pt>
                <c:pt idx="7157">
                  <c:v>50748</c:v>
                </c:pt>
                <c:pt idx="7158">
                  <c:v>50747</c:v>
                </c:pt>
                <c:pt idx="7159">
                  <c:v>50745</c:v>
                </c:pt>
                <c:pt idx="7160">
                  <c:v>50742</c:v>
                </c:pt>
                <c:pt idx="7161">
                  <c:v>50741</c:v>
                </c:pt>
                <c:pt idx="7162">
                  <c:v>50740</c:v>
                </c:pt>
                <c:pt idx="7163">
                  <c:v>50740</c:v>
                </c:pt>
                <c:pt idx="7164">
                  <c:v>50734</c:v>
                </c:pt>
                <c:pt idx="7165">
                  <c:v>50732</c:v>
                </c:pt>
                <c:pt idx="7166">
                  <c:v>50732</c:v>
                </c:pt>
                <c:pt idx="7167">
                  <c:v>50731</c:v>
                </c:pt>
                <c:pt idx="7168">
                  <c:v>50730</c:v>
                </c:pt>
                <c:pt idx="7169">
                  <c:v>50730</c:v>
                </c:pt>
                <c:pt idx="7170">
                  <c:v>50728</c:v>
                </c:pt>
                <c:pt idx="7171">
                  <c:v>50728</c:v>
                </c:pt>
                <c:pt idx="7172">
                  <c:v>50726</c:v>
                </c:pt>
                <c:pt idx="7173">
                  <c:v>50725</c:v>
                </c:pt>
                <c:pt idx="7174">
                  <c:v>50720</c:v>
                </c:pt>
                <c:pt idx="7175">
                  <c:v>50719</c:v>
                </c:pt>
                <c:pt idx="7176">
                  <c:v>50717</c:v>
                </c:pt>
                <c:pt idx="7177">
                  <c:v>50717</c:v>
                </c:pt>
                <c:pt idx="7178">
                  <c:v>50714</c:v>
                </c:pt>
                <c:pt idx="7179">
                  <c:v>50713</c:v>
                </c:pt>
                <c:pt idx="7180">
                  <c:v>50713</c:v>
                </c:pt>
                <c:pt idx="7181">
                  <c:v>50710</c:v>
                </c:pt>
                <c:pt idx="7182">
                  <c:v>50710</c:v>
                </c:pt>
                <c:pt idx="7183">
                  <c:v>50709</c:v>
                </c:pt>
                <c:pt idx="7184">
                  <c:v>50708</c:v>
                </c:pt>
                <c:pt idx="7185">
                  <c:v>50708</c:v>
                </c:pt>
                <c:pt idx="7186">
                  <c:v>50706</c:v>
                </c:pt>
                <c:pt idx="7187">
                  <c:v>50705</c:v>
                </c:pt>
                <c:pt idx="7188">
                  <c:v>50703</c:v>
                </c:pt>
                <c:pt idx="7189">
                  <c:v>50702</c:v>
                </c:pt>
                <c:pt idx="7190">
                  <c:v>50699</c:v>
                </c:pt>
                <c:pt idx="7191">
                  <c:v>50697</c:v>
                </c:pt>
                <c:pt idx="7192">
                  <c:v>50691</c:v>
                </c:pt>
                <c:pt idx="7193">
                  <c:v>50691</c:v>
                </c:pt>
                <c:pt idx="7194">
                  <c:v>50689</c:v>
                </c:pt>
                <c:pt idx="7195">
                  <c:v>50688</c:v>
                </c:pt>
                <c:pt idx="7196">
                  <c:v>50687</c:v>
                </c:pt>
                <c:pt idx="7197">
                  <c:v>50686</c:v>
                </c:pt>
                <c:pt idx="7198">
                  <c:v>50681</c:v>
                </c:pt>
                <c:pt idx="7199">
                  <c:v>50679</c:v>
                </c:pt>
                <c:pt idx="7200">
                  <c:v>50674</c:v>
                </c:pt>
                <c:pt idx="7201">
                  <c:v>50673</c:v>
                </c:pt>
                <c:pt idx="7202">
                  <c:v>50672</c:v>
                </c:pt>
                <c:pt idx="7203">
                  <c:v>50670</c:v>
                </c:pt>
                <c:pt idx="7204">
                  <c:v>50669</c:v>
                </c:pt>
                <c:pt idx="7205">
                  <c:v>50668</c:v>
                </c:pt>
                <c:pt idx="7206">
                  <c:v>50667</c:v>
                </c:pt>
                <c:pt idx="7207">
                  <c:v>50665</c:v>
                </c:pt>
                <c:pt idx="7208">
                  <c:v>50665</c:v>
                </c:pt>
                <c:pt idx="7209">
                  <c:v>50664</c:v>
                </c:pt>
                <c:pt idx="7210">
                  <c:v>50664</c:v>
                </c:pt>
                <c:pt idx="7211">
                  <c:v>50661</c:v>
                </c:pt>
                <c:pt idx="7212">
                  <c:v>50661</c:v>
                </c:pt>
                <c:pt idx="7213">
                  <c:v>50660</c:v>
                </c:pt>
                <c:pt idx="7214">
                  <c:v>50660</c:v>
                </c:pt>
                <c:pt idx="7215">
                  <c:v>50658</c:v>
                </c:pt>
                <c:pt idx="7216">
                  <c:v>50656</c:v>
                </c:pt>
                <c:pt idx="7217">
                  <c:v>50652</c:v>
                </c:pt>
                <c:pt idx="7218">
                  <c:v>50651</c:v>
                </c:pt>
                <c:pt idx="7219">
                  <c:v>50651</c:v>
                </c:pt>
                <c:pt idx="7220">
                  <c:v>50651</c:v>
                </c:pt>
                <c:pt idx="7221">
                  <c:v>50650</c:v>
                </c:pt>
                <c:pt idx="7222">
                  <c:v>50649</c:v>
                </c:pt>
                <c:pt idx="7223">
                  <c:v>50648</c:v>
                </c:pt>
                <c:pt idx="7224">
                  <c:v>50647</c:v>
                </c:pt>
                <c:pt idx="7225">
                  <c:v>50646</c:v>
                </c:pt>
                <c:pt idx="7226">
                  <c:v>50645</c:v>
                </c:pt>
                <c:pt idx="7227">
                  <c:v>50644</c:v>
                </c:pt>
                <c:pt idx="7228">
                  <c:v>50643</c:v>
                </c:pt>
                <c:pt idx="7229">
                  <c:v>50643</c:v>
                </c:pt>
                <c:pt idx="7230">
                  <c:v>50641</c:v>
                </c:pt>
                <c:pt idx="7231">
                  <c:v>50641</c:v>
                </c:pt>
                <c:pt idx="7232">
                  <c:v>50636</c:v>
                </c:pt>
                <c:pt idx="7233">
                  <c:v>50634</c:v>
                </c:pt>
                <c:pt idx="7234">
                  <c:v>50634</c:v>
                </c:pt>
                <c:pt idx="7235">
                  <c:v>50634</c:v>
                </c:pt>
                <c:pt idx="7236">
                  <c:v>50626</c:v>
                </c:pt>
                <c:pt idx="7237">
                  <c:v>50625</c:v>
                </c:pt>
                <c:pt idx="7238">
                  <c:v>50622</c:v>
                </c:pt>
                <c:pt idx="7239">
                  <c:v>50621</c:v>
                </c:pt>
                <c:pt idx="7240">
                  <c:v>50617</c:v>
                </c:pt>
                <c:pt idx="7241">
                  <c:v>50617</c:v>
                </c:pt>
                <c:pt idx="7242">
                  <c:v>50617</c:v>
                </c:pt>
                <c:pt idx="7243">
                  <c:v>50616</c:v>
                </c:pt>
                <c:pt idx="7244">
                  <c:v>50615</c:v>
                </c:pt>
                <c:pt idx="7245">
                  <c:v>50607</c:v>
                </c:pt>
                <c:pt idx="7246">
                  <c:v>50602</c:v>
                </c:pt>
                <c:pt idx="7247">
                  <c:v>50602</c:v>
                </c:pt>
                <c:pt idx="7248">
                  <c:v>50600</c:v>
                </c:pt>
                <c:pt idx="7249">
                  <c:v>50599</c:v>
                </c:pt>
                <c:pt idx="7250">
                  <c:v>50597</c:v>
                </c:pt>
                <c:pt idx="7251">
                  <c:v>50597</c:v>
                </c:pt>
                <c:pt idx="7252">
                  <c:v>50597</c:v>
                </c:pt>
                <c:pt idx="7253">
                  <c:v>50596</c:v>
                </c:pt>
                <c:pt idx="7254">
                  <c:v>50593</c:v>
                </c:pt>
                <c:pt idx="7255">
                  <c:v>50593</c:v>
                </c:pt>
                <c:pt idx="7256">
                  <c:v>50592</c:v>
                </c:pt>
                <c:pt idx="7257">
                  <c:v>50590</c:v>
                </c:pt>
                <c:pt idx="7258">
                  <c:v>50588</c:v>
                </c:pt>
                <c:pt idx="7259">
                  <c:v>50588</c:v>
                </c:pt>
                <c:pt idx="7260">
                  <c:v>50586</c:v>
                </c:pt>
                <c:pt idx="7261">
                  <c:v>50583</c:v>
                </c:pt>
                <c:pt idx="7262">
                  <c:v>50583</c:v>
                </c:pt>
                <c:pt idx="7263">
                  <c:v>50582</c:v>
                </c:pt>
                <c:pt idx="7264">
                  <c:v>50581</c:v>
                </c:pt>
                <c:pt idx="7265">
                  <c:v>50578</c:v>
                </c:pt>
                <c:pt idx="7266">
                  <c:v>50574</c:v>
                </c:pt>
                <c:pt idx="7267">
                  <c:v>50574</c:v>
                </c:pt>
                <c:pt idx="7268">
                  <c:v>50574</c:v>
                </c:pt>
                <c:pt idx="7269">
                  <c:v>50573</c:v>
                </c:pt>
                <c:pt idx="7270">
                  <c:v>50570</c:v>
                </c:pt>
                <c:pt idx="7271">
                  <c:v>50569</c:v>
                </c:pt>
                <c:pt idx="7272">
                  <c:v>50569</c:v>
                </c:pt>
                <c:pt idx="7273">
                  <c:v>50568</c:v>
                </c:pt>
                <c:pt idx="7274">
                  <c:v>50567</c:v>
                </c:pt>
                <c:pt idx="7275">
                  <c:v>50566</c:v>
                </c:pt>
                <c:pt idx="7276">
                  <c:v>50562</c:v>
                </c:pt>
                <c:pt idx="7277">
                  <c:v>50562</c:v>
                </c:pt>
                <c:pt idx="7278">
                  <c:v>50560</c:v>
                </c:pt>
                <c:pt idx="7279">
                  <c:v>50556</c:v>
                </c:pt>
                <c:pt idx="7280">
                  <c:v>50555</c:v>
                </c:pt>
                <c:pt idx="7281">
                  <c:v>50553</c:v>
                </c:pt>
                <c:pt idx="7282">
                  <c:v>50553</c:v>
                </c:pt>
                <c:pt idx="7283">
                  <c:v>50551</c:v>
                </c:pt>
                <c:pt idx="7284">
                  <c:v>50551</c:v>
                </c:pt>
                <c:pt idx="7285">
                  <c:v>50549</c:v>
                </c:pt>
                <c:pt idx="7286">
                  <c:v>50548</c:v>
                </c:pt>
                <c:pt idx="7287">
                  <c:v>50547</c:v>
                </c:pt>
                <c:pt idx="7288">
                  <c:v>50547</c:v>
                </c:pt>
                <c:pt idx="7289">
                  <c:v>50544</c:v>
                </c:pt>
                <c:pt idx="7290">
                  <c:v>50543</c:v>
                </c:pt>
                <c:pt idx="7291">
                  <c:v>50541</c:v>
                </c:pt>
                <c:pt idx="7292">
                  <c:v>50540</c:v>
                </c:pt>
                <c:pt idx="7293">
                  <c:v>50540</c:v>
                </c:pt>
                <c:pt idx="7294">
                  <c:v>50533</c:v>
                </c:pt>
                <c:pt idx="7295">
                  <c:v>50530</c:v>
                </c:pt>
                <c:pt idx="7296">
                  <c:v>50526</c:v>
                </c:pt>
                <c:pt idx="7297">
                  <c:v>50526</c:v>
                </c:pt>
                <c:pt idx="7298">
                  <c:v>50524</c:v>
                </c:pt>
                <c:pt idx="7299">
                  <c:v>50520</c:v>
                </c:pt>
                <c:pt idx="7300">
                  <c:v>50520</c:v>
                </c:pt>
                <c:pt idx="7301">
                  <c:v>50517</c:v>
                </c:pt>
                <c:pt idx="7302">
                  <c:v>50511</c:v>
                </c:pt>
                <c:pt idx="7303">
                  <c:v>50511</c:v>
                </c:pt>
                <c:pt idx="7304">
                  <c:v>50510</c:v>
                </c:pt>
                <c:pt idx="7305">
                  <c:v>50510</c:v>
                </c:pt>
                <c:pt idx="7306">
                  <c:v>50509</c:v>
                </c:pt>
                <c:pt idx="7307">
                  <c:v>50508</c:v>
                </c:pt>
                <c:pt idx="7308">
                  <c:v>50506</c:v>
                </c:pt>
                <c:pt idx="7309">
                  <c:v>50503</c:v>
                </c:pt>
                <c:pt idx="7310">
                  <c:v>50500</c:v>
                </c:pt>
                <c:pt idx="7311">
                  <c:v>50499</c:v>
                </c:pt>
                <c:pt idx="7312">
                  <c:v>50498</c:v>
                </c:pt>
                <c:pt idx="7313">
                  <c:v>50497</c:v>
                </c:pt>
                <c:pt idx="7314">
                  <c:v>50492</c:v>
                </c:pt>
                <c:pt idx="7315">
                  <c:v>50492</c:v>
                </c:pt>
                <c:pt idx="7316">
                  <c:v>50489</c:v>
                </c:pt>
                <c:pt idx="7317">
                  <c:v>50488</c:v>
                </c:pt>
                <c:pt idx="7318">
                  <c:v>50486</c:v>
                </c:pt>
                <c:pt idx="7319">
                  <c:v>50486</c:v>
                </c:pt>
                <c:pt idx="7320">
                  <c:v>50485</c:v>
                </c:pt>
                <c:pt idx="7321">
                  <c:v>50483</c:v>
                </c:pt>
                <c:pt idx="7322">
                  <c:v>50481</c:v>
                </c:pt>
                <c:pt idx="7323">
                  <c:v>50478</c:v>
                </c:pt>
                <c:pt idx="7324">
                  <c:v>50476</c:v>
                </c:pt>
                <c:pt idx="7325">
                  <c:v>50476</c:v>
                </c:pt>
                <c:pt idx="7326">
                  <c:v>50475</c:v>
                </c:pt>
                <c:pt idx="7327">
                  <c:v>50473</c:v>
                </c:pt>
                <c:pt idx="7328">
                  <c:v>50471</c:v>
                </c:pt>
                <c:pt idx="7329">
                  <c:v>50470</c:v>
                </c:pt>
                <c:pt idx="7330">
                  <c:v>50467</c:v>
                </c:pt>
                <c:pt idx="7331">
                  <c:v>50466</c:v>
                </c:pt>
                <c:pt idx="7332">
                  <c:v>50466</c:v>
                </c:pt>
                <c:pt idx="7333">
                  <c:v>50464</c:v>
                </c:pt>
                <c:pt idx="7334">
                  <c:v>50464</c:v>
                </c:pt>
                <c:pt idx="7335">
                  <c:v>50463</c:v>
                </c:pt>
                <c:pt idx="7336">
                  <c:v>50463</c:v>
                </c:pt>
                <c:pt idx="7337">
                  <c:v>50462</c:v>
                </c:pt>
                <c:pt idx="7338">
                  <c:v>50461</c:v>
                </c:pt>
                <c:pt idx="7339">
                  <c:v>50460</c:v>
                </c:pt>
                <c:pt idx="7340">
                  <c:v>50460</c:v>
                </c:pt>
                <c:pt idx="7341">
                  <c:v>50460</c:v>
                </c:pt>
                <c:pt idx="7342">
                  <c:v>50458</c:v>
                </c:pt>
                <c:pt idx="7343">
                  <c:v>50456</c:v>
                </c:pt>
                <c:pt idx="7344">
                  <c:v>50453</c:v>
                </c:pt>
                <c:pt idx="7345">
                  <c:v>50453</c:v>
                </c:pt>
                <c:pt idx="7346">
                  <c:v>50451</c:v>
                </c:pt>
                <c:pt idx="7347">
                  <c:v>50449</c:v>
                </c:pt>
                <c:pt idx="7348">
                  <c:v>50447</c:v>
                </c:pt>
                <c:pt idx="7349">
                  <c:v>50447</c:v>
                </c:pt>
                <c:pt idx="7350">
                  <c:v>50446</c:v>
                </c:pt>
                <c:pt idx="7351">
                  <c:v>50446</c:v>
                </c:pt>
                <c:pt idx="7352">
                  <c:v>50444</c:v>
                </c:pt>
                <c:pt idx="7353">
                  <c:v>50443</c:v>
                </c:pt>
                <c:pt idx="7354">
                  <c:v>50443</c:v>
                </c:pt>
                <c:pt idx="7355">
                  <c:v>50439</c:v>
                </c:pt>
                <c:pt idx="7356">
                  <c:v>50435</c:v>
                </c:pt>
                <c:pt idx="7357">
                  <c:v>50435</c:v>
                </c:pt>
                <c:pt idx="7358">
                  <c:v>50434</c:v>
                </c:pt>
                <c:pt idx="7359">
                  <c:v>50433</c:v>
                </c:pt>
                <c:pt idx="7360">
                  <c:v>50431</c:v>
                </c:pt>
                <c:pt idx="7361">
                  <c:v>50430</c:v>
                </c:pt>
                <c:pt idx="7362">
                  <c:v>50430</c:v>
                </c:pt>
                <c:pt idx="7363">
                  <c:v>50429</c:v>
                </c:pt>
                <c:pt idx="7364">
                  <c:v>50427</c:v>
                </c:pt>
                <c:pt idx="7365">
                  <c:v>50426</c:v>
                </c:pt>
                <c:pt idx="7366">
                  <c:v>50426</c:v>
                </c:pt>
                <c:pt idx="7367">
                  <c:v>50425</c:v>
                </c:pt>
                <c:pt idx="7368">
                  <c:v>50423</c:v>
                </c:pt>
                <c:pt idx="7369">
                  <c:v>50423</c:v>
                </c:pt>
                <c:pt idx="7370">
                  <c:v>50421</c:v>
                </c:pt>
                <c:pt idx="7371">
                  <c:v>50420</c:v>
                </c:pt>
                <c:pt idx="7372">
                  <c:v>50419</c:v>
                </c:pt>
                <c:pt idx="7373">
                  <c:v>50419</c:v>
                </c:pt>
                <c:pt idx="7374">
                  <c:v>50419</c:v>
                </c:pt>
                <c:pt idx="7375">
                  <c:v>50418</c:v>
                </c:pt>
                <c:pt idx="7376">
                  <c:v>50416</c:v>
                </c:pt>
                <c:pt idx="7377">
                  <c:v>50413</c:v>
                </c:pt>
                <c:pt idx="7378">
                  <c:v>50413</c:v>
                </c:pt>
                <c:pt idx="7379">
                  <c:v>50413</c:v>
                </c:pt>
                <c:pt idx="7380">
                  <c:v>50412</c:v>
                </c:pt>
                <c:pt idx="7381">
                  <c:v>50411</c:v>
                </c:pt>
                <c:pt idx="7382">
                  <c:v>50410</c:v>
                </c:pt>
                <c:pt idx="7383">
                  <c:v>50408</c:v>
                </c:pt>
                <c:pt idx="7384">
                  <c:v>50404</c:v>
                </c:pt>
                <c:pt idx="7385">
                  <c:v>50404</c:v>
                </c:pt>
                <c:pt idx="7386">
                  <c:v>50403</c:v>
                </c:pt>
                <c:pt idx="7387">
                  <c:v>50402</c:v>
                </c:pt>
                <c:pt idx="7388">
                  <c:v>50401</c:v>
                </c:pt>
                <c:pt idx="7389">
                  <c:v>50400</c:v>
                </c:pt>
                <c:pt idx="7390">
                  <c:v>50396</c:v>
                </c:pt>
                <c:pt idx="7391">
                  <c:v>50393</c:v>
                </c:pt>
                <c:pt idx="7392">
                  <c:v>50392</c:v>
                </c:pt>
                <c:pt idx="7393">
                  <c:v>50391</c:v>
                </c:pt>
                <c:pt idx="7394">
                  <c:v>50388</c:v>
                </c:pt>
                <c:pt idx="7395">
                  <c:v>50387</c:v>
                </c:pt>
                <c:pt idx="7396">
                  <c:v>50386</c:v>
                </c:pt>
                <c:pt idx="7397">
                  <c:v>50385</c:v>
                </c:pt>
                <c:pt idx="7398">
                  <c:v>50385</c:v>
                </c:pt>
                <c:pt idx="7399">
                  <c:v>50382</c:v>
                </c:pt>
                <c:pt idx="7400">
                  <c:v>50382</c:v>
                </c:pt>
                <c:pt idx="7401">
                  <c:v>50380</c:v>
                </c:pt>
                <c:pt idx="7402">
                  <c:v>50377</c:v>
                </c:pt>
                <c:pt idx="7403">
                  <c:v>50376</c:v>
                </c:pt>
                <c:pt idx="7404">
                  <c:v>50376</c:v>
                </c:pt>
                <c:pt idx="7405">
                  <c:v>50374</c:v>
                </c:pt>
                <c:pt idx="7406">
                  <c:v>50372</c:v>
                </c:pt>
                <c:pt idx="7407">
                  <c:v>50365</c:v>
                </c:pt>
                <c:pt idx="7408">
                  <c:v>50365</c:v>
                </c:pt>
                <c:pt idx="7409">
                  <c:v>50362</c:v>
                </c:pt>
                <c:pt idx="7410">
                  <c:v>50362</c:v>
                </c:pt>
                <c:pt idx="7411">
                  <c:v>50361</c:v>
                </c:pt>
                <c:pt idx="7412">
                  <c:v>50358</c:v>
                </c:pt>
                <c:pt idx="7413">
                  <c:v>50355</c:v>
                </c:pt>
                <c:pt idx="7414">
                  <c:v>50353</c:v>
                </c:pt>
                <c:pt idx="7415">
                  <c:v>50352</c:v>
                </c:pt>
                <c:pt idx="7416">
                  <c:v>50350</c:v>
                </c:pt>
                <c:pt idx="7417">
                  <c:v>50350</c:v>
                </c:pt>
                <c:pt idx="7418">
                  <c:v>50349</c:v>
                </c:pt>
                <c:pt idx="7419">
                  <c:v>50346</c:v>
                </c:pt>
                <c:pt idx="7420">
                  <c:v>50345</c:v>
                </c:pt>
                <c:pt idx="7421">
                  <c:v>50341</c:v>
                </c:pt>
                <c:pt idx="7422">
                  <c:v>50340</c:v>
                </c:pt>
                <c:pt idx="7423">
                  <c:v>50340</c:v>
                </c:pt>
                <c:pt idx="7424">
                  <c:v>50339</c:v>
                </c:pt>
                <c:pt idx="7425">
                  <c:v>50335</c:v>
                </c:pt>
                <c:pt idx="7426">
                  <c:v>50332</c:v>
                </c:pt>
                <c:pt idx="7427">
                  <c:v>50332</c:v>
                </c:pt>
                <c:pt idx="7428">
                  <c:v>50327</c:v>
                </c:pt>
                <c:pt idx="7429">
                  <c:v>50327</c:v>
                </c:pt>
                <c:pt idx="7430">
                  <c:v>50323</c:v>
                </c:pt>
                <c:pt idx="7431">
                  <c:v>50322</c:v>
                </c:pt>
                <c:pt idx="7432">
                  <c:v>50322</c:v>
                </c:pt>
                <c:pt idx="7433">
                  <c:v>50322</c:v>
                </c:pt>
                <c:pt idx="7434">
                  <c:v>50321</c:v>
                </c:pt>
                <c:pt idx="7435">
                  <c:v>50320</c:v>
                </c:pt>
                <c:pt idx="7436">
                  <c:v>50320</c:v>
                </c:pt>
                <c:pt idx="7437">
                  <c:v>50320</c:v>
                </c:pt>
                <c:pt idx="7438">
                  <c:v>50319</c:v>
                </c:pt>
                <c:pt idx="7439">
                  <c:v>50319</c:v>
                </c:pt>
                <c:pt idx="7440">
                  <c:v>50318</c:v>
                </c:pt>
                <c:pt idx="7441">
                  <c:v>50316</c:v>
                </c:pt>
                <c:pt idx="7442">
                  <c:v>50315</c:v>
                </c:pt>
                <c:pt idx="7443">
                  <c:v>50315</c:v>
                </c:pt>
                <c:pt idx="7444">
                  <c:v>50314</c:v>
                </c:pt>
                <c:pt idx="7445">
                  <c:v>50314</c:v>
                </c:pt>
                <c:pt idx="7446">
                  <c:v>50312</c:v>
                </c:pt>
                <c:pt idx="7447">
                  <c:v>50312</c:v>
                </c:pt>
                <c:pt idx="7448">
                  <c:v>50311</c:v>
                </c:pt>
                <c:pt idx="7449">
                  <c:v>50311</c:v>
                </c:pt>
                <c:pt idx="7450">
                  <c:v>50311</c:v>
                </c:pt>
                <c:pt idx="7451">
                  <c:v>50303</c:v>
                </c:pt>
                <c:pt idx="7452">
                  <c:v>50302</c:v>
                </c:pt>
                <c:pt idx="7453">
                  <c:v>50301</c:v>
                </c:pt>
                <c:pt idx="7454">
                  <c:v>50299</c:v>
                </c:pt>
                <c:pt idx="7455">
                  <c:v>50298</c:v>
                </c:pt>
                <c:pt idx="7456">
                  <c:v>50297</c:v>
                </c:pt>
                <c:pt idx="7457">
                  <c:v>50296</c:v>
                </c:pt>
                <c:pt idx="7458">
                  <c:v>50295</c:v>
                </c:pt>
                <c:pt idx="7459">
                  <c:v>50293</c:v>
                </c:pt>
                <c:pt idx="7460">
                  <c:v>50293</c:v>
                </c:pt>
                <c:pt idx="7461">
                  <c:v>50292</c:v>
                </c:pt>
                <c:pt idx="7462">
                  <c:v>50290</c:v>
                </c:pt>
                <c:pt idx="7463">
                  <c:v>50289</c:v>
                </c:pt>
                <c:pt idx="7464">
                  <c:v>50289</c:v>
                </c:pt>
                <c:pt idx="7465">
                  <c:v>50287</c:v>
                </c:pt>
                <c:pt idx="7466">
                  <c:v>50286</c:v>
                </c:pt>
                <c:pt idx="7467">
                  <c:v>50286</c:v>
                </c:pt>
                <c:pt idx="7468">
                  <c:v>50285</c:v>
                </c:pt>
                <c:pt idx="7469">
                  <c:v>50283</c:v>
                </c:pt>
                <c:pt idx="7470">
                  <c:v>50282</c:v>
                </c:pt>
                <c:pt idx="7471">
                  <c:v>50279</c:v>
                </c:pt>
                <c:pt idx="7472">
                  <c:v>50276</c:v>
                </c:pt>
                <c:pt idx="7473">
                  <c:v>50275</c:v>
                </c:pt>
                <c:pt idx="7474">
                  <c:v>50274</c:v>
                </c:pt>
                <c:pt idx="7475">
                  <c:v>50274</c:v>
                </c:pt>
                <c:pt idx="7476">
                  <c:v>50273</c:v>
                </c:pt>
                <c:pt idx="7477">
                  <c:v>50272</c:v>
                </c:pt>
                <c:pt idx="7478">
                  <c:v>50271</c:v>
                </c:pt>
                <c:pt idx="7479">
                  <c:v>50270</c:v>
                </c:pt>
                <c:pt idx="7480">
                  <c:v>50269</c:v>
                </c:pt>
                <c:pt idx="7481">
                  <c:v>50268</c:v>
                </c:pt>
                <c:pt idx="7482">
                  <c:v>50266</c:v>
                </c:pt>
                <c:pt idx="7483">
                  <c:v>50265</c:v>
                </c:pt>
                <c:pt idx="7484">
                  <c:v>50264</c:v>
                </c:pt>
                <c:pt idx="7485">
                  <c:v>50264</c:v>
                </c:pt>
                <c:pt idx="7486">
                  <c:v>50262</c:v>
                </c:pt>
                <c:pt idx="7487">
                  <c:v>50260</c:v>
                </c:pt>
                <c:pt idx="7488">
                  <c:v>50260</c:v>
                </c:pt>
                <c:pt idx="7489">
                  <c:v>50258</c:v>
                </c:pt>
                <c:pt idx="7490">
                  <c:v>50253</c:v>
                </c:pt>
                <c:pt idx="7491">
                  <c:v>50253</c:v>
                </c:pt>
                <c:pt idx="7492">
                  <c:v>50253</c:v>
                </c:pt>
                <c:pt idx="7493">
                  <c:v>50249</c:v>
                </c:pt>
                <c:pt idx="7494">
                  <c:v>50248</c:v>
                </c:pt>
                <c:pt idx="7495">
                  <c:v>50248</c:v>
                </c:pt>
                <c:pt idx="7496">
                  <c:v>50245</c:v>
                </c:pt>
                <c:pt idx="7497">
                  <c:v>50245</c:v>
                </c:pt>
                <c:pt idx="7498">
                  <c:v>50244</c:v>
                </c:pt>
                <c:pt idx="7499">
                  <c:v>50243</c:v>
                </c:pt>
                <c:pt idx="7500">
                  <c:v>50242</c:v>
                </c:pt>
                <c:pt idx="7501">
                  <c:v>50241</c:v>
                </c:pt>
                <c:pt idx="7502">
                  <c:v>50240</c:v>
                </c:pt>
                <c:pt idx="7503">
                  <c:v>50238</c:v>
                </c:pt>
                <c:pt idx="7504">
                  <c:v>50236</c:v>
                </c:pt>
                <c:pt idx="7505">
                  <c:v>50235</c:v>
                </c:pt>
                <c:pt idx="7506">
                  <c:v>50229</c:v>
                </c:pt>
                <c:pt idx="7507">
                  <c:v>50228</c:v>
                </c:pt>
                <c:pt idx="7508">
                  <c:v>50228</c:v>
                </c:pt>
                <c:pt idx="7509">
                  <c:v>50224</c:v>
                </c:pt>
                <c:pt idx="7510">
                  <c:v>50222</c:v>
                </c:pt>
                <c:pt idx="7511">
                  <c:v>50222</c:v>
                </c:pt>
                <c:pt idx="7512">
                  <c:v>50222</c:v>
                </c:pt>
                <c:pt idx="7513">
                  <c:v>50221</c:v>
                </c:pt>
                <c:pt idx="7514">
                  <c:v>50221</c:v>
                </c:pt>
                <c:pt idx="7515">
                  <c:v>50221</c:v>
                </c:pt>
                <c:pt idx="7516">
                  <c:v>50221</c:v>
                </c:pt>
                <c:pt idx="7517">
                  <c:v>50220</c:v>
                </c:pt>
                <c:pt idx="7518">
                  <c:v>50218</c:v>
                </c:pt>
                <c:pt idx="7519">
                  <c:v>50217</c:v>
                </c:pt>
                <c:pt idx="7520">
                  <c:v>50212</c:v>
                </c:pt>
                <c:pt idx="7521">
                  <c:v>50212</c:v>
                </c:pt>
                <c:pt idx="7522">
                  <c:v>50211</c:v>
                </c:pt>
                <c:pt idx="7523">
                  <c:v>50210</c:v>
                </c:pt>
                <c:pt idx="7524">
                  <c:v>50210</c:v>
                </c:pt>
                <c:pt idx="7525">
                  <c:v>50208</c:v>
                </c:pt>
                <c:pt idx="7526">
                  <c:v>50206</c:v>
                </c:pt>
                <c:pt idx="7527">
                  <c:v>50205</c:v>
                </c:pt>
                <c:pt idx="7528">
                  <c:v>50204</c:v>
                </c:pt>
                <c:pt idx="7529">
                  <c:v>50202</c:v>
                </c:pt>
                <c:pt idx="7530">
                  <c:v>50201</c:v>
                </c:pt>
                <c:pt idx="7531">
                  <c:v>50201</c:v>
                </c:pt>
                <c:pt idx="7532">
                  <c:v>50199</c:v>
                </c:pt>
                <c:pt idx="7533">
                  <c:v>50199</c:v>
                </c:pt>
                <c:pt idx="7534">
                  <c:v>50199</c:v>
                </c:pt>
                <c:pt idx="7535">
                  <c:v>50198</c:v>
                </c:pt>
                <c:pt idx="7536">
                  <c:v>50196</c:v>
                </c:pt>
                <c:pt idx="7537">
                  <c:v>50194</c:v>
                </c:pt>
                <c:pt idx="7538">
                  <c:v>50193</c:v>
                </c:pt>
                <c:pt idx="7539">
                  <c:v>50192</c:v>
                </c:pt>
                <c:pt idx="7540">
                  <c:v>50192</c:v>
                </c:pt>
                <c:pt idx="7541">
                  <c:v>50185</c:v>
                </c:pt>
                <c:pt idx="7542">
                  <c:v>50183</c:v>
                </c:pt>
                <c:pt idx="7543">
                  <c:v>50181</c:v>
                </c:pt>
                <c:pt idx="7544">
                  <c:v>50179</c:v>
                </c:pt>
                <c:pt idx="7545">
                  <c:v>50175</c:v>
                </c:pt>
                <c:pt idx="7546">
                  <c:v>50174</c:v>
                </c:pt>
                <c:pt idx="7547">
                  <c:v>50174</c:v>
                </c:pt>
                <c:pt idx="7548">
                  <c:v>50173</c:v>
                </c:pt>
                <c:pt idx="7549">
                  <c:v>50172</c:v>
                </c:pt>
                <c:pt idx="7550">
                  <c:v>50172</c:v>
                </c:pt>
                <c:pt idx="7551">
                  <c:v>50172</c:v>
                </c:pt>
                <c:pt idx="7552">
                  <c:v>50170</c:v>
                </c:pt>
                <c:pt idx="7553">
                  <c:v>50170</c:v>
                </c:pt>
                <c:pt idx="7554">
                  <c:v>50169</c:v>
                </c:pt>
                <c:pt idx="7555">
                  <c:v>50168</c:v>
                </c:pt>
                <c:pt idx="7556">
                  <c:v>50166</c:v>
                </c:pt>
                <c:pt idx="7557">
                  <c:v>50164</c:v>
                </c:pt>
                <c:pt idx="7558">
                  <c:v>50164</c:v>
                </c:pt>
                <c:pt idx="7559">
                  <c:v>50159</c:v>
                </c:pt>
                <c:pt idx="7560">
                  <c:v>50158</c:v>
                </c:pt>
                <c:pt idx="7561">
                  <c:v>50154</c:v>
                </c:pt>
                <c:pt idx="7562">
                  <c:v>50153</c:v>
                </c:pt>
                <c:pt idx="7563">
                  <c:v>50153</c:v>
                </c:pt>
                <c:pt idx="7564">
                  <c:v>50151</c:v>
                </c:pt>
                <c:pt idx="7565">
                  <c:v>50148</c:v>
                </c:pt>
                <c:pt idx="7566">
                  <c:v>50148</c:v>
                </c:pt>
                <c:pt idx="7567">
                  <c:v>50147</c:v>
                </c:pt>
                <c:pt idx="7568">
                  <c:v>50147</c:v>
                </c:pt>
                <c:pt idx="7569">
                  <c:v>50147</c:v>
                </c:pt>
                <c:pt idx="7570">
                  <c:v>50145</c:v>
                </c:pt>
                <c:pt idx="7571">
                  <c:v>50143</c:v>
                </c:pt>
                <c:pt idx="7572">
                  <c:v>50140</c:v>
                </c:pt>
                <c:pt idx="7573">
                  <c:v>50139</c:v>
                </c:pt>
                <c:pt idx="7574">
                  <c:v>50138</c:v>
                </c:pt>
                <c:pt idx="7575">
                  <c:v>50137</c:v>
                </c:pt>
                <c:pt idx="7576">
                  <c:v>50135</c:v>
                </c:pt>
                <c:pt idx="7577">
                  <c:v>50132</c:v>
                </c:pt>
                <c:pt idx="7578">
                  <c:v>50131</c:v>
                </c:pt>
                <c:pt idx="7579">
                  <c:v>50129</c:v>
                </c:pt>
                <c:pt idx="7580">
                  <c:v>50127</c:v>
                </c:pt>
                <c:pt idx="7581">
                  <c:v>50124</c:v>
                </c:pt>
                <c:pt idx="7582">
                  <c:v>50124</c:v>
                </c:pt>
                <c:pt idx="7583">
                  <c:v>50123</c:v>
                </c:pt>
                <c:pt idx="7584">
                  <c:v>50120</c:v>
                </c:pt>
                <c:pt idx="7585">
                  <c:v>50118</c:v>
                </c:pt>
                <c:pt idx="7586">
                  <c:v>50117</c:v>
                </c:pt>
                <c:pt idx="7587">
                  <c:v>50116</c:v>
                </c:pt>
                <c:pt idx="7588">
                  <c:v>50115</c:v>
                </c:pt>
                <c:pt idx="7589">
                  <c:v>50115</c:v>
                </c:pt>
                <c:pt idx="7590">
                  <c:v>50114</c:v>
                </c:pt>
                <c:pt idx="7591">
                  <c:v>50114</c:v>
                </c:pt>
                <c:pt idx="7592">
                  <c:v>50113</c:v>
                </c:pt>
                <c:pt idx="7593">
                  <c:v>50112</c:v>
                </c:pt>
                <c:pt idx="7594">
                  <c:v>50112</c:v>
                </c:pt>
                <c:pt idx="7595">
                  <c:v>50110</c:v>
                </c:pt>
                <c:pt idx="7596">
                  <c:v>50109</c:v>
                </c:pt>
                <c:pt idx="7597">
                  <c:v>50108</c:v>
                </c:pt>
                <c:pt idx="7598">
                  <c:v>50108</c:v>
                </c:pt>
                <c:pt idx="7599">
                  <c:v>50108</c:v>
                </c:pt>
                <c:pt idx="7600">
                  <c:v>50105</c:v>
                </c:pt>
                <c:pt idx="7601">
                  <c:v>50105</c:v>
                </c:pt>
                <c:pt idx="7602">
                  <c:v>50104</c:v>
                </c:pt>
                <c:pt idx="7603">
                  <c:v>50104</c:v>
                </c:pt>
                <c:pt idx="7604">
                  <c:v>50104</c:v>
                </c:pt>
                <c:pt idx="7605">
                  <c:v>50103</c:v>
                </c:pt>
                <c:pt idx="7606">
                  <c:v>50102</c:v>
                </c:pt>
                <c:pt idx="7607">
                  <c:v>50100</c:v>
                </c:pt>
                <c:pt idx="7608">
                  <c:v>50100</c:v>
                </c:pt>
                <c:pt idx="7609">
                  <c:v>50099</c:v>
                </c:pt>
                <c:pt idx="7610">
                  <c:v>50098</c:v>
                </c:pt>
                <c:pt idx="7611">
                  <c:v>50096</c:v>
                </c:pt>
                <c:pt idx="7612">
                  <c:v>50096</c:v>
                </c:pt>
                <c:pt idx="7613">
                  <c:v>50096</c:v>
                </c:pt>
                <c:pt idx="7614">
                  <c:v>50096</c:v>
                </c:pt>
                <c:pt idx="7615">
                  <c:v>50096</c:v>
                </c:pt>
                <c:pt idx="7616">
                  <c:v>50094</c:v>
                </c:pt>
                <c:pt idx="7617">
                  <c:v>50093</c:v>
                </c:pt>
                <c:pt idx="7618">
                  <c:v>50087</c:v>
                </c:pt>
                <c:pt idx="7619">
                  <c:v>50086</c:v>
                </c:pt>
                <c:pt idx="7620">
                  <c:v>50084</c:v>
                </c:pt>
                <c:pt idx="7621">
                  <c:v>50083</c:v>
                </c:pt>
                <c:pt idx="7622">
                  <c:v>50082</c:v>
                </c:pt>
                <c:pt idx="7623">
                  <c:v>50080</c:v>
                </c:pt>
                <c:pt idx="7624">
                  <c:v>50080</c:v>
                </c:pt>
                <c:pt idx="7625">
                  <c:v>50079</c:v>
                </c:pt>
                <c:pt idx="7626">
                  <c:v>50079</c:v>
                </c:pt>
                <c:pt idx="7627">
                  <c:v>50078</c:v>
                </c:pt>
                <c:pt idx="7628">
                  <c:v>50077</c:v>
                </c:pt>
                <c:pt idx="7629">
                  <c:v>50075</c:v>
                </c:pt>
                <c:pt idx="7630">
                  <c:v>50072</c:v>
                </c:pt>
                <c:pt idx="7631">
                  <c:v>50072</c:v>
                </c:pt>
                <c:pt idx="7632">
                  <c:v>50072</c:v>
                </c:pt>
                <c:pt idx="7633">
                  <c:v>50071</c:v>
                </c:pt>
                <c:pt idx="7634">
                  <c:v>50071</c:v>
                </c:pt>
                <c:pt idx="7635">
                  <c:v>50070</c:v>
                </c:pt>
                <c:pt idx="7636">
                  <c:v>50069</c:v>
                </c:pt>
                <c:pt idx="7637">
                  <c:v>50068</c:v>
                </c:pt>
                <c:pt idx="7638">
                  <c:v>50067</c:v>
                </c:pt>
                <c:pt idx="7639">
                  <c:v>50065</c:v>
                </c:pt>
                <c:pt idx="7640">
                  <c:v>50064</c:v>
                </c:pt>
                <c:pt idx="7641">
                  <c:v>50061</c:v>
                </c:pt>
                <c:pt idx="7642">
                  <c:v>50061</c:v>
                </c:pt>
                <c:pt idx="7643">
                  <c:v>50056</c:v>
                </c:pt>
                <c:pt idx="7644">
                  <c:v>50053</c:v>
                </c:pt>
                <c:pt idx="7645">
                  <c:v>50052</c:v>
                </c:pt>
                <c:pt idx="7646">
                  <c:v>50052</c:v>
                </c:pt>
                <c:pt idx="7647">
                  <c:v>50052</c:v>
                </c:pt>
                <c:pt idx="7648">
                  <c:v>50051</c:v>
                </c:pt>
                <c:pt idx="7649">
                  <c:v>50049</c:v>
                </c:pt>
                <c:pt idx="7650">
                  <c:v>50047</c:v>
                </c:pt>
                <c:pt idx="7651">
                  <c:v>50045</c:v>
                </c:pt>
                <c:pt idx="7652">
                  <c:v>50043</c:v>
                </c:pt>
                <c:pt idx="7653">
                  <c:v>50042</c:v>
                </c:pt>
                <c:pt idx="7654">
                  <c:v>50041</c:v>
                </c:pt>
                <c:pt idx="7655">
                  <c:v>50041</c:v>
                </c:pt>
                <c:pt idx="7656">
                  <c:v>50040</c:v>
                </c:pt>
                <c:pt idx="7657">
                  <c:v>50040</c:v>
                </c:pt>
                <c:pt idx="7658">
                  <c:v>50040</c:v>
                </c:pt>
                <c:pt idx="7659">
                  <c:v>50037</c:v>
                </c:pt>
                <c:pt idx="7660">
                  <c:v>50037</c:v>
                </c:pt>
                <c:pt idx="7661">
                  <c:v>50036</c:v>
                </c:pt>
                <c:pt idx="7662">
                  <c:v>50035</c:v>
                </c:pt>
                <c:pt idx="7663">
                  <c:v>50035</c:v>
                </c:pt>
                <c:pt idx="7664">
                  <c:v>50026</c:v>
                </c:pt>
                <c:pt idx="7665">
                  <c:v>50026</c:v>
                </c:pt>
                <c:pt idx="7666">
                  <c:v>50025</c:v>
                </c:pt>
                <c:pt idx="7667">
                  <c:v>50023</c:v>
                </c:pt>
                <c:pt idx="7668">
                  <c:v>50019</c:v>
                </c:pt>
                <c:pt idx="7669">
                  <c:v>50018</c:v>
                </c:pt>
                <c:pt idx="7670">
                  <c:v>50018</c:v>
                </c:pt>
                <c:pt idx="7671">
                  <c:v>50017</c:v>
                </c:pt>
                <c:pt idx="7672">
                  <c:v>50017</c:v>
                </c:pt>
                <c:pt idx="7673">
                  <c:v>50015</c:v>
                </c:pt>
                <c:pt idx="7674">
                  <c:v>50015</c:v>
                </c:pt>
                <c:pt idx="7675">
                  <c:v>50013</c:v>
                </c:pt>
                <c:pt idx="7676">
                  <c:v>50012</c:v>
                </c:pt>
                <c:pt idx="7677">
                  <c:v>50011</c:v>
                </c:pt>
                <c:pt idx="7678">
                  <c:v>50009</c:v>
                </c:pt>
                <c:pt idx="7679">
                  <c:v>50008</c:v>
                </c:pt>
                <c:pt idx="7680">
                  <c:v>50007</c:v>
                </c:pt>
                <c:pt idx="7681">
                  <c:v>50005</c:v>
                </c:pt>
                <c:pt idx="7682">
                  <c:v>50005</c:v>
                </c:pt>
                <c:pt idx="7683">
                  <c:v>50004</c:v>
                </c:pt>
                <c:pt idx="7684">
                  <c:v>50004</c:v>
                </c:pt>
                <c:pt idx="7685">
                  <c:v>50004</c:v>
                </c:pt>
                <c:pt idx="7686">
                  <c:v>49998</c:v>
                </c:pt>
                <c:pt idx="7687">
                  <c:v>49998</c:v>
                </c:pt>
                <c:pt idx="7688">
                  <c:v>49997</c:v>
                </c:pt>
                <c:pt idx="7689">
                  <c:v>49997</c:v>
                </c:pt>
                <c:pt idx="7690">
                  <c:v>49996</c:v>
                </c:pt>
                <c:pt idx="7691">
                  <c:v>49996</c:v>
                </c:pt>
                <c:pt idx="7692">
                  <c:v>49996</c:v>
                </c:pt>
                <c:pt idx="7693">
                  <c:v>49993</c:v>
                </c:pt>
                <c:pt idx="7694">
                  <c:v>49992</c:v>
                </c:pt>
                <c:pt idx="7695">
                  <c:v>49991</c:v>
                </c:pt>
                <c:pt idx="7696">
                  <c:v>49991</c:v>
                </c:pt>
                <c:pt idx="7697">
                  <c:v>49989</c:v>
                </c:pt>
                <c:pt idx="7698">
                  <c:v>49989</c:v>
                </c:pt>
                <c:pt idx="7699">
                  <c:v>49987</c:v>
                </c:pt>
                <c:pt idx="7700">
                  <c:v>49987</c:v>
                </c:pt>
                <c:pt idx="7701">
                  <c:v>49986</c:v>
                </c:pt>
                <c:pt idx="7702">
                  <c:v>49986</c:v>
                </c:pt>
                <c:pt idx="7703">
                  <c:v>49984</c:v>
                </c:pt>
                <c:pt idx="7704">
                  <c:v>49984</c:v>
                </c:pt>
                <c:pt idx="7705">
                  <c:v>49982</c:v>
                </c:pt>
                <c:pt idx="7706">
                  <c:v>49979</c:v>
                </c:pt>
                <c:pt idx="7707">
                  <c:v>49979</c:v>
                </c:pt>
                <c:pt idx="7708">
                  <c:v>49979</c:v>
                </c:pt>
                <c:pt idx="7709">
                  <c:v>49978</c:v>
                </c:pt>
                <c:pt idx="7710">
                  <c:v>49976</c:v>
                </c:pt>
                <c:pt idx="7711">
                  <c:v>49975</c:v>
                </c:pt>
                <c:pt idx="7712">
                  <c:v>49974</c:v>
                </c:pt>
                <c:pt idx="7713">
                  <c:v>49971</c:v>
                </c:pt>
                <c:pt idx="7714">
                  <c:v>49971</c:v>
                </c:pt>
                <c:pt idx="7715">
                  <c:v>49971</c:v>
                </c:pt>
                <c:pt idx="7716">
                  <c:v>49970</c:v>
                </c:pt>
                <c:pt idx="7717">
                  <c:v>49969</c:v>
                </c:pt>
                <c:pt idx="7718">
                  <c:v>49969</c:v>
                </c:pt>
                <c:pt idx="7719">
                  <c:v>49967</c:v>
                </c:pt>
                <c:pt idx="7720">
                  <c:v>49966</c:v>
                </c:pt>
                <c:pt idx="7721">
                  <c:v>49963</c:v>
                </c:pt>
                <c:pt idx="7722">
                  <c:v>49963</c:v>
                </c:pt>
                <c:pt idx="7723">
                  <c:v>49956</c:v>
                </c:pt>
                <c:pt idx="7724">
                  <c:v>49955</c:v>
                </c:pt>
                <c:pt idx="7725">
                  <c:v>49955</c:v>
                </c:pt>
                <c:pt idx="7726">
                  <c:v>49954</c:v>
                </c:pt>
                <c:pt idx="7727">
                  <c:v>49950</c:v>
                </c:pt>
                <c:pt idx="7728">
                  <c:v>49950</c:v>
                </c:pt>
                <c:pt idx="7729">
                  <c:v>49950</c:v>
                </c:pt>
                <c:pt idx="7730">
                  <c:v>49946</c:v>
                </c:pt>
                <c:pt idx="7731">
                  <c:v>49946</c:v>
                </c:pt>
                <c:pt idx="7732">
                  <c:v>49945</c:v>
                </c:pt>
                <c:pt idx="7733">
                  <c:v>49944</c:v>
                </c:pt>
                <c:pt idx="7734">
                  <c:v>49944</c:v>
                </c:pt>
                <c:pt idx="7735">
                  <c:v>49942</c:v>
                </c:pt>
                <c:pt idx="7736">
                  <c:v>49942</c:v>
                </c:pt>
                <c:pt idx="7737">
                  <c:v>49940</c:v>
                </c:pt>
                <c:pt idx="7738">
                  <c:v>49939</c:v>
                </c:pt>
                <c:pt idx="7739">
                  <c:v>49939</c:v>
                </c:pt>
                <c:pt idx="7740">
                  <c:v>49938</c:v>
                </c:pt>
                <c:pt idx="7741">
                  <c:v>49935</c:v>
                </c:pt>
                <c:pt idx="7742">
                  <c:v>49933</c:v>
                </c:pt>
                <c:pt idx="7743">
                  <c:v>49932</c:v>
                </c:pt>
                <c:pt idx="7744">
                  <c:v>49931</c:v>
                </c:pt>
                <c:pt idx="7745">
                  <c:v>49931</c:v>
                </c:pt>
                <c:pt idx="7746">
                  <c:v>49931</c:v>
                </c:pt>
                <c:pt idx="7747">
                  <c:v>49929</c:v>
                </c:pt>
                <c:pt idx="7748">
                  <c:v>49929</c:v>
                </c:pt>
                <c:pt idx="7749">
                  <c:v>49928</c:v>
                </c:pt>
                <c:pt idx="7750">
                  <c:v>49927</c:v>
                </c:pt>
                <c:pt idx="7751">
                  <c:v>49925</c:v>
                </c:pt>
                <c:pt idx="7752">
                  <c:v>49924</c:v>
                </c:pt>
                <c:pt idx="7753">
                  <c:v>49923</c:v>
                </c:pt>
                <c:pt idx="7754">
                  <c:v>49923</c:v>
                </c:pt>
                <c:pt idx="7755">
                  <c:v>49922</c:v>
                </c:pt>
                <c:pt idx="7756">
                  <c:v>49919</c:v>
                </c:pt>
                <c:pt idx="7757">
                  <c:v>49918</c:v>
                </c:pt>
                <c:pt idx="7758">
                  <c:v>49918</c:v>
                </c:pt>
                <c:pt idx="7759">
                  <c:v>49917</c:v>
                </c:pt>
                <c:pt idx="7760">
                  <c:v>49917</c:v>
                </c:pt>
                <c:pt idx="7761">
                  <c:v>49916</c:v>
                </c:pt>
                <c:pt idx="7762">
                  <c:v>49914</c:v>
                </c:pt>
                <c:pt idx="7763">
                  <c:v>49914</c:v>
                </c:pt>
                <c:pt idx="7764">
                  <c:v>49914</c:v>
                </c:pt>
                <c:pt idx="7765">
                  <c:v>49912</c:v>
                </c:pt>
                <c:pt idx="7766">
                  <c:v>49911</c:v>
                </c:pt>
                <c:pt idx="7767">
                  <c:v>49910</c:v>
                </c:pt>
                <c:pt idx="7768">
                  <c:v>49908</c:v>
                </c:pt>
                <c:pt idx="7769">
                  <c:v>49908</c:v>
                </c:pt>
                <c:pt idx="7770">
                  <c:v>49906</c:v>
                </c:pt>
                <c:pt idx="7771">
                  <c:v>49904</c:v>
                </c:pt>
                <c:pt idx="7772">
                  <c:v>49903</c:v>
                </c:pt>
                <c:pt idx="7773">
                  <c:v>49901</c:v>
                </c:pt>
                <c:pt idx="7774">
                  <c:v>49899</c:v>
                </c:pt>
                <c:pt idx="7775">
                  <c:v>49898</c:v>
                </c:pt>
                <c:pt idx="7776">
                  <c:v>49893</c:v>
                </c:pt>
                <c:pt idx="7777">
                  <c:v>49891</c:v>
                </c:pt>
                <c:pt idx="7778">
                  <c:v>49887</c:v>
                </c:pt>
                <c:pt idx="7779">
                  <c:v>49887</c:v>
                </c:pt>
                <c:pt idx="7780">
                  <c:v>49887</c:v>
                </c:pt>
                <c:pt idx="7781">
                  <c:v>49886</c:v>
                </c:pt>
                <c:pt idx="7782">
                  <c:v>49886</c:v>
                </c:pt>
                <c:pt idx="7783">
                  <c:v>49884</c:v>
                </c:pt>
                <c:pt idx="7784">
                  <c:v>49882</c:v>
                </c:pt>
                <c:pt idx="7785">
                  <c:v>49882</c:v>
                </c:pt>
                <c:pt idx="7786">
                  <c:v>49881</c:v>
                </c:pt>
                <c:pt idx="7787">
                  <c:v>49881</c:v>
                </c:pt>
                <c:pt idx="7788">
                  <c:v>49877</c:v>
                </c:pt>
                <c:pt idx="7789">
                  <c:v>49875</c:v>
                </c:pt>
                <c:pt idx="7790">
                  <c:v>49875</c:v>
                </c:pt>
                <c:pt idx="7791">
                  <c:v>49872</c:v>
                </c:pt>
                <c:pt idx="7792">
                  <c:v>49871</c:v>
                </c:pt>
                <c:pt idx="7793">
                  <c:v>49871</c:v>
                </c:pt>
                <c:pt idx="7794">
                  <c:v>49871</c:v>
                </c:pt>
                <c:pt idx="7795">
                  <c:v>49869</c:v>
                </c:pt>
                <c:pt idx="7796">
                  <c:v>49869</c:v>
                </c:pt>
                <c:pt idx="7797">
                  <c:v>49867</c:v>
                </c:pt>
                <c:pt idx="7798">
                  <c:v>49866</c:v>
                </c:pt>
                <c:pt idx="7799">
                  <c:v>49864</c:v>
                </c:pt>
                <c:pt idx="7800">
                  <c:v>49862</c:v>
                </c:pt>
                <c:pt idx="7801">
                  <c:v>49861</c:v>
                </c:pt>
                <c:pt idx="7802">
                  <c:v>49860</c:v>
                </c:pt>
                <c:pt idx="7803">
                  <c:v>49860</c:v>
                </c:pt>
                <c:pt idx="7804">
                  <c:v>49860</c:v>
                </c:pt>
                <c:pt idx="7805">
                  <c:v>49859</c:v>
                </c:pt>
                <c:pt idx="7806">
                  <c:v>49858</c:v>
                </c:pt>
                <c:pt idx="7807">
                  <c:v>49858</c:v>
                </c:pt>
                <c:pt idx="7808">
                  <c:v>49856</c:v>
                </c:pt>
                <c:pt idx="7809">
                  <c:v>49854</c:v>
                </c:pt>
                <c:pt idx="7810">
                  <c:v>49849</c:v>
                </c:pt>
                <c:pt idx="7811">
                  <c:v>49848</c:v>
                </c:pt>
                <c:pt idx="7812">
                  <c:v>49845</c:v>
                </c:pt>
                <c:pt idx="7813">
                  <c:v>49845</c:v>
                </c:pt>
                <c:pt idx="7814">
                  <c:v>49842</c:v>
                </c:pt>
                <c:pt idx="7815">
                  <c:v>49841</c:v>
                </c:pt>
                <c:pt idx="7816">
                  <c:v>49840</c:v>
                </c:pt>
                <c:pt idx="7817">
                  <c:v>49839</c:v>
                </c:pt>
                <c:pt idx="7818">
                  <c:v>49837</c:v>
                </c:pt>
                <c:pt idx="7819">
                  <c:v>49837</c:v>
                </c:pt>
                <c:pt idx="7820">
                  <c:v>49836</c:v>
                </c:pt>
                <c:pt idx="7821">
                  <c:v>49835</c:v>
                </c:pt>
                <c:pt idx="7822">
                  <c:v>49835</c:v>
                </c:pt>
                <c:pt idx="7823">
                  <c:v>49835</c:v>
                </c:pt>
                <c:pt idx="7824">
                  <c:v>49832</c:v>
                </c:pt>
                <c:pt idx="7825">
                  <c:v>49830</c:v>
                </c:pt>
                <c:pt idx="7826">
                  <c:v>49827</c:v>
                </c:pt>
                <c:pt idx="7827">
                  <c:v>49827</c:v>
                </c:pt>
                <c:pt idx="7828">
                  <c:v>49827</c:v>
                </c:pt>
                <c:pt idx="7829">
                  <c:v>49826</c:v>
                </c:pt>
                <c:pt idx="7830">
                  <c:v>49826</c:v>
                </c:pt>
                <c:pt idx="7831">
                  <c:v>49826</c:v>
                </c:pt>
                <c:pt idx="7832">
                  <c:v>49824</c:v>
                </c:pt>
                <c:pt idx="7833">
                  <c:v>49823</c:v>
                </c:pt>
                <c:pt idx="7834">
                  <c:v>49822</c:v>
                </c:pt>
                <c:pt idx="7835">
                  <c:v>49822</c:v>
                </c:pt>
                <c:pt idx="7836">
                  <c:v>49821</c:v>
                </c:pt>
                <c:pt idx="7837">
                  <c:v>49818</c:v>
                </c:pt>
                <c:pt idx="7838">
                  <c:v>49817</c:v>
                </c:pt>
                <c:pt idx="7839">
                  <c:v>49815</c:v>
                </c:pt>
                <c:pt idx="7840">
                  <c:v>49814</c:v>
                </c:pt>
                <c:pt idx="7841">
                  <c:v>49813</c:v>
                </c:pt>
                <c:pt idx="7842">
                  <c:v>49813</c:v>
                </c:pt>
                <c:pt idx="7843">
                  <c:v>49813</c:v>
                </c:pt>
                <c:pt idx="7844">
                  <c:v>49811</c:v>
                </c:pt>
                <c:pt idx="7845">
                  <c:v>49810</c:v>
                </c:pt>
                <c:pt idx="7846">
                  <c:v>49808</c:v>
                </c:pt>
                <c:pt idx="7847">
                  <c:v>49808</c:v>
                </c:pt>
                <c:pt idx="7848">
                  <c:v>49804</c:v>
                </c:pt>
                <c:pt idx="7849">
                  <c:v>49804</c:v>
                </c:pt>
                <c:pt idx="7850">
                  <c:v>49804</c:v>
                </c:pt>
                <c:pt idx="7851">
                  <c:v>49802</c:v>
                </c:pt>
                <c:pt idx="7852">
                  <c:v>49800</c:v>
                </c:pt>
                <c:pt idx="7853">
                  <c:v>49800</c:v>
                </c:pt>
                <c:pt idx="7854">
                  <c:v>49797</c:v>
                </c:pt>
                <c:pt idx="7855">
                  <c:v>49797</c:v>
                </c:pt>
                <c:pt idx="7856">
                  <c:v>49796</c:v>
                </c:pt>
                <c:pt idx="7857">
                  <c:v>49796</c:v>
                </c:pt>
                <c:pt idx="7858">
                  <c:v>49796</c:v>
                </c:pt>
                <c:pt idx="7859">
                  <c:v>49795</c:v>
                </c:pt>
                <c:pt idx="7860">
                  <c:v>49795</c:v>
                </c:pt>
                <c:pt idx="7861">
                  <c:v>49794</c:v>
                </c:pt>
                <c:pt idx="7862">
                  <c:v>49794</c:v>
                </c:pt>
                <c:pt idx="7863">
                  <c:v>49792</c:v>
                </c:pt>
                <c:pt idx="7864">
                  <c:v>49789</c:v>
                </c:pt>
                <c:pt idx="7865">
                  <c:v>49787</c:v>
                </c:pt>
                <c:pt idx="7866">
                  <c:v>49787</c:v>
                </c:pt>
                <c:pt idx="7867">
                  <c:v>49786</c:v>
                </c:pt>
                <c:pt idx="7868">
                  <c:v>49786</c:v>
                </c:pt>
                <c:pt idx="7869">
                  <c:v>49784</c:v>
                </c:pt>
                <c:pt idx="7870">
                  <c:v>49784</c:v>
                </c:pt>
                <c:pt idx="7871">
                  <c:v>49782</c:v>
                </c:pt>
                <c:pt idx="7872">
                  <c:v>49781</c:v>
                </c:pt>
                <c:pt idx="7873">
                  <c:v>49778</c:v>
                </c:pt>
                <c:pt idx="7874">
                  <c:v>49776</c:v>
                </c:pt>
                <c:pt idx="7875">
                  <c:v>49771</c:v>
                </c:pt>
                <c:pt idx="7876">
                  <c:v>49768</c:v>
                </c:pt>
                <c:pt idx="7877">
                  <c:v>49764</c:v>
                </c:pt>
                <c:pt idx="7878">
                  <c:v>49759</c:v>
                </c:pt>
                <c:pt idx="7879">
                  <c:v>49754</c:v>
                </c:pt>
                <c:pt idx="7880">
                  <c:v>49754</c:v>
                </c:pt>
                <c:pt idx="7881">
                  <c:v>49754</c:v>
                </c:pt>
                <c:pt idx="7882">
                  <c:v>49754</c:v>
                </c:pt>
                <c:pt idx="7883">
                  <c:v>49753</c:v>
                </c:pt>
                <c:pt idx="7884">
                  <c:v>49752</c:v>
                </c:pt>
                <c:pt idx="7885">
                  <c:v>49751</c:v>
                </c:pt>
                <c:pt idx="7886">
                  <c:v>49751</c:v>
                </c:pt>
                <c:pt idx="7887">
                  <c:v>49749</c:v>
                </c:pt>
                <c:pt idx="7888">
                  <c:v>49748</c:v>
                </c:pt>
                <c:pt idx="7889">
                  <c:v>49745</c:v>
                </c:pt>
                <c:pt idx="7890">
                  <c:v>49745</c:v>
                </c:pt>
                <c:pt idx="7891">
                  <c:v>49743</c:v>
                </c:pt>
                <c:pt idx="7892">
                  <c:v>49743</c:v>
                </c:pt>
                <c:pt idx="7893">
                  <c:v>49743</c:v>
                </c:pt>
                <c:pt idx="7894">
                  <c:v>49740</c:v>
                </c:pt>
                <c:pt idx="7895">
                  <c:v>49733</c:v>
                </c:pt>
                <c:pt idx="7896">
                  <c:v>49733</c:v>
                </c:pt>
                <c:pt idx="7897">
                  <c:v>49733</c:v>
                </c:pt>
                <c:pt idx="7898">
                  <c:v>49731</c:v>
                </c:pt>
                <c:pt idx="7899">
                  <c:v>49731</c:v>
                </c:pt>
                <c:pt idx="7900">
                  <c:v>49730</c:v>
                </c:pt>
                <c:pt idx="7901">
                  <c:v>49728</c:v>
                </c:pt>
                <c:pt idx="7902">
                  <c:v>49728</c:v>
                </c:pt>
                <c:pt idx="7903">
                  <c:v>49725</c:v>
                </c:pt>
                <c:pt idx="7904">
                  <c:v>49724</c:v>
                </c:pt>
                <c:pt idx="7905">
                  <c:v>49723</c:v>
                </c:pt>
                <c:pt idx="7906">
                  <c:v>49722</c:v>
                </c:pt>
                <c:pt idx="7907">
                  <c:v>49722</c:v>
                </c:pt>
                <c:pt idx="7908">
                  <c:v>49722</c:v>
                </c:pt>
                <c:pt idx="7909">
                  <c:v>49719</c:v>
                </c:pt>
                <c:pt idx="7910">
                  <c:v>49718</c:v>
                </c:pt>
                <c:pt idx="7911">
                  <c:v>49718</c:v>
                </c:pt>
                <c:pt idx="7912">
                  <c:v>49718</c:v>
                </c:pt>
                <c:pt idx="7913">
                  <c:v>49717</c:v>
                </c:pt>
                <c:pt idx="7914">
                  <c:v>49716</c:v>
                </c:pt>
                <c:pt idx="7915">
                  <c:v>49715</c:v>
                </c:pt>
                <c:pt idx="7916">
                  <c:v>49715</c:v>
                </c:pt>
                <c:pt idx="7917">
                  <c:v>49715</c:v>
                </c:pt>
                <c:pt idx="7918">
                  <c:v>49714</c:v>
                </c:pt>
                <c:pt idx="7919">
                  <c:v>49712</c:v>
                </c:pt>
                <c:pt idx="7920">
                  <c:v>49712</c:v>
                </c:pt>
                <c:pt idx="7921">
                  <c:v>49711</c:v>
                </c:pt>
                <c:pt idx="7922">
                  <c:v>49709</c:v>
                </c:pt>
                <c:pt idx="7923">
                  <c:v>49708</c:v>
                </c:pt>
                <c:pt idx="7924">
                  <c:v>49706</c:v>
                </c:pt>
                <c:pt idx="7925">
                  <c:v>49704</c:v>
                </c:pt>
                <c:pt idx="7926">
                  <c:v>49702</c:v>
                </c:pt>
                <c:pt idx="7927">
                  <c:v>49702</c:v>
                </c:pt>
                <c:pt idx="7928">
                  <c:v>49702</c:v>
                </c:pt>
                <c:pt idx="7929">
                  <c:v>49702</c:v>
                </c:pt>
                <c:pt idx="7930">
                  <c:v>49699</c:v>
                </c:pt>
                <c:pt idx="7931">
                  <c:v>49699</c:v>
                </c:pt>
                <c:pt idx="7932">
                  <c:v>49699</c:v>
                </c:pt>
                <c:pt idx="7933">
                  <c:v>49699</c:v>
                </c:pt>
                <c:pt idx="7934">
                  <c:v>49698</c:v>
                </c:pt>
                <c:pt idx="7935">
                  <c:v>49698</c:v>
                </c:pt>
                <c:pt idx="7936">
                  <c:v>49695</c:v>
                </c:pt>
                <c:pt idx="7937">
                  <c:v>49694</c:v>
                </c:pt>
                <c:pt idx="7938">
                  <c:v>49693</c:v>
                </c:pt>
                <c:pt idx="7939">
                  <c:v>49692</c:v>
                </c:pt>
                <c:pt idx="7940">
                  <c:v>49690</c:v>
                </c:pt>
                <c:pt idx="7941">
                  <c:v>49688</c:v>
                </c:pt>
                <c:pt idx="7942">
                  <c:v>49685</c:v>
                </c:pt>
                <c:pt idx="7943">
                  <c:v>49685</c:v>
                </c:pt>
                <c:pt idx="7944">
                  <c:v>49684</c:v>
                </c:pt>
                <c:pt idx="7945">
                  <c:v>49683</c:v>
                </c:pt>
                <c:pt idx="7946">
                  <c:v>49682</c:v>
                </c:pt>
                <c:pt idx="7947">
                  <c:v>49681</c:v>
                </c:pt>
                <c:pt idx="7948">
                  <c:v>49680</c:v>
                </c:pt>
                <c:pt idx="7949">
                  <c:v>49679</c:v>
                </c:pt>
                <c:pt idx="7950">
                  <c:v>49679</c:v>
                </c:pt>
                <c:pt idx="7951">
                  <c:v>49679</c:v>
                </c:pt>
                <c:pt idx="7952">
                  <c:v>49677</c:v>
                </c:pt>
                <c:pt idx="7953">
                  <c:v>49676</c:v>
                </c:pt>
                <c:pt idx="7954">
                  <c:v>49674</c:v>
                </c:pt>
                <c:pt idx="7955">
                  <c:v>49674</c:v>
                </c:pt>
                <c:pt idx="7956">
                  <c:v>49672</c:v>
                </c:pt>
                <c:pt idx="7957">
                  <c:v>49672</c:v>
                </c:pt>
                <c:pt idx="7958">
                  <c:v>49671</c:v>
                </c:pt>
                <c:pt idx="7959">
                  <c:v>49671</c:v>
                </c:pt>
                <c:pt idx="7960">
                  <c:v>49669</c:v>
                </c:pt>
                <c:pt idx="7961">
                  <c:v>49669</c:v>
                </c:pt>
                <c:pt idx="7962">
                  <c:v>49669</c:v>
                </c:pt>
                <c:pt idx="7963">
                  <c:v>49666</c:v>
                </c:pt>
                <c:pt idx="7964">
                  <c:v>49665</c:v>
                </c:pt>
                <c:pt idx="7965">
                  <c:v>49662</c:v>
                </c:pt>
                <c:pt idx="7966">
                  <c:v>49660</c:v>
                </c:pt>
                <c:pt idx="7967">
                  <c:v>49658</c:v>
                </c:pt>
                <c:pt idx="7968">
                  <c:v>49656</c:v>
                </c:pt>
                <c:pt idx="7969">
                  <c:v>49656</c:v>
                </c:pt>
                <c:pt idx="7970">
                  <c:v>49655</c:v>
                </c:pt>
                <c:pt idx="7971">
                  <c:v>49655</c:v>
                </c:pt>
                <c:pt idx="7972">
                  <c:v>49654</c:v>
                </c:pt>
                <c:pt idx="7973">
                  <c:v>49654</c:v>
                </c:pt>
                <c:pt idx="7974">
                  <c:v>49653</c:v>
                </c:pt>
                <c:pt idx="7975">
                  <c:v>49651</c:v>
                </c:pt>
                <c:pt idx="7976">
                  <c:v>49648</c:v>
                </c:pt>
                <c:pt idx="7977">
                  <c:v>49646</c:v>
                </c:pt>
                <c:pt idx="7978">
                  <c:v>49644</c:v>
                </c:pt>
                <c:pt idx="7979">
                  <c:v>49644</c:v>
                </c:pt>
                <c:pt idx="7980">
                  <c:v>49640</c:v>
                </c:pt>
                <c:pt idx="7981">
                  <c:v>49638</c:v>
                </c:pt>
                <c:pt idx="7982">
                  <c:v>49636</c:v>
                </c:pt>
                <c:pt idx="7983">
                  <c:v>49632</c:v>
                </c:pt>
                <c:pt idx="7984">
                  <c:v>49632</c:v>
                </c:pt>
                <c:pt idx="7985">
                  <c:v>49632</c:v>
                </c:pt>
                <c:pt idx="7986">
                  <c:v>49631</c:v>
                </c:pt>
                <c:pt idx="7987">
                  <c:v>49631</c:v>
                </c:pt>
                <c:pt idx="7988">
                  <c:v>49629</c:v>
                </c:pt>
                <c:pt idx="7989">
                  <c:v>49629</c:v>
                </c:pt>
                <c:pt idx="7990">
                  <c:v>49629</c:v>
                </c:pt>
                <c:pt idx="7991">
                  <c:v>49628</c:v>
                </c:pt>
                <c:pt idx="7992">
                  <c:v>49627</c:v>
                </c:pt>
                <c:pt idx="7993">
                  <c:v>49625</c:v>
                </c:pt>
                <c:pt idx="7994">
                  <c:v>49624</c:v>
                </c:pt>
                <c:pt idx="7995">
                  <c:v>49624</c:v>
                </c:pt>
                <c:pt idx="7996">
                  <c:v>49622</c:v>
                </c:pt>
                <c:pt idx="7997">
                  <c:v>49620</c:v>
                </c:pt>
                <c:pt idx="7998">
                  <c:v>49620</c:v>
                </c:pt>
                <c:pt idx="7999">
                  <c:v>49620</c:v>
                </c:pt>
                <c:pt idx="8000">
                  <c:v>49618</c:v>
                </c:pt>
                <c:pt idx="8001">
                  <c:v>49617</c:v>
                </c:pt>
                <c:pt idx="8002">
                  <c:v>49613</c:v>
                </c:pt>
                <c:pt idx="8003">
                  <c:v>49610</c:v>
                </c:pt>
                <c:pt idx="8004">
                  <c:v>49609</c:v>
                </c:pt>
                <c:pt idx="8005">
                  <c:v>49608</c:v>
                </c:pt>
                <c:pt idx="8006">
                  <c:v>49606</c:v>
                </c:pt>
                <c:pt idx="8007">
                  <c:v>49602</c:v>
                </c:pt>
                <c:pt idx="8008">
                  <c:v>49599</c:v>
                </c:pt>
                <c:pt idx="8009">
                  <c:v>49599</c:v>
                </c:pt>
                <c:pt idx="8010">
                  <c:v>49595</c:v>
                </c:pt>
                <c:pt idx="8011">
                  <c:v>49594</c:v>
                </c:pt>
                <c:pt idx="8012">
                  <c:v>49592</c:v>
                </c:pt>
                <c:pt idx="8013">
                  <c:v>49592</c:v>
                </c:pt>
                <c:pt idx="8014">
                  <c:v>49590</c:v>
                </c:pt>
                <c:pt idx="8015">
                  <c:v>49589</c:v>
                </c:pt>
                <c:pt idx="8016">
                  <c:v>49586</c:v>
                </c:pt>
                <c:pt idx="8017">
                  <c:v>49582</c:v>
                </c:pt>
                <c:pt idx="8018">
                  <c:v>49581</c:v>
                </c:pt>
                <c:pt idx="8019">
                  <c:v>49577</c:v>
                </c:pt>
                <c:pt idx="8020">
                  <c:v>49576</c:v>
                </c:pt>
                <c:pt idx="8021">
                  <c:v>49576</c:v>
                </c:pt>
                <c:pt idx="8022">
                  <c:v>49575</c:v>
                </c:pt>
                <c:pt idx="8023">
                  <c:v>49571</c:v>
                </c:pt>
                <c:pt idx="8024">
                  <c:v>49569</c:v>
                </c:pt>
                <c:pt idx="8025">
                  <c:v>49568</c:v>
                </c:pt>
                <c:pt idx="8026">
                  <c:v>49565</c:v>
                </c:pt>
                <c:pt idx="8027">
                  <c:v>49563</c:v>
                </c:pt>
                <c:pt idx="8028">
                  <c:v>49561</c:v>
                </c:pt>
                <c:pt idx="8029">
                  <c:v>49560</c:v>
                </c:pt>
                <c:pt idx="8030">
                  <c:v>49560</c:v>
                </c:pt>
                <c:pt idx="8031">
                  <c:v>49560</c:v>
                </c:pt>
                <c:pt idx="8032">
                  <c:v>49558</c:v>
                </c:pt>
                <c:pt idx="8033">
                  <c:v>49557</c:v>
                </c:pt>
                <c:pt idx="8034">
                  <c:v>49556</c:v>
                </c:pt>
                <c:pt idx="8035">
                  <c:v>49555</c:v>
                </c:pt>
                <c:pt idx="8036">
                  <c:v>49552</c:v>
                </c:pt>
                <c:pt idx="8037">
                  <c:v>49552</c:v>
                </c:pt>
                <c:pt idx="8038">
                  <c:v>49551</c:v>
                </c:pt>
                <c:pt idx="8039">
                  <c:v>49551</c:v>
                </c:pt>
                <c:pt idx="8040">
                  <c:v>49549</c:v>
                </c:pt>
                <c:pt idx="8041">
                  <c:v>49548</c:v>
                </c:pt>
                <c:pt idx="8042">
                  <c:v>49541</c:v>
                </c:pt>
                <c:pt idx="8043">
                  <c:v>49541</c:v>
                </c:pt>
                <c:pt idx="8044">
                  <c:v>49541</c:v>
                </c:pt>
                <c:pt idx="8045">
                  <c:v>49541</c:v>
                </c:pt>
                <c:pt idx="8046">
                  <c:v>49538</c:v>
                </c:pt>
                <c:pt idx="8047">
                  <c:v>49538</c:v>
                </c:pt>
                <c:pt idx="8048">
                  <c:v>49537</c:v>
                </c:pt>
                <c:pt idx="8049">
                  <c:v>49534</c:v>
                </c:pt>
                <c:pt idx="8050">
                  <c:v>49533</c:v>
                </c:pt>
                <c:pt idx="8051">
                  <c:v>49533</c:v>
                </c:pt>
                <c:pt idx="8052">
                  <c:v>49532</c:v>
                </c:pt>
                <c:pt idx="8053">
                  <c:v>49532</c:v>
                </c:pt>
                <c:pt idx="8054">
                  <c:v>49532</c:v>
                </c:pt>
                <c:pt idx="8055">
                  <c:v>49529</c:v>
                </c:pt>
                <c:pt idx="8056">
                  <c:v>49528</c:v>
                </c:pt>
                <c:pt idx="8057">
                  <c:v>49527</c:v>
                </c:pt>
                <c:pt idx="8058">
                  <c:v>49526</c:v>
                </c:pt>
                <c:pt idx="8059">
                  <c:v>49525</c:v>
                </c:pt>
                <c:pt idx="8060">
                  <c:v>49524</c:v>
                </c:pt>
                <c:pt idx="8061">
                  <c:v>49523</c:v>
                </c:pt>
                <c:pt idx="8062">
                  <c:v>49521</c:v>
                </c:pt>
                <c:pt idx="8063">
                  <c:v>49519</c:v>
                </c:pt>
                <c:pt idx="8064">
                  <c:v>49518</c:v>
                </c:pt>
                <c:pt idx="8065">
                  <c:v>49518</c:v>
                </c:pt>
                <c:pt idx="8066">
                  <c:v>49518</c:v>
                </c:pt>
                <c:pt idx="8067">
                  <c:v>49514</c:v>
                </c:pt>
                <c:pt idx="8068">
                  <c:v>49514</c:v>
                </c:pt>
                <c:pt idx="8069">
                  <c:v>49513</c:v>
                </c:pt>
                <c:pt idx="8070">
                  <c:v>49512</c:v>
                </c:pt>
                <c:pt idx="8071">
                  <c:v>49512</c:v>
                </c:pt>
                <c:pt idx="8072">
                  <c:v>49510</c:v>
                </c:pt>
                <c:pt idx="8073">
                  <c:v>49510</c:v>
                </c:pt>
                <c:pt idx="8074">
                  <c:v>49509</c:v>
                </c:pt>
                <c:pt idx="8075">
                  <c:v>49509</c:v>
                </c:pt>
                <c:pt idx="8076">
                  <c:v>49509</c:v>
                </c:pt>
                <c:pt idx="8077">
                  <c:v>49508</c:v>
                </c:pt>
                <c:pt idx="8078">
                  <c:v>49508</c:v>
                </c:pt>
                <c:pt idx="8079">
                  <c:v>49506</c:v>
                </c:pt>
                <c:pt idx="8080">
                  <c:v>49504</c:v>
                </c:pt>
                <c:pt idx="8081">
                  <c:v>49502</c:v>
                </c:pt>
                <c:pt idx="8082">
                  <c:v>49501</c:v>
                </c:pt>
                <c:pt idx="8083">
                  <c:v>49499</c:v>
                </c:pt>
                <c:pt idx="8084">
                  <c:v>49494</c:v>
                </c:pt>
                <c:pt idx="8085">
                  <c:v>49493</c:v>
                </c:pt>
                <c:pt idx="8086">
                  <c:v>49492</c:v>
                </c:pt>
                <c:pt idx="8087">
                  <c:v>49491</c:v>
                </c:pt>
                <c:pt idx="8088">
                  <c:v>49491</c:v>
                </c:pt>
                <c:pt idx="8089">
                  <c:v>49490</c:v>
                </c:pt>
                <c:pt idx="8090">
                  <c:v>49489</c:v>
                </c:pt>
                <c:pt idx="8091">
                  <c:v>49489</c:v>
                </c:pt>
                <c:pt idx="8092">
                  <c:v>49488</c:v>
                </c:pt>
                <c:pt idx="8093">
                  <c:v>49487</c:v>
                </c:pt>
                <c:pt idx="8094">
                  <c:v>49485</c:v>
                </c:pt>
                <c:pt idx="8095">
                  <c:v>49485</c:v>
                </c:pt>
                <c:pt idx="8096">
                  <c:v>49485</c:v>
                </c:pt>
                <c:pt idx="8097">
                  <c:v>49484</c:v>
                </c:pt>
                <c:pt idx="8098">
                  <c:v>49484</c:v>
                </c:pt>
                <c:pt idx="8099">
                  <c:v>49484</c:v>
                </c:pt>
                <c:pt idx="8100">
                  <c:v>49482</c:v>
                </c:pt>
                <c:pt idx="8101">
                  <c:v>49479</c:v>
                </c:pt>
                <c:pt idx="8102">
                  <c:v>49478</c:v>
                </c:pt>
                <c:pt idx="8103">
                  <c:v>49478</c:v>
                </c:pt>
                <c:pt idx="8104">
                  <c:v>49476</c:v>
                </c:pt>
                <c:pt idx="8105">
                  <c:v>49475</c:v>
                </c:pt>
                <c:pt idx="8106">
                  <c:v>49474</c:v>
                </c:pt>
                <c:pt idx="8107">
                  <c:v>49474</c:v>
                </c:pt>
                <c:pt idx="8108">
                  <c:v>49473</c:v>
                </c:pt>
                <c:pt idx="8109">
                  <c:v>49473</c:v>
                </c:pt>
                <c:pt idx="8110">
                  <c:v>49472</c:v>
                </c:pt>
                <c:pt idx="8111">
                  <c:v>49471</c:v>
                </c:pt>
                <c:pt idx="8112">
                  <c:v>49470</c:v>
                </c:pt>
                <c:pt idx="8113">
                  <c:v>49468</c:v>
                </c:pt>
                <c:pt idx="8114">
                  <c:v>49468</c:v>
                </c:pt>
                <c:pt idx="8115">
                  <c:v>49463</c:v>
                </c:pt>
                <c:pt idx="8116">
                  <c:v>49462</c:v>
                </c:pt>
                <c:pt idx="8117">
                  <c:v>49462</c:v>
                </c:pt>
                <c:pt idx="8118">
                  <c:v>49458</c:v>
                </c:pt>
                <c:pt idx="8119">
                  <c:v>49458</c:v>
                </c:pt>
                <c:pt idx="8120">
                  <c:v>49455</c:v>
                </c:pt>
                <c:pt idx="8121">
                  <c:v>49450</c:v>
                </c:pt>
                <c:pt idx="8122">
                  <c:v>49450</c:v>
                </c:pt>
                <c:pt idx="8123">
                  <c:v>49448</c:v>
                </c:pt>
                <c:pt idx="8124">
                  <c:v>49448</c:v>
                </c:pt>
                <c:pt idx="8125">
                  <c:v>49442</c:v>
                </c:pt>
                <c:pt idx="8126">
                  <c:v>49442</c:v>
                </c:pt>
                <c:pt idx="8127">
                  <c:v>49441</c:v>
                </c:pt>
                <c:pt idx="8128">
                  <c:v>49440</c:v>
                </c:pt>
                <c:pt idx="8129">
                  <c:v>49440</c:v>
                </c:pt>
                <c:pt idx="8130">
                  <c:v>49440</c:v>
                </c:pt>
                <c:pt idx="8131">
                  <c:v>49439</c:v>
                </c:pt>
                <c:pt idx="8132">
                  <c:v>49439</c:v>
                </c:pt>
                <c:pt idx="8133">
                  <c:v>49438</c:v>
                </c:pt>
                <c:pt idx="8134">
                  <c:v>49437</c:v>
                </c:pt>
                <c:pt idx="8135">
                  <c:v>49437</c:v>
                </c:pt>
                <c:pt idx="8136">
                  <c:v>49436</c:v>
                </c:pt>
                <c:pt idx="8137">
                  <c:v>49435</c:v>
                </c:pt>
                <c:pt idx="8138">
                  <c:v>49433</c:v>
                </c:pt>
                <c:pt idx="8139">
                  <c:v>49432</c:v>
                </c:pt>
                <c:pt idx="8140">
                  <c:v>49431</c:v>
                </c:pt>
                <c:pt idx="8141">
                  <c:v>49430</c:v>
                </c:pt>
                <c:pt idx="8142">
                  <c:v>49425</c:v>
                </c:pt>
                <c:pt idx="8143">
                  <c:v>49424</c:v>
                </c:pt>
                <c:pt idx="8144">
                  <c:v>49423</c:v>
                </c:pt>
                <c:pt idx="8145">
                  <c:v>49423</c:v>
                </c:pt>
                <c:pt idx="8146">
                  <c:v>49423</c:v>
                </c:pt>
                <c:pt idx="8147">
                  <c:v>49422</c:v>
                </c:pt>
                <c:pt idx="8148">
                  <c:v>49421</c:v>
                </c:pt>
                <c:pt idx="8149">
                  <c:v>49421</c:v>
                </c:pt>
                <c:pt idx="8150">
                  <c:v>49421</c:v>
                </c:pt>
                <c:pt idx="8151">
                  <c:v>49421</c:v>
                </c:pt>
                <c:pt idx="8152">
                  <c:v>49421</c:v>
                </c:pt>
                <c:pt idx="8153">
                  <c:v>49420</c:v>
                </c:pt>
                <c:pt idx="8154">
                  <c:v>49419</c:v>
                </c:pt>
                <c:pt idx="8155">
                  <c:v>49419</c:v>
                </c:pt>
                <c:pt idx="8156">
                  <c:v>49416</c:v>
                </c:pt>
                <c:pt idx="8157">
                  <c:v>49413</c:v>
                </c:pt>
                <c:pt idx="8158">
                  <c:v>49413</c:v>
                </c:pt>
                <c:pt idx="8159">
                  <c:v>49413</c:v>
                </c:pt>
                <c:pt idx="8160">
                  <c:v>49410</c:v>
                </c:pt>
                <c:pt idx="8161">
                  <c:v>49410</c:v>
                </c:pt>
                <c:pt idx="8162">
                  <c:v>49409</c:v>
                </c:pt>
                <c:pt idx="8163">
                  <c:v>49409</c:v>
                </c:pt>
                <c:pt idx="8164">
                  <c:v>49408</c:v>
                </c:pt>
                <c:pt idx="8165">
                  <c:v>49407</c:v>
                </c:pt>
                <c:pt idx="8166">
                  <c:v>49406</c:v>
                </c:pt>
                <c:pt idx="8167">
                  <c:v>49406</c:v>
                </c:pt>
                <c:pt idx="8168">
                  <c:v>49403</c:v>
                </c:pt>
                <c:pt idx="8169">
                  <c:v>49403</c:v>
                </c:pt>
                <c:pt idx="8170">
                  <c:v>49401</c:v>
                </c:pt>
                <c:pt idx="8171">
                  <c:v>49401</c:v>
                </c:pt>
                <c:pt idx="8172">
                  <c:v>49400</c:v>
                </c:pt>
                <c:pt idx="8173">
                  <c:v>49399</c:v>
                </c:pt>
                <c:pt idx="8174">
                  <c:v>49399</c:v>
                </c:pt>
                <c:pt idx="8175">
                  <c:v>49398</c:v>
                </c:pt>
                <c:pt idx="8176">
                  <c:v>49394</c:v>
                </c:pt>
                <c:pt idx="8177">
                  <c:v>49394</c:v>
                </c:pt>
                <c:pt idx="8178">
                  <c:v>49392</c:v>
                </c:pt>
                <c:pt idx="8179">
                  <c:v>49391</c:v>
                </c:pt>
                <c:pt idx="8180">
                  <c:v>49390</c:v>
                </c:pt>
                <c:pt idx="8181">
                  <c:v>49389</c:v>
                </c:pt>
                <c:pt idx="8182">
                  <c:v>49389</c:v>
                </c:pt>
                <c:pt idx="8183">
                  <c:v>49388</c:v>
                </c:pt>
                <c:pt idx="8184">
                  <c:v>49388</c:v>
                </c:pt>
                <c:pt idx="8185">
                  <c:v>49388</c:v>
                </c:pt>
                <c:pt idx="8186">
                  <c:v>49387</c:v>
                </c:pt>
                <c:pt idx="8187">
                  <c:v>49387</c:v>
                </c:pt>
                <c:pt idx="8188">
                  <c:v>49387</c:v>
                </c:pt>
                <c:pt idx="8189">
                  <c:v>49387</c:v>
                </c:pt>
                <c:pt idx="8190">
                  <c:v>49386</c:v>
                </c:pt>
                <c:pt idx="8191">
                  <c:v>49386</c:v>
                </c:pt>
                <c:pt idx="8192">
                  <c:v>49386</c:v>
                </c:pt>
                <c:pt idx="8193">
                  <c:v>49384</c:v>
                </c:pt>
                <c:pt idx="8194">
                  <c:v>49384</c:v>
                </c:pt>
                <c:pt idx="8195">
                  <c:v>49384</c:v>
                </c:pt>
                <c:pt idx="8196">
                  <c:v>49381</c:v>
                </c:pt>
                <c:pt idx="8197">
                  <c:v>49380</c:v>
                </c:pt>
                <c:pt idx="8198">
                  <c:v>49380</c:v>
                </c:pt>
                <c:pt idx="8199">
                  <c:v>49379</c:v>
                </c:pt>
                <c:pt idx="8200">
                  <c:v>49379</c:v>
                </c:pt>
                <c:pt idx="8201">
                  <c:v>49378</c:v>
                </c:pt>
                <c:pt idx="8202">
                  <c:v>49378</c:v>
                </c:pt>
                <c:pt idx="8203">
                  <c:v>49378</c:v>
                </c:pt>
                <c:pt idx="8204">
                  <c:v>49377</c:v>
                </c:pt>
                <c:pt idx="8205">
                  <c:v>49376</c:v>
                </c:pt>
                <c:pt idx="8206">
                  <c:v>49375</c:v>
                </c:pt>
                <c:pt idx="8207">
                  <c:v>49371</c:v>
                </c:pt>
                <c:pt idx="8208">
                  <c:v>49370</c:v>
                </c:pt>
                <c:pt idx="8209">
                  <c:v>49367</c:v>
                </c:pt>
                <c:pt idx="8210">
                  <c:v>49367</c:v>
                </c:pt>
                <c:pt idx="8211">
                  <c:v>49366</c:v>
                </c:pt>
                <c:pt idx="8212">
                  <c:v>49366</c:v>
                </c:pt>
                <c:pt idx="8213">
                  <c:v>49365</c:v>
                </c:pt>
                <c:pt idx="8214">
                  <c:v>49363</c:v>
                </c:pt>
                <c:pt idx="8215">
                  <c:v>49362</c:v>
                </c:pt>
                <c:pt idx="8216">
                  <c:v>49359</c:v>
                </c:pt>
                <c:pt idx="8217">
                  <c:v>49358</c:v>
                </c:pt>
                <c:pt idx="8218">
                  <c:v>49358</c:v>
                </c:pt>
                <c:pt idx="8219">
                  <c:v>49357</c:v>
                </c:pt>
                <c:pt idx="8220">
                  <c:v>49356</c:v>
                </c:pt>
                <c:pt idx="8221">
                  <c:v>49355</c:v>
                </c:pt>
                <c:pt idx="8222">
                  <c:v>49355</c:v>
                </c:pt>
                <c:pt idx="8223">
                  <c:v>49354</c:v>
                </c:pt>
                <c:pt idx="8224">
                  <c:v>49353</c:v>
                </c:pt>
                <c:pt idx="8225">
                  <c:v>49352</c:v>
                </c:pt>
                <c:pt idx="8226">
                  <c:v>49351</c:v>
                </c:pt>
                <c:pt idx="8227">
                  <c:v>49351</c:v>
                </c:pt>
                <c:pt idx="8228">
                  <c:v>49350</c:v>
                </c:pt>
                <c:pt idx="8229">
                  <c:v>49349</c:v>
                </c:pt>
                <c:pt idx="8230">
                  <c:v>49349</c:v>
                </c:pt>
                <c:pt idx="8231">
                  <c:v>49342</c:v>
                </c:pt>
                <c:pt idx="8232">
                  <c:v>49342</c:v>
                </c:pt>
                <c:pt idx="8233">
                  <c:v>49341</c:v>
                </c:pt>
                <c:pt idx="8234">
                  <c:v>49336</c:v>
                </c:pt>
                <c:pt idx="8235">
                  <c:v>49336</c:v>
                </c:pt>
                <c:pt idx="8236">
                  <c:v>49332</c:v>
                </c:pt>
                <c:pt idx="8237">
                  <c:v>49332</c:v>
                </c:pt>
                <c:pt idx="8238">
                  <c:v>49329</c:v>
                </c:pt>
                <c:pt idx="8239">
                  <c:v>49327</c:v>
                </c:pt>
                <c:pt idx="8240">
                  <c:v>49326</c:v>
                </c:pt>
                <c:pt idx="8241">
                  <c:v>49326</c:v>
                </c:pt>
                <c:pt idx="8242">
                  <c:v>49326</c:v>
                </c:pt>
                <c:pt idx="8243">
                  <c:v>49326</c:v>
                </c:pt>
                <c:pt idx="8244">
                  <c:v>49324</c:v>
                </c:pt>
                <c:pt idx="8245">
                  <c:v>49321</c:v>
                </c:pt>
                <c:pt idx="8246">
                  <c:v>49321</c:v>
                </c:pt>
                <c:pt idx="8247">
                  <c:v>49320</c:v>
                </c:pt>
                <c:pt idx="8248">
                  <c:v>49320</c:v>
                </c:pt>
                <c:pt idx="8249">
                  <c:v>49319</c:v>
                </c:pt>
                <c:pt idx="8250">
                  <c:v>49319</c:v>
                </c:pt>
                <c:pt idx="8251">
                  <c:v>49317</c:v>
                </c:pt>
                <c:pt idx="8252">
                  <c:v>49316</c:v>
                </c:pt>
                <c:pt idx="8253">
                  <c:v>49316</c:v>
                </c:pt>
                <c:pt idx="8254">
                  <c:v>49315</c:v>
                </c:pt>
                <c:pt idx="8255">
                  <c:v>49314</c:v>
                </c:pt>
                <c:pt idx="8256">
                  <c:v>49313</c:v>
                </c:pt>
                <c:pt idx="8257">
                  <c:v>49312</c:v>
                </c:pt>
                <c:pt idx="8258">
                  <c:v>49311</c:v>
                </c:pt>
                <c:pt idx="8259">
                  <c:v>49310</c:v>
                </c:pt>
                <c:pt idx="8260">
                  <c:v>49309</c:v>
                </c:pt>
                <c:pt idx="8261">
                  <c:v>49305</c:v>
                </c:pt>
                <c:pt idx="8262">
                  <c:v>49304</c:v>
                </c:pt>
                <c:pt idx="8263">
                  <c:v>49304</c:v>
                </c:pt>
                <c:pt idx="8264">
                  <c:v>49303</c:v>
                </c:pt>
                <c:pt idx="8265">
                  <c:v>49301</c:v>
                </c:pt>
                <c:pt idx="8266">
                  <c:v>49299</c:v>
                </c:pt>
                <c:pt idx="8267">
                  <c:v>49297</c:v>
                </c:pt>
                <c:pt idx="8268">
                  <c:v>49297</c:v>
                </c:pt>
                <c:pt idx="8269">
                  <c:v>49290</c:v>
                </c:pt>
                <c:pt idx="8270">
                  <c:v>49288</c:v>
                </c:pt>
                <c:pt idx="8271">
                  <c:v>49287</c:v>
                </c:pt>
                <c:pt idx="8272">
                  <c:v>49286</c:v>
                </c:pt>
                <c:pt idx="8273">
                  <c:v>49283</c:v>
                </c:pt>
                <c:pt idx="8274">
                  <c:v>49283</c:v>
                </c:pt>
                <c:pt idx="8275">
                  <c:v>49282</c:v>
                </c:pt>
                <c:pt idx="8276">
                  <c:v>49282</c:v>
                </c:pt>
                <c:pt idx="8277">
                  <c:v>49282</c:v>
                </c:pt>
                <c:pt idx="8278">
                  <c:v>49279</c:v>
                </c:pt>
                <c:pt idx="8279">
                  <c:v>49276</c:v>
                </c:pt>
                <c:pt idx="8280">
                  <c:v>49275</c:v>
                </c:pt>
                <c:pt idx="8281">
                  <c:v>49274</c:v>
                </c:pt>
                <c:pt idx="8282">
                  <c:v>49273</c:v>
                </c:pt>
                <c:pt idx="8283">
                  <c:v>49273</c:v>
                </c:pt>
                <c:pt idx="8284">
                  <c:v>49273</c:v>
                </c:pt>
                <c:pt idx="8285">
                  <c:v>49273</c:v>
                </c:pt>
                <c:pt idx="8286">
                  <c:v>49272</c:v>
                </c:pt>
                <c:pt idx="8287">
                  <c:v>49270</c:v>
                </c:pt>
                <c:pt idx="8288">
                  <c:v>49269</c:v>
                </c:pt>
                <c:pt idx="8289">
                  <c:v>49269</c:v>
                </c:pt>
                <c:pt idx="8290">
                  <c:v>49267</c:v>
                </c:pt>
                <c:pt idx="8291">
                  <c:v>49266</c:v>
                </c:pt>
                <c:pt idx="8292">
                  <c:v>49266</c:v>
                </c:pt>
                <c:pt idx="8293">
                  <c:v>49265</c:v>
                </c:pt>
                <c:pt idx="8294">
                  <c:v>49264</c:v>
                </c:pt>
                <c:pt idx="8295">
                  <c:v>49263</c:v>
                </c:pt>
                <c:pt idx="8296">
                  <c:v>49261</c:v>
                </c:pt>
                <c:pt idx="8297">
                  <c:v>49257</c:v>
                </c:pt>
                <c:pt idx="8298">
                  <c:v>49256</c:v>
                </c:pt>
                <c:pt idx="8299">
                  <c:v>49255</c:v>
                </c:pt>
                <c:pt idx="8300">
                  <c:v>49254</c:v>
                </c:pt>
                <c:pt idx="8301">
                  <c:v>49253</c:v>
                </c:pt>
                <c:pt idx="8302">
                  <c:v>49252</c:v>
                </c:pt>
                <c:pt idx="8303">
                  <c:v>49252</c:v>
                </c:pt>
                <c:pt idx="8304">
                  <c:v>49248</c:v>
                </c:pt>
                <c:pt idx="8305">
                  <c:v>49247</c:v>
                </c:pt>
                <c:pt idx="8306">
                  <c:v>49246</c:v>
                </c:pt>
                <c:pt idx="8307">
                  <c:v>49246</c:v>
                </c:pt>
                <c:pt idx="8308">
                  <c:v>49246</c:v>
                </c:pt>
                <c:pt idx="8309">
                  <c:v>49245</c:v>
                </c:pt>
                <c:pt idx="8310">
                  <c:v>49245</c:v>
                </c:pt>
                <c:pt idx="8311">
                  <c:v>49244</c:v>
                </c:pt>
                <c:pt idx="8312">
                  <c:v>49242</c:v>
                </c:pt>
                <c:pt idx="8313">
                  <c:v>49242</c:v>
                </c:pt>
                <c:pt idx="8314">
                  <c:v>49242</c:v>
                </c:pt>
                <c:pt idx="8315">
                  <c:v>49241</c:v>
                </c:pt>
                <c:pt idx="8316">
                  <c:v>49239</c:v>
                </c:pt>
                <c:pt idx="8317">
                  <c:v>49239</c:v>
                </c:pt>
                <c:pt idx="8318">
                  <c:v>49237</c:v>
                </c:pt>
                <c:pt idx="8319">
                  <c:v>49237</c:v>
                </c:pt>
                <c:pt idx="8320">
                  <c:v>49236</c:v>
                </c:pt>
                <c:pt idx="8321">
                  <c:v>49234</c:v>
                </c:pt>
                <c:pt idx="8322">
                  <c:v>49234</c:v>
                </c:pt>
                <c:pt idx="8323">
                  <c:v>49234</c:v>
                </c:pt>
                <c:pt idx="8324">
                  <c:v>49231</c:v>
                </c:pt>
                <c:pt idx="8325">
                  <c:v>49231</c:v>
                </c:pt>
                <c:pt idx="8326">
                  <c:v>49230</c:v>
                </c:pt>
                <c:pt idx="8327">
                  <c:v>49229</c:v>
                </c:pt>
                <c:pt idx="8328">
                  <c:v>49228</c:v>
                </c:pt>
                <c:pt idx="8329">
                  <c:v>49227</c:v>
                </c:pt>
                <c:pt idx="8330">
                  <c:v>49227</c:v>
                </c:pt>
                <c:pt idx="8331">
                  <c:v>49227</c:v>
                </c:pt>
                <c:pt idx="8332">
                  <c:v>49225</c:v>
                </c:pt>
                <c:pt idx="8333">
                  <c:v>49223</c:v>
                </c:pt>
                <c:pt idx="8334">
                  <c:v>49223</c:v>
                </c:pt>
                <c:pt idx="8335">
                  <c:v>49222</c:v>
                </c:pt>
                <c:pt idx="8336">
                  <c:v>49220</c:v>
                </c:pt>
                <c:pt idx="8337">
                  <c:v>49217</c:v>
                </c:pt>
                <c:pt idx="8338">
                  <c:v>49216</c:v>
                </c:pt>
                <c:pt idx="8339">
                  <c:v>49216</c:v>
                </c:pt>
                <c:pt idx="8340">
                  <c:v>49215</c:v>
                </c:pt>
                <c:pt idx="8341">
                  <c:v>49213</c:v>
                </c:pt>
                <c:pt idx="8342">
                  <c:v>49212</c:v>
                </c:pt>
                <c:pt idx="8343">
                  <c:v>49211</c:v>
                </c:pt>
                <c:pt idx="8344">
                  <c:v>49211</c:v>
                </c:pt>
                <c:pt idx="8345">
                  <c:v>49211</c:v>
                </c:pt>
                <c:pt idx="8346">
                  <c:v>49208</c:v>
                </c:pt>
                <c:pt idx="8347">
                  <c:v>49208</c:v>
                </c:pt>
                <c:pt idx="8348">
                  <c:v>49207</c:v>
                </c:pt>
                <c:pt idx="8349">
                  <c:v>49207</c:v>
                </c:pt>
                <c:pt idx="8350">
                  <c:v>49205</c:v>
                </c:pt>
                <c:pt idx="8351">
                  <c:v>49204</c:v>
                </c:pt>
                <c:pt idx="8352">
                  <c:v>49204</c:v>
                </c:pt>
                <c:pt idx="8353">
                  <c:v>49203</c:v>
                </c:pt>
                <c:pt idx="8354">
                  <c:v>49200</c:v>
                </c:pt>
                <c:pt idx="8355">
                  <c:v>49197</c:v>
                </c:pt>
                <c:pt idx="8356">
                  <c:v>49193</c:v>
                </c:pt>
                <c:pt idx="8357">
                  <c:v>49192</c:v>
                </c:pt>
                <c:pt idx="8358">
                  <c:v>49191</c:v>
                </c:pt>
                <c:pt idx="8359">
                  <c:v>49191</c:v>
                </c:pt>
                <c:pt idx="8360">
                  <c:v>49191</c:v>
                </c:pt>
                <c:pt idx="8361">
                  <c:v>49190</c:v>
                </c:pt>
                <c:pt idx="8362">
                  <c:v>49189</c:v>
                </c:pt>
                <c:pt idx="8363">
                  <c:v>49188</c:v>
                </c:pt>
                <c:pt idx="8364">
                  <c:v>49188</c:v>
                </c:pt>
                <c:pt idx="8365">
                  <c:v>49186</c:v>
                </c:pt>
                <c:pt idx="8366">
                  <c:v>49186</c:v>
                </c:pt>
                <c:pt idx="8367">
                  <c:v>49184</c:v>
                </c:pt>
                <c:pt idx="8368">
                  <c:v>49183</c:v>
                </c:pt>
                <c:pt idx="8369">
                  <c:v>49183</c:v>
                </c:pt>
                <c:pt idx="8370">
                  <c:v>49182</c:v>
                </c:pt>
                <c:pt idx="8371">
                  <c:v>49180</c:v>
                </c:pt>
                <c:pt idx="8372">
                  <c:v>49180</c:v>
                </c:pt>
                <c:pt idx="8373">
                  <c:v>49179</c:v>
                </c:pt>
                <c:pt idx="8374">
                  <c:v>49179</c:v>
                </c:pt>
                <c:pt idx="8375">
                  <c:v>49177</c:v>
                </c:pt>
                <c:pt idx="8376">
                  <c:v>49175</c:v>
                </c:pt>
                <c:pt idx="8377">
                  <c:v>49174</c:v>
                </c:pt>
                <c:pt idx="8378">
                  <c:v>49174</c:v>
                </c:pt>
                <c:pt idx="8379">
                  <c:v>49173</c:v>
                </c:pt>
                <c:pt idx="8380">
                  <c:v>49171</c:v>
                </c:pt>
                <c:pt idx="8381">
                  <c:v>49170</c:v>
                </c:pt>
                <c:pt idx="8382">
                  <c:v>49170</c:v>
                </c:pt>
                <c:pt idx="8383">
                  <c:v>49170</c:v>
                </c:pt>
                <c:pt idx="8384">
                  <c:v>49169</c:v>
                </c:pt>
                <c:pt idx="8385">
                  <c:v>49168</c:v>
                </c:pt>
                <c:pt idx="8386">
                  <c:v>49166</c:v>
                </c:pt>
                <c:pt idx="8387">
                  <c:v>49166</c:v>
                </c:pt>
                <c:pt idx="8388">
                  <c:v>49166</c:v>
                </c:pt>
                <c:pt idx="8389">
                  <c:v>49165</c:v>
                </c:pt>
                <c:pt idx="8390">
                  <c:v>49165</c:v>
                </c:pt>
                <c:pt idx="8391">
                  <c:v>49164</c:v>
                </c:pt>
                <c:pt idx="8392">
                  <c:v>49164</c:v>
                </c:pt>
                <c:pt idx="8393">
                  <c:v>49163</c:v>
                </c:pt>
                <c:pt idx="8394">
                  <c:v>49163</c:v>
                </c:pt>
                <c:pt idx="8395">
                  <c:v>49162</c:v>
                </c:pt>
                <c:pt idx="8396">
                  <c:v>49161</c:v>
                </c:pt>
                <c:pt idx="8397">
                  <c:v>49160</c:v>
                </c:pt>
                <c:pt idx="8398">
                  <c:v>49160</c:v>
                </c:pt>
                <c:pt idx="8399">
                  <c:v>49157</c:v>
                </c:pt>
                <c:pt idx="8400">
                  <c:v>49156</c:v>
                </c:pt>
                <c:pt idx="8401">
                  <c:v>49156</c:v>
                </c:pt>
                <c:pt idx="8402">
                  <c:v>49153</c:v>
                </c:pt>
                <c:pt idx="8403">
                  <c:v>49151</c:v>
                </c:pt>
                <c:pt idx="8404">
                  <c:v>49151</c:v>
                </c:pt>
                <c:pt idx="8405">
                  <c:v>49150</c:v>
                </c:pt>
                <c:pt idx="8406">
                  <c:v>49149</c:v>
                </c:pt>
                <c:pt idx="8407">
                  <c:v>49149</c:v>
                </c:pt>
                <c:pt idx="8408">
                  <c:v>49149</c:v>
                </c:pt>
                <c:pt idx="8409">
                  <c:v>49148</c:v>
                </c:pt>
                <c:pt idx="8410">
                  <c:v>49147</c:v>
                </c:pt>
                <c:pt idx="8411">
                  <c:v>49145</c:v>
                </c:pt>
                <c:pt idx="8412">
                  <c:v>49144</c:v>
                </c:pt>
                <c:pt idx="8413">
                  <c:v>49143</c:v>
                </c:pt>
                <c:pt idx="8414">
                  <c:v>49142</c:v>
                </c:pt>
                <c:pt idx="8415">
                  <c:v>49140</c:v>
                </c:pt>
                <c:pt idx="8416">
                  <c:v>49140</c:v>
                </c:pt>
                <c:pt idx="8417">
                  <c:v>49139</c:v>
                </c:pt>
                <c:pt idx="8418">
                  <c:v>49139</c:v>
                </c:pt>
                <c:pt idx="8419">
                  <c:v>49139</c:v>
                </c:pt>
                <c:pt idx="8420">
                  <c:v>49136</c:v>
                </c:pt>
                <c:pt idx="8421">
                  <c:v>49135</c:v>
                </c:pt>
                <c:pt idx="8422">
                  <c:v>49135</c:v>
                </c:pt>
                <c:pt idx="8423">
                  <c:v>49134</c:v>
                </c:pt>
                <c:pt idx="8424">
                  <c:v>49134</c:v>
                </c:pt>
                <c:pt idx="8425">
                  <c:v>49134</c:v>
                </c:pt>
                <c:pt idx="8426">
                  <c:v>49132</c:v>
                </c:pt>
                <c:pt idx="8427">
                  <c:v>49131</c:v>
                </c:pt>
                <c:pt idx="8428">
                  <c:v>49130</c:v>
                </c:pt>
                <c:pt idx="8429">
                  <c:v>49130</c:v>
                </c:pt>
                <c:pt idx="8430">
                  <c:v>49127</c:v>
                </c:pt>
                <c:pt idx="8431">
                  <c:v>49127</c:v>
                </c:pt>
                <c:pt idx="8432">
                  <c:v>49127</c:v>
                </c:pt>
                <c:pt idx="8433">
                  <c:v>49123</c:v>
                </c:pt>
                <c:pt idx="8434">
                  <c:v>49122</c:v>
                </c:pt>
                <c:pt idx="8435">
                  <c:v>49122</c:v>
                </c:pt>
                <c:pt idx="8436">
                  <c:v>49122</c:v>
                </c:pt>
                <c:pt idx="8437">
                  <c:v>49122</c:v>
                </c:pt>
                <c:pt idx="8438">
                  <c:v>49122</c:v>
                </c:pt>
                <c:pt idx="8439">
                  <c:v>49120</c:v>
                </c:pt>
                <c:pt idx="8440">
                  <c:v>49120</c:v>
                </c:pt>
                <c:pt idx="8441">
                  <c:v>49119</c:v>
                </c:pt>
                <c:pt idx="8442">
                  <c:v>49119</c:v>
                </c:pt>
                <c:pt idx="8443">
                  <c:v>49118</c:v>
                </c:pt>
                <c:pt idx="8444">
                  <c:v>49117</c:v>
                </c:pt>
                <c:pt idx="8445">
                  <c:v>49117</c:v>
                </c:pt>
                <c:pt idx="8446">
                  <c:v>49117</c:v>
                </c:pt>
                <c:pt idx="8447">
                  <c:v>49116</c:v>
                </c:pt>
                <c:pt idx="8448">
                  <c:v>49115</c:v>
                </c:pt>
                <c:pt idx="8449">
                  <c:v>49113</c:v>
                </c:pt>
                <c:pt idx="8450">
                  <c:v>49112</c:v>
                </c:pt>
                <c:pt idx="8451">
                  <c:v>49112</c:v>
                </c:pt>
                <c:pt idx="8452">
                  <c:v>49111</c:v>
                </c:pt>
                <c:pt idx="8453">
                  <c:v>49111</c:v>
                </c:pt>
                <c:pt idx="8454">
                  <c:v>49108</c:v>
                </c:pt>
                <c:pt idx="8455">
                  <c:v>49108</c:v>
                </c:pt>
                <c:pt idx="8456">
                  <c:v>49107</c:v>
                </c:pt>
                <c:pt idx="8457">
                  <c:v>49106</c:v>
                </c:pt>
                <c:pt idx="8458">
                  <c:v>49105</c:v>
                </c:pt>
                <c:pt idx="8459">
                  <c:v>49105</c:v>
                </c:pt>
                <c:pt idx="8460">
                  <c:v>49100</c:v>
                </c:pt>
                <c:pt idx="8461">
                  <c:v>49098</c:v>
                </c:pt>
                <c:pt idx="8462">
                  <c:v>49098</c:v>
                </c:pt>
                <c:pt idx="8463">
                  <c:v>49098</c:v>
                </c:pt>
                <c:pt idx="8464">
                  <c:v>49097</c:v>
                </c:pt>
                <c:pt idx="8465">
                  <c:v>49097</c:v>
                </c:pt>
                <c:pt idx="8466">
                  <c:v>49097</c:v>
                </c:pt>
                <c:pt idx="8467">
                  <c:v>49095</c:v>
                </c:pt>
                <c:pt idx="8468">
                  <c:v>49095</c:v>
                </c:pt>
                <c:pt idx="8469">
                  <c:v>49094</c:v>
                </c:pt>
                <c:pt idx="8470">
                  <c:v>49092</c:v>
                </c:pt>
                <c:pt idx="8471">
                  <c:v>49092</c:v>
                </c:pt>
                <c:pt idx="8472">
                  <c:v>49091</c:v>
                </c:pt>
                <c:pt idx="8473">
                  <c:v>49088</c:v>
                </c:pt>
                <c:pt idx="8474">
                  <c:v>49083</c:v>
                </c:pt>
                <c:pt idx="8475">
                  <c:v>49083</c:v>
                </c:pt>
                <c:pt idx="8476">
                  <c:v>49079</c:v>
                </c:pt>
                <c:pt idx="8477">
                  <c:v>49078</c:v>
                </c:pt>
                <c:pt idx="8478">
                  <c:v>49078</c:v>
                </c:pt>
                <c:pt idx="8479">
                  <c:v>49077</c:v>
                </c:pt>
                <c:pt idx="8480">
                  <c:v>49076</c:v>
                </c:pt>
                <c:pt idx="8481">
                  <c:v>49076</c:v>
                </c:pt>
                <c:pt idx="8482">
                  <c:v>49073</c:v>
                </c:pt>
                <c:pt idx="8483">
                  <c:v>49069</c:v>
                </c:pt>
                <c:pt idx="8484">
                  <c:v>49069</c:v>
                </c:pt>
                <c:pt idx="8485">
                  <c:v>49068</c:v>
                </c:pt>
                <c:pt idx="8486">
                  <c:v>49067</c:v>
                </c:pt>
                <c:pt idx="8487">
                  <c:v>49065</c:v>
                </c:pt>
                <c:pt idx="8488">
                  <c:v>49062</c:v>
                </c:pt>
                <c:pt idx="8489">
                  <c:v>49062</c:v>
                </c:pt>
                <c:pt idx="8490">
                  <c:v>49061</c:v>
                </c:pt>
                <c:pt idx="8491">
                  <c:v>49056</c:v>
                </c:pt>
                <c:pt idx="8492">
                  <c:v>49053</c:v>
                </c:pt>
                <c:pt idx="8493">
                  <c:v>49053</c:v>
                </c:pt>
                <c:pt idx="8494">
                  <c:v>49052</c:v>
                </c:pt>
                <c:pt idx="8495">
                  <c:v>49050</c:v>
                </c:pt>
                <c:pt idx="8496">
                  <c:v>49049</c:v>
                </c:pt>
                <c:pt idx="8497">
                  <c:v>49049</c:v>
                </c:pt>
                <c:pt idx="8498">
                  <c:v>49048</c:v>
                </c:pt>
                <c:pt idx="8499">
                  <c:v>49048</c:v>
                </c:pt>
                <c:pt idx="8500">
                  <c:v>49048</c:v>
                </c:pt>
                <c:pt idx="8501">
                  <c:v>49048</c:v>
                </c:pt>
                <c:pt idx="8502">
                  <c:v>49048</c:v>
                </c:pt>
                <c:pt idx="8503">
                  <c:v>49047</c:v>
                </c:pt>
                <c:pt idx="8504">
                  <c:v>49046</c:v>
                </c:pt>
                <c:pt idx="8505">
                  <c:v>49045</c:v>
                </c:pt>
                <c:pt idx="8506">
                  <c:v>49044</c:v>
                </c:pt>
                <c:pt idx="8507">
                  <c:v>49042</c:v>
                </c:pt>
                <c:pt idx="8508">
                  <c:v>49042</c:v>
                </c:pt>
                <c:pt idx="8509">
                  <c:v>49042</c:v>
                </c:pt>
                <c:pt idx="8510">
                  <c:v>49042</c:v>
                </c:pt>
                <c:pt idx="8511">
                  <c:v>49041</c:v>
                </c:pt>
                <c:pt idx="8512">
                  <c:v>49041</c:v>
                </c:pt>
                <c:pt idx="8513">
                  <c:v>49040</c:v>
                </c:pt>
                <c:pt idx="8514">
                  <c:v>49040</c:v>
                </c:pt>
                <c:pt idx="8515">
                  <c:v>49039</c:v>
                </c:pt>
                <c:pt idx="8516">
                  <c:v>49039</c:v>
                </c:pt>
                <c:pt idx="8517">
                  <c:v>49039</c:v>
                </c:pt>
                <c:pt idx="8518">
                  <c:v>49039</c:v>
                </c:pt>
                <c:pt idx="8519">
                  <c:v>49038</c:v>
                </c:pt>
                <c:pt idx="8520">
                  <c:v>49038</c:v>
                </c:pt>
                <c:pt idx="8521">
                  <c:v>49034</c:v>
                </c:pt>
                <c:pt idx="8522">
                  <c:v>49034</c:v>
                </c:pt>
                <c:pt idx="8523">
                  <c:v>49032</c:v>
                </c:pt>
                <c:pt idx="8524">
                  <c:v>49032</c:v>
                </c:pt>
                <c:pt idx="8525">
                  <c:v>49031</c:v>
                </c:pt>
                <c:pt idx="8526">
                  <c:v>49029</c:v>
                </c:pt>
                <c:pt idx="8527">
                  <c:v>49028</c:v>
                </c:pt>
                <c:pt idx="8528">
                  <c:v>49027</c:v>
                </c:pt>
                <c:pt idx="8529">
                  <c:v>49023</c:v>
                </c:pt>
                <c:pt idx="8530">
                  <c:v>49020</c:v>
                </c:pt>
                <c:pt idx="8531">
                  <c:v>49019</c:v>
                </c:pt>
                <c:pt idx="8532">
                  <c:v>49019</c:v>
                </c:pt>
                <c:pt idx="8533">
                  <c:v>49018</c:v>
                </c:pt>
                <c:pt idx="8534">
                  <c:v>49016</c:v>
                </c:pt>
                <c:pt idx="8535">
                  <c:v>49015</c:v>
                </c:pt>
                <c:pt idx="8536">
                  <c:v>49014</c:v>
                </c:pt>
                <c:pt idx="8537">
                  <c:v>49014</c:v>
                </c:pt>
                <c:pt idx="8538">
                  <c:v>49014</c:v>
                </c:pt>
                <c:pt idx="8539">
                  <c:v>49012</c:v>
                </c:pt>
                <c:pt idx="8540">
                  <c:v>49012</c:v>
                </c:pt>
                <c:pt idx="8541">
                  <c:v>49011</c:v>
                </c:pt>
                <c:pt idx="8542">
                  <c:v>49011</c:v>
                </c:pt>
                <c:pt idx="8543">
                  <c:v>49010</c:v>
                </c:pt>
                <c:pt idx="8544">
                  <c:v>49010</c:v>
                </c:pt>
                <c:pt idx="8545">
                  <c:v>49009</c:v>
                </c:pt>
                <c:pt idx="8546">
                  <c:v>49006</c:v>
                </c:pt>
                <c:pt idx="8547">
                  <c:v>49003</c:v>
                </c:pt>
                <c:pt idx="8548">
                  <c:v>48997</c:v>
                </c:pt>
                <c:pt idx="8549">
                  <c:v>48995</c:v>
                </c:pt>
                <c:pt idx="8550">
                  <c:v>48995</c:v>
                </c:pt>
                <c:pt idx="8551">
                  <c:v>48994</c:v>
                </c:pt>
                <c:pt idx="8552">
                  <c:v>48994</c:v>
                </c:pt>
                <c:pt idx="8553">
                  <c:v>48993</c:v>
                </c:pt>
                <c:pt idx="8554">
                  <c:v>48992</c:v>
                </c:pt>
                <c:pt idx="8555">
                  <c:v>48992</c:v>
                </c:pt>
                <c:pt idx="8556">
                  <c:v>48991</c:v>
                </c:pt>
                <c:pt idx="8557">
                  <c:v>48989</c:v>
                </c:pt>
                <c:pt idx="8558">
                  <c:v>48988</c:v>
                </c:pt>
                <c:pt idx="8559">
                  <c:v>48987</c:v>
                </c:pt>
                <c:pt idx="8560">
                  <c:v>48985</c:v>
                </c:pt>
                <c:pt idx="8561">
                  <c:v>48985</c:v>
                </c:pt>
                <c:pt idx="8562">
                  <c:v>48984</c:v>
                </c:pt>
                <c:pt idx="8563">
                  <c:v>48983</c:v>
                </c:pt>
                <c:pt idx="8564">
                  <c:v>48982</c:v>
                </c:pt>
                <c:pt idx="8565">
                  <c:v>48982</c:v>
                </c:pt>
                <c:pt idx="8566">
                  <c:v>48981</c:v>
                </c:pt>
                <c:pt idx="8567">
                  <c:v>48981</c:v>
                </c:pt>
                <c:pt idx="8568">
                  <c:v>48980</c:v>
                </c:pt>
                <c:pt idx="8569">
                  <c:v>48979</c:v>
                </c:pt>
                <c:pt idx="8570">
                  <c:v>48979</c:v>
                </c:pt>
                <c:pt idx="8571">
                  <c:v>48979</c:v>
                </c:pt>
                <c:pt idx="8572">
                  <c:v>48979</c:v>
                </c:pt>
                <c:pt idx="8573">
                  <c:v>48978</c:v>
                </c:pt>
                <c:pt idx="8574">
                  <c:v>48978</c:v>
                </c:pt>
                <c:pt idx="8575">
                  <c:v>48976</c:v>
                </c:pt>
                <c:pt idx="8576">
                  <c:v>48976</c:v>
                </c:pt>
                <c:pt idx="8577">
                  <c:v>48975</c:v>
                </c:pt>
                <c:pt idx="8578">
                  <c:v>48975</c:v>
                </c:pt>
                <c:pt idx="8579">
                  <c:v>48972</c:v>
                </c:pt>
                <c:pt idx="8580">
                  <c:v>48971</c:v>
                </c:pt>
                <c:pt idx="8581">
                  <c:v>48969</c:v>
                </c:pt>
                <c:pt idx="8582">
                  <c:v>48969</c:v>
                </c:pt>
                <c:pt idx="8583">
                  <c:v>48969</c:v>
                </c:pt>
                <c:pt idx="8584">
                  <c:v>48967</c:v>
                </c:pt>
                <c:pt idx="8585">
                  <c:v>48966</c:v>
                </c:pt>
                <c:pt idx="8586">
                  <c:v>48965</c:v>
                </c:pt>
                <c:pt idx="8587">
                  <c:v>48965</c:v>
                </c:pt>
                <c:pt idx="8588">
                  <c:v>48963</c:v>
                </c:pt>
                <c:pt idx="8589">
                  <c:v>48962</c:v>
                </c:pt>
                <c:pt idx="8590">
                  <c:v>48961</c:v>
                </c:pt>
                <c:pt idx="8591">
                  <c:v>48960</c:v>
                </c:pt>
                <c:pt idx="8592">
                  <c:v>48959</c:v>
                </c:pt>
                <c:pt idx="8593">
                  <c:v>48959</c:v>
                </c:pt>
                <c:pt idx="8594">
                  <c:v>48955</c:v>
                </c:pt>
                <c:pt idx="8595">
                  <c:v>48952</c:v>
                </c:pt>
                <c:pt idx="8596">
                  <c:v>48952</c:v>
                </c:pt>
                <c:pt idx="8597">
                  <c:v>48948</c:v>
                </c:pt>
                <c:pt idx="8598">
                  <c:v>48946</c:v>
                </c:pt>
                <c:pt idx="8599">
                  <c:v>48944</c:v>
                </c:pt>
                <c:pt idx="8600">
                  <c:v>48944</c:v>
                </c:pt>
                <c:pt idx="8601">
                  <c:v>48942</c:v>
                </c:pt>
                <c:pt idx="8602">
                  <c:v>48940</c:v>
                </c:pt>
                <c:pt idx="8603">
                  <c:v>48939</c:v>
                </c:pt>
                <c:pt idx="8604">
                  <c:v>48937</c:v>
                </c:pt>
                <c:pt idx="8605">
                  <c:v>48935</c:v>
                </c:pt>
                <c:pt idx="8606">
                  <c:v>48934</c:v>
                </c:pt>
                <c:pt idx="8607">
                  <c:v>48932</c:v>
                </c:pt>
                <c:pt idx="8608">
                  <c:v>48930</c:v>
                </c:pt>
                <c:pt idx="8609">
                  <c:v>48930</c:v>
                </c:pt>
                <c:pt idx="8610">
                  <c:v>48925</c:v>
                </c:pt>
                <c:pt idx="8611">
                  <c:v>48925</c:v>
                </c:pt>
                <c:pt idx="8612">
                  <c:v>48925</c:v>
                </c:pt>
                <c:pt idx="8613">
                  <c:v>48925</c:v>
                </c:pt>
                <c:pt idx="8614">
                  <c:v>48924</c:v>
                </c:pt>
                <c:pt idx="8615">
                  <c:v>48923</c:v>
                </c:pt>
                <c:pt idx="8616">
                  <c:v>48923</c:v>
                </c:pt>
                <c:pt idx="8617">
                  <c:v>48923</c:v>
                </c:pt>
                <c:pt idx="8618">
                  <c:v>48922</c:v>
                </c:pt>
                <c:pt idx="8619">
                  <c:v>48921</c:v>
                </c:pt>
                <c:pt idx="8620">
                  <c:v>48921</c:v>
                </c:pt>
                <c:pt idx="8621">
                  <c:v>48920</c:v>
                </c:pt>
                <c:pt idx="8622">
                  <c:v>48920</c:v>
                </c:pt>
                <c:pt idx="8623">
                  <c:v>48919</c:v>
                </c:pt>
                <c:pt idx="8624">
                  <c:v>48918</c:v>
                </c:pt>
                <c:pt idx="8625">
                  <c:v>48913</c:v>
                </c:pt>
                <c:pt idx="8626">
                  <c:v>48913</c:v>
                </c:pt>
                <c:pt idx="8627">
                  <c:v>48912</c:v>
                </c:pt>
                <c:pt idx="8628">
                  <c:v>48912</c:v>
                </c:pt>
                <c:pt idx="8629">
                  <c:v>48910</c:v>
                </c:pt>
                <c:pt idx="8630">
                  <c:v>48909</c:v>
                </c:pt>
                <c:pt idx="8631">
                  <c:v>48909</c:v>
                </c:pt>
                <c:pt idx="8632">
                  <c:v>48908</c:v>
                </c:pt>
                <c:pt idx="8633">
                  <c:v>48908</c:v>
                </c:pt>
                <c:pt idx="8634">
                  <c:v>48907</c:v>
                </c:pt>
                <c:pt idx="8635">
                  <c:v>48907</c:v>
                </c:pt>
                <c:pt idx="8636">
                  <c:v>48906</c:v>
                </c:pt>
                <c:pt idx="8637">
                  <c:v>48906</c:v>
                </c:pt>
                <c:pt idx="8638">
                  <c:v>48905</c:v>
                </c:pt>
                <c:pt idx="8639">
                  <c:v>48903</c:v>
                </c:pt>
                <c:pt idx="8640">
                  <c:v>48903</c:v>
                </c:pt>
                <c:pt idx="8641">
                  <c:v>48901</c:v>
                </c:pt>
                <c:pt idx="8642">
                  <c:v>48899</c:v>
                </c:pt>
                <c:pt idx="8643">
                  <c:v>48899</c:v>
                </c:pt>
                <c:pt idx="8644">
                  <c:v>48898</c:v>
                </c:pt>
                <c:pt idx="8645">
                  <c:v>48898</c:v>
                </c:pt>
                <c:pt idx="8646">
                  <c:v>48896</c:v>
                </c:pt>
                <c:pt idx="8647">
                  <c:v>48895</c:v>
                </c:pt>
                <c:pt idx="8648">
                  <c:v>48894</c:v>
                </c:pt>
                <c:pt idx="8649">
                  <c:v>48893</c:v>
                </c:pt>
                <c:pt idx="8650">
                  <c:v>48891</c:v>
                </c:pt>
                <c:pt idx="8651">
                  <c:v>48891</c:v>
                </c:pt>
                <c:pt idx="8652">
                  <c:v>48888</c:v>
                </c:pt>
                <c:pt idx="8653">
                  <c:v>48886</c:v>
                </c:pt>
                <c:pt idx="8654">
                  <c:v>48885</c:v>
                </c:pt>
                <c:pt idx="8655">
                  <c:v>48883</c:v>
                </c:pt>
                <c:pt idx="8656">
                  <c:v>48883</c:v>
                </c:pt>
                <c:pt idx="8657">
                  <c:v>48883</c:v>
                </c:pt>
                <c:pt idx="8658">
                  <c:v>48882</c:v>
                </c:pt>
                <c:pt idx="8659">
                  <c:v>48881</c:v>
                </c:pt>
                <c:pt idx="8660">
                  <c:v>48881</c:v>
                </c:pt>
                <c:pt idx="8661">
                  <c:v>48880</c:v>
                </c:pt>
                <c:pt idx="8662">
                  <c:v>48879</c:v>
                </c:pt>
                <c:pt idx="8663">
                  <c:v>48875</c:v>
                </c:pt>
                <c:pt idx="8664">
                  <c:v>48874</c:v>
                </c:pt>
                <c:pt idx="8665">
                  <c:v>48873</c:v>
                </c:pt>
                <c:pt idx="8666">
                  <c:v>48873</c:v>
                </c:pt>
                <c:pt idx="8667">
                  <c:v>48872</c:v>
                </c:pt>
                <c:pt idx="8668">
                  <c:v>48872</c:v>
                </c:pt>
                <c:pt idx="8669">
                  <c:v>48870</c:v>
                </c:pt>
                <c:pt idx="8670">
                  <c:v>48868</c:v>
                </c:pt>
                <c:pt idx="8671">
                  <c:v>48868</c:v>
                </c:pt>
                <c:pt idx="8672">
                  <c:v>48867</c:v>
                </c:pt>
                <c:pt idx="8673">
                  <c:v>48867</c:v>
                </c:pt>
                <c:pt idx="8674">
                  <c:v>48866</c:v>
                </c:pt>
                <c:pt idx="8675">
                  <c:v>48866</c:v>
                </c:pt>
                <c:pt idx="8676">
                  <c:v>48866</c:v>
                </c:pt>
                <c:pt idx="8677">
                  <c:v>48866</c:v>
                </c:pt>
                <c:pt idx="8678">
                  <c:v>48864</c:v>
                </c:pt>
                <c:pt idx="8679">
                  <c:v>48864</c:v>
                </c:pt>
                <c:pt idx="8680">
                  <c:v>48864</c:v>
                </c:pt>
                <c:pt idx="8681">
                  <c:v>48861</c:v>
                </c:pt>
                <c:pt idx="8682">
                  <c:v>48860</c:v>
                </c:pt>
                <c:pt idx="8683">
                  <c:v>48859</c:v>
                </c:pt>
                <c:pt idx="8684">
                  <c:v>48857</c:v>
                </c:pt>
                <c:pt idx="8685">
                  <c:v>48857</c:v>
                </c:pt>
                <c:pt idx="8686">
                  <c:v>48856</c:v>
                </c:pt>
                <c:pt idx="8687">
                  <c:v>48856</c:v>
                </c:pt>
                <c:pt idx="8688">
                  <c:v>48856</c:v>
                </c:pt>
                <c:pt idx="8689">
                  <c:v>48855</c:v>
                </c:pt>
                <c:pt idx="8690">
                  <c:v>48853</c:v>
                </c:pt>
                <c:pt idx="8691">
                  <c:v>48852</c:v>
                </c:pt>
                <c:pt idx="8692">
                  <c:v>48851</c:v>
                </c:pt>
                <c:pt idx="8693">
                  <c:v>48850</c:v>
                </c:pt>
                <c:pt idx="8694">
                  <c:v>48850</c:v>
                </c:pt>
                <c:pt idx="8695">
                  <c:v>48849</c:v>
                </c:pt>
                <c:pt idx="8696">
                  <c:v>48848</c:v>
                </c:pt>
                <c:pt idx="8697">
                  <c:v>48848</c:v>
                </c:pt>
                <c:pt idx="8698">
                  <c:v>48847</c:v>
                </c:pt>
                <c:pt idx="8699">
                  <c:v>48847</c:v>
                </c:pt>
                <c:pt idx="8700">
                  <c:v>48847</c:v>
                </c:pt>
                <c:pt idx="8701">
                  <c:v>48846</c:v>
                </c:pt>
                <c:pt idx="8702">
                  <c:v>48845</c:v>
                </c:pt>
                <c:pt idx="8703">
                  <c:v>48845</c:v>
                </c:pt>
                <c:pt idx="8704">
                  <c:v>48843</c:v>
                </c:pt>
                <c:pt idx="8705">
                  <c:v>48840</c:v>
                </c:pt>
                <c:pt idx="8706">
                  <c:v>48840</c:v>
                </c:pt>
                <c:pt idx="8707">
                  <c:v>48840</c:v>
                </c:pt>
                <c:pt idx="8708">
                  <c:v>48840</c:v>
                </c:pt>
                <c:pt idx="8709">
                  <c:v>48839</c:v>
                </c:pt>
                <c:pt idx="8710">
                  <c:v>48838</c:v>
                </c:pt>
                <c:pt idx="8711">
                  <c:v>48838</c:v>
                </c:pt>
                <c:pt idx="8712">
                  <c:v>48838</c:v>
                </c:pt>
                <c:pt idx="8713">
                  <c:v>48837</c:v>
                </c:pt>
                <c:pt idx="8714">
                  <c:v>48835</c:v>
                </c:pt>
                <c:pt idx="8715">
                  <c:v>48834</c:v>
                </c:pt>
                <c:pt idx="8716">
                  <c:v>48833</c:v>
                </c:pt>
                <c:pt idx="8717">
                  <c:v>48832</c:v>
                </c:pt>
                <c:pt idx="8718">
                  <c:v>48832</c:v>
                </c:pt>
                <c:pt idx="8719">
                  <c:v>48831</c:v>
                </c:pt>
                <c:pt idx="8720">
                  <c:v>48831</c:v>
                </c:pt>
                <c:pt idx="8721">
                  <c:v>48830</c:v>
                </c:pt>
                <c:pt idx="8722">
                  <c:v>48829</c:v>
                </c:pt>
                <c:pt idx="8723">
                  <c:v>48829</c:v>
                </c:pt>
                <c:pt idx="8724">
                  <c:v>48828</c:v>
                </c:pt>
                <c:pt idx="8725">
                  <c:v>48821</c:v>
                </c:pt>
                <c:pt idx="8726">
                  <c:v>48821</c:v>
                </c:pt>
                <c:pt idx="8727">
                  <c:v>48820</c:v>
                </c:pt>
                <c:pt idx="8728">
                  <c:v>48820</c:v>
                </c:pt>
                <c:pt idx="8729">
                  <c:v>48819</c:v>
                </c:pt>
                <c:pt idx="8730">
                  <c:v>48817</c:v>
                </c:pt>
                <c:pt idx="8731">
                  <c:v>48816</c:v>
                </c:pt>
                <c:pt idx="8732">
                  <c:v>48814</c:v>
                </c:pt>
                <c:pt idx="8733">
                  <c:v>48813</c:v>
                </c:pt>
                <c:pt idx="8734">
                  <c:v>48812</c:v>
                </c:pt>
                <c:pt idx="8735">
                  <c:v>48809</c:v>
                </c:pt>
                <c:pt idx="8736">
                  <c:v>48809</c:v>
                </c:pt>
                <c:pt idx="8737">
                  <c:v>48808</c:v>
                </c:pt>
                <c:pt idx="8738">
                  <c:v>48808</c:v>
                </c:pt>
                <c:pt idx="8739">
                  <c:v>48808</c:v>
                </c:pt>
                <c:pt idx="8740">
                  <c:v>48807</c:v>
                </c:pt>
                <c:pt idx="8741">
                  <c:v>48805</c:v>
                </c:pt>
                <c:pt idx="8742">
                  <c:v>48804</c:v>
                </c:pt>
                <c:pt idx="8743">
                  <c:v>48801</c:v>
                </c:pt>
                <c:pt idx="8744">
                  <c:v>48801</c:v>
                </c:pt>
                <c:pt idx="8745">
                  <c:v>48799</c:v>
                </c:pt>
                <c:pt idx="8746">
                  <c:v>48797</c:v>
                </c:pt>
                <c:pt idx="8747">
                  <c:v>48797</c:v>
                </c:pt>
                <c:pt idx="8748">
                  <c:v>48797</c:v>
                </c:pt>
                <c:pt idx="8749">
                  <c:v>48796</c:v>
                </c:pt>
                <c:pt idx="8750">
                  <c:v>48795</c:v>
                </c:pt>
                <c:pt idx="8751">
                  <c:v>48791</c:v>
                </c:pt>
                <c:pt idx="8752">
                  <c:v>48787</c:v>
                </c:pt>
                <c:pt idx="8753">
                  <c:v>48786</c:v>
                </c:pt>
                <c:pt idx="8754">
                  <c:v>48783</c:v>
                </c:pt>
                <c:pt idx="8755">
                  <c:v>48781</c:v>
                </c:pt>
                <c:pt idx="8756">
                  <c:v>48776</c:v>
                </c:pt>
                <c:pt idx="8757">
                  <c:v>48776</c:v>
                </c:pt>
                <c:pt idx="8758">
                  <c:v>48774</c:v>
                </c:pt>
                <c:pt idx="8759">
                  <c:v>48774</c:v>
                </c:pt>
                <c:pt idx="8760">
                  <c:v>48772</c:v>
                </c:pt>
                <c:pt idx="8761">
                  <c:v>48772</c:v>
                </c:pt>
                <c:pt idx="8762">
                  <c:v>48772</c:v>
                </c:pt>
                <c:pt idx="8763">
                  <c:v>48771</c:v>
                </c:pt>
                <c:pt idx="8764">
                  <c:v>48770</c:v>
                </c:pt>
                <c:pt idx="8765">
                  <c:v>48769</c:v>
                </c:pt>
                <c:pt idx="8766">
                  <c:v>48767</c:v>
                </c:pt>
                <c:pt idx="8767">
                  <c:v>48767</c:v>
                </c:pt>
                <c:pt idx="8768">
                  <c:v>48767</c:v>
                </c:pt>
                <c:pt idx="8769">
                  <c:v>48766</c:v>
                </c:pt>
                <c:pt idx="8770">
                  <c:v>48766</c:v>
                </c:pt>
                <c:pt idx="8771">
                  <c:v>48765</c:v>
                </c:pt>
                <c:pt idx="8772">
                  <c:v>48764</c:v>
                </c:pt>
                <c:pt idx="8773">
                  <c:v>48763</c:v>
                </c:pt>
                <c:pt idx="8774">
                  <c:v>48762</c:v>
                </c:pt>
                <c:pt idx="8775">
                  <c:v>48760</c:v>
                </c:pt>
                <c:pt idx="8776">
                  <c:v>48759</c:v>
                </c:pt>
                <c:pt idx="8777">
                  <c:v>48758</c:v>
                </c:pt>
                <c:pt idx="8778">
                  <c:v>48757</c:v>
                </c:pt>
                <c:pt idx="8779">
                  <c:v>48755</c:v>
                </c:pt>
                <c:pt idx="8780">
                  <c:v>48754</c:v>
                </c:pt>
                <c:pt idx="8781">
                  <c:v>48754</c:v>
                </c:pt>
                <c:pt idx="8782">
                  <c:v>48752</c:v>
                </c:pt>
                <c:pt idx="8783">
                  <c:v>48752</c:v>
                </c:pt>
                <c:pt idx="8784">
                  <c:v>48751</c:v>
                </c:pt>
                <c:pt idx="8785">
                  <c:v>48747</c:v>
                </c:pt>
                <c:pt idx="8786">
                  <c:v>48747</c:v>
                </c:pt>
                <c:pt idx="8787">
                  <c:v>48744</c:v>
                </c:pt>
                <c:pt idx="8788">
                  <c:v>48743</c:v>
                </c:pt>
                <c:pt idx="8789">
                  <c:v>48742</c:v>
                </c:pt>
                <c:pt idx="8790">
                  <c:v>48742</c:v>
                </c:pt>
                <c:pt idx="8791">
                  <c:v>48741</c:v>
                </c:pt>
                <c:pt idx="8792">
                  <c:v>48740</c:v>
                </c:pt>
                <c:pt idx="8793">
                  <c:v>48739</c:v>
                </c:pt>
                <c:pt idx="8794">
                  <c:v>48739</c:v>
                </c:pt>
                <c:pt idx="8795">
                  <c:v>48738</c:v>
                </c:pt>
                <c:pt idx="8796">
                  <c:v>48738</c:v>
                </c:pt>
                <c:pt idx="8797">
                  <c:v>48737</c:v>
                </c:pt>
                <c:pt idx="8798">
                  <c:v>48737</c:v>
                </c:pt>
                <c:pt idx="8799">
                  <c:v>48736</c:v>
                </c:pt>
                <c:pt idx="8800">
                  <c:v>48736</c:v>
                </c:pt>
                <c:pt idx="8801">
                  <c:v>48736</c:v>
                </c:pt>
                <c:pt idx="8802">
                  <c:v>48733</c:v>
                </c:pt>
                <c:pt idx="8803">
                  <c:v>48731</c:v>
                </c:pt>
                <c:pt idx="8804">
                  <c:v>48729</c:v>
                </c:pt>
                <c:pt idx="8805">
                  <c:v>48728</c:v>
                </c:pt>
                <c:pt idx="8806">
                  <c:v>48726</c:v>
                </c:pt>
                <c:pt idx="8807">
                  <c:v>48725</c:v>
                </c:pt>
                <c:pt idx="8808">
                  <c:v>48723</c:v>
                </c:pt>
                <c:pt idx="8809">
                  <c:v>48722</c:v>
                </c:pt>
                <c:pt idx="8810">
                  <c:v>48719</c:v>
                </c:pt>
                <c:pt idx="8811">
                  <c:v>48718</c:v>
                </c:pt>
                <c:pt idx="8812">
                  <c:v>48717</c:v>
                </c:pt>
                <c:pt idx="8813">
                  <c:v>48717</c:v>
                </c:pt>
                <c:pt idx="8814">
                  <c:v>48716</c:v>
                </c:pt>
                <c:pt idx="8815">
                  <c:v>48716</c:v>
                </c:pt>
                <c:pt idx="8816">
                  <c:v>48716</c:v>
                </c:pt>
                <c:pt idx="8817">
                  <c:v>48715</c:v>
                </c:pt>
                <c:pt idx="8818">
                  <c:v>48715</c:v>
                </c:pt>
                <c:pt idx="8819">
                  <c:v>48714</c:v>
                </c:pt>
                <c:pt idx="8820">
                  <c:v>48711</c:v>
                </c:pt>
                <c:pt idx="8821">
                  <c:v>48711</c:v>
                </c:pt>
                <c:pt idx="8822">
                  <c:v>48711</c:v>
                </c:pt>
                <c:pt idx="8823">
                  <c:v>48711</c:v>
                </c:pt>
                <c:pt idx="8824">
                  <c:v>48711</c:v>
                </c:pt>
                <c:pt idx="8825">
                  <c:v>48709</c:v>
                </c:pt>
                <c:pt idx="8826">
                  <c:v>48707</c:v>
                </c:pt>
                <c:pt idx="8827">
                  <c:v>48707</c:v>
                </c:pt>
                <c:pt idx="8828">
                  <c:v>48707</c:v>
                </c:pt>
                <c:pt idx="8829">
                  <c:v>48707</c:v>
                </c:pt>
                <c:pt idx="8830">
                  <c:v>48707</c:v>
                </c:pt>
                <c:pt idx="8831">
                  <c:v>48706</c:v>
                </c:pt>
                <c:pt idx="8832">
                  <c:v>48704</c:v>
                </c:pt>
                <c:pt idx="8833">
                  <c:v>48704</c:v>
                </c:pt>
                <c:pt idx="8834">
                  <c:v>48703</c:v>
                </c:pt>
                <c:pt idx="8835">
                  <c:v>48702</c:v>
                </c:pt>
                <c:pt idx="8836">
                  <c:v>48701</c:v>
                </c:pt>
                <c:pt idx="8837">
                  <c:v>48699</c:v>
                </c:pt>
                <c:pt idx="8838">
                  <c:v>48696</c:v>
                </c:pt>
                <c:pt idx="8839">
                  <c:v>48695</c:v>
                </c:pt>
                <c:pt idx="8840">
                  <c:v>48695</c:v>
                </c:pt>
                <c:pt idx="8841">
                  <c:v>48695</c:v>
                </c:pt>
                <c:pt idx="8842">
                  <c:v>48694</c:v>
                </c:pt>
                <c:pt idx="8843">
                  <c:v>48691</c:v>
                </c:pt>
                <c:pt idx="8844">
                  <c:v>48689</c:v>
                </c:pt>
                <c:pt idx="8845">
                  <c:v>48689</c:v>
                </c:pt>
                <c:pt idx="8846">
                  <c:v>48689</c:v>
                </c:pt>
                <c:pt idx="8847">
                  <c:v>48688</c:v>
                </c:pt>
                <c:pt idx="8848">
                  <c:v>48686</c:v>
                </c:pt>
                <c:pt idx="8849">
                  <c:v>48686</c:v>
                </c:pt>
                <c:pt idx="8850">
                  <c:v>48685</c:v>
                </c:pt>
                <c:pt idx="8851">
                  <c:v>48684</c:v>
                </c:pt>
                <c:pt idx="8852">
                  <c:v>48682</c:v>
                </c:pt>
                <c:pt idx="8853">
                  <c:v>48680</c:v>
                </c:pt>
                <c:pt idx="8854">
                  <c:v>48678</c:v>
                </c:pt>
                <c:pt idx="8855">
                  <c:v>48677</c:v>
                </c:pt>
                <c:pt idx="8856">
                  <c:v>48677</c:v>
                </c:pt>
                <c:pt idx="8857">
                  <c:v>48675</c:v>
                </c:pt>
                <c:pt idx="8858">
                  <c:v>48675</c:v>
                </c:pt>
                <c:pt idx="8859">
                  <c:v>48674</c:v>
                </c:pt>
                <c:pt idx="8860">
                  <c:v>48672</c:v>
                </c:pt>
                <c:pt idx="8861">
                  <c:v>48672</c:v>
                </c:pt>
                <c:pt idx="8862">
                  <c:v>48669</c:v>
                </c:pt>
                <c:pt idx="8863">
                  <c:v>48669</c:v>
                </c:pt>
                <c:pt idx="8864">
                  <c:v>48665</c:v>
                </c:pt>
                <c:pt idx="8865">
                  <c:v>48665</c:v>
                </c:pt>
                <c:pt idx="8866">
                  <c:v>48665</c:v>
                </c:pt>
                <c:pt idx="8867">
                  <c:v>48664</c:v>
                </c:pt>
                <c:pt idx="8868">
                  <c:v>48663</c:v>
                </c:pt>
                <c:pt idx="8869">
                  <c:v>48663</c:v>
                </c:pt>
                <c:pt idx="8870">
                  <c:v>48662</c:v>
                </c:pt>
                <c:pt idx="8871">
                  <c:v>48662</c:v>
                </c:pt>
                <c:pt idx="8872">
                  <c:v>48661</c:v>
                </c:pt>
                <c:pt idx="8873">
                  <c:v>48660</c:v>
                </c:pt>
                <c:pt idx="8874">
                  <c:v>48654</c:v>
                </c:pt>
                <c:pt idx="8875">
                  <c:v>48654</c:v>
                </c:pt>
                <c:pt idx="8876">
                  <c:v>48653</c:v>
                </c:pt>
                <c:pt idx="8877">
                  <c:v>48653</c:v>
                </c:pt>
                <c:pt idx="8878">
                  <c:v>48652</c:v>
                </c:pt>
                <c:pt idx="8879">
                  <c:v>48646</c:v>
                </c:pt>
                <c:pt idx="8880">
                  <c:v>48645</c:v>
                </c:pt>
                <c:pt idx="8881">
                  <c:v>48644</c:v>
                </c:pt>
                <c:pt idx="8882">
                  <c:v>48644</c:v>
                </c:pt>
                <c:pt idx="8883">
                  <c:v>48643</c:v>
                </c:pt>
                <c:pt idx="8884">
                  <c:v>48642</c:v>
                </c:pt>
                <c:pt idx="8885">
                  <c:v>48641</c:v>
                </c:pt>
                <c:pt idx="8886">
                  <c:v>48639</c:v>
                </c:pt>
                <c:pt idx="8887">
                  <c:v>48638</c:v>
                </c:pt>
                <c:pt idx="8888">
                  <c:v>48637</c:v>
                </c:pt>
                <c:pt idx="8889">
                  <c:v>48636</c:v>
                </c:pt>
                <c:pt idx="8890">
                  <c:v>48635</c:v>
                </c:pt>
                <c:pt idx="8891">
                  <c:v>48632</c:v>
                </c:pt>
                <c:pt idx="8892">
                  <c:v>48632</c:v>
                </c:pt>
                <c:pt idx="8893">
                  <c:v>48631</c:v>
                </c:pt>
                <c:pt idx="8894">
                  <c:v>48630</c:v>
                </c:pt>
                <c:pt idx="8895">
                  <c:v>48630</c:v>
                </c:pt>
                <c:pt idx="8896">
                  <c:v>48629</c:v>
                </c:pt>
                <c:pt idx="8897">
                  <c:v>48629</c:v>
                </c:pt>
                <c:pt idx="8898">
                  <c:v>48628</c:v>
                </c:pt>
                <c:pt idx="8899">
                  <c:v>48628</c:v>
                </c:pt>
                <c:pt idx="8900">
                  <c:v>48627</c:v>
                </c:pt>
                <c:pt idx="8901">
                  <c:v>48626</c:v>
                </c:pt>
                <c:pt idx="8902">
                  <c:v>48624</c:v>
                </c:pt>
                <c:pt idx="8903">
                  <c:v>48624</c:v>
                </c:pt>
                <c:pt idx="8904">
                  <c:v>48623</c:v>
                </c:pt>
                <c:pt idx="8905">
                  <c:v>48622</c:v>
                </c:pt>
                <c:pt idx="8906">
                  <c:v>48622</c:v>
                </c:pt>
                <c:pt idx="8907">
                  <c:v>48620</c:v>
                </c:pt>
                <c:pt idx="8908">
                  <c:v>48619</c:v>
                </c:pt>
                <c:pt idx="8909">
                  <c:v>48617</c:v>
                </c:pt>
                <c:pt idx="8910">
                  <c:v>48617</c:v>
                </c:pt>
                <c:pt idx="8911">
                  <c:v>48616</c:v>
                </c:pt>
                <c:pt idx="8912">
                  <c:v>48615</c:v>
                </c:pt>
                <c:pt idx="8913">
                  <c:v>48614</c:v>
                </c:pt>
                <c:pt idx="8914">
                  <c:v>48613</c:v>
                </c:pt>
                <c:pt idx="8915">
                  <c:v>48611</c:v>
                </c:pt>
                <c:pt idx="8916">
                  <c:v>48611</c:v>
                </c:pt>
                <c:pt idx="8917">
                  <c:v>48610</c:v>
                </c:pt>
                <c:pt idx="8918">
                  <c:v>48609</c:v>
                </c:pt>
                <c:pt idx="8919">
                  <c:v>48606</c:v>
                </c:pt>
                <c:pt idx="8920">
                  <c:v>48605</c:v>
                </c:pt>
                <c:pt idx="8921">
                  <c:v>48605</c:v>
                </c:pt>
                <c:pt idx="8922">
                  <c:v>48604</c:v>
                </c:pt>
                <c:pt idx="8923">
                  <c:v>48601</c:v>
                </c:pt>
                <c:pt idx="8924">
                  <c:v>48599</c:v>
                </c:pt>
                <c:pt idx="8925">
                  <c:v>48599</c:v>
                </c:pt>
                <c:pt idx="8926">
                  <c:v>48598</c:v>
                </c:pt>
                <c:pt idx="8927">
                  <c:v>48596</c:v>
                </c:pt>
                <c:pt idx="8928">
                  <c:v>48596</c:v>
                </c:pt>
                <c:pt idx="8929">
                  <c:v>48595</c:v>
                </c:pt>
                <c:pt idx="8930">
                  <c:v>48594</c:v>
                </c:pt>
                <c:pt idx="8931">
                  <c:v>48594</c:v>
                </c:pt>
                <c:pt idx="8932">
                  <c:v>48593</c:v>
                </c:pt>
                <c:pt idx="8933">
                  <c:v>48593</c:v>
                </c:pt>
                <c:pt idx="8934">
                  <c:v>48591</c:v>
                </c:pt>
                <c:pt idx="8935">
                  <c:v>48590</c:v>
                </c:pt>
                <c:pt idx="8936">
                  <c:v>48590</c:v>
                </c:pt>
                <c:pt idx="8937">
                  <c:v>48590</c:v>
                </c:pt>
                <c:pt idx="8938">
                  <c:v>48590</c:v>
                </c:pt>
                <c:pt idx="8939">
                  <c:v>48589</c:v>
                </c:pt>
                <c:pt idx="8940">
                  <c:v>48589</c:v>
                </c:pt>
                <c:pt idx="8941">
                  <c:v>48587</c:v>
                </c:pt>
                <c:pt idx="8942">
                  <c:v>48586</c:v>
                </c:pt>
                <c:pt idx="8943">
                  <c:v>48586</c:v>
                </c:pt>
                <c:pt idx="8944">
                  <c:v>48586</c:v>
                </c:pt>
                <c:pt idx="8945">
                  <c:v>48584</c:v>
                </c:pt>
                <c:pt idx="8946">
                  <c:v>48584</c:v>
                </c:pt>
                <c:pt idx="8947">
                  <c:v>48583</c:v>
                </c:pt>
                <c:pt idx="8948">
                  <c:v>48582</c:v>
                </c:pt>
                <c:pt idx="8949">
                  <c:v>48581</c:v>
                </c:pt>
                <c:pt idx="8950">
                  <c:v>48581</c:v>
                </c:pt>
                <c:pt idx="8951">
                  <c:v>48580</c:v>
                </c:pt>
                <c:pt idx="8952">
                  <c:v>48580</c:v>
                </c:pt>
                <c:pt idx="8953">
                  <c:v>48579</c:v>
                </c:pt>
                <c:pt idx="8954">
                  <c:v>48578</c:v>
                </c:pt>
                <c:pt idx="8955">
                  <c:v>48577</c:v>
                </c:pt>
                <c:pt idx="8956">
                  <c:v>48576</c:v>
                </c:pt>
                <c:pt idx="8957">
                  <c:v>48570</c:v>
                </c:pt>
                <c:pt idx="8958">
                  <c:v>48570</c:v>
                </c:pt>
                <c:pt idx="8959">
                  <c:v>48567</c:v>
                </c:pt>
                <c:pt idx="8960">
                  <c:v>48566</c:v>
                </c:pt>
                <c:pt idx="8961">
                  <c:v>48564</c:v>
                </c:pt>
                <c:pt idx="8962">
                  <c:v>48563</c:v>
                </c:pt>
                <c:pt idx="8963">
                  <c:v>48560</c:v>
                </c:pt>
                <c:pt idx="8964">
                  <c:v>48557</c:v>
                </c:pt>
                <c:pt idx="8965">
                  <c:v>48555</c:v>
                </c:pt>
                <c:pt idx="8966">
                  <c:v>48554</c:v>
                </c:pt>
                <c:pt idx="8967">
                  <c:v>48554</c:v>
                </c:pt>
                <c:pt idx="8968">
                  <c:v>48554</c:v>
                </c:pt>
                <c:pt idx="8969">
                  <c:v>48553</c:v>
                </c:pt>
                <c:pt idx="8970">
                  <c:v>48553</c:v>
                </c:pt>
                <c:pt idx="8971">
                  <c:v>48550</c:v>
                </c:pt>
                <c:pt idx="8972">
                  <c:v>48549</c:v>
                </c:pt>
                <c:pt idx="8973">
                  <c:v>48549</c:v>
                </c:pt>
                <c:pt idx="8974">
                  <c:v>48548</c:v>
                </c:pt>
                <c:pt idx="8975">
                  <c:v>48547</c:v>
                </c:pt>
                <c:pt idx="8976">
                  <c:v>48547</c:v>
                </c:pt>
                <c:pt idx="8977">
                  <c:v>48546</c:v>
                </c:pt>
                <c:pt idx="8978">
                  <c:v>48546</c:v>
                </c:pt>
                <c:pt idx="8979">
                  <c:v>48545</c:v>
                </c:pt>
                <c:pt idx="8980">
                  <c:v>48545</c:v>
                </c:pt>
                <c:pt idx="8981">
                  <c:v>48544</c:v>
                </c:pt>
                <c:pt idx="8982">
                  <c:v>48544</c:v>
                </c:pt>
                <c:pt idx="8983">
                  <c:v>48541</c:v>
                </c:pt>
                <c:pt idx="8984">
                  <c:v>48540</c:v>
                </c:pt>
                <c:pt idx="8985">
                  <c:v>48539</c:v>
                </c:pt>
                <c:pt idx="8986">
                  <c:v>48539</c:v>
                </c:pt>
                <c:pt idx="8987">
                  <c:v>48539</c:v>
                </c:pt>
                <c:pt idx="8988">
                  <c:v>48539</c:v>
                </c:pt>
                <c:pt idx="8989">
                  <c:v>48538</c:v>
                </c:pt>
                <c:pt idx="8990">
                  <c:v>48538</c:v>
                </c:pt>
                <c:pt idx="8991">
                  <c:v>48535</c:v>
                </c:pt>
                <c:pt idx="8992">
                  <c:v>48535</c:v>
                </c:pt>
                <c:pt idx="8993">
                  <c:v>48533</c:v>
                </c:pt>
                <c:pt idx="8994">
                  <c:v>48533</c:v>
                </c:pt>
                <c:pt idx="8995">
                  <c:v>48532</c:v>
                </c:pt>
                <c:pt idx="8996">
                  <c:v>48531</c:v>
                </c:pt>
                <c:pt idx="8997">
                  <c:v>48531</c:v>
                </c:pt>
                <c:pt idx="8998">
                  <c:v>48531</c:v>
                </c:pt>
                <c:pt idx="8999">
                  <c:v>48527</c:v>
                </c:pt>
                <c:pt idx="9000">
                  <c:v>48526</c:v>
                </c:pt>
                <c:pt idx="9001">
                  <c:v>48526</c:v>
                </c:pt>
                <c:pt idx="9002">
                  <c:v>48523</c:v>
                </c:pt>
                <c:pt idx="9003">
                  <c:v>48522</c:v>
                </c:pt>
                <c:pt idx="9004">
                  <c:v>48519</c:v>
                </c:pt>
                <c:pt idx="9005">
                  <c:v>48519</c:v>
                </c:pt>
                <c:pt idx="9006">
                  <c:v>48518</c:v>
                </c:pt>
                <c:pt idx="9007">
                  <c:v>48516</c:v>
                </c:pt>
                <c:pt idx="9008">
                  <c:v>48515</c:v>
                </c:pt>
                <c:pt idx="9009">
                  <c:v>48514</c:v>
                </c:pt>
                <c:pt idx="9010">
                  <c:v>48514</c:v>
                </c:pt>
                <c:pt idx="9011">
                  <c:v>48514</c:v>
                </c:pt>
                <c:pt idx="9012">
                  <c:v>48512</c:v>
                </c:pt>
                <c:pt idx="9013">
                  <c:v>48510</c:v>
                </c:pt>
                <c:pt idx="9014">
                  <c:v>48509</c:v>
                </c:pt>
                <c:pt idx="9015">
                  <c:v>48507</c:v>
                </c:pt>
                <c:pt idx="9016">
                  <c:v>48506</c:v>
                </c:pt>
                <c:pt idx="9017">
                  <c:v>48504</c:v>
                </c:pt>
                <c:pt idx="9018">
                  <c:v>48504</c:v>
                </c:pt>
                <c:pt idx="9019">
                  <c:v>48503</c:v>
                </c:pt>
                <c:pt idx="9020">
                  <c:v>48503</c:v>
                </c:pt>
                <c:pt idx="9021">
                  <c:v>48502</c:v>
                </c:pt>
                <c:pt idx="9022">
                  <c:v>48502</c:v>
                </c:pt>
                <c:pt idx="9023">
                  <c:v>48500</c:v>
                </c:pt>
                <c:pt idx="9024">
                  <c:v>48499</c:v>
                </c:pt>
                <c:pt idx="9025">
                  <c:v>48499</c:v>
                </c:pt>
                <c:pt idx="9026">
                  <c:v>48497</c:v>
                </c:pt>
                <c:pt idx="9027">
                  <c:v>48497</c:v>
                </c:pt>
                <c:pt idx="9028">
                  <c:v>48495</c:v>
                </c:pt>
                <c:pt idx="9029">
                  <c:v>48494</c:v>
                </c:pt>
                <c:pt idx="9030">
                  <c:v>48494</c:v>
                </c:pt>
                <c:pt idx="9031">
                  <c:v>48493</c:v>
                </c:pt>
                <c:pt idx="9032">
                  <c:v>48491</c:v>
                </c:pt>
                <c:pt idx="9033">
                  <c:v>48489</c:v>
                </c:pt>
                <c:pt idx="9034">
                  <c:v>48486</c:v>
                </c:pt>
                <c:pt idx="9035">
                  <c:v>48485</c:v>
                </c:pt>
                <c:pt idx="9036">
                  <c:v>48484</c:v>
                </c:pt>
                <c:pt idx="9037">
                  <c:v>48483</c:v>
                </c:pt>
                <c:pt idx="9038">
                  <c:v>48481</c:v>
                </c:pt>
                <c:pt idx="9039">
                  <c:v>48481</c:v>
                </c:pt>
                <c:pt idx="9040">
                  <c:v>48479</c:v>
                </c:pt>
                <c:pt idx="9041">
                  <c:v>48479</c:v>
                </c:pt>
                <c:pt idx="9042">
                  <c:v>48478</c:v>
                </c:pt>
                <c:pt idx="9043">
                  <c:v>48475</c:v>
                </c:pt>
                <c:pt idx="9044">
                  <c:v>48475</c:v>
                </c:pt>
                <c:pt idx="9045">
                  <c:v>48472</c:v>
                </c:pt>
                <c:pt idx="9046">
                  <c:v>48471</c:v>
                </c:pt>
                <c:pt idx="9047">
                  <c:v>48471</c:v>
                </c:pt>
                <c:pt idx="9048">
                  <c:v>48471</c:v>
                </c:pt>
                <c:pt idx="9049">
                  <c:v>48470</c:v>
                </c:pt>
                <c:pt idx="9050">
                  <c:v>48470</c:v>
                </c:pt>
                <c:pt idx="9051">
                  <c:v>48469</c:v>
                </c:pt>
                <c:pt idx="9052">
                  <c:v>48469</c:v>
                </c:pt>
                <c:pt idx="9053">
                  <c:v>48468</c:v>
                </c:pt>
                <c:pt idx="9054">
                  <c:v>48466</c:v>
                </c:pt>
                <c:pt idx="9055">
                  <c:v>48465</c:v>
                </c:pt>
                <c:pt idx="9056">
                  <c:v>48464</c:v>
                </c:pt>
                <c:pt idx="9057">
                  <c:v>48462</c:v>
                </c:pt>
                <c:pt idx="9058">
                  <c:v>48461</c:v>
                </c:pt>
                <c:pt idx="9059">
                  <c:v>48460</c:v>
                </c:pt>
                <c:pt idx="9060">
                  <c:v>48459</c:v>
                </c:pt>
                <c:pt idx="9061">
                  <c:v>48459</c:v>
                </c:pt>
                <c:pt idx="9062">
                  <c:v>48458</c:v>
                </c:pt>
                <c:pt idx="9063">
                  <c:v>48458</c:v>
                </c:pt>
                <c:pt idx="9064">
                  <c:v>48457</c:v>
                </c:pt>
                <c:pt idx="9065">
                  <c:v>48455</c:v>
                </c:pt>
                <c:pt idx="9066">
                  <c:v>48451</c:v>
                </c:pt>
                <c:pt idx="9067">
                  <c:v>48450</c:v>
                </c:pt>
                <c:pt idx="9068">
                  <c:v>48449</c:v>
                </c:pt>
                <c:pt idx="9069">
                  <c:v>48449</c:v>
                </c:pt>
                <c:pt idx="9070">
                  <c:v>48449</c:v>
                </c:pt>
                <c:pt idx="9071">
                  <c:v>48448</c:v>
                </c:pt>
                <c:pt idx="9072">
                  <c:v>48447</c:v>
                </c:pt>
                <c:pt idx="9073">
                  <c:v>48447</c:v>
                </c:pt>
                <c:pt idx="9074">
                  <c:v>48447</c:v>
                </c:pt>
                <c:pt idx="9075">
                  <c:v>48446</c:v>
                </c:pt>
                <c:pt idx="9076">
                  <c:v>48445</c:v>
                </c:pt>
                <c:pt idx="9077">
                  <c:v>48444</c:v>
                </c:pt>
                <c:pt idx="9078">
                  <c:v>48442</c:v>
                </c:pt>
                <c:pt idx="9079">
                  <c:v>48442</c:v>
                </c:pt>
                <c:pt idx="9080">
                  <c:v>48442</c:v>
                </c:pt>
                <c:pt idx="9081">
                  <c:v>48440</c:v>
                </c:pt>
                <c:pt idx="9082">
                  <c:v>48437</c:v>
                </c:pt>
                <c:pt idx="9083">
                  <c:v>48436</c:v>
                </c:pt>
                <c:pt idx="9084">
                  <c:v>48436</c:v>
                </c:pt>
                <c:pt idx="9085">
                  <c:v>48434</c:v>
                </c:pt>
                <c:pt idx="9086">
                  <c:v>48434</c:v>
                </c:pt>
                <c:pt idx="9087">
                  <c:v>48433</c:v>
                </c:pt>
                <c:pt idx="9088">
                  <c:v>48431</c:v>
                </c:pt>
                <c:pt idx="9089">
                  <c:v>48430</c:v>
                </c:pt>
                <c:pt idx="9090">
                  <c:v>48430</c:v>
                </c:pt>
                <c:pt idx="9091">
                  <c:v>48428</c:v>
                </c:pt>
                <c:pt idx="9092">
                  <c:v>48427</c:v>
                </c:pt>
                <c:pt idx="9093">
                  <c:v>48426</c:v>
                </c:pt>
                <c:pt idx="9094">
                  <c:v>48426</c:v>
                </c:pt>
                <c:pt idx="9095">
                  <c:v>48426</c:v>
                </c:pt>
                <c:pt idx="9096">
                  <c:v>48426</c:v>
                </c:pt>
                <c:pt idx="9097">
                  <c:v>48425</c:v>
                </c:pt>
                <c:pt idx="9098">
                  <c:v>48423</c:v>
                </c:pt>
                <c:pt idx="9099">
                  <c:v>48423</c:v>
                </c:pt>
                <c:pt idx="9100">
                  <c:v>48420</c:v>
                </c:pt>
                <c:pt idx="9101">
                  <c:v>48419</c:v>
                </c:pt>
                <c:pt idx="9102">
                  <c:v>48418</c:v>
                </c:pt>
                <c:pt idx="9103">
                  <c:v>48417</c:v>
                </c:pt>
                <c:pt idx="9104">
                  <c:v>48415</c:v>
                </c:pt>
                <c:pt idx="9105">
                  <c:v>48415</c:v>
                </c:pt>
                <c:pt idx="9106">
                  <c:v>48414</c:v>
                </c:pt>
                <c:pt idx="9107">
                  <c:v>48412</c:v>
                </c:pt>
                <c:pt idx="9108">
                  <c:v>48410</c:v>
                </c:pt>
                <c:pt idx="9109">
                  <c:v>48410</c:v>
                </c:pt>
                <c:pt idx="9110">
                  <c:v>48410</c:v>
                </c:pt>
                <c:pt idx="9111">
                  <c:v>48410</c:v>
                </c:pt>
                <c:pt idx="9112">
                  <c:v>48409</c:v>
                </c:pt>
                <c:pt idx="9113">
                  <c:v>48409</c:v>
                </c:pt>
                <c:pt idx="9114">
                  <c:v>48408</c:v>
                </c:pt>
                <c:pt idx="9115">
                  <c:v>48405</c:v>
                </c:pt>
                <c:pt idx="9116">
                  <c:v>48402</c:v>
                </c:pt>
                <c:pt idx="9117">
                  <c:v>48402</c:v>
                </c:pt>
                <c:pt idx="9118">
                  <c:v>48402</c:v>
                </c:pt>
                <c:pt idx="9119">
                  <c:v>48402</c:v>
                </c:pt>
                <c:pt idx="9120">
                  <c:v>48402</c:v>
                </c:pt>
                <c:pt idx="9121">
                  <c:v>48401</c:v>
                </c:pt>
                <c:pt idx="9122">
                  <c:v>48400</c:v>
                </c:pt>
                <c:pt idx="9123">
                  <c:v>48400</c:v>
                </c:pt>
                <c:pt idx="9124">
                  <c:v>48400</c:v>
                </c:pt>
                <c:pt idx="9125">
                  <c:v>48400</c:v>
                </c:pt>
                <c:pt idx="9126">
                  <c:v>48400</c:v>
                </c:pt>
                <c:pt idx="9127">
                  <c:v>48400</c:v>
                </c:pt>
                <c:pt idx="9128">
                  <c:v>48399</c:v>
                </c:pt>
                <c:pt idx="9129">
                  <c:v>48399</c:v>
                </c:pt>
                <c:pt idx="9130">
                  <c:v>48397</c:v>
                </c:pt>
                <c:pt idx="9131">
                  <c:v>48396</c:v>
                </c:pt>
                <c:pt idx="9132">
                  <c:v>48395</c:v>
                </c:pt>
                <c:pt idx="9133">
                  <c:v>48392</c:v>
                </c:pt>
                <c:pt idx="9134">
                  <c:v>48388</c:v>
                </c:pt>
                <c:pt idx="9135">
                  <c:v>48387</c:v>
                </c:pt>
                <c:pt idx="9136">
                  <c:v>48387</c:v>
                </c:pt>
                <c:pt idx="9137">
                  <c:v>48387</c:v>
                </c:pt>
                <c:pt idx="9138">
                  <c:v>48385</c:v>
                </c:pt>
                <c:pt idx="9139">
                  <c:v>48385</c:v>
                </c:pt>
                <c:pt idx="9140">
                  <c:v>48385</c:v>
                </c:pt>
                <c:pt idx="9141">
                  <c:v>48384</c:v>
                </c:pt>
                <c:pt idx="9142">
                  <c:v>48383</c:v>
                </c:pt>
                <c:pt idx="9143">
                  <c:v>48383</c:v>
                </c:pt>
                <c:pt idx="9144">
                  <c:v>48383</c:v>
                </c:pt>
                <c:pt idx="9145">
                  <c:v>48382</c:v>
                </c:pt>
                <c:pt idx="9146">
                  <c:v>48381</c:v>
                </c:pt>
                <c:pt idx="9147">
                  <c:v>48380</c:v>
                </c:pt>
                <c:pt idx="9148">
                  <c:v>48379</c:v>
                </c:pt>
                <c:pt idx="9149">
                  <c:v>48379</c:v>
                </c:pt>
                <c:pt idx="9150">
                  <c:v>48378</c:v>
                </c:pt>
                <c:pt idx="9151">
                  <c:v>48377</c:v>
                </c:pt>
                <c:pt idx="9152">
                  <c:v>48377</c:v>
                </c:pt>
                <c:pt idx="9153">
                  <c:v>48372</c:v>
                </c:pt>
                <c:pt idx="9154">
                  <c:v>48371</c:v>
                </c:pt>
                <c:pt idx="9155">
                  <c:v>48370</c:v>
                </c:pt>
                <c:pt idx="9156">
                  <c:v>48370</c:v>
                </c:pt>
                <c:pt idx="9157">
                  <c:v>48369</c:v>
                </c:pt>
                <c:pt idx="9158">
                  <c:v>48368</c:v>
                </c:pt>
                <c:pt idx="9159">
                  <c:v>48368</c:v>
                </c:pt>
                <c:pt idx="9160">
                  <c:v>48367</c:v>
                </c:pt>
                <c:pt idx="9161">
                  <c:v>48366</c:v>
                </c:pt>
                <c:pt idx="9162">
                  <c:v>48366</c:v>
                </c:pt>
                <c:pt idx="9163">
                  <c:v>48366</c:v>
                </c:pt>
                <c:pt idx="9164">
                  <c:v>48365</c:v>
                </c:pt>
                <c:pt idx="9165">
                  <c:v>48364</c:v>
                </c:pt>
                <c:pt idx="9166">
                  <c:v>48363</c:v>
                </c:pt>
                <c:pt idx="9167">
                  <c:v>48360</c:v>
                </c:pt>
                <c:pt idx="9168">
                  <c:v>48360</c:v>
                </c:pt>
                <c:pt idx="9169">
                  <c:v>48359</c:v>
                </c:pt>
                <c:pt idx="9170">
                  <c:v>48358</c:v>
                </c:pt>
                <c:pt idx="9171">
                  <c:v>48358</c:v>
                </c:pt>
                <c:pt idx="9172">
                  <c:v>48358</c:v>
                </c:pt>
                <c:pt idx="9173">
                  <c:v>48357</c:v>
                </c:pt>
                <c:pt idx="9174">
                  <c:v>48355</c:v>
                </c:pt>
                <c:pt idx="9175">
                  <c:v>48355</c:v>
                </c:pt>
                <c:pt idx="9176">
                  <c:v>48355</c:v>
                </c:pt>
                <c:pt idx="9177">
                  <c:v>48354</c:v>
                </c:pt>
                <c:pt idx="9178">
                  <c:v>48353</c:v>
                </c:pt>
                <c:pt idx="9179">
                  <c:v>48352</c:v>
                </c:pt>
                <c:pt idx="9180">
                  <c:v>48352</c:v>
                </c:pt>
                <c:pt idx="9181">
                  <c:v>48351</c:v>
                </c:pt>
                <c:pt idx="9182">
                  <c:v>48348</c:v>
                </c:pt>
                <c:pt idx="9183">
                  <c:v>48348</c:v>
                </c:pt>
                <c:pt idx="9184">
                  <c:v>48347</c:v>
                </c:pt>
                <c:pt idx="9185">
                  <c:v>48347</c:v>
                </c:pt>
                <c:pt idx="9186">
                  <c:v>48346</c:v>
                </c:pt>
                <c:pt idx="9187">
                  <c:v>48346</c:v>
                </c:pt>
                <c:pt idx="9188">
                  <c:v>48345</c:v>
                </c:pt>
                <c:pt idx="9189">
                  <c:v>48345</c:v>
                </c:pt>
                <c:pt idx="9190">
                  <c:v>48344</c:v>
                </c:pt>
                <c:pt idx="9191">
                  <c:v>48343</c:v>
                </c:pt>
                <c:pt idx="9192">
                  <c:v>48343</c:v>
                </c:pt>
                <c:pt idx="9193">
                  <c:v>48343</c:v>
                </c:pt>
                <c:pt idx="9194">
                  <c:v>48342</c:v>
                </c:pt>
                <c:pt idx="9195">
                  <c:v>48342</c:v>
                </c:pt>
                <c:pt idx="9196">
                  <c:v>48341</c:v>
                </c:pt>
                <c:pt idx="9197">
                  <c:v>48340</c:v>
                </c:pt>
                <c:pt idx="9198">
                  <c:v>48338</c:v>
                </c:pt>
                <c:pt idx="9199">
                  <c:v>48338</c:v>
                </c:pt>
                <c:pt idx="9200">
                  <c:v>48338</c:v>
                </c:pt>
                <c:pt idx="9201">
                  <c:v>48338</c:v>
                </c:pt>
                <c:pt idx="9202">
                  <c:v>48333</c:v>
                </c:pt>
                <c:pt idx="9203">
                  <c:v>48332</c:v>
                </c:pt>
                <c:pt idx="9204">
                  <c:v>48331</c:v>
                </c:pt>
                <c:pt idx="9205">
                  <c:v>48330</c:v>
                </c:pt>
                <c:pt idx="9206">
                  <c:v>48328</c:v>
                </c:pt>
                <c:pt idx="9207">
                  <c:v>48328</c:v>
                </c:pt>
                <c:pt idx="9208">
                  <c:v>48327</c:v>
                </c:pt>
                <c:pt idx="9209">
                  <c:v>48326</c:v>
                </c:pt>
                <c:pt idx="9210">
                  <c:v>48325</c:v>
                </c:pt>
                <c:pt idx="9211">
                  <c:v>48323</c:v>
                </c:pt>
                <c:pt idx="9212">
                  <c:v>48322</c:v>
                </c:pt>
                <c:pt idx="9213">
                  <c:v>48322</c:v>
                </c:pt>
                <c:pt idx="9214">
                  <c:v>48322</c:v>
                </c:pt>
                <c:pt idx="9215">
                  <c:v>48322</c:v>
                </c:pt>
                <c:pt idx="9216">
                  <c:v>48322</c:v>
                </c:pt>
                <c:pt idx="9217">
                  <c:v>48321</c:v>
                </c:pt>
                <c:pt idx="9218">
                  <c:v>48321</c:v>
                </c:pt>
                <c:pt idx="9219">
                  <c:v>48319</c:v>
                </c:pt>
                <c:pt idx="9220">
                  <c:v>48319</c:v>
                </c:pt>
                <c:pt idx="9221">
                  <c:v>48319</c:v>
                </c:pt>
                <c:pt idx="9222">
                  <c:v>48318</c:v>
                </c:pt>
                <c:pt idx="9223">
                  <c:v>48317</c:v>
                </c:pt>
                <c:pt idx="9224">
                  <c:v>48316</c:v>
                </c:pt>
                <c:pt idx="9225">
                  <c:v>48316</c:v>
                </c:pt>
                <c:pt idx="9226">
                  <c:v>48314</c:v>
                </c:pt>
                <c:pt idx="9227">
                  <c:v>48313</c:v>
                </c:pt>
                <c:pt idx="9228">
                  <c:v>48312</c:v>
                </c:pt>
                <c:pt idx="9229">
                  <c:v>48312</c:v>
                </c:pt>
                <c:pt idx="9230">
                  <c:v>48311</c:v>
                </c:pt>
                <c:pt idx="9231">
                  <c:v>48311</c:v>
                </c:pt>
                <c:pt idx="9232">
                  <c:v>48311</c:v>
                </c:pt>
                <c:pt idx="9233">
                  <c:v>48311</c:v>
                </c:pt>
                <c:pt idx="9234">
                  <c:v>48310</c:v>
                </c:pt>
                <c:pt idx="9235">
                  <c:v>48310</c:v>
                </c:pt>
                <c:pt idx="9236">
                  <c:v>48309</c:v>
                </c:pt>
                <c:pt idx="9237">
                  <c:v>48309</c:v>
                </c:pt>
                <c:pt idx="9238">
                  <c:v>48307</c:v>
                </c:pt>
                <c:pt idx="9239">
                  <c:v>48307</c:v>
                </c:pt>
                <c:pt idx="9240">
                  <c:v>48305</c:v>
                </c:pt>
                <c:pt idx="9241">
                  <c:v>48305</c:v>
                </c:pt>
                <c:pt idx="9242">
                  <c:v>48305</c:v>
                </c:pt>
                <c:pt idx="9243">
                  <c:v>48305</c:v>
                </c:pt>
                <c:pt idx="9244">
                  <c:v>48304</c:v>
                </c:pt>
                <c:pt idx="9245">
                  <c:v>48304</c:v>
                </c:pt>
                <c:pt idx="9246">
                  <c:v>48303</c:v>
                </c:pt>
                <c:pt idx="9247">
                  <c:v>48303</c:v>
                </c:pt>
                <c:pt idx="9248">
                  <c:v>48302</c:v>
                </c:pt>
                <c:pt idx="9249">
                  <c:v>48302</c:v>
                </c:pt>
                <c:pt idx="9250">
                  <c:v>48297</c:v>
                </c:pt>
                <c:pt idx="9251">
                  <c:v>48296</c:v>
                </c:pt>
                <c:pt idx="9252">
                  <c:v>48296</c:v>
                </c:pt>
                <c:pt idx="9253">
                  <c:v>48294</c:v>
                </c:pt>
                <c:pt idx="9254">
                  <c:v>48293</c:v>
                </c:pt>
                <c:pt idx="9255">
                  <c:v>48293</c:v>
                </c:pt>
                <c:pt idx="9256">
                  <c:v>48292</c:v>
                </c:pt>
                <c:pt idx="9257">
                  <c:v>48292</c:v>
                </c:pt>
                <c:pt idx="9258">
                  <c:v>48291</c:v>
                </c:pt>
                <c:pt idx="9259">
                  <c:v>48291</c:v>
                </c:pt>
                <c:pt idx="9260">
                  <c:v>48290</c:v>
                </c:pt>
                <c:pt idx="9261">
                  <c:v>48288</c:v>
                </c:pt>
                <c:pt idx="9262">
                  <c:v>48288</c:v>
                </c:pt>
                <c:pt idx="9263">
                  <c:v>48287</c:v>
                </c:pt>
                <c:pt idx="9264">
                  <c:v>48286</c:v>
                </c:pt>
                <c:pt idx="9265">
                  <c:v>48284</c:v>
                </c:pt>
                <c:pt idx="9266">
                  <c:v>48284</c:v>
                </c:pt>
                <c:pt idx="9267">
                  <c:v>48284</c:v>
                </c:pt>
                <c:pt idx="9268">
                  <c:v>48278</c:v>
                </c:pt>
                <c:pt idx="9269">
                  <c:v>48278</c:v>
                </c:pt>
                <c:pt idx="9270">
                  <c:v>48276</c:v>
                </c:pt>
                <c:pt idx="9271">
                  <c:v>48275</c:v>
                </c:pt>
                <c:pt idx="9272">
                  <c:v>48275</c:v>
                </c:pt>
                <c:pt idx="9273">
                  <c:v>48273</c:v>
                </c:pt>
                <c:pt idx="9274">
                  <c:v>48272</c:v>
                </c:pt>
                <c:pt idx="9275">
                  <c:v>48267</c:v>
                </c:pt>
                <c:pt idx="9276">
                  <c:v>48266</c:v>
                </c:pt>
                <c:pt idx="9277">
                  <c:v>48265</c:v>
                </c:pt>
                <c:pt idx="9278">
                  <c:v>48265</c:v>
                </c:pt>
                <c:pt idx="9279">
                  <c:v>48263</c:v>
                </c:pt>
                <c:pt idx="9280">
                  <c:v>48263</c:v>
                </c:pt>
                <c:pt idx="9281">
                  <c:v>48263</c:v>
                </c:pt>
                <c:pt idx="9282">
                  <c:v>48262</c:v>
                </c:pt>
                <c:pt idx="9283">
                  <c:v>48262</c:v>
                </c:pt>
                <c:pt idx="9284">
                  <c:v>48261</c:v>
                </c:pt>
                <c:pt idx="9285">
                  <c:v>48259</c:v>
                </c:pt>
                <c:pt idx="9286">
                  <c:v>48259</c:v>
                </c:pt>
                <c:pt idx="9287">
                  <c:v>48257</c:v>
                </c:pt>
                <c:pt idx="9288">
                  <c:v>48256</c:v>
                </c:pt>
                <c:pt idx="9289">
                  <c:v>48252</c:v>
                </c:pt>
                <c:pt idx="9290">
                  <c:v>48251</c:v>
                </c:pt>
                <c:pt idx="9291">
                  <c:v>48251</c:v>
                </c:pt>
                <c:pt idx="9292">
                  <c:v>48250</c:v>
                </c:pt>
                <c:pt idx="9293">
                  <c:v>48245</c:v>
                </c:pt>
                <c:pt idx="9294">
                  <c:v>48245</c:v>
                </c:pt>
                <c:pt idx="9295">
                  <c:v>48244</c:v>
                </c:pt>
                <c:pt idx="9296">
                  <c:v>48244</c:v>
                </c:pt>
                <c:pt idx="9297">
                  <c:v>48243</c:v>
                </c:pt>
                <c:pt idx="9298">
                  <c:v>48242</c:v>
                </c:pt>
                <c:pt idx="9299">
                  <c:v>48242</c:v>
                </c:pt>
                <c:pt idx="9300">
                  <c:v>48241</c:v>
                </c:pt>
                <c:pt idx="9301">
                  <c:v>48237</c:v>
                </c:pt>
                <c:pt idx="9302">
                  <c:v>48237</c:v>
                </c:pt>
                <c:pt idx="9303">
                  <c:v>48237</c:v>
                </c:pt>
                <c:pt idx="9304">
                  <c:v>48233</c:v>
                </c:pt>
                <c:pt idx="9305">
                  <c:v>48232</c:v>
                </c:pt>
                <c:pt idx="9306">
                  <c:v>48230</c:v>
                </c:pt>
                <c:pt idx="9307">
                  <c:v>48230</c:v>
                </c:pt>
                <c:pt idx="9308">
                  <c:v>48230</c:v>
                </c:pt>
                <c:pt idx="9309">
                  <c:v>48227</c:v>
                </c:pt>
                <c:pt idx="9310">
                  <c:v>48227</c:v>
                </c:pt>
                <c:pt idx="9311">
                  <c:v>48225</c:v>
                </c:pt>
                <c:pt idx="9312">
                  <c:v>48223</c:v>
                </c:pt>
                <c:pt idx="9313">
                  <c:v>48220</c:v>
                </c:pt>
                <c:pt idx="9314">
                  <c:v>48219</c:v>
                </c:pt>
                <c:pt idx="9315">
                  <c:v>48218</c:v>
                </c:pt>
                <c:pt idx="9316">
                  <c:v>48217</c:v>
                </c:pt>
                <c:pt idx="9317">
                  <c:v>48217</c:v>
                </c:pt>
                <c:pt idx="9318">
                  <c:v>48215</c:v>
                </c:pt>
                <c:pt idx="9319">
                  <c:v>48214</c:v>
                </c:pt>
                <c:pt idx="9320">
                  <c:v>48212</c:v>
                </c:pt>
                <c:pt idx="9321">
                  <c:v>48212</c:v>
                </c:pt>
                <c:pt idx="9322">
                  <c:v>48212</c:v>
                </c:pt>
                <c:pt idx="9323">
                  <c:v>48211</c:v>
                </c:pt>
                <c:pt idx="9324">
                  <c:v>48211</c:v>
                </c:pt>
                <c:pt idx="9325">
                  <c:v>48209</c:v>
                </c:pt>
                <c:pt idx="9326">
                  <c:v>48207</c:v>
                </c:pt>
                <c:pt idx="9327">
                  <c:v>48206</c:v>
                </c:pt>
                <c:pt idx="9328">
                  <c:v>48205</c:v>
                </c:pt>
                <c:pt idx="9329">
                  <c:v>48205</c:v>
                </c:pt>
                <c:pt idx="9330">
                  <c:v>48204</c:v>
                </c:pt>
                <c:pt idx="9331">
                  <c:v>48204</c:v>
                </c:pt>
                <c:pt idx="9332">
                  <c:v>48204</c:v>
                </c:pt>
                <c:pt idx="9333">
                  <c:v>48203</c:v>
                </c:pt>
                <c:pt idx="9334">
                  <c:v>48202</c:v>
                </c:pt>
                <c:pt idx="9335">
                  <c:v>48201</c:v>
                </c:pt>
                <c:pt idx="9336">
                  <c:v>48199</c:v>
                </c:pt>
                <c:pt idx="9337">
                  <c:v>48199</c:v>
                </c:pt>
                <c:pt idx="9338">
                  <c:v>48198</c:v>
                </c:pt>
                <c:pt idx="9339">
                  <c:v>48198</c:v>
                </c:pt>
                <c:pt idx="9340">
                  <c:v>48198</c:v>
                </c:pt>
                <c:pt idx="9341">
                  <c:v>48197</c:v>
                </c:pt>
                <c:pt idx="9342">
                  <c:v>48196</c:v>
                </c:pt>
                <c:pt idx="9343">
                  <c:v>48194</c:v>
                </c:pt>
                <c:pt idx="9344">
                  <c:v>48192</c:v>
                </c:pt>
                <c:pt idx="9345">
                  <c:v>48192</c:v>
                </c:pt>
                <c:pt idx="9346">
                  <c:v>48191</c:v>
                </c:pt>
                <c:pt idx="9347">
                  <c:v>48188</c:v>
                </c:pt>
                <c:pt idx="9348">
                  <c:v>48187</c:v>
                </c:pt>
                <c:pt idx="9349">
                  <c:v>48187</c:v>
                </c:pt>
                <c:pt idx="9350">
                  <c:v>48186</c:v>
                </c:pt>
                <c:pt idx="9351">
                  <c:v>48186</c:v>
                </c:pt>
                <c:pt idx="9352">
                  <c:v>48185</c:v>
                </c:pt>
                <c:pt idx="9353">
                  <c:v>48184</c:v>
                </c:pt>
                <c:pt idx="9354">
                  <c:v>48181</c:v>
                </c:pt>
                <c:pt idx="9355">
                  <c:v>48178</c:v>
                </c:pt>
                <c:pt idx="9356">
                  <c:v>48178</c:v>
                </c:pt>
                <c:pt idx="9357">
                  <c:v>48178</c:v>
                </c:pt>
                <c:pt idx="9358">
                  <c:v>48178</c:v>
                </c:pt>
                <c:pt idx="9359">
                  <c:v>48177</c:v>
                </c:pt>
                <c:pt idx="9360">
                  <c:v>48172</c:v>
                </c:pt>
                <c:pt idx="9361">
                  <c:v>48172</c:v>
                </c:pt>
                <c:pt idx="9362">
                  <c:v>48171</c:v>
                </c:pt>
                <c:pt idx="9363">
                  <c:v>48170</c:v>
                </c:pt>
                <c:pt idx="9364">
                  <c:v>48170</c:v>
                </c:pt>
                <c:pt idx="9365">
                  <c:v>48170</c:v>
                </c:pt>
                <c:pt idx="9366">
                  <c:v>48170</c:v>
                </c:pt>
                <c:pt idx="9367">
                  <c:v>48169</c:v>
                </c:pt>
                <c:pt idx="9368">
                  <c:v>48169</c:v>
                </c:pt>
                <c:pt idx="9369">
                  <c:v>48166</c:v>
                </c:pt>
                <c:pt idx="9370">
                  <c:v>48164</c:v>
                </c:pt>
                <c:pt idx="9371">
                  <c:v>48163</c:v>
                </c:pt>
                <c:pt idx="9372">
                  <c:v>48162</c:v>
                </c:pt>
                <c:pt idx="9373">
                  <c:v>48162</c:v>
                </c:pt>
                <c:pt idx="9374">
                  <c:v>48162</c:v>
                </c:pt>
                <c:pt idx="9375">
                  <c:v>48162</c:v>
                </c:pt>
                <c:pt idx="9376">
                  <c:v>48162</c:v>
                </c:pt>
                <c:pt idx="9377">
                  <c:v>48161</c:v>
                </c:pt>
                <c:pt idx="9378">
                  <c:v>48160</c:v>
                </c:pt>
                <c:pt idx="9379">
                  <c:v>48158</c:v>
                </c:pt>
                <c:pt idx="9380">
                  <c:v>48156</c:v>
                </c:pt>
                <c:pt idx="9381">
                  <c:v>48155</c:v>
                </c:pt>
                <c:pt idx="9382">
                  <c:v>48154</c:v>
                </c:pt>
                <c:pt idx="9383">
                  <c:v>48153</c:v>
                </c:pt>
                <c:pt idx="9384">
                  <c:v>48151</c:v>
                </c:pt>
                <c:pt idx="9385">
                  <c:v>48150</c:v>
                </c:pt>
                <c:pt idx="9386">
                  <c:v>48150</c:v>
                </c:pt>
                <c:pt idx="9387">
                  <c:v>48149</c:v>
                </c:pt>
                <c:pt idx="9388">
                  <c:v>48148</c:v>
                </c:pt>
                <c:pt idx="9389">
                  <c:v>48148</c:v>
                </c:pt>
                <c:pt idx="9390">
                  <c:v>48148</c:v>
                </c:pt>
                <c:pt idx="9391">
                  <c:v>48147</c:v>
                </c:pt>
                <c:pt idx="9392">
                  <c:v>48146</c:v>
                </c:pt>
                <c:pt idx="9393">
                  <c:v>48146</c:v>
                </c:pt>
                <c:pt idx="9394">
                  <c:v>48146</c:v>
                </c:pt>
                <c:pt idx="9395">
                  <c:v>48145</c:v>
                </c:pt>
                <c:pt idx="9396">
                  <c:v>48142</c:v>
                </c:pt>
                <c:pt idx="9397">
                  <c:v>48142</c:v>
                </c:pt>
                <c:pt idx="9398">
                  <c:v>48141</c:v>
                </c:pt>
                <c:pt idx="9399">
                  <c:v>48140</c:v>
                </c:pt>
                <c:pt idx="9400">
                  <c:v>48139</c:v>
                </c:pt>
                <c:pt idx="9401">
                  <c:v>48139</c:v>
                </c:pt>
                <c:pt idx="9402">
                  <c:v>48138</c:v>
                </c:pt>
                <c:pt idx="9403">
                  <c:v>48136</c:v>
                </c:pt>
                <c:pt idx="9404">
                  <c:v>48136</c:v>
                </c:pt>
                <c:pt idx="9405">
                  <c:v>48135</c:v>
                </c:pt>
                <c:pt idx="9406">
                  <c:v>48134</c:v>
                </c:pt>
                <c:pt idx="9407">
                  <c:v>48134</c:v>
                </c:pt>
                <c:pt idx="9408">
                  <c:v>48132</c:v>
                </c:pt>
                <c:pt idx="9409">
                  <c:v>48132</c:v>
                </c:pt>
                <c:pt idx="9410">
                  <c:v>48131</c:v>
                </c:pt>
                <c:pt idx="9411">
                  <c:v>48131</c:v>
                </c:pt>
                <c:pt idx="9412">
                  <c:v>48131</c:v>
                </c:pt>
                <c:pt idx="9413">
                  <c:v>48131</c:v>
                </c:pt>
                <c:pt idx="9414">
                  <c:v>48131</c:v>
                </c:pt>
                <c:pt idx="9415">
                  <c:v>48131</c:v>
                </c:pt>
                <c:pt idx="9416">
                  <c:v>48127</c:v>
                </c:pt>
                <c:pt idx="9417">
                  <c:v>48126</c:v>
                </c:pt>
                <c:pt idx="9418">
                  <c:v>48123</c:v>
                </c:pt>
                <c:pt idx="9419">
                  <c:v>48123</c:v>
                </c:pt>
                <c:pt idx="9420">
                  <c:v>48123</c:v>
                </c:pt>
                <c:pt idx="9421">
                  <c:v>48122</c:v>
                </c:pt>
                <c:pt idx="9422">
                  <c:v>48121</c:v>
                </c:pt>
                <c:pt idx="9423">
                  <c:v>48121</c:v>
                </c:pt>
                <c:pt idx="9424">
                  <c:v>48121</c:v>
                </c:pt>
                <c:pt idx="9425">
                  <c:v>48120</c:v>
                </c:pt>
                <c:pt idx="9426">
                  <c:v>48120</c:v>
                </c:pt>
                <c:pt idx="9427">
                  <c:v>48119</c:v>
                </c:pt>
                <c:pt idx="9428">
                  <c:v>48118</c:v>
                </c:pt>
                <c:pt idx="9429">
                  <c:v>48117</c:v>
                </c:pt>
                <c:pt idx="9430">
                  <c:v>48117</c:v>
                </c:pt>
                <c:pt idx="9431">
                  <c:v>48117</c:v>
                </c:pt>
                <c:pt idx="9432">
                  <c:v>48117</c:v>
                </c:pt>
                <c:pt idx="9433">
                  <c:v>48116</c:v>
                </c:pt>
                <c:pt idx="9434">
                  <c:v>48116</c:v>
                </c:pt>
                <c:pt idx="9435">
                  <c:v>48114</c:v>
                </c:pt>
                <c:pt idx="9436">
                  <c:v>48113</c:v>
                </c:pt>
                <c:pt idx="9437">
                  <c:v>48113</c:v>
                </c:pt>
                <c:pt idx="9438">
                  <c:v>48112</c:v>
                </c:pt>
                <c:pt idx="9439">
                  <c:v>48111</c:v>
                </c:pt>
                <c:pt idx="9440">
                  <c:v>48110</c:v>
                </c:pt>
                <c:pt idx="9441">
                  <c:v>48109</c:v>
                </c:pt>
                <c:pt idx="9442">
                  <c:v>48109</c:v>
                </c:pt>
                <c:pt idx="9443">
                  <c:v>48108</c:v>
                </c:pt>
                <c:pt idx="9444">
                  <c:v>48108</c:v>
                </c:pt>
                <c:pt idx="9445">
                  <c:v>48107</c:v>
                </c:pt>
                <c:pt idx="9446">
                  <c:v>48106</c:v>
                </c:pt>
                <c:pt idx="9447">
                  <c:v>48106</c:v>
                </c:pt>
                <c:pt idx="9448">
                  <c:v>48106</c:v>
                </c:pt>
                <c:pt idx="9449">
                  <c:v>48105</c:v>
                </c:pt>
                <c:pt idx="9450">
                  <c:v>48104</c:v>
                </c:pt>
                <c:pt idx="9451">
                  <c:v>48104</c:v>
                </c:pt>
                <c:pt idx="9452">
                  <c:v>48103</c:v>
                </c:pt>
                <c:pt idx="9453">
                  <c:v>48103</c:v>
                </c:pt>
                <c:pt idx="9454">
                  <c:v>48103</c:v>
                </c:pt>
                <c:pt idx="9455">
                  <c:v>48102</c:v>
                </c:pt>
                <c:pt idx="9456">
                  <c:v>48102</c:v>
                </c:pt>
                <c:pt idx="9457">
                  <c:v>48101</c:v>
                </c:pt>
                <c:pt idx="9458">
                  <c:v>48101</c:v>
                </c:pt>
                <c:pt idx="9459">
                  <c:v>48100</c:v>
                </c:pt>
                <c:pt idx="9460">
                  <c:v>48098</c:v>
                </c:pt>
                <c:pt idx="9461">
                  <c:v>48098</c:v>
                </c:pt>
                <c:pt idx="9462">
                  <c:v>48098</c:v>
                </c:pt>
                <c:pt idx="9463">
                  <c:v>48097</c:v>
                </c:pt>
                <c:pt idx="9464">
                  <c:v>48096</c:v>
                </c:pt>
                <c:pt idx="9465">
                  <c:v>48096</c:v>
                </c:pt>
                <c:pt idx="9466">
                  <c:v>48095</c:v>
                </c:pt>
                <c:pt idx="9467">
                  <c:v>48093</c:v>
                </c:pt>
                <c:pt idx="9468">
                  <c:v>48092</c:v>
                </c:pt>
                <c:pt idx="9469">
                  <c:v>48092</c:v>
                </c:pt>
                <c:pt idx="9470">
                  <c:v>48092</c:v>
                </c:pt>
                <c:pt idx="9471">
                  <c:v>48091</c:v>
                </c:pt>
                <c:pt idx="9472">
                  <c:v>48089</c:v>
                </c:pt>
                <c:pt idx="9473">
                  <c:v>48089</c:v>
                </c:pt>
                <c:pt idx="9474">
                  <c:v>48088</c:v>
                </c:pt>
                <c:pt idx="9475">
                  <c:v>48087</c:v>
                </c:pt>
                <c:pt idx="9476">
                  <c:v>48087</c:v>
                </c:pt>
                <c:pt idx="9477">
                  <c:v>48087</c:v>
                </c:pt>
                <c:pt idx="9478">
                  <c:v>48087</c:v>
                </c:pt>
                <c:pt idx="9479">
                  <c:v>48085</c:v>
                </c:pt>
                <c:pt idx="9480">
                  <c:v>48083</c:v>
                </c:pt>
                <c:pt idx="9481">
                  <c:v>48082</c:v>
                </c:pt>
                <c:pt idx="9482">
                  <c:v>48082</c:v>
                </c:pt>
                <c:pt idx="9483">
                  <c:v>48082</c:v>
                </c:pt>
                <c:pt idx="9484">
                  <c:v>48082</c:v>
                </c:pt>
                <c:pt idx="9485">
                  <c:v>48081</c:v>
                </c:pt>
                <c:pt idx="9486">
                  <c:v>48081</c:v>
                </c:pt>
                <c:pt idx="9487">
                  <c:v>48081</c:v>
                </c:pt>
                <c:pt idx="9488">
                  <c:v>48080</c:v>
                </c:pt>
                <c:pt idx="9489">
                  <c:v>48078</c:v>
                </c:pt>
                <c:pt idx="9490">
                  <c:v>48077</c:v>
                </c:pt>
                <c:pt idx="9491">
                  <c:v>48076</c:v>
                </c:pt>
                <c:pt idx="9492">
                  <c:v>48075</c:v>
                </c:pt>
                <c:pt idx="9493">
                  <c:v>48074</c:v>
                </c:pt>
                <c:pt idx="9494">
                  <c:v>48074</c:v>
                </c:pt>
                <c:pt idx="9495">
                  <c:v>48074</c:v>
                </c:pt>
                <c:pt idx="9496">
                  <c:v>48072</c:v>
                </c:pt>
                <c:pt idx="9497">
                  <c:v>48071</c:v>
                </c:pt>
                <c:pt idx="9498">
                  <c:v>48068</c:v>
                </c:pt>
                <c:pt idx="9499">
                  <c:v>48068</c:v>
                </c:pt>
                <c:pt idx="9500">
                  <c:v>48067</c:v>
                </c:pt>
                <c:pt idx="9501">
                  <c:v>48064</c:v>
                </c:pt>
                <c:pt idx="9502">
                  <c:v>48064</c:v>
                </c:pt>
                <c:pt idx="9503">
                  <c:v>48063</c:v>
                </c:pt>
                <c:pt idx="9504">
                  <c:v>48063</c:v>
                </c:pt>
                <c:pt idx="9505">
                  <c:v>48063</c:v>
                </c:pt>
                <c:pt idx="9506">
                  <c:v>48062</c:v>
                </c:pt>
                <c:pt idx="9507">
                  <c:v>48062</c:v>
                </c:pt>
                <c:pt idx="9508">
                  <c:v>48062</c:v>
                </c:pt>
                <c:pt idx="9509">
                  <c:v>48061</c:v>
                </c:pt>
                <c:pt idx="9510">
                  <c:v>48061</c:v>
                </c:pt>
                <c:pt idx="9511">
                  <c:v>48061</c:v>
                </c:pt>
                <c:pt idx="9512">
                  <c:v>48059</c:v>
                </c:pt>
                <c:pt idx="9513">
                  <c:v>48057</c:v>
                </c:pt>
                <c:pt idx="9514">
                  <c:v>48056</c:v>
                </c:pt>
                <c:pt idx="9515">
                  <c:v>48056</c:v>
                </c:pt>
                <c:pt idx="9516">
                  <c:v>48055</c:v>
                </c:pt>
                <c:pt idx="9517">
                  <c:v>48055</c:v>
                </c:pt>
                <c:pt idx="9518">
                  <c:v>48052</c:v>
                </c:pt>
                <c:pt idx="9519">
                  <c:v>48049</c:v>
                </c:pt>
                <c:pt idx="9520">
                  <c:v>48048</c:v>
                </c:pt>
                <c:pt idx="9521">
                  <c:v>48046</c:v>
                </c:pt>
                <c:pt idx="9522">
                  <c:v>48045</c:v>
                </c:pt>
                <c:pt idx="9523">
                  <c:v>48045</c:v>
                </c:pt>
                <c:pt idx="9524">
                  <c:v>48044</c:v>
                </c:pt>
                <c:pt idx="9525">
                  <c:v>48043</c:v>
                </c:pt>
                <c:pt idx="9526">
                  <c:v>48041</c:v>
                </c:pt>
                <c:pt idx="9527">
                  <c:v>48040</c:v>
                </c:pt>
                <c:pt idx="9528">
                  <c:v>48040</c:v>
                </c:pt>
                <c:pt idx="9529">
                  <c:v>48036</c:v>
                </c:pt>
                <c:pt idx="9530">
                  <c:v>48036</c:v>
                </c:pt>
                <c:pt idx="9531">
                  <c:v>48035</c:v>
                </c:pt>
                <c:pt idx="9532">
                  <c:v>48034</c:v>
                </c:pt>
                <c:pt idx="9533">
                  <c:v>48032</c:v>
                </c:pt>
                <c:pt idx="9534">
                  <c:v>48031</c:v>
                </c:pt>
                <c:pt idx="9535">
                  <c:v>48031</c:v>
                </c:pt>
                <c:pt idx="9536">
                  <c:v>48027</c:v>
                </c:pt>
                <c:pt idx="9537">
                  <c:v>48026</c:v>
                </c:pt>
                <c:pt idx="9538">
                  <c:v>48025</c:v>
                </c:pt>
                <c:pt idx="9539">
                  <c:v>48024</c:v>
                </c:pt>
                <c:pt idx="9540">
                  <c:v>48024</c:v>
                </c:pt>
                <c:pt idx="9541">
                  <c:v>48023</c:v>
                </c:pt>
                <c:pt idx="9542">
                  <c:v>48022</c:v>
                </c:pt>
                <c:pt idx="9543">
                  <c:v>48022</c:v>
                </c:pt>
                <c:pt idx="9544">
                  <c:v>48022</c:v>
                </c:pt>
                <c:pt idx="9545">
                  <c:v>48021</c:v>
                </c:pt>
                <c:pt idx="9546">
                  <c:v>48020</c:v>
                </c:pt>
                <c:pt idx="9547">
                  <c:v>48020</c:v>
                </c:pt>
                <c:pt idx="9548">
                  <c:v>48019</c:v>
                </c:pt>
                <c:pt idx="9549">
                  <c:v>48019</c:v>
                </c:pt>
                <c:pt idx="9550">
                  <c:v>48019</c:v>
                </c:pt>
                <c:pt idx="9551">
                  <c:v>48018</c:v>
                </c:pt>
                <c:pt idx="9552">
                  <c:v>48016</c:v>
                </c:pt>
                <c:pt idx="9553">
                  <c:v>48015</c:v>
                </c:pt>
                <c:pt idx="9554">
                  <c:v>48015</c:v>
                </c:pt>
                <c:pt idx="9555">
                  <c:v>48013</c:v>
                </c:pt>
                <c:pt idx="9556">
                  <c:v>48011</c:v>
                </c:pt>
                <c:pt idx="9557">
                  <c:v>48007</c:v>
                </c:pt>
                <c:pt idx="9558">
                  <c:v>48006</c:v>
                </c:pt>
                <c:pt idx="9559">
                  <c:v>48006</c:v>
                </c:pt>
                <c:pt idx="9560">
                  <c:v>48006</c:v>
                </c:pt>
                <c:pt idx="9561">
                  <c:v>48005</c:v>
                </c:pt>
                <c:pt idx="9562">
                  <c:v>48005</c:v>
                </c:pt>
                <c:pt idx="9563">
                  <c:v>48003</c:v>
                </c:pt>
                <c:pt idx="9564">
                  <c:v>48003</c:v>
                </c:pt>
                <c:pt idx="9565">
                  <c:v>48002</c:v>
                </c:pt>
                <c:pt idx="9566">
                  <c:v>48001</c:v>
                </c:pt>
                <c:pt idx="9567">
                  <c:v>48000</c:v>
                </c:pt>
                <c:pt idx="9568">
                  <c:v>48000</c:v>
                </c:pt>
                <c:pt idx="9569">
                  <c:v>47999</c:v>
                </c:pt>
                <c:pt idx="9570">
                  <c:v>47999</c:v>
                </c:pt>
                <c:pt idx="9571">
                  <c:v>47998</c:v>
                </c:pt>
                <c:pt idx="9572">
                  <c:v>47995</c:v>
                </c:pt>
                <c:pt idx="9573">
                  <c:v>47995</c:v>
                </c:pt>
                <c:pt idx="9574">
                  <c:v>47995</c:v>
                </c:pt>
                <c:pt idx="9575">
                  <c:v>47995</c:v>
                </c:pt>
                <c:pt idx="9576">
                  <c:v>47992</c:v>
                </c:pt>
                <c:pt idx="9577">
                  <c:v>47992</c:v>
                </c:pt>
                <c:pt idx="9578">
                  <c:v>47991</c:v>
                </c:pt>
                <c:pt idx="9579">
                  <c:v>47989</c:v>
                </c:pt>
                <c:pt idx="9580">
                  <c:v>47989</c:v>
                </c:pt>
                <c:pt idx="9581">
                  <c:v>47989</c:v>
                </c:pt>
                <c:pt idx="9582">
                  <c:v>47989</c:v>
                </c:pt>
                <c:pt idx="9583">
                  <c:v>47987</c:v>
                </c:pt>
                <c:pt idx="9584">
                  <c:v>47986</c:v>
                </c:pt>
                <c:pt idx="9585">
                  <c:v>47986</c:v>
                </c:pt>
                <c:pt idx="9586">
                  <c:v>47986</c:v>
                </c:pt>
                <c:pt idx="9587">
                  <c:v>47984</c:v>
                </c:pt>
                <c:pt idx="9588">
                  <c:v>47983</c:v>
                </c:pt>
                <c:pt idx="9589">
                  <c:v>47983</c:v>
                </c:pt>
                <c:pt idx="9590">
                  <c:v>47982</c:v>
                </c:pt>
                <c:pt idx="9591">
                  <c:v>47982</c:v>
                </c:pt>
                <c:pt idx="9592">
                  <c:v>47982</c:v>
                </c:pt>
                <c:pt idx="9593">
                  <c:v>47981</c:v>
                </c:pt>
                <c:pt idx="9594">
                  <c:v>47980</c:v>
                </c:pt>
                <c:pt idx="9595">
                  <c:v>47980</c:v>
                </c:pt>
                <c:pt idx="9596">
                  <c:v>47980</c:v>
                </c:pt>
                <c:pt idx="9597">
                  <c:v>47977</c:v>
                </c:pt>
                <c:pt idx="9598">
                  <c:v>47977</c:v>
                </c:pt>
                <c:pt idx="9599">
                  <c:v>47977</c:v>
                </c:pt>
                <c:pt idx="9600">
                  <c:v>47976</c:v>
                </c:pt>
                <c:pt idx="9601">
                  <c:v>47974</c:v>
                </c:pt>
                <c:pt idx="9602">
                  <c:v>47972</c:v>
                </c:pt>
                <c:pt idx="9603">
                  <c:v>47971</c:v>
                </c:pt>
                <c:pt idx="9604">
                  <c:v>47971</c:v>
                </c:pt>
                <c:pt idx="9605">
                  <c:v>47971</c:v>
                </c:pt>
                <c:pt idx="9606">
                  <c:v>47969</c:v>
                </c:pt>
                <c:pt idx="9607">
                  <c:v>47968</c:v>
                </c:pt>
                <c:pt idx="9608">
                  <c:v>47967</c:v>
                </c:pt>
                <c:pt idx="9609">
                  <c:v>47966</c:v>
                </c:pt>
                <c:pt idx="9610">
                  <c:v>47965</c:v>
                </c:pt>
                <c:pt idx="9611">
                  <c:v>47964</c:v>
                </c:pt>
                <c:pt idx="9612">
                  <c:v>47962</c:v>
                </c:pt>
                <c:pt idx="9613">
                  <c:v>47961</c:v>
                </c:pt>
                <c:pt idx="9614">
                  <c:v>47960</c:v>
                </c:pt>
                <c:pt idx="9615">
                  <c:v>47960</c:v>
                </c:pt>
                <c:pt idx="9616">
                  <c:v>47958</c:v>
                </c:pt>
                <c:pt idx="9617">
                  <c:v>47958</c:v>
                </c:pt>
                <c:pt idx="9618">
                  <c:v>47957</c:v>
                </c:pt>
                <c:pt idx="9619">
                  <c:v>47956</c:v>
                </c:pt>
                <c:pt idx="9620">
                  <c:v>47955</c:v>
                </c:pt>
                <c:pt idx="9621">
                  <c:v>47954</c:v>
                </c:pt>
                <c:pt idx="9622">
                  <c:v>47954</c:v>
                </c:pt>
                <c:pt idx="9623">
                  <c:v>47953</c:v>
                </c:pt>
                <c:pt idx="9624">
                  <c:v>47952</c:v>
                </c:pt>
                <c:pt idx="9625">
                  <c:v>47951</c:v>
                </c:pt>
                <c:pt idx="9626">
                  <c:v>47951</c:v>
                </c:pt>
                <c:pt idx="9627">
                  <c:v>47949</c:v>
                </c:pt>
                <c:pt idx="9628">
                  <c:v>47949</c:v>
                </c:pt>
                <c:pt idx="9629">
                  <c:v>47947</c:v>
                </c:pt>
                <c:pt idx="9630">
                  <c:v>47947</c:v>
                </c:pt>
                <c:pt idx="9631">
                  <c:v>47946</c:v>
                </c:pt>
                <c:pt idx="9632">
                  <c:v>47945</c:v>
                </c:pt>
                <c:pt idx="9633">
                  <c:v>47945</c:v>
                </c:pt>
                <c:pt idx="9634">
                  <c:v>47943</c:v>
                </c:pt>
                <c:pt idx="9635">
                  <c:v>47942</c:v>
                </c:pt>
                <c:pt idx="9636">
                  <c:v>47942</c:v>
                </c:pt>
                <c:pt idx="9637">
                  <c:v>47941</c:v>
                </c:pt>
                <c:pt idx="9638">
                  <c:v>47940</c:v>
                </c:pt>
                <c:pt idx="9639">
                  <c:v>47940</c:v>
                </c:pt>
                <c:pt idx="9640">
                  <c:v>47939</c:v>
                </c:pt>
                <c:pt idx="9641">
                  <c:v>47938</c:v>
                </c:pt>
                <c:pt idx="9642">
                  <c:v>47938</c:v>
                </c:pt>
                <c:pt idx="9643">
                  <c:v>47938</c:v>
                </c:pt>
                <c:pt idx="9644">
                  <c:v>47937</c:v>
                </c:pt>
                <c:pt idx="9645">
                  <c:v>47937</c:v>
                </c:pt>
                <c:pt idx="9646">
                  <c:v>47935</c:v>
                </c:pt>
                <c:pt idx="9647">
                  <c:v>47935</c:v>
                </c:pt>
                <c:pt idx="9648">
                  <c:v>47933</c:v>
                </c:pt>
                <c:pt idx="9649">
                  <c:v>47932</c:v>
                </c:pt>
                <c:pt idx="9650">
                  <c:v>47931</c:v>
                </c:pt>
                <c:pt idx="9651">
                  <c:v>47931</c:v>
                </c:pt>
                <c:pt idx="9652">
                  <c:v>47928</c:v>
                </c:pt>
                <c:pt idx="9653">
                  <c:v>47927</c:v>
                </c:pt>
                <c:pt idx="9654">
                  <c:v>47927</c:v>
                </c:pt>
                <c:pt idx="9655">
                  <c:v>47927</c:v>
                </c:pt>
                <c:pt idx="9656">
                  <c:v>47924</c:v>
                </c:pt>
                <c:pt idx="9657">
                  <c:v>47924</c:v>
                </c:pt>
                <c:pt idx="9658">
                  <c:v>47923</c:v>
                </c:pt>
                <c:pt idx="9659">
                  <c:v>47922</c:v>
                </c:pt>
                <c:pt idx="9660">
                  <c:v>47922</c:v>
                </c:pt>
                <c:pt idx="9661">
                  <c:v>47920</c:v>
                </c:pt>
                <c:pt idx="9662">
                  <c:v>47919</c:v>
                </c:pt>
                <c:pt idx="9663">
                  <c:v>47919</c:v>
                </c:pt>
                <c:pt idx="9664">
                  <c:v>47919</c:v>
                </c:pt>
                <c:pt idx="9665">
                  <c:v>47919</c:v>
                </c:pt>
                <c:pt idx="9666">
                  <c:v>47918</c:v>
                </c:pt>
                <c:pt idx="9667">
                  <c:v>47917</c:v>
                </c:pt>
                <c:pt idx="9668">
                  <c:v>47915</c:v>
                </c:pt>
                <c:pt idx="9669">
                  <c:v>47914</c:v>
                </c:pt>
                <c:pt idx="9670">
                  <c:v>47914</c:v>
                </c:pt>
                <c:pt idx="9671">
                  <c:v>47913</c:v>
                </c:pt>
                <c:pt idx="9672">
                  <c:v>47912</c:v>
                </c:pt>
                <c:pt idx="9673">
                  <c:v>47911</c:v>
                </c:pt>
                <c:pt idx="9674">
                  <c:v>47911</c:v>
                </c:pt>
                <c:pt idx="9675">
                  <c:v>47909</c:v>
                </c:pt>
                <c:pt idx="9676">
                  <c:v>47909</c:v>
                </c:pt>
                <c:pt idx="9677">
                  <c:v>47909</c:v>
                </c:pt>
                <c:pt idx="9678">
                  <c:v>47908</c:v>
                </c:pt>
                <c:pt idx="9679">
                  <c:v>47904</c:v>
                </c:pt>
                <c:pt idx="9680">
                  <c:v>47902</c:v>
                </c:pt>
                <c:pt idx="9681">
                  <c:v>47902</c:v>
                </c:pt>
                <c:pt idx="9682">
                  <c:v>47902</c:v>
                </c:pt>
                <c:pt idx="9683">
                  <c:v>47900</c:v>
                </c:pt>
                <c:pt idx="9684">
                  <c:v>47899</c:v>
                </c:pt>
                <c:pt idx="9685">
                  <c:v>47899</c:v>
                </c:pt>
                <c:pt idx="9686">
                  <c:v>47898</c:v>
                </c:pt>
                <c:pt idx="9687">
                  <c:v>47898</c:v>
                </c:pt>
                <c:pt idx="9688">
                  <c:v>47896</c:v>
                </c:pt>
                <c:pt idx="9689">
                  <c:v>47893</c:v>
                </c:pt>
                <c:pt idx="9690">
                  <c:v>47893</c:v>
                </c:pt>
                <c:pt idx="9691">
                  <c:v>47893</c:v>
                </c:pt>
                <c:pt idx="9692">
                  <c:v>47891</c:v>
                </c:pt>
                <c:pt idx="9693">
                  <c:v>47891</c:v>
                </c:pt>
                <c:pt idx="9694">
                  <c:v>47890</c:v>
                </c:pt>
                <c:pt idx="9695">
                  <c:v>47890</c:v>
                </c:pt>
                <c:pt idx="9696">
                  <c:v>47890</c:v>
                </c:pt>
                <c:pt idx="9697">
                  <c:v>47890</c:v>
                </c:pt>
                <c:pt idx="9698">
                  <c:v>47890</c:v>
                </c:pt>
                <c:pt idx="9699">
                  <c:v>47890</c:v>
                </c:pt>
                <c:pt idx="9700">
                  <c:v>47890</c:v>
                </c:pt>
                <c:pt idx="9701">
                  <c:v>47889</c:v>
                </c:pt>
                <c:pt idx="9702">
                  <c:v>47889</c:v>
                </c:pt>
                <c:pt idx="9703">
                  <c:v>47889</c:v>
                </c:pt>
                <c:pt idx="9704">
                  <c:v>47889</c:v>
                </c:pt>
                <c:pt idx="9705">
                  <c:v>47889</c:v>
                </c:pt>
                <c:pt idx="9706">
                  <c:v>47888</c:v>
                </c:pt>
                <c:pt idx="9707">
                  <c:v>47886</c:v>
                </c:pt>
                <c:pt idx="9708">
                  <c:v>47886</c:v>
                </c:pt>
                <c:pt idx="9709">
                  <c:v>47886</c:v>
                </c:pt>
                <c:pt idx="9710">
                  <c:v>47886</c:v>
                </c:pt>
                <c:pt idx="9711">
                  <c:v>47885</c:v>
                </c:pt>
                <c:pt idx="9712">
                  <c:v>47884</c:v>
                </c:pt>
                <c:pt idx="9713">
                  <c:v>47884</c:v>
                </c:pt>
                <c:pt idx="9714">
                  <c:v>47883</c:v>
                </c:pt>
                <c:pt idx="9715">
                  <c:v>47882</c:v>
                </c:pt>
                <c:pt idx="9716">
                  <c:v>47881</c:v>
                </c:pt>
                <c:pt idx="9717">
                  <c:v>47880</c:v>
                </c:pt>
                <c:pt idx="9718">
                  <c:v>47878</c:v>
                </c:pt>
                <c:pt idx="9719">
                  <c:v>47877</c:v>
                </c:pt>
                <c:pt idx="9720">
                  <c:v>47877</c:v>
                </c:pt>
                <c:pt idx="9721">
                  <c:v>47876</c:v>
                </c:pt>
                <c:pt idx="9722">
                  <c:v>47875</c:v>
                </c:pt>
                <c:pt idx="9723">
                  <c:v>47875</c:v>
                </c:pt>
                <c:pt idx="9724">
                  <c:v>47874</c:v>
                </c:pt>
                <c:pt idx="9725">
                  <c:v>47874</c:v>
                </c:pt>
                <c:pt idx="9726">
                  <c:v>47873</c:v>
                </c:pt>
                <c:pt idx="9727">
                  <c:v>47873</c:v>
                </c:pt>
                <c:pt idx="9728">
                  <c:v>47873</c:v>
                </c:pt>
                <c:pt idx="9729">
                  <c:v>47873</c:v>
                </c:pt>
                <c:pt idx="9730">
                  <c:v>47871</c:v>
                </c:pt>
                <c:pt idx="9731">
                  <c:v>47870</c:v>
                </c:pt>
                <c:pt idx="9732">
                  <c:v>47870</c:v>
                </c:pt>
                <c:pt idx="9733">
                  <c:v>47868</c:v>
                </c:pt>
                <c:pt idx="9734">
                  <c:v>47868</c:v>
                </c:pt>
                <c:pt idx="9735">
                  <c:v>47867</c:v>
                </c:pt>
                <c:pt idx="9736">
                  <c:v>47866</c:v>
                </c:pt>
                <c:pt idx="9737">
                  <c:v>47865</c:v>
                </c:pt>
                <c:pt idx="9738">
                  <c:v>47864</c:v>
                </c:pt>
                <c:pt idx="9739">
                  <c:v>47864</c:v>
                </c:pt>
                <c:pt idx="9740">
                  <c:v>47864</c:v>
                </c:pt>
                <c:pt idx="9741">
                  <c:v>47862</c:v>
                </c:pt>
                <c:pt idx="9742">
                  <c:v>47861</c:v>
                </c:pt>
                <c:pt idx="9743">
                  <c:v>47861</c:v>
                </c:pt>
                <c:pt idx="9744">
                  <c:v>47861</c:v>
                </c:pt>
                <c:pt idx="9745">
                  <c:v>47856</c:v>
                </c:pt>
                <c:pt idx="9746">
                  <c:v>47856</c:v>
                </c:pt>
                <c:pt idx="9747">
                  <c:v>47856</c:v>
                </c:pt>
                <c:pt idx="9748">
                  <c:v>47855</c:v>
                </c:pt>
                <c:pt idx="9749">
                  <c:v>47854</c:v>
                </c:pt>
                <c:pt idx="9750">
                  <c:v>47852</c:v>
                </c:pt>
                <c:pt idx="9751">
                  <c:v>47851</c:v>
                </c:pt>
                <c:pt idx="9752">
                  <c:v>47851</c:v>
                </c:pt>
                <c:pt idx="9753">
                  <c:v>47851</c:v>
                </c:pt>
                <c:pt idx="9754">
                  <c:v>47848</c:v>
                </c:pt>
                <c:pt idx="9755">
                  <c:v>47848</c:v>
                </c:pt>
                <c:pt idx="9756">
                  <c:v>47846</c:v>
                </c:pt>
                <c:pt idx="9757">
                  <c:v>47845</c:v>
                </c:pt>
                <c:pt idx="9758">
                  <c:v>47845</c:v>
                </c:pt>
                <c:pt idx="9759">
                  <c:v>47845</c:v>
                </c:pt>
                <c:pt idx="9760">
                  <c:v>47845</c:v>
                </c:pt>
                <c:pt idx="9761">
                  <c:v>47845</c:v>
                </c:pt>
                <c:pt idx="9762">
                  <c:v>47842</c:v>
                </c:pt>
                <c:pt idx="9763">
                  <c:v>47841</c:v>
                </c:pt>
                <c:pt idx="9764">
                  <c:v>47841</c:v>
                </c:pt>
                <c:pt idx="9765">
                  <c:v>47840</c:v>
                </c:pt>
                <c:pt idx="9766">
                  <c:v>47837</c:v>
                </c:pt>
                <c:pt idx="9767">
                  <c:v>47837</c:v>
                </c:pt>
                <c:pt idx="9768">
                  <c:v>47837</c:v>
                </c:pt>
                <c:pt idx="9769">
                  <c:v>47837</c:v>
                </c:pt>
                <c:pt idx="9770">
                  <c:v>47836</c:v>
                </c:pt>
                <c:pt idx="9771">
                  <c:v>47835</c:v>
                </c:pt>
                <c:pt idx="9772">
                  <c:v>47835</c:v>
                </c:pt>
                <c:pt idx="9773">
                  <c:v>47833</c:v>
                </c:pt>
                <c:pt idx="9774">
                  <c:v>47832</c:v>
                </c:pt>
                <c:pt idx="9775">
                  <c:v>47832</c:v>
                </c:pt>
                <c:pt idx="9776">
                  <c:v>47830</c:v>
                </c:pt>
                <c:pt idx="9777">
                  <c:v>47830</c:v>
                </c:pt>
                <c:pt idx="9778">
                  <c:v>47829</c:v>
                </c:pt>
                <c:pt idx="9779">
                  <c:v>47826</c:v>
                </c:pt>
                <c:pt idx="9780">
                  <c:v>47825</c:v>
                </c:pt>
                <c:pt idx="9781">
                  <c:v>47825</c:v>
                </c:pt>
                <c:pt idx="9782">
                  <c:v>47822</c:v>
                </c:pt>
                <c:pt idx="9783">
                  <c:v>47821</c:v>
                </c:pt>
                <c:pt idx="9784">
                  <c:v>47821</c:v>
                </c:pt>
                <c:pt idx="9785">
                  <c:v>47819</c:v>
                </c:pt>
                <c:pt idx="9786">
                  <c:v>47819</c:v>
                </c:pt>
                <c:pt idx="9787">
                  <c:v>47819</c:v>
                </c:pt>
                <c:pt idx="9788">
                  <c:v>47818</c:v>
                </c:pt>
                <c:pt idx="9789">
                  <c:v>47818</c:v>
                </c:pt>
                <c:pt idx="9790">
                  <c:v>47817</c:v>
                </c:pt>
                <c:pt idx="9791">
                  <c:v>47815</c:v>
                </c:pt>
                <c:pt idx="9792">
                  <c:v>47815</c:v>
                </c:pt>
                <c:pt idx="9793">
                  <c:v>47814</c:v>
                </c:pt>
                <c:pt idx="9794">
                  <c:v>47812</c:v>
                </c:pt>
                <c:pt idx="9795">
                  <c:v>47812</c:v>
                </c:pt>
                <c:pt idx="9796">
                  <c:v>47811</c:v>
                </c:pt>
                <c:pt idx="9797">
                  <c:v>47811</c:v>
                </c:pt>
                <c:pt idx="9798">
                  <c:v>47811</c:v>
                </c:pt>
                <c:pt idx="9799">
                  <c:v>47811</c:v>
                </c:pt>
                <c:pt idx="9800">
                  <c:v>47810</c:v>
                </c:pt>
                <c:pt idx="9801">
                  <c:v>47810</c:v>
                </c:pt>
                <c:pt idx="9802">
                  <c:v>47810</c:v>
                </c:pt>
                <c:pt idx="9803">
                  <c:v>47810</c:v>
                </c:pt>
                <c:pt idx="9804">
                  <c:v>47808</c:v>
                </c:pt>
                <c:pt idx="9805">
                  <c:v>47807</c:v>
                </c:pt>
                <c:pt idx="9806">
                  <c:v>47805</c:v>
                </c:pt>
                <c:pt idx="9807">
                  <c:v>47804</c:v>
                </c:pt>
                <c:pt idx="9808">
                  <c:v>47803</c:v>
                </c:pt>
                <c:pt idx="9809">
                  <c:v>47803</c:v>
                </c:pt>
                <c:pt idx="9810">
                  <c:v>47801</c:v>
                </c:pt>
                <c:pt idx="9811">
                  <c:v>47801</c:v>
                </c:pt>
                <c:pt idx="9812">
                  <c:v>47801</c:v>
                </c:pt>
                <c:pt idx="9813">
                  <c:v>47801</c:v>
                </c:pt>
                <c:pt idx="9814">
                  <c:v>47801</c:v>
                </c:pt>
                <c:pt idx="9815">
                  <c:v>47801</c:v>
                </c:pt>
                <c:pt idx="9816">
                  <c:v>47800</c:v>
                </c:pt>
                <c:pt idx="9817">
                  <c:v>47799</c:v>
                </c:pt>
                <c:pt idx="9818">
                  <c:v>47797</c:v>
                </c:pt>
                <c:pt idx="9819">
                  <c:v>47795</c:v>
                </c:pt>
                <c:pt idx="9820">
                  <c:v>47793</c:v>
                </c:pt>
                <c:pt idx="9821">
                  <c:v>47791</c:v>
                </c:pt>
                <c:pt idx="9822">
                  <c:v>47791</c:v>
                </c:pt>
                <c:pt idx="9823">
                  <c:v>47791</c:v>
                </c:pt>
                <c:pt idx="9824">
                  <c:v>47790</c:v>
                </c:pt>
                <c:pt idx="9825">
                  <c:v>47790</c:v>
                </c:pt>
                <c:pt idx="9826">
                  <c:v>47790</c:v>
                </c:pt>
                <c:pt idx="9827">
                  <c:v>47789</c:v>
                </c:pt>
                <c:pt idx="9828">
                  <c:v>47788</c:v>
                </c:pt>
                <c:pt idx="9829">
                  <c:v>47787</c:v>
                </c:pt>
                <c:pt idx="9830">
                  <c:v>47787</c:v>
                </c:pt>
                <c:pt idx="9831">
                  <c:v>47787</c:v>
                </c:pt>
                <c:pt idx="9832">
                  <c:v>47785</c:v>
                </c:pt>
                <c:pt idx="9833">
                  <c:v>47784</c:v>
                </c:pt>
                <c:pt idx="9834">
                  <c:v>47783</c:v>
                </c:pt>
                <c:pt idx="9835">
                  <c:v>47781</c:v>
                </c:pt>
                <c:pt idx="9836">
                  <c:v>47780</c:v>
                </c:pt>
                <c:pt idx="9837">
                  <c:v>47780</c:v>
                </c:pt>
                <c:pt idx="9838">
                  <c:v>47779</c:v>
                </c:pt>
                <c:pt idx="9839">
                  <c:v>47778</c:v>
                </c:pt>
                <c:pt idx="9840">
                  <c:v>47777</c:v>
                </c:pt>
                <c:pt idx="9841">
                  <c:v>47776</c:v>
                </c:pt>
                <c:pt idx="9842">
                  <c:v>47776</c:v>
                </c:pt>
                <c:pt idx="9843">
                  <c:v>47775</c:v>
                </c:pt>
                <c:pt idx="9844">
                  <c:v>47775</c:v>
                </c:pt>
                <c:pt idx="9845">
                  <c:v>47774</c:v>
                </c:pt>
                <c:pt idx="9846">
                  <c:v>47774</c:v>
                </c:pt>
                <c:pt idx="9847">
                  <c:v>47774</c:v>
                </c:pt>
                <c:pt idx="9848">
                  <c:v>47772</c:v>
                </c:pt>
                <c:pt idx="9849">
                  <c:v>47772</c:v>
                </c:pt>
                <c:pt idx="9850">
                  <c:v>47771</c:v>
                </c:pt>
                <c:pt idx="9851">
                  <c:v>47771</c:v>
                </c:pt>
                <c:pt idx="9852">
                  <c:v>47771</c:v>
                </c:pt>
                <c:pt idx="9853">
                  <c:v>47770</c:v>
                </c:pt>
                <c:pt idx="9854">
                  <c:v>47769</c:v>
                </c:pt>
                <c:pt idx="9855">
                  <c:v>47769</c:v>
                </c:pt>
                <c:pt idx="9856">
                  <c:v>47768</c:v>
                </c:pt>
                <c:pt idx="9857">
                  <c:v>47767</c:v>
                </c:pt>
                <c:pt idx="9858">
                  <c:v>47767</c:v>
                </c:pt>
                <c:pt idx="9859">
                  <c:v>47767</c:v>
                </c:pt>
                <c:pt idx="9860">
                  <c:v>47766</c:v>
                </c:pt>
                <c:pt idx="9861">
                  <c:v>47764</c:v>
                </c:pt>
                <c:pt idx="9862">
                  <c:v>47764</c:v>
                </c:pt>
                <c:pt idx="9863">
                  <c:v>47762</c:v>
                </c:pt>
                <c:pt idx="9864">
                  <c:v>47762</c:v>
                </c:pt>
                <c:pt idx="9865">
                  <c:v>47762</c:v>
                </c:pt>
                <c:pt idx="9866">
                  <c:v>47762</c:v>
                </c:pt>
                <c:pt idx="9867">
                  <c:v>47760</c:v>
                </c:pt>
                <c:pt idx="9868">
                  <c:v>47759</c:v>
                </c:pt>
                <c:pt idx="9869">
                  <c:v>47759</c:v>
                </c:pt>
                <c:pt idx="9870">
                  <c:v>47758</c:v>
                </c:pt>
                <c:pt idx="9871">
                  <c:v>47758</c:v>
                </c:pt>
                <c:pt idx="9872">
                  <c:v>47758</c:v>
                </c:pt>
                <c:pt idx="9873">
                  <c:v>47757</c:v>
                </c:pt>
                <c:pt idx="9874">
                  <c:v>47757</c:v>
                </c:pt>
                <c:pt idx="9875">
                  <c:v>47757</c:v>
                </c:pt>
                <c:pt idx="9876">
                  <c:v>47756</c:v>
                </c:pt>
                <c:pt idx="9877">
                  <c:v>47755</c:v>
                </c:pt>
                <c:pt idx="9878">
                  <c:v>47755</c:v>
                </c:pt>
                <c:pt idx="9879">
                  <c:v>47754</c:v>
                </c:pt>
                <c:pt idx="9880">
                  <c:v>47754</c:v>
                </c:pt>
                <c:pt idx="9881">
                  <c:v>47752</c:v>
                </c:pt>
                <c:pt idx="9882">
                  <c:v>47752</c:v>
                </c:pt>
                <c:pt idx="9883">
                  <c:v>47752</c:v>
                </c:pt>
                <c:pt idx="9884">
                  <c:v>47752</c:v>
                </c:pt>
                <c:pt idx="9885">
                  <c:v>47750</c:v>
                </c:pt>
                <c:pt idx="9886">
                  <c:v>47747</c:v>
                </c:pt>
                <c:pt idx="9887">
                  <c:v>47747</c:v>
                </c:pt>
                <c:pt idx="9888">
                  <c:v>47743</c:v>
                </c:pt>
                <c:pt idx="9889">
                  <c:v>47743</c:v>
                </c:pt>
                <c:pt idx="9890">
                  <c:v>47741</c:v>
                </c:pt>
                <c:pt idx="9891">
                  <c:v>47741</c:v>
                </c:pt>
                <c:pt idx="9892">
                  <c:v>47739</c:v>
                </c:pt>
                <c:pt idx="9893">
                  <c:v>47738</c:v>
                </c:pt>
                <c:pt idx="9894">
                  <c:v>47737</c:v>
                </c:pt>
                <c:pt idx="9895">
                  <c:v>47737</c:v>
                </c:pt>
                <c:pt idx="9896">
                  <c:v>47736</c:v>
                </c:pt>
                <c:pt idx="9897">
                  <c:v>47733</c:v>
                </c:pt>
                <c:pt idx="9898">
                  <c:v>47733</c:v>
                </c:pt>
                <c:pt idx="9899">
                  <c:v>47732</c:v>
                </c:pt>
                <c:pt idx="9900">
                  <c:v>47732</c:v>
                </c:pt>
                <c:pt idx="9901">
                  <c:v>47731</c:v>
                </c:pt>
                <c:pt idx="9902">
                  <c:v>47731</c:v>
                </c:pt>
                <c:pt idx="9903">
                  <c:v>47730</c:v>
                </c:pt>
                <c:pt idx="9904">
                  <c:v>47730</c:v>
                </c:pt>
                <c:pt idx="9905">
                  <c:v>47730</c:v>
                </c:pt>
                <c:pt idx="9906">
                  <c:v>47728</c:v>
                </c:pt>
                <c:pt idx="9907">
                  <c:v>47728</c:v>
                </c:pt>
                <c:pt idx="9908">
                  <c:v>47726</c:v>
                </c:pt>
                <c:pt idx="9909">
                  <c:v>47724</c:v>
                </c:pt>
                <c:pt idx="9910">
                  <c:v>47724</c:v>
                </c:pt>
                <c:pt idx="9911">
                  <c:v>47724</c:v>
                </c:pt>
                <c:pt idx="9912">
                  <c:v>47723</c:v>
                </c:pt>
                <c:pt idx="9913">
                  <c:v>47722</c:v>
                </c:pt>
                <c:pt idx="9914">
                  <c:v>47721</c:v>
                </c:pt>
                <c:pt idx="9915">
                  <c:v>47720</c:v>
                </c:pt>
                <c:pt idx="9916">
                  <c:v>47719</c:v>
                </c:pt>
                <c:pt idx="9917">
                  <c:v>47718</c:v>
                </c:pt>
                <c:pt idx="9918">
                  <c:v>47717</c:v>
                </c:pt>
                <c:pt idx="9919">
                  <c:v>47716</c:v>
                </c:pt>
                <c:pt idx="9920">
                  <c:v>47716</c:v>
                </c:pt>
                <c:pt idx="9921">
                  <c:v>47716</c:v>
                </c:pt>
                <c:pt idx="9922">
                  <c:v>47714</c:v>
                </c:pt>
                <c:pt idx="9923">
                  <c:v>47713</c:v>
                </c:pt>
                <c:pt idx="9924">
                  <c:v>47713</c:v>
                </c:pt>
                <c:pt idx="9925">
                  <c:v>47710</c:v>
                </c:pt>
                <c:pt idx="9926">
                  <c:v>47709</c:v>
                </c:pt>
                <c:pt idx="9927">
                  <c:v>47709</c:v>
                </c:pt>
                <c:pt idx="9928">
                  <c:v>47708</c:v>
                </c:pt>
                <c:pt idx="9929">
                  <c:v>47708</c:v>
                </c:pt>
                <c:pt idx="9930">
                  <c:v>47708</c:v>
                </c:pt>
                <c:pt idx="9931">
                  <c:v>47707</c:v>
                </c:pt>
                <c:pt idx="9932">
                  <c:v>47707</c:v>
                </c:pt>
                <c:pt idx="9933">
                  <c:v>47706</c:v>
                </c:pt>
                <c:pt idx="9934">
                  <c:v>47705</c:v>
                </c:pt>
                <c:pt idx="9935">
                  <c:v>47703</c:v>
                </c:pt>
                <c:pt idx="9936">
                  <c:v>47702</c:v>
                </c:pt>
                <c:pt idx="9937">
                  <c:v>47702</c:v>
                </c:pt>
                <c:pt idx="9938">
                  <c:v>47701</c:v>
                </c:pt>
                <c:pt idx="9939">
                  <c:v>47700</c:v>
                </c:pt>
                <c:pt idx="9940">
                  <c:v>47700</c:v>
                </c:pt>
                <c:pt idx="9941">
                  <c:v>47700</c:v>
                </c:pt>
                <c:pt idx="9942">
                  <c:v>47698</c:v>
                </c:pt>
                <c:pt idx="9943">
                  <c:v>47697</c:v>
                </c:pt>
                <c:pt idx="9944">
                  <c:v>47696</c:v>
                </c:pt>
                <c:pt idx="9945">
                  <c:v>47694</c:v>
                </c:pt>
                <c:pt idx="9946">
                  <c:v>47693</c:v>
                </c:pt>
                <c:pt idx="9947">
                  <c:v>47692</c:v>
                </c:pt>
                <c:pt idx="9948">
                  <c:v>47690</c:v>
                </c:pt>
                <c:pt idx="9949">
                  <c:v>47690</c:v>
                </c:pt>
                <c:pt idx="9950">
                  <c:v>47689</c:v>
                </c:pt>
                <c:pt idx="9951">
                  <c:v>47689</c:v>
                </c:pt>
                <c:pt idx="9952">
                  <c:v>47688</c:v>
                </c:pt>
                <c:pt idx="9953">
                  <c:v>47687</c:v>
                </c:pt>
                <c:pt idx="9954">
                  <c:v>47686</c:v>
                </c:pt>
                <c:pt idx="9955">
                  <c:v>47684</c:v>
                </c:pt>
                <c:pt idx="9956">
                  <c:v>47684</c:v>
                </c:pt>
                <c:pt idx="9957">
                  <c:v>47683</c:v>
                </c:pt>
                <c:pt idx="9958">
                  <c:v>47681</c:v>
                </c:pt>
                <c:pt idx="9959">
                  <c:v>47680</c:v>
                </c:pt>
                <c:pt idx="9960">
                  <c:v>47680</c:v>
                </c:pt>
                <c:pt idx="9961">
                  <c:v>47680</c:v>
                </c:pt>
                <c:pt idx="9962">
                  <c:v>47680</c:v>
                </c:pt>
                <c:pt idx="9963">
                  <c:v>47679</c:v>
                </c:pt>
                <c:pt idx="9964">
                  <c:v>47677</c:v>
                </c:pt>
                <c:pt idx="9965">
                  <c:v>47677</c:v>
                </c:pt>
                <c:pt idx="9966">
                  <c:v>47677</c:v>
                </c:pt>
                <c:pt idx="9967">
                  <c:v>47676</c:v>
                </c:pt>
                <c:pt idx="9968">
                  <c:v>47676</c:v>
                </c:pt>
                <c:pt idx="9969">
                  <c:v>47675</c:v>
                </c:pt>
                <c:pt idx="9970">
                  <c:v>47675</c:v>
                </c:pt>
                <c:pt idx="9971">
                  <c:v>47674</c:v>
                </c:pt>
                <c:pt idx="9972">
                  <c:v>47674</c:v>
                </c:pt>
                <c:pt idx="9973">
                  <c:v>47673</c:v>
                </c:pt>
                <c:pt idx="9974">
                  <c:v>47673</c:v>
                </c:pt>
                <c:pt idx="9975">
                  <c:v>47673</c:v>
                </c:pt>
                <c:pt idx="9976">
                  <c:v>47673</c:v>
                </c:pt>
                <c:pt idx="9977">
                  <c:v>47671</c:v>
                </c:pt>
                <c:pt idx="9978">
                  <c:v>47671</c:v>
                </c:pt>
                <c:pt idx="9979">
                  <c:v>47670</c:v>
                </c:pt>
                <c:pt idx="9980">
                  <c:v>47670</c:v>
                </c:pt>
                <c:pt idx="9981">
                  <c:v>47670</c:v>
                </c:pt>
                <c:pt idx="9982">
                  <c:v>47670</c:v>
                </c:pt>
                <c:pt idx="9983">
                  <c:v>47670</c:v>
                </c:pt>
                <c:pt idx="9984">
                  <c:v>47670</c:v>
                </c:pt>
                <c:pt idx="9985">
                  <c:v>47670</c:v>
                </c:pt>
                <c:pt idx="9986">
                  <c:v>47669</c:v>
                </c:pt>
                <c:pt idx="9987">
                  <c:v>47669</c:v>
                </c:pt>
                <c:pt idx="9988">
                  <c:v>47669</c:v>
                </c:pt>
                <c:pt idx="9989">
                  <c:v>47668</c:v>
                </c:pt>
                <c:pt idx="9990">
                  <c:v>47668</c:v>
                </c:pt>
                <c:pt idx="9991">
                  <c:v>47667</c:v>
                </c:pt>
                <c:pt idx="9992">
                  <c:v>47667</c:v>
                </c:pt>
                <c:pt idx="9993">
                  <c:v>47666</c:v>
                </c:pt>
                <c:pt idx="9994">
                  <c:v>47664</c:v>
                </c:pt>
                <c:pt idx="9995">
                  <c:v>47664</c:v>
                </c:pt>
                <c:pt idx="9996">
                  <c:v>47663</c:v>
                </c:pt>
                <c:pt idx="9997">
                  <c:v>47663</c:v>
                </c:pt>
                <c:pt idx="9998">
                  <c:v>47660</c:v>
                </c:pt>
                <c:pt idx="9999">
                  <c:v>47659</c:v>
                </c:pt>
                <c:pt idx="10000">
                  <c:v>47658</c:v>
                </c:pt>
                <c:pt idx="10001">
                  <c:v>47657</c:v>
                </c:pt>
                <c:pt idx="10002">
                  <c:v>47656</c:v>
                </c:pt>
                <c:pt idx="10003">
                  <c:v>47656</c:v>
                </c:pt>
                <c:pt idx="10004">
                  <c:v>47655</c:v>
                </c:pt>
                <c:pt idx="10005">
                  <c:v>47654</c:v>
                </c:pt>
                <c:pt idx="10006">
                  <c:v>47654</c:v>
                </c:pt>
                <c:pt idx="10007">
                  <c:v>47653</c:v>
                </c:pt>
                <c:pt idx="10008">
                  <c:v>47653</c:v>
                </c:pt>
                <c:pt idx="10009">
                  <c:v>47652</c:v>
                </c:pt>
                <c:pt idx="10010">
                  <c:v>47652</c:v>
                </c:pt>
                <c:pt idx="10011">
                  <c:v>47652</c:v>
                </c:pt>
                <c:pt idx="10012">
                  <c:v>47652</c:v>
                </c:pt>
                <c:pt idx="10013">
                  <c:v>47651</c:v>
                </c:pt>
                <c:pt idx="10014">
                  <c:v>47651</c:v>
                </c:pt>
                <c:pt idx="10015">
                  <c:v>47651</c:v>
                </c:pt>
                <c:pt idx="10016">
                  <c:v>47650</c:v>
                </c:pt>
                <c:pt idx="10017">
                  <c:v>47649</c:v>
                </c:pt>
                <c:pt idx="10018">
                  <c:v>47648</c:v>
                </c:pt>
                <c:pt idx="10019">
                  <c:v>47645</c:v>
                </c:pt>
                <c:pt idx="10020">
                  <c:v>47644</c:v>
                </c:pt>
                <c:pt idx="10021">
                  <c:v>47644</c:v>
                </c:pt>
                <c:pt idx="10022">
                  <c:v>47643</c:v>
                </c:pt>
                <c:pt idx="10023">
                  <c:v>47643</c:v>
                </c:pt>
                <c:pt idx="10024">
                  <c:v>47643</c:v>
                </c:pt>
                <c:pt idx="10025">
                  <c:v>47642</c:v>
                </c:pt>
                <c:pt idx="10026">
                  <c:v>47641</c:v>
                </c:pt>
                <c:pt idx="10027">
                  <c:v>47640</c:v>
                </c:pt>
                <c:pt idx="10028">
                  <c:v>47639</c:v>
                </c:pt>
                <c:pt idx="10029">
                  <c:v>47639</c:v>
                </c:pt>
                <c:pt idx="10030">
                  <c:v>47638</c:v>
                </c:pt>
                <c:pt idx="10031">
                  <c:v>47637</c:v>
                </c:pt>
                <c:pt idx="10032">
                  <c:v>47636</c:v>
                </c:pt>
                <c:pt idx="10033">
                  <c:v>47636</c:v>
                </c:pt>
                <c:pt idx="10034">
                  <c:v>47635</c:v>
                </c:pt>
                <c:pt idx="10035">
                  <c:v>47635</c:v>
                </c:pt>
                <c:pt idx="10036">
                  <c:v>47635</c:v>
                </c:pt>
                <c:pt idx="10037">
                  <c:v>47635</c:v>
                </c:pt>
                <c:pt idx="10038">
                  <c:v>47634</c:v>
                </c:pt>
                <c:pt idx="10039">
                  <c:v>47634</c:v>
                </c:pt>
                <c:pt idx="10040">
                  <c:v>47632</c:v>
                </c:pt>
                <c:pt idx="10041">
                  <c:v>47630</c:v>
                </c:pt>
                <c:pt idx="10042">
                  <c:v>47630</c:v>
                </c:pt>
                <c:pt idx="10043">
                  <c:v>47628</c:v>
                </c:pt>
                <c:pt idx="10044">
                  <c:v>47626</c:v>
                </c:pt>
                <c:pt idx="10045">
                  <c:v>47625</c:v>
                </c:pt>
                <c:pt idx="10046">
                  <c:v>47624</c:v>
                </c:pt>
                <c:pt idx="10047">
                  <c:v>47624</c:v>
                </c:pt>
                <c:pt idx="10048">
                  <c:v>47623</c:v>
                </c:pt>
                <c:pt idx="10049">
                  <c:v>47623</c:v>
                </c:pt>
                <c:pt idx="10050">
                  <c:v>47623</c:v>
                </c:pt>
                <c:pt idx="10051">
                  <c:v>47620</c:v>
                </c:pt>
                <c:pt idx="10052">
                  <c:v>47620</c:v>
                </c:pt>
                <c:pt idx="10053">
                  <c:v>47620</c:v>
                </c:pt>
                <c:pt idx="10054">
                  <c:v>47620</c:v>
                </c:pt>
                <c:pt idx="10055">
                  <c:v>47619</c:v>
                </c:pt>
                <c:pt idx="10056">
                  <c:v>47618</c:v>
                </c:pt>
                <c:pt idx="10057">
                  <c:v>47618</c:v>
                </c:pt>
                <c:pt idx="10058">
                  <c:v>47617</c:v>
                </c:pt>
                <c:pt idx="10059">
                  <c:v>47614</c:v>
                </c:pt>
                <c:pt idx="10060">
                  <c:v>47614</c:v>
                </c:pt>
                <c:pt idx="10061">
                  <c:v>47614</c:v>
                </c:pt>
                <c:pt idx="10062">
                  <c:v>47612</c:v>
                </c:pt>
                <c:pt idx="10063">
                  <c:v>47610</c:v>
                </c:pt>
                <c:pt idx="10064">
                  <c:v>47610</c:v>
                </c:pt>
                <c:pt idx="10065">
                  <c:v>47609</c:v>
                </c:pt>
                <c:pt idx="10066">
                  <c:v>47609</c:v>
                </c:pt>
                <c:pt idx="10067">
                  <c:v>47607</c:v>
                </c:pt>
                <c:pt idx="10068">
                  <c:v>47606</c:v>
                </c:pt>
                <c:pt idx="10069">
                  <c:v>47606</c:v>
                </c:pt>
                <c:pt idx="10070">
                  <c:v>47605</c:v>
                </c:pt>
                <c:pt idx="10071">
                  <c:v>47605</c:v>
                </c:pt>
                <c:pt idx="10072">
                  <c:v>47602</c:v>
                </c:pt>
                <c:pt idx="10073">
                  <c:v>47600</c:v>
                </c:pt>
                <c:pt idx="10074">
                  <c:v>47599</c:v>
                </c:pt>
                <c:pt idx="10075">
                  <c:v>47598</c:v>
                </c:pt>
                <c:pt idx="10076">
                  <c:v>47597</c:v>
                </c:pt>
                <c:pt idx="10077">
                  <c:v>47597</c:v>
                </c:pt>
                <c:pt idx="10078">
                  <c:v>47597</c:v>
                </c:pt>
                <c:pt idx="10079">
                  <c:v>47596</c:v>
                </c:pt>
                <c:pt idx="10080">
                  <c:v>47595</c:v>
                </c:pt>
                <c:pt idx="10081">
                  <c:v>47594</c:v>
                </c:pt>
                <c:pt idx="10082">
                  <c:v>47593</c:v>
                </c:pt>
                <c:pt idx="10083">
                  <c:v>47593</c:v>
                </c:pt>
                <c:pt idx="10084">
                  <c:v>47593</c:v>
                </c:pt>
                <c:pt idx="10085">
                  <c:v>47592</c:v>
                </c:pt>
                <c:pt idx="10086">
                  <c:v>47592</c:v>
                </c:pt>
                <c:pt idx="10087">
                  <c:v>47592</c:v>
                </c:pt>
                <c:pt idx="10088">
                  <c:v>47591</c:v>
                </c:pt>
                <c:pt idx="10089">
                  <c:v>47590</c:v>
                </c:pt>
                <c:pt idx="10090">
                  <c:v>47590</c:v>
                </c:pt>
                <c:pt idx="10091">
                  <c:v>47589</c:v>
                </c:pt>
                <c:pt idx="10092">
                  <c:v>47589</c:v>
                </c:pt>
                <c:pt idx="10093">
                  <c:v>47589</c:v>
                </c:pt>
                <c:pt idx="10094">
                  <c:v>47589</c:v>
                </c:pt>
                <c:pt idx="10095">
                  <c:v>47587</c:v>
                </c:pt>
                <c:pt idx="10096">
                  <c:v>47587</c:v>
                </c:pt>
                <c:pt idx="10097">
                  <c:v>47587</c:v>
                </c:pt>
                <c:pt idx="10098">
                  <c:v>47585</c:v>
                </c:pt>
                <c:pt idx="10099">
                  <c:v>47582</c:v>
                </c:pt>
                <c:pt idx="10100">
                  <c:v>47581</c:v>
                </c:pt>
                <c:pt idx="10101">
                  <c:v>47578</c:v>
                </c:pt>
                <c:pt idx="10102">
                  <c:v>47577</c:v>
                </c:pt>
                <c:pt idx="10103">
                  <c:v>47576</c:v>
                </c:pt>
                <c:pt idx="10104">
                  <c:v>47575</c:v>
                </c:pt>
                <c:pt idx="10105">
                  <c:v>47574</c:v>
                </c:pt>
                <c:pt idx="10106">
                  <c:v>47574</c:v>
                </c:pt>
                <c:pt idx="10107">
                  <c:v>47572</c:v>
                </c:pt>
                <c:pt idx="10108">
                  <c:v>47572</c:v>
                </c:pt>
                <c:pt idx="10109">
                  <c:v>47571</c:v>
                </c:pt>
                <c:pt idx="10110">
                  <c:v>47570</c:v>
                </c:pt>
                <c:pt idx="10111">
                  <c:v>47569</c:v>
                </c:pt>
                <c:pt idx="10112">
                  <c:v>47568</c:v>
                </c:pt>
                <c:pt idx="10113">
                  <c:v>47568</c:v>
                </c:pt>
                <c:pt idx="10114">
                  <c:v>47567</c:v>
                </c:pt>
                <c:pt idx="10115">
                  <c:v>47567</c:v>
                </c:pt>
                <c:pt idx="10116">
                  <c:v>47567</c:v>
                </c:pt>
                <c:pt idx="10117">
                  <c:v>47567</c:v>
                </c:pt>
                <c:pt idx="10118">
                  <c:v>47565</c:v>
                </c:pt>
                <c:pt idx="10119">
                  <c:v>47565</c:v>
                </c:pt>
                <c:pt idx="10120">
                  <c:v>47565</c:v>
                </c:pt>
                <c:pt idx="10121">
                  <c:v>47564</c:v>
                </c:pt>
                <c:pt idx="10122">
                  <c:v>47564</c:v>
                </c:pt>
                <c:pt idx="10123">
                  <c:v>47564</c:v>
                </c:pt>
                <c:pt idx="10124">
                  <c:v>47563</c:v>
                </c:pt>
                <c:pt idx="10125">
                  <c:v>47563</c:v>
                </c:pt>
                <c:pt idx="10126">
                  <c:v>47562</c:v>
                </c:pt>
                <c:pt idx="10127">
                  <c:v>47561</c:v>
                </c:pt>
                <c:pt idx="10128">
                  <c:v>47561</c:v>
                </c:pt>
                <c:pt idx="10129">
                  <c:v>47561</c:v>
                </c:pt>
                <c:pt idx="10130">
                  <c:v>47561</c:v>
                </c:pt>
                <c:pt idx="10131">
                  <c:v>47560</c:v>
                </c:pt>
                <c:pt idx="10132">
                  <c:v>47557</c:v>
                </c:pt>
                <c:pt idx="10133">
                  <c:v>47557</c:v>
                </c:pt>
                <c:pt idx="10134">
                  <c:v>47556</c:v>
                </c:pt>
                <c:pt idx="10135">
                  <c:v>47555</c:v>
                </c:pt>
                <c:pt idx="10136">
                  <c:v>47554</c:v>
                </c:pt>
                <c:pt idx="10137">
                  <c:v>47554</c:v>
                </c:pt>
                <c:pt idx="10138">
                  <c:v>47553</c:v>
                </c:pt>
                <c:pt idx="10139">
                  <c:v>47552</c:v>
                </c:pt>
                <c:pt idx="10140">
                  <c:v>47552</c:v>
                </c:pt>
                <c:pt idx="10141">
                  <c:v>47552</c:v>
                </c:pt>
                <c:pt idx="10142">
                  <c:v>47551</c:v>
                </c:pt>
                <c:pt idx="10143">
                  <c:v>47550</c:v>
                </c:pt>
                <c:pt idx="10144">
                  <c:v>47548</c:v>
                </c:pt>
                <c:pt idx="10145">
                  <c:v>47546</c:v>
                </c:pt>
                <c:pt idx="10146">
                  <c:v>47546</c:v>
                </c:pt>
                <c:pt idx="10147">
                  <c:v>47545</c:v>
                </c:pt>
                <c:pt idx="10148">
                  <c:v>47544</c:v>
                </c:pt>
                <c:pt idx="10149">
                  <c:v>47540</c:v>
                </c:pt>
                <c:pt idx="10150">
                  <c:v>47540</c:v>
                </c:pt>
                <c:pt idx="10151">
                  <c:v>47539</c:v>
                </c:pt>
                <c:pt idx="10152">
                  <c:v>47537</c:v>
                </c:pt>
                <c:pt idx="10153">
                  <c:v>47537</c:v>
                </c:pt>
                <c:pt idx="10154">
                  <c:v>47536</c:v>
                </c:pt>
                <c:pt idx="10155">
                  <c:v>47536</c:v>
                </c:pt>
                <c:pt idx="10156">
                  <c:v>47535</c:v>
                </c:pt>
                <c:pt idx="10157">
                  <c:v>47534</c:v>
                </c:pt>
                <c:pt idx="10158">
                  <c:v>47533</c:v>
                </c:pt>
                <c:pt idx="10159">
                  <c:v>47532</c:v>
                </c:pt>
                <c:pt idx="10160">
                  <c:v>47532</c:v>
                </c:pt>
                <c:pt idx="10161">
                  <c:v>47532</c:v>
                </c:pt>
                <c:pt idx="10162">
                  <c:v>47532</c:v>
                </c:pt>
                <c:pt idx="10163">
                  <c:v>47532</c:v>
                </c:pt>
                <c:pt idx="10164">
                  <c:v>47532</c:v>
                </c:pt>
                <c:pt idx="10165">
                  <c:v>47531</c:v>
                </c:pt>
                <c:pt idx="10166">
                  <c:v>47530</c:v>
                </c:pt>
                <c:pt idx="10167">
                  <c:v>47530</c:v>
                </c:pt>
                <c:pt idx="10168">
                  <c:v>47529</c:v>
                </c:pt>
                <c:pt idx="10169">
                  <c:v>47529</c:v>
                </c:pt>
                <c:pt idx="10170">
                  <c:v>47529</c:v>
                </c:pt>
                <c:pt idx="10171">
                  <c:v>47529</c:v>
                </c:pt>
                <c:pt idx="10172">
                  <c:v>47529</c:v>
                </c:pt>
                <c:pt idx="10173">
                  <c:v>47529</c:v>
                </c:pt>
                <c:pt idx="10174">
                  <c:v>47529</c:v>
                </c:pt>
                <c:pt idx="10175">
                  <c:v>47529</c:v>
                </c:pt>
                <c:pt idx="10176">
                  <c:v>47526</c:v>
                </c:pt>
                <c:pt idx="10177">
                  <c:v>47525</c:v>
                </c:pt>
                <c:pt idx="10178">
                  <c:v>47522</c:v>
                </c:pt>
                <c:pt idx="10179">
                  <c:v>47521</c:v>
                </c:pt>
                <c:pt idx="10180">
                  <c:v>47521</c:v>
                </c:pt>
                <c:pt idx="10181">
                  <c:v>47520</c:v>
                </c:pt>
                <c:pt idx="10182">
                  <c:v>47520</c:v>
                </c:pt>
                <c:pt idx="10183">
                  <c:v>47520</c:v>
                </c:pt>
                <c:pt idx="10184">
                  <c:v>47519</c:v>
                </c:pt>
                <c:pt idx="10185">
                  <c:v>47519</c:v>
                </c:pt>
                <c:pt idx="10186">
                  <c:v>47519</c:v>
                </c:pt>
                <c:pt idx="10187">
                  <c:v>47518</c:v>
                </c:pt>
                <c:pt idx="10188">
                  <c:v>47516</c:v>
                </c:pt>
                <c:pt idx="10189">
                  <c:v>47516</c:v>
                </c:pt>
                <c:pt idx="10190">
                  <c:v>47516</c:v>
                </c:pt>
                <c:pt idx="10191">
                  <c:v>47515</c:v>
                </c:pt>
                <c:pt idx="10192">
                  <c:v>47514</c:v>
                </c:pt>
                <c:pt idx="10193">
                  <c:v>47514</c:v>
                </c:pt>
                <c:pt idx="10194">
                  <c:v>47514</c:v>
                </c:pt>
                <c:pt idx="10195">
                  <c:v>47514</c:v>
                </c:pt>
                <c:pt idx="10196">
                  <c:v>47513</c:v>
                </c:pt>
                <c:pt idx="10197">
                  <c:v>47512</c:v>
                </c:pt>
                <c:pt idx="10198">
                  <c:v>47512</c:v>
                </c:pt>
                <c:pt idx="10199">
                  <c:v>47512</c:v>
                </c:pt>
                <c:pt idx="10200">
                  <c:v>47511</c:v>
                </c:pt>
                <c:pt idx="10201">
                  <c:v>47511</c:v>
                </c:pt>
                <c:pt idx="10202">
                  <c:v>47510</c:v>
                </c:pt>
                <c:pt idx="10203">
                  <c:v>47509</c:v>
                </c:pt>
                <c:pt idx="10204">
                  <c:v>47507</c:v>
                </c:pt>
                <c:pt idx="10205">
                  <c:v>47507</c:v>
                </c:pt>
                <c:pt idx="10206">
                  <c:v>47507</c:v>
                </c:pt>
                <c:pt idx="10207">
                  <c:v>47507</c:v>
                </c:pt>
                <c:pt idx="10208">
                  <c:v>47506</c:v>
                </c:pt>
                <c:pt idx="10209">
                  <c:v>47504</c:v>
                </c:pt>
                <c:pt idx="10210">
                  <c:v>47504</c:v>
                </c:pt>
                <c:pt idx="10211">
                  <c:v>47503</c:v>
                </c:pt>
                <c:pt idx="10212">
                  <c:v>47502</c:v>
                </c:pt>
                <c:pt idx="10213">
                  <c:v>47501</c:v>
                </c:pt>
                <c:pt idx="10214">
                  <c:v>47501</c:v>
                </c:pt>
                <c:pt idx="10215">
                  <c:v>47500</c:v>
                </c:pt>
                <c:pt idx="10216">
                  <c:v>47500</c:v>
                </c:pt>
                <c:pt idx="10217">
                  <c:v>47499</c:v>
                </c:pt>
                <c:pt idx="10218">
                  <c:v>47498</c:v>
                </c:pt>
                <c:pt idx="10219">
                  <c:v>47498</c:v>
                </c:pt>
                <c:pt idx="10220">
                  <c:v>47498</c:v>
                </c:pt>
                <c:pt idx="10221">
                  <c:v>47497</c:v>
                </c:pt>
                <c:pt idx="10222">
                  <c:v>47495</c:v>
                </c:pt>
                <c:pt idx="10223">
                  <c:v>47494</c:v>
                </c:pt>
                <c:pt idx="10224">
                  <c:v>47494</c:v>
                </c:pt>
                <c:pt idx="10225">
                  <c:v>47493</c:v>
                </c:pt>
                <c:pt idx="10226">
                  <c:v>47492</c:v>
                </c:pt>
                <c:pt idx="10227">
                  <c:v>47492</c:v>
                </c:pt>
                <c:pt idx="10228">
                  <c:v>47492</c:v>
                </c:pt>
                <c:pt idx="10229">
                  <c:v>47492</c:v>
                </c:pt>
                <c:pt idx="10230">
                  <c:v>47491</c:v>
                </c:pt>
                <c:pt idx="10231">
                  <c:v>47491</c:v>
                </c:pt>
                <c:pt idx="10232">
                  <c:v>47491</c:v>
                </c:pt>
                <c:pt idx="10233">
                  <c:v>47488</c:v>
                </c:pt>
                <c:pt idx="10234">
                  <c:v>47486</c:v>
                </c:pt>
                <c:pt idx="10235">
                  <c:v>47486</c:v>
                </c:pt>
                <c:pt idx="10236">
                  <c:v>47485</c:v>
                </c:pt>
                <c:pt idx="10237">
                  <c:v>47484</c:v>
                </c:pt>
                <c:pt idx="10238">
                  <c:v>47484</c:v>
                </c:pt>
                <c:pt idx="10239">
                  <c:v>47483</c:v>
                </c:pt>
                <c:pt idx="10240">
                  <c:v>47483</c:v>
                </c:pt>
                <c:pt idx="10241">
                  <c:v>47483</c:v>
                </c:pt>
                <c:pt idx="10242">
                  <c:v>47483</c:v>
                </c:pt>
                <c:pt idx="10243">
                  <c:v>47482</c:v>
                </c:pt>
                <c:pt idx="10244">
                  <c:v>47481</c:v>
                </c:pt>
                <c:pt idx="10245">
                  <c:v>47481</c:v>
                </c:pt>
                <c:pt idx="10246">
                  <c:v>47479</c:v>
                </c:pt>
                <c:pt idx="10247">
                  <c:v>47478</c:v>
                </c:pt>
                <c:pt idx="10248">
                  <c:v>47476</c:v>
                </c:pt>
                <c:pt idx="10249">
                  <c:v>47476</c:v>
                </c:pt>
                <c:pt idx="10250">
                  <c:v>47475</c:v>
                </c:pt>
                <c:pt idx="10251">
                  <c:v>47473</c:v>
                </c:pt>
                <c:pt idx="10252">
                  <c:v>47473</c:v>
                </c:pt>
                <c:pt idx="10253">
                  <c:v>47472</c:v>
                </c:pt>
                <c:pt idx="10254">
                  <c:v>47471</c:v>
                </c:pt>
                <c:pt idx="10255">
                  <c:v>47471</c:v>
                </c:pt>
                <c:pt idx="10256">
                  <c:v>47470</c:v>
                </c:pt>
                <c:pt idx="10257">
                  <c:v>47468</c:v>
                </c:pt>
                <c:pt idx="10258">
                  <c:v>47468</c:v>
                </c:pt>
                <c:pt idx="10259">
                  <c:v>47467</c:v>
                </c:pt>
                <c:pt idx="10260">
                  <c:v>47467</c:v>
                </c:pt>
                <c:pt idx="10261">
                  <c:v>47466</c:v>
                </c:pt>
                <c:pt idx="10262">
                  <c:v>47464</c:v>
                </c:pt>
                <c:pt idx="10263">
                  <c:v>47463</c:v>
                </c:pt>
                <c:pt idx="10264">
                  <c:v>47461</c:v>
                </c:pt>
                <c:pt idx="10265">
                  <c:v>47461</c:v>
                </c:pt>
                <c:pt idx="10266">
                  <c:v>47460</c:v>
                </c:pt>
                <c:pt idx="10267">
                  <c:v>47458</c:v>
                </c:pt>
                <c:pt idx="10268">
                  <c:v>47457</c:v>
                </c:pt>
                <c:pt idx="10269">
                  <c:v>47457</c:v>
                </c:pt>
                <c:pt idx="10270">
                  <c:v>47455</c:v>
                </c:pt>
                <c:pt idx="10271">
                  <c:v>47453</c:v>
                </c:pt>
                <c:pt idx="10272">
                  <c:v>47452</c:v>
                </c:pt>
                <c:pt idx="10273">
                  <c:v>47451</c:v>
                </c:pt>
                <c:pt idx="10274">
                  <c:v>47451</c:v>
                </c:pt>
                <c:pt idx="10275">
                  <c:v>47451</c:v>
                </c:pt>
                <c:pt idx="10276">
                  <c:v>47447</c:v>
                </c:pt>
                <c:pt idx="10277">
                  <c:v>47447</c:v>
                </c:pt>
                <c:pt idx="10278">
                  <c:v>47446</c:v>
                </c:pt>
                <c:pt idx="10279">
                  <c:v>47446</c:v>
                </c:pt>
                <c:pt idx="10280">
                  <c:v>47445</c:v>
                </c:pt>
                <c:pt idx="10281">
                  <c:v>47445</c:v>
                </c:pt>
                <c:pt idx="10282">
                  <c:v>47444</c:v>
                </c:pt>
                <c:pt idx="10283">
                  <c:v>47443</c:v>
                </c:pt>
                <c:pt idx="10284">
                  <c:v>47442</c:v>
                </c:pt>
                <c:pt idx="10285">
                  <c:v>47442</c:v>
                </c:pt>
                <c:pt idx="10286">
                  <c:v>47440</c:v>
                </c:pt>
                <c:pt idx="10287">
                  <c:v>47439</c:v>
                </c:pt>
                <c:pt idx="10288">
                  <c:v>47439</c:v>
                </c:pt>
                <c:pt idx="10289">
                  <c:v>47438</c:v>
                </c:pt>
                <c:pt idx="10290">
                  <c:v>47437</c:v>
                </c:pt>
                <c:pt idx="10291">
                  <c:v>47436</c:v>
                </c:pt>
                <c:pt idx="10292">
                  <c:v>47436</c:v>
                </c:pt>
                <c:pt idx="10293">
                  <c:v>47436</c:v>
                </c:pt>
                <c:pt idx="10294">
                  <c:v>47436</c:v>
                </c:pt>
                <c:pt idx="10295">
                  <c:v>47434</c:v>
                </c:pt>
                <c:pt idx="10296">
                  <c:v>47434</c:v>
                </c:pt>
                <c:pt idx="10297">
                  <c:v>47433</c:v>
                </c:pt>
                <c:pt idx="10298">
                  <c:v>47433</c:v>
                </c:pt>
                <c:pt idx="10299">
                  <c:v>47431</c:v>
                </c:pt>
                <c:pt idx="10300">
                  <c:v>47431</c:v>
                </c:pt>
                <c:pt idx="10301">
                  <c:v>47430</c:v>
                </c:pt>
                <c:pt idx="10302">
                  <c:v>47428</c:v>
                </c:pt>
                <c:pt idx="10303">
                  <c:v>47428</c:v>
                </c:pt>
                <c:pt idx="10304">
                  <c:v>47428</c:v>
                </c:pt>
                <c:pt idx="10305">
                  <c:v>47427</c:v>
                </c:pt>
                <c:pt idx="10306">
                  <c:v>47427</c:v>
                </c:pt>
                <c:pt idx="10307">
                  <c:v>47427</c:v>
                </c:pt>
                <c:pt idx="10308">
                  <c:v>47425</c:v>
                </c:pt>
                <c:pt idx="10309">
                  <c:v>47425</c:v>
                </c:pt>
                <c:pt idx="10310">
                  <c:v>47424</c:v>
                </c:pt>
                <c:pt idx="10311">
                  <c:v>47424</c:v>
                </c:pt>
                <c:pt idx="10312">
                  <c:v>47423</c:v>
                </c:pt>
                <c:pt idx="10313">
                  <c:v>47422</c:v>
                </c:pt>
                <c:pt idx="10314">
                  <c:v>47422</c:v>
                </c:pt>
                <c:pt idx="10315">
                  <c:v>47420</c:v>
                </c:pt>
                <c:pt idx="10316">
                  <c:v>47419</c:v>
                </c:pt>
                <c:pt idx="10317">
                  <c:v>47419</c:v>
                </c:pt>
                <c:pt idx="10318">
                  <c:v>47418</c:v>
                </c:pt>
                <c:pt idx="10319">
                  <c:v>47417</c:v>
                </c:pt>
                <c:pt idx="10320">
                  <c:v>47415</c:v>
                </c:pt>
                <c:pt idx="10321">
                  <c:v>47415</c:v>
                </c:pt>
                <c:pt idx="10322">
                  <c:v>47415</c:v>
                </c:pt>
                <c:pt idx="10323">
                  <c:v>47414</c:v>
                </c:pt>
                <c:pt idx="10324">
                  <c:v>47413</c:v>
                </c:pt>
                <c:pt idx="10325">
                  <c:v>47413</c:v>
                </c:pt>
                <c:pt idx="10326">
                  <c:v>47410</c:v>
                </c:pt>
                <c:pt idx="10327">
                  <c:v>47408</c:v>
                </c:pt>
                <c:pt idx="10328">
                  <c:v>47408</c:v>
                </c:pt>
                <c:pt idx="10329">
                  <c:v>47407</c:v>
                </c:pt>
                <c:pt idx="10330">
                  <c:v>47406</c:v>
                </c:pt>
                <c:pt idx="10331">
                  <c:v>47406</c:v>
                </c:pt>
                <c:pt idx="10332">
                  <c:v>47405</c:v>
                </c:pt>
                <c:pt idx="10333">
                  <c:v>47404</c:v>
                </c:pt>
                <c:pt idx="10334">
                  <c:v>47404</c:v>
                </c:pt>
                <c:pt idx="10335">
                  <c:v>47403</c:v>
                </c:pt>
                <c:pt idx="10336">
                  <c:v>47403</c:v>
                </c:pt>
                <c:pt idx="10337">
                  <c:v>47401</c:v>
                </c:pt>
                <c:pt idx="10338">
                  <c:v>47400</c:v>
                </c:pt>
                <c:pt idx="10339">
                  <c:v>47400</c:v>
                </c:pt>
                <c:pt idx="10340">
                  <c:v>47400</c:v>
                </c:pt>
                <c:pt idx="10341">
                  <c:v>47396</c:v>
                </c:pt>
                <c:pt idx="10342">
                  <c:v>47396</c:v>
                </c:pt>
                <c:pt idx="10343">
                  <c:v>47395</c:v>
                </c:pt>
                <c:pt idx="10344">
                  <c:v>47394</c:v>
                </c:pt>
                <c:pt idx="10345">
                  <c:v>47393</c:v>
                </c:pt>
                <c:pt idx="10346">
                  <c:v>47392</c:v>
                </c:pt>
                <c:pt idx="10347">
                  <c:v>47392</c:v>
                </c:pt>
                <c:pt idx="10348">
                  <c:v>47391</c:v>
                </c:pt>
                <c:pt idx="10349">
                  <c:v>47391</c:v>
                </c:pt>
                <c:pt idx="10350">
                  <c:v>47391</c:v>
                </c:pt>
                <c:pt idx="10351">
                  <c:v>47390</c:v>
                </c:pt>
                <c:pt idx="10352">
                  <c:v>47387</c:v>
                </c:pt>
                <c:pt idx="10353">
                  <c:v>47386</c:v>
                </c:pt>
                <c:pt idx="10354">
                  <c:v>47383</c:v>
                </c:pt>
                <c:pt idx="10355">
                  <c:v>47383</c:v>
                </c:pt>
                <c:pt idx="10356">
                  <c:v>47383</c:v>
                </c:pt>
                <c:pt idx="10357">
                  <c:v>47382</c:v>
                </c:pt>
                <c:pt idx="10358">
                  <c:v>47381</c:v>
                </c:pt>
                <c:pt idx="10359">
                  <c:v>47381</c:v>
                </c:pt>
                <c:pt idx="10360">
                  <c:v>47380</c:v>
                </c:pt>
                <c:pt idx="10361">
                  <c:v>47379</c:v>
                </c:pt>
                <c:pt idx="10362">
                  <c:v>47378</c:v>
                </c:pt>
                <c:pt idx="10363">
                  <c:v>47378</c:v>
                </c:pt>
                <c:pt idx="10364">
                  <c:v>47377</c:v>
                </c:pt>
                <c:pt idx="10365">
                  <c:v>47377</c:v>
                </c:pt>
                <c:pt idx="10366">
                  <c:v>47377</c:v>
                </c:pt>
                <c:pt idx="10367">
                  <c:v>47376</c:v>
                </c:pt>
                <c:pt idx="10368">
                  <c:v>47374</c:v>
                </c:pt>
                <c:pt idx="10369">
                  <c:v>47374</c:v>
                </c:pt>
                <c:pt idx="10370">
                  <c:v>47374</c:v>
                </c:pt>
                <c:pt idx="10371">
                  <c:v>47373</c:v>
                </c:pt>
                <c:pt idx="10372">
                  <c:v>47371</c:v>
                </c:pt>
                <c:pt idx="10373">
                  <c:v>47369</c:v>
                </c:pt>
                <c:pt idx="10374">
                  <c:v>47368</c:v>
                </c:pt>
                <c:pt idx="10375">
                  <c:v>47367</c:v>
                </c:pt>
                <c:pt idx="10376">
                  <c:v>47367</c:v>
                </c:pt>
                <c:pt idx="10377">
                  <c:v>47363</c:v>
                </c:pt>
                <c:pt idx="10378">
                  <c:v>47363</c:v>
                </c:pt>
                <c:pt idx="10379">
                  <c:v>47363</c:v>
                </c:pt>
                <c:pt idx="10380">
                  <c:v>47360</c:v>
                </c:pt>
                <c:pt idx="10381">
                  <c:v>47357</c:v>
                </c:pt>
                <c:pt idx="10382">
                  <c:v>47355</c:v>
                </c:pt>
                <c:pt idx="10383">
                  <c:v>47355</c:v>
                </c:pt>
                <c:pt idx="10384">
                  <c:v>47354</c:v>
                </c:pt>
                <c:pt idx="10385">
                  <c:v>47353</c:v>
                </c:pt>
                <c:pt idx="10386">
                  <c:v>47353</c:v>
                </c:pt>
                <c:pt idx="10387">
                  <c:v>47353</c:v>
                </c:pt>
                <c:pt idx="10388">
                  <c:v>47353</c:v>
                </c:pt>
                <c:pt idx="10389">
                  <c:v>47352</c:v>
                </c:pt>
                <c:pt idx="10390">
                  <c:v>47351</c:v>
                </c:pt>
                <c:pt idx="10391">
                  <c:v>47351</c:v>
                </c:pt>
                <c:pt idx="10392">
                  <c:v>47350</c:v>
                </c:pt>
                <c:pt idx="10393">
                  <c:v>47350</c:v>
                </c:pt>
                <c:pt idx="10394">
                  <c:v>47349</c:v>
                </c:pt>
                <c:pt idx="10395">
                  <c:v>47346</c:v>
                </c:pt>
                <c:pt idx="10396">
                  <c:v>47346</c:v>
                </c:pt>
                <c:pt idx="10397">
                  <c:v>47345</c:v>
                </c:pt>
                <c:pt idx="10398">
                  <c:v>47345</c:v>
                </c:pt>
                <c:pt idx="10399">
                  <c:v>47345</c:v>
                </c:pt>
                <c:pt idx="10400">
                  <c:v>47345</c:v>
                </c:pt>
                <c:pt idx="10401">
                  <c:v>47344</c:v>
                </c:pt>
                <c:pt idx="10402">
                  <c:v>47344</c:v>
                </c:pt>
                <c:pt idx="10403">
                  <c:v>47344</c:v>
                </c:pt>
                <c:pt idx="10404">
                  <c:v>47343</c:v>
                </c:pt>
                <c:pt idx="10405">
                  <c:v>47343</c:v>
                </c:pt>
                <c:pt idx="10406">
                  <c:v>47343</c:v>
                </c:pt>
                <c:pt idx="10407">
                  <c:v>47343</c:v>
                </c:pt>
                <c:pt idx="10408">
                  <c:v>47342</c:v>
                </c:pt>
                <c:pt idx="10409">
                  <c:v>47342</c:v>
                </c:pt>
                <c:pt idx="10410">
                  <c:v>47341</c:v>
                </c:pt>
                <c:pt idx="10411">
                  <c:v>47341</c:v>
                </c:pt>
                <c:pt idx="10412">
                  <c:v>47340</c:v>
                </c:pt>
                <c:pt idx="10413">
                  <c:v>47340</c:v>
                </c:pt>
                <c:pt idx="10414">
                  <c:v>47340</c:v>
                </c:pt>
                <c:pt idx="10415">
                  <c:v>47340</c:v>
                </c:pt>
                <c:pt idx="10416">
                  <c:v>47338</c:v>
                </c:pt>
                <c:pt idx="10417">
                  <c:v>47337</c:v>
                </c:pt>
                <c:pt idx="10418">
                  <c:v>47337</c:v>
                </c:pt>
                <c:pt idx="10419">
                  <c:v>47336</c:v>
                </c:pt>
                <c:pt idx="10420">
                  <c:v>47334</c:v>
                </c:pt>
                <c:pt idx="10421">
                  <c:v>47334</c:v>
                </c:pt>
                <c:pt idx="10422">
                  <c:v>47333</c:v>
                </c:pt>
                <c:pt idx="10423">
                  <c:v>47331</c:v>
                </c:pt>
                <c:pt idx="10424">
                  <c:v>47331</c:v>
                </c:pt>
                <c:pt idx="10425">
                  <c:v>47330</c:v>
                </c:pt>
                <c:pt idx="10426">
                  <c:v>47329</c:v>
                </c:pt>
                <c:pt idx="10427">
                  <c:v>47329</c:v>
                </c:pt>
                <c:pt idx="10428">
                  <c:v>47328</c:v>
                </c:pt>
                <c:pt idx="10429">
                  <c:v>47328</c:v>
                </c:pt>
                <c:pt idx="10430">
                  <c:v>47327</c:v>
                </c:pt>
                <c:pt idx="10431">
                  <c:v>47326</c:v>
                </c:pt>
                <c:pt idx="10432">
                  <c:v>47325</c:v>
                </c:pt>
                <c:pt idx="10433">
                  <c:v>47324</c:v>
                </c:pt>
                <c:pt idx="10434">
                  <c:v>47322</c:v>
                </c:pt>
                <c:pt idx="10435">
                  <c:v>47321</c:v>
                </c:pt>
                <c:pt idx="10436">
                  <c:v>47320</c:v>
                </c:pt>
                <c:pt idx="10437">
                  <c:v>47319</c:v>
                </c:pt>
                <c:pt idx="10438">
                  <c:v>47319</c:v>
                </c:pt>
                <c:pt idx="10439">
                  <c:v>47318</c:v>
                </c:pt>
                <c:pt idx="10440">
                  <c:v>47317</c:v>
                </c:pt>
                <c:pt idx="10441">
                  <c:v>47317</c:v>
                </c:pt>
                <c:pt idx="10442">
                  <c:v>47316</c:v>
                </c:pt>
                <c:pt idx="10443">
                  <c:v>47316</c:v>
                </c:pt>
                <c:pt idx="10444">
                  <c:v>47315</c:v>
                </c:pt>
                <c:pt idx="10445">
                  <c:v>47313</c:v>
                </c:pt>
                <c:pt idx="10446">
                  <c:v>47313</c:v>
                </c:pt>
                <c:pt idx="10447">
                  <c:v>47312</c:v>
                </c:pt>
                <c:pt idx="10448">
                  <c:v>47312</c:v>
                </c:pt>
                <c:pt idx="10449">
                  <c:v>47309</c:v>
                </c:pt>
                <c:pt idx="10450">
                  <c:v>47303</c:v>
                </c:pt>
                <c:pt idx="10451">
                  <c:v>47302</c:v>
                </c:pt>
                <c:pt idx="10452">
                  <c:v>47301</c:v>
                </c:pt>
                <c:pt idx="10453">
                  <c:v>47300</c:v>
                </c:pt>
                <c:pt idx="10454">
                  <c:v>47300</c:v>
                </c:pt>
                <c:pt idx="10455">
                  <c:v>47299</c:v>
                </c:pt>
                <c:pt idx="10456">
                  <c:v>47299</c:v>
                </c:pt>
                <c:pt idx="10457">
                  <c:v>47298</c:v>
                </c:pt>
                <c:pt idx="10458">
                  <c:v>47298</c:v>
                </c:pt>
                <c:pt idx="10459">
                  <c:v>47298</c:v>
                </c:pt>
                <c:pt idx="10460">
                  <c:v>47297</c:v>
                </c:pt>
                <c:pt idx="10461">
                  <c:v>47297</c:v>
                </c:pt>
                <c:pt idx="10462">
                  <c:v>47296</c:v>
                </c:pt>
                <c:pt idx="10463">
                  <c:v>47296</c:v>
                </c:pt>
                <c:pt idx="10464">
                  <c:v>47295</c:v>
                </c:pt>
                <c:pt idx="10465">
                  <c:v>47295</c:v>
                </c:pt>
                <c:pt idx="10466">
                  <c:v>47293</c:v>
                </c:pt>
                <c:pt idx="10467">
                  <c:v>47290</c:v>
                </c:pt>
                <c:pt idx="10468">
                  <c:v>47290</c:v>
                </c:pt>
                <c:pt idx="10469">
                  <c:v>47290</c:v>
                </c:pt>
                <c:pt idx="10470">
                  <c:v>47289</c:v>
                </c:pt>
                <c:pt idx="10471">
                  <c:v>47289</c:v>
                </c:pt>
                <c:pt idx="10472">
                  <c:v>47289</c:v>
                </c:pt>
                <c:pt idx="10473">
                  <c:v>47289</c:v>
                </c:pt>
                <c:pt idx="10474">
                  <c:v>47288</c:v>
                </c:pt>
                <c:pt idx="10475">
                  <c:v>47286</c:v>
                </c:pt>
                <c:pt idx="10476">
                  <c:v>47285</c:v>
                </c:pt>
                <c:pt idx="10477">
                  <c:v>47285</c:v>
                </c:pt>
                <c:pt idx="10478">
                  <c:v>47285</c:v>
                </c:pt>
                <c:pt idx="10479">
                  <c:v>47283</c:v>
                </c:pt>
                <c:pt idx="10480">
                  <c:v>47283</c:v>
                </c:pt>
                <c:pt idx="10481">
                  <c:v>47282</c:v>
                </c:pt>
                <c:pt idx="10482">
                  <c:v>47282</c:v>
                </c:pt>
                <c:pt idx="10483">
                  <c:v>47282</c:v>
                </c:pt>
                <c:pt idx="10484">
                  <c:v>47282</c:v>
                </c:pt>
                <c:pt idx="10485">
                  <c:v>47281</c:v>
                </c:pt>
                <c:pt idx="10486">
                  <c:v>47281</c:v>
                </c:pt>
                <c:pt idx="10487">
                  <c:v>47281</c:v>
                </c:pt>
                <c:pt idx="10488">
                  <c:v>47280</c:v>
                </c:pt>
                <c:pt idx="10489">
                  <c:v>47280</c:v>
                </c:pt>
                <c:pt idx="10490">
                  <c:v>47279</c:v>
                </c:pt>
                <c:pt idx="10491">
                  <c:v>47278</c:v>
                </c:pt>
                <c:pt idx="10492">
                  <c:v>47277</c:v>
                </c:pt>
                <c:pt idx="10493">
                  <c:v>47273</c:v>
                </c:pt>
                <c:pt idx="10494">
                  <c:v>47273</c:v>
                </c:pt>
                <c:pt idx="10495">
                  <c:v>47273</c:v>
                </c:pt>
                <c:pt idx="10496">
                  <c:v>47272</c:v>
                </c:pt>
                <c:pt idx="10497">
                  <c:v>47271</c:v>
                </c:pt>
                <c:pt idx="10498">
                  <c:v>47271</c:v>
                </c:pt>
                <c:pt idx="10499">
                  <c:v>47270</c:v>
                </c:pt>
                <c:pt idx="10500">
                  <c:v>47270</c:v>
                </c:pt>
                <c:pt idx="10501">
                  <c:v>47270</c:v>
                </c:pt>
                <c:pt idx="10502">
                  <c:v>47269</c:v>
                </c:pt>
                <c:pt idx="10503">
                  <c:v>47268</c:v>
                </c:pt>
                <c:pt idx="10504">
                  <c:v>47268</c:v>
                </c:pt>
                <c:pt idx="10505">
                  <c:v>47267</c:v>
                </c:pt>
                <c:pt idx="10506">
                  <c:v>47267</c:v>
                </c:pt>
                <c:pt idx="10507">
                  <c:v>47267</c:v>
                </c:pt>
                <c:pt idx="10508">
                  <c:v>47266</c:v>
                </c:pt>
                <c:pt idx="10509">
                  <c:v>47265</c:v>
                </c:pt>
                <c:pt idx="10510">
                  <c:v>47265</c:v>
                </c:pt>
                <c:pt idx="10511">
                  <c:v>47265</c:v>
                </c:pt>
                <c:pt idx="10512">
                  <c:v>47264</c:v>
                </c:pt>
                <c:pt idx="10513">
                  <c:v>47262</c:v>
                </c:pt>
                <c:pt idx="10514">
                  <c:v>47262</c:v>
                </c:pt>
                <c:pt idx="10515">
                  <c:v>47259</c:v>
                </c:pt>
                <c:pt idx="10516">
                  <c:v>47257</c:v>
                </c:pt>
                <c:pt idx="10517">
                  <c:v>47256</c:v>
                </c:pt>
                <c:pt idx="10518">
                  <c:v>47256</c:v>
                </c:pt>
                <c:pt idx="10519">
                  <c:v>47255</c:v>
                </c:pt>
                <c:pt idx="10520">
                  <c:v>47255</c:v>
                </c:pt>
                <c:pt idx="10521">
                  <c:v>47253</c:v>
                </c:pt>
                <c:pt idx="10522">
                  <c:v>47253</c:v>
                </c:pt>
                <c:pt idx="10523">
                  <c:v>47252</c:v>
                </c:pt>
                <c:pt idx="10524">
                  <c:v>47252</c:v>
                </c:pt>
                <c:pt idx="10525">
                  <c:v>47251</c:v>
                </c:pt>
                <c:pt idx="10526">
                  <c:v>47250</c:v>
                </c:pt>
                <c:pt idx="10527">
                  <c:v>47249</c:v>
                </c:pt>
                <c:pt idx="10528">
                  <c:v>47249</c:v>
                </c:pt>
                <c:pt idx="10529">
                  <c:v>47248</c:v>
                </c:pt>
                <c:pt idx="10530">
                  <c:v>47246</c:v>
                </c:pt>
                <c:pt idx="10531">
                  <c:v>47244</c:v>
                </c:pt>
                <c:pt idx="10532">
                  <c:v>47244</c:v>
                </c:pt>
                <c:pt idx="10533">
                  <c:v>47243</c:v>
                </c:pt>
                <c:pt idx="10534">
                  <c:v>47242</c:v>
                </c:pt>
                <c:pt idx="10535">
                  <c:v>47240</c:v>
                </c:pt>
                <c:pt idx="10536">
                  <c:v>47240</c:v>
                </c:pt>
                <c:pt idx="10537">
                  <c:v>47239</c:v>
                </c:pt>
                <c:pt idx="10538">
                  <c:v>47239</c:v>
                </c:pt>
                <c:pt idx="10539">
                  <c:v>47239</c:v>
                </c:pt>
                <c:pt idx="10540">
                  <c:v>47238</c:v>
                </c:pt>
                <c:pt idx="10541">
                  <c:v>47238</c:v>
                </c:pt>
                <c:pt idx="10542">
                  <c:v>47235</c:v>
                </c:pt>
                <c:pt idx="10543">
                  <c:v>47235</c:v>
                </c:pt>
                <c:pt idx="10544">
                  <c:v>47235</c:v>
                </c:pt>
                <c:pt idx="10545">
                  <c:v>47234</c:v>
                </c:pt>
                <c:pt idx="10546">
                  <c:v>47234</c:v>
                </c:pt>
                <c:pt idx="10547">
                  <c:v>47233</c:v>
                </c:pt>
                <c:pt idx="10548">
                  <c:v>47232</c:v>
                </c:pt>
                <c:pt idx="10549">
                  <c:v>47231</c:v>
                </c:pt>
                <c:pt idx="10550">
                  <c:v>47228</c:v>
                </c:pt>
                <c:pt idx="10551">
                  <c:v>47228</c:v>
                </c:pt>
                <c:pt idx="10552">
                  <c:v>47228</c:v>
                </c:pt>
                <c:pt idx="10553">
                  <c:v>47228</c:v>
                </c:pt>
                <c:pt idx="10554">
                  <c:v>47227</c:v>
                </c:pt>
                <c:pt idx="10555">
                  <c:v>47227</c:v>
                </c:pt>
                <c:pt idx="10556">
                  <c:v>47226</c:v>
                </c:pt>
                <c:pt idx="10557">
                  <c:v>47225</c:v>
                </c:pt>
                <c:pt idx="10558">
                  <c:v>47224</c:v>
                </c:pt>
                <c:pt idx="10559">
                  <c:v>47224</c:v>
                </c:pt>
                <c:pt idx="10560">
                  <c:v>47224</c:v>
                </c:pt>
                <c:pt idx="10561">
                  <c:v>47223</c:v>
                </c:pt>
                <c:pt idx="10562">
                  <c:v>47223</c:v>
                </c:pt>
                <c:pt idx="10563">
                  <c:v>47222</c:v>
                </c:pt>
                <c:pt idx="10564">
                  <c:v>47222</c:v>
                </c:pt>
                <c:pt idx="10565">
                  <c:v>47221</c:v>
                </c:pt>
                <c:pt idx="10566">
                  <c:v>47220</c:v>
                </c:pt>
                <c:pt idx="10567">
                  <c:v>47220</c:v>
                </c:pt>
                <c:pt idx="10568">
                  <c:v>47220</c:v>
                </c:pt>
                <c:pt idx="10569">
                  <c:v>47215</c:v>
                </c:pt>
                <c:pt idx="10570">
                  <c:v>47214</c:v>
                </c:pt>
                <c:pt idx="10571">
                  <c:v>47213</c:v>
                </c:pt>
                <c:pt idx="10572">
                  <c:v>47213</c:v>
                </c:pt>
                <c:pt idx="10573">
                  <c:v>47212</c:v>
                </c:pt>
                <c:pt idx="10574">
                  <c:v>47211</c:v>
                </c:pt>
                <c:pt idx="10575">
                  <c:v>47211</c:v>
                </c:pt>
                <c:pt idx="10576">
                  <c:v>47211</c:v>
                </c:pt>
                <c:pt idx="10577">
                  <c:v>47209</c:v>
                </c:pt>
                <c:pt idx="10578">
                  <c:v>47209</c:v>
                </c:pt>
                <c:pt idx="10579">
                  <c:v>47209</c:v>
                </c:pt>
                <c:pt idx="10580">
                  <c:v>47208</c:v>
                </c:pt>
                <c:pt idx="10581">
                  <c:v>47207</c:v>
                </c:pt>
                <c:pt idx="10582">
                  <c:v>47207</c:v>
                </c:pt>
                <c:pt idx="10583">
                  <c:v>47207</c:v>
                </c:pt>
                <c:pt idx="10584">
                  <c:v>47205</c:v>
                </c:pt>
                <c:pt idx="10585">
                  <c:v>47203</c:v>
                </c:pt>
                <c:pt idx="10586">
                  <c:v>47203</c:v>
                </c:pt>
                <c:pt idx="10587">
                  <c:v>47202</c:v>
                </c:pt>
                <c:pt idx="10588">
                  <c:v>47202</c:v>
                </c:pt>
                <c:pt idx="10589">
                  <c:v>47202</c:v>
                </c:pt>
                <c:pt idx="10590">
                  <c:v>47201</c:v>
                </c:pt>
                <c:pt idx="10591">
                  <c:v>47201</c:v>
                </c:pt>
                <c:pt idx="10592">
                  <c:v>47201</c:v>
                </c:pt>
                <c:pt idx="10593">
                  <c:v>47201</c:v>
                </c:pt>
                <c:pt idx="10594">
                  <c:v>47200</c:v>
                </c:pt>
                <c:pt idx="10595">
                  <c:v>47200</c:v>
                </c:pt>
                <c:pt idx="10596">
                  <c:v>47200</c:v>
                </c:pt>
                <c:pt idx="10597">
                  <c:v>47198</c:v>
                </c:pt>
                <c:pt idx="10598">
                  <c:v>47197</c:v>
                </c:pt>
                <c:pt idx="10599">
                  <c:v>47197</c:v>
                </c:pt>
                <c:pt idx="10600">
                  <c:v>47194</c:v>
                </c:pt>
                <c:pt idx="10601">
                  <c:v>47194</c:v>
                </c:pt>
                <c:pt idx="10602">
                  <c:v>47194</c:v>
                </c:pt>
                <c:pt idx="10603">
                  <c:v>47194</c:v>
                </c:pt>
                <c:pt idx="10604">
                  <c:v>47193</c:v>
                </c:pt>
                <c:pt idx="10605">
                  <c:v>47193</c:v>
                </c:pt>
                <c:pt idx="10606">
                  <c:v>47192</c:v>
                </c:pt>
                <c:pt idx="10607">
                  <c:v>47190</c:v>
                </c:pt>
                <c:pt idx="10608">
                  <c:v>47190</c:v>
                </c:pt>
                <c:pt idx="10609">
                  <c:v>47189</c:v>
                </c:pt>
                <c:pt idx="10610">
                  <c:v>47188</c:v>
                </c:pt>
                <c:pt idx="10611">
                  <c:v>47186</c:v>
                </c:pt>
                <c:pt idx="10612">
                  <c:v>47186</c:v>
                </c:pt>
                <c:pt idx="10613">
                  <c:v>47186</c:v>
                </c:pt>
                <c:pt idx="10614">
                  <c:v>47184</c:v>
                </c:pt>
                <c:pt idx="10615">
                  <c:v>47184</c:v>
                </c:pt>
                <c:pt idx="10616">
                  <c:v>47182</c:v>
                </c:pt>
                <c:pt idx="10617">
                  <c:v>47182</c:v>
                </c:pt>
                <c:pt idx="10618">
                  <c:v>47182</c:v>
                </c:pt>
                <c:pt idx="10619">
                  <c:v>47181</c:v>
                </c:pt>
                <c:pt idx="10620">
                  <c:v>47181</c:v>
                </c:pt>
                <c:pt idx="10621">
                  <c:v>47180</c:v>
                </c:pt>
                <c:pt idx="10622">
                  <c:v>47178</c:v>
                </c:pt>
                <c:pt idx="10623">
                  <c:v>47178</c:v>
                </c:pt>
                <c:pt idx="10624">
                  <c:v>47177</c:v>
                </c:pt>
                <c:pt idx="10625">
                  <c:v>47176</c:v>
                </c:pt>
                <c:pt idx="10626">
                  <c:v>47176</c:v>
                </c:pt>
                <c:pt idx="10627">
                  <c:v>47174</c:v>
                </c:pt>
                <c:pt idx="10628">
                  <c:v>47174</c:v>
                </c:pt>
                <c:pt idx="10629">
                  <c:v>47173</c:v>
                </c:pt>
                <c:pt idx="10630">
                  <c:v>47170</c:v>
                </c:pt>
                <c:pt idx="10631">
                  <c:v>47170</c:v>
                </c:pt>
                <c:pt idx="10632">
                  <c:v>47170</c:v>
                </c:pt>
                <c:pt idx="10633">
                  <c:v>47168</c:v>
                </c:pt>
                <c:pt idx="10634">
                  <c:v>47168</c:v>
                </c:pt>
                <c:pt idx="10635">
                  <c:v>47167</c:v>
                </c:pt>
                <c:pt idx="10636">
                  <c:v>47165</c:v>
                </c:pt>
                <c:pt idx="10637">
                  <c:v>47165</c:v>
                </c:pt>
                <c:pt idx="10638">
                  <c:v>47164</c:v>
                </c:pt>
                <c:pt idx="10639">
                  <c:v>47163</c:v>
                </c:pt>
                <c:pt idx="10640">
                  <c:v>47163</c:v>
                </c:pt>
                <c:pt idx="10641">
                  <c:v>47160</c:v>
                </c:pt>
                <c:pt idx="10642">
                  <c:v>47159</c:v>
                </c:pt>
                <c:pt idx="10643">
                  <c:v>47158</c:v>
                </c:pt>
                <c:pt idx="10644">
                  <c:v>47158</c:v>
                </c:pt>
                <c:pt idx="10645">
                  <c:v>47156</c:v>
                </c:pt>
                <c:pt idx="10646">
                  <c:v>47156</c:v>
                </c:pt>
                <c:pt idx="10647">
                  <c:v>47155</c:v>
                </c:pt>
                <c:pt idx="10648">
                  <c:v>47153</c:v>
                </c:pt>
                <c:pt idx="10649">
                  <c:v>47153</c:v>
                </c:pt>
                <c:pt idx="10650">
                  <c:v>47150</c:v>
                </c:pt>
                <c:pt idx="10651">
                  <c:v>47149</c:v>
                </c:pt>
                <c:pt idx="10652">
                  <c:v>47148</c:v>
                </c:pt>
                <c:pt idx="10653">
                  <c:v>47148</c:v>
                </c:pt>
                <c:pt idx="10654">
                  <c:v>47147</c:v>
                </c:pt>
                <c:pt idx="10655">
                  <c:v>47147</c:v>
                </c:pt>
                <c:pt idx="10656">
                  <c:v>47147</c:v>
                </c:pt>
                <c:pt idx="10657">
                  <c:v>47146</c:v>
                </c:pt>
                <c:pt idx="10658">
                  <c:v>47146</c:v>
                </c:pt>
                <c:pt idx="10659">
                  <c:v>47145</c:v>
                </c:pt>
                <c:pt idx="10660">
                  <c:v>47145</c:v>
                </c:pt>
                <c:pt idx="10661">
                  <c:v>47145</c:v>
                </c:pt>
                <c:pt idx="10662">
                  <c:v>47145</c:v>
                </c:pt>
                <c:pt idx="10663">
                  <c:v>47144</c:v>
                </c:pt>
                <c:pt idx="10664">
                  <c:v>47143</c:v>
                </c:pt>
                <c:pt idx="10665">
                  <c:v>47142</c:v>
                </c:pt>
                <c:pt idx="10666">
                  <c:v>47141</c:v>
                </c:pt>
                <c:pt idx="10667">
                  <c:v>47141</c:v>
                </c:pt>
                <c:pt idx="10668">
                  <c:v>47140</c:v>
                </c:pt>
                <c:pt idx="10669">
                  <c:v>47138</c:v>
                </c:pt>
                <c:pt idx="10670">
                  <c:v>47137</c:v>
                </c:pt>
                <c:pt idx="10671">
                  <c:v>47137</c:v>
                </c:pt>
                <c:pt idx="10672">
                  <c:v>47137</c:v>
                </c:pt>
                <c:pt idx="10673">
                  <c:v>47136</c:v>
                </c:pt>
                <c:pt idx="10674">
                  <c:v>47136</c:v>
                </c:pt>
                <c:pt idx="10675">
                  <c:v>47135</c:v>
                </c:pt>
                <c:pt idx="10676">
                  <c:v>47134</c:v>
                </c:pt>
                <c:pt idx="10677">
                  <c:v>47133</c:v>
                </c:pt>
                <c:pt idx="10678">
                  <c:v>47133</c:v>
                </c:pt>
                <c:pt idx="10679">
                  <c:v>47133</c:v>
                </c:pt>
                <c:pt idx="10680">
                  <c:v>47133</c:v>
                </c:pt>
                <c:pt idx="10681">
                  <c:v>47132</c:v>
                </c:pt>
                <c:pt idx="10682">
                  <c:v>47132</c:v>
                </c:pt>
                <c:pt idx="10683">
                  <c:v>47132</c:v>
                </c:pt>
                <c:pt idx="10684">
                  <c:v>47131</c:v>
                </c:pt>
                <c:pt idx="10685">
                  <c:v>47130</c:v>
                </c:pt>
                <c:pt idx="10686">
                  <c:v>47130</c:v>
                </c:pt>
                <c:pt idx="10687">
                  <c:v>47129</c:v>
                </c:pt>
                <c:pt idx="10688">
                  <c:v>47128</c:v>
                </c:pt>
                <c:pt idx="10689">
                  <c:v>47127</c:v>
                </c:pt>
                <c:pt idx="10690">
                  <c:v>47127</c:v>
                </c:pt>
                <c:pt idx="10691">
                  <c:v>47125</c:v>
                </c:pt>
                <c:pt idx="10692">
                  <c:v>47125</c:v>
                </c:pt>
                <c:pt idx="10693">
                  <c:v>47125</c:v>
                </c:pt>
                <c:pt idx="10694">
                  <c:v>47123</c:v>
                </c:pt>
                <c:pt idx="10695">
                  <c:v>47120</c:v>
                </c:pt>
                <c:pt idx="10696">
                  <c:v>47119</c:v>
                </c:pt>
                <c:pt idx="10697">
                  <c:v>47118</c:v>
                </c:pt>
                <c:pt idx="10698">
                  <c:v>47117</c:v>
                </c:pt>
                <c:pt idx="10699">
                  <c:v>47116</c:v>
                </c:pt>
                <c:pt idx="10700">
                  <c:v>47116</c:v>
                </c:pt>
                <c:pt idx="10701">
                  <c:v>47113</c:v>
                </c:pt>
                <c:pt idx="10702">
                  <c:v>47112</c:v>
                </c:pt>
                <c:pt idx="10703">
                  <c:v>47112</c:v>
                </c:pt>
                <c:pt idx="10704">
                  <c:v>47112</c:v>
                </c:pt>
                <c:pt idx="10705">
                  <c:v>47112</c:v>
                </c:pt>
                <c:pt idx="10706">
                  <c:v>47108</c:v>
                </c:pt>
                <c:pt idx="10707">
                  <c:v>47108</c:v>
                </c:pt>
                <c:pt idx="10708">
                  <c:v>47108</c:v>
                </c:pt>
                <c:pt idx="10709">
                  <c:v>47107</c:v>
                </c:pt>
                <c:pt idx="10710">
                  <c:v>47107</c:v>
                </c:pt>
                <c:pt idx="10711">
                  <c:v>47106</c:v>
                </c:pt>
                <c:pt idx="10712">
                  <c:v>47106</c:v>
                </c:pt>
                <c:pt idx="10713">
                  <c:v>47105</c:v>
                </c:pt>
                <c:pt idx="10714">
                  <c:v>47103</c:v>
                </c:pt>
                <c:pt idx="10715">
                  <c:v>47103</c:v>
                </c:pt>
                <c:pt idx="10716">
                  <c:v>47102</c:v>
                </c:pt>
                <c:pt idx="10717">
                  <c:v>47101</c:v>
                </c:pt>
                <c:pt idx="10718">
                  <c:v>47100</c:v>
                </c:pt>
                <c:pt idx="10719">
                  <c:v>47100</c:v>
                </c:pt>
                <c:pt idx="10720">
                  <c:v>47100</c:v>
                </c:pt>
                <c:pt idx="10721">
                  <c:v>47100</c:v>
                </c:pt>
                <c:pt idx="10722">
                  <c:v>47099</c:v>
                </c:pt>
                <c:pt idx="10723">
                  <c:v>47097</c:v>
                </c:pt>
                <c:pt idx="10724">
                  <c:v>47095</c:v>
                </c:pt>
                <c:pt idx="10725">
                  <c:v>47095</c:v>
                </c:pt>
                <c:pt idx="10726">
                  <c:v>47094</c:v>
                </c:pt>
                <c:pt idx="10727">
                  <c:v>47094</c:v>
                </c:pt>
                <c:pt idx="10728">
                  <c:v>47094</c:v>
                </c:pt>
                <c:pt idx="10729">
                  <c:v>47094</c:v>
                </c:pt>
                <c:pt idx="10730">
                  <c:v>47093</c:v>
                </c:pt>
                <c:pt idx="10731">
                  <c:v>47093</c:v>
                </c:pt>
                <c:pt idx="10732">
                  <c:v>47092</c:v>
                </c:pt>
                <c:pt idx="10733">
                  <c:v>47091</c:v>
                </c:pt>
                <c:pt idx="10734">
                  <c:v>47091</c:v>
                </c:pt>
                <c:pt idx="10735">
                  <c:v>47091</c:v>
                </c:pt>
                <c:pt idx="10736">
                  <c:v>47090</c:v>
                </c:pt>
                <c:pt idx="10737">
                  <c:v>47090</c:v>
                </c:pt>
                <c:pt idx="10738">
                  <c:v>47089</c:v>
                </c:pt>
                <c:pt idx="10739">
                  <c:v>47088</c:v>
                </c:pt>
                <c:pt idx="10740">
                  <c:v>47088</c:v>
                </c:pt>
                <c:pt idx="10741">
                  <c:v>47088</c:v>
                </c:pt>
                <c:pt idx="10742">
                  <c:v>47086</c:v>
                </c:pt>
                <c:pt idx="10743">
                  <c:v>47086</c:v>
                </c:pt>
                <c:pt idx="10744">
                  <c:v>47085</c:v>
                </c:pt>
                <c:pt idx="10745">
                  <c:v>47084</c:v>
                </c:pt>
                <c:pt idx="10746">
                  <c:v>47083</c:v>
                </c:pt>
                <c:pt idx="10747">
                  <c:v>47083</c:v>
                </c:pt>
                <c:pt idx="10748">
                  <c:v>47083</c:v>
                </c:pt>
                <c:pt idx="10749">
                  <c:v>47081</c:v>
                </c:pt>
                <c:pt idx="10750">
                  <c:v>47080</c:v>
                </c:pt>
                <c:pt idx="10751">
                  <c:v>47080</c:v>
                </c:pt>
                <c:pt idx="10752">
                  <c:v>47079</c:v>
                </c:pt>
                <c:pt idx="10753">
                  <c:v>47076</c:v>
                </c:pt>
                <c:pt idx="10754">
                  <c:v>47075</c:v>
                </c:pt>
                <c:pt idx="10755">
                  <c:v>47074</c:v>
                </c:pt>
                <c:pt idx="10756">
                  <c:v>47073</c:v>
                </c:pt>
                <c:pt idx="10757">
                  <c:v>47073</c:v>
                </c:pt>
                <c:pt idx="10758">
                  <c:v>47072</c:v>
                </c:pt>
                <c:pt idx="10759">
                  <c:v>47068</c:v>
                </c:pt>
                <c:pt idx="10760">
                  <c:v>47065</c:v>
                </c:pt>
                <c:pt idx="10761">
                  <c:v>47065</c:v>
                </c:pt>
                <c:pt idx="10762">
                  <c:v>47064</c:v>
                </c:pt>
                <c:pt idx="10763">
                  <c:v>47064</c:v>
                </c:pt>
                <c:pt idx="10764">
                  <c:v>47064</c:v>
                </c:pt>
                <c:pt idx="10765">
                  <c:v>47062</c:v>
                </c:pt>
                <c:pt idx="10766">
                  <c:v>47062</c:v>
                </c:pt>
                <c:pt idx="10767">
                  <c:v>47061</c:v>
                </c:pt>
                <c:pt idx="10768">
                  <c:v>47061</c:v>
                </c:pt>
                <c:pt idx="10769">
                  <c:v>47060</c:v>
                </c:pt>
                <c:pt idx="10770">
                  <c:v>47060</c:v>
                </c:pt>
                <c:pt idx="10771">
                  <c:v>47059</c:v>
                </c:pt>
                <c:pt idx="10772">
                  <c:v>47059</c:v>
                </c:pt>
                <c:pt idx="10773">
                  <c:v>47059</c:v>
                </c:pt>
                <c:pt idx="10774">
                  <c:v>47059</c:v>
                </c:pt>
                <c:pt idx="10775">
                  <c:v>47059</c:v>
                </c:pt>
                <c:pt idx="10776">
                  <c:v>47059</c:v>
                </c:pt>
                <c:pt idx="10777">
                  <c:v>47057</c:v>
                </c:pt>
                <c:pt idx="10778">
                  <c:v>47057</c:v>
                </c:pt>
                <c:pt idx="10779">
                  <c:v>47056</c:v>
                </c:pt>
                <c:pt idx="10780">
                  <c:v>47056</c:v>
                </c:pt>
                <c:pt idx="10781">
                  <c:v>47054</c:v>
                </c:pt>
                <c:pt idx="10782">
                  <c:v>47054</c:v>
                </c:pt>
                <c:pt idx="10783">
                  <c:v>47052</c:v>
                </c:pt>
                <c:pt idx="10784">
                  <c:v>47051</c:v>
                </c:pt>
                <c:pt idx="10785">
                  <c:v>47051</c:v>
                </c:pt>
                <c:pt idx="10786">
                  <c:v>47051</c:v>
                </c:pt>
                <c:pt idx="10787">
                  <c:v>47051</c:v>
                </c:pt>
                <c:pt idx="10788">
                  <c:v>47049</c:v>
                </c:pt>
                <c:pt idx="10789">
                  <c:v>47047</c:v>
                </c:pt>
                <c:pt idx="10790">
                  <c:v>47047</c:v>
                </c:pt>
                <c:pt idx="10791">
                  <c:v>47047</c:v>
                </c:pt>
                <c:pt idx="10792">
                  <c:v>47046</c:v>
                </c:pt>
                <c:pt idx="10793">
                  <c:v>47045</c:v>
                </c:pt>
                <c:pt idx="10794">
                  <c:v>47044</c:v>
                </c:pt>
                <c:pt idx="10795">
                  <c:v>47044</c:v>
                </c:pt>
                <c:pt idx="10796">
                  <c:v>47043</c:v>
                </c:pt>
                <c:pt idx="10797">
                  <c:v>47043</c:v>
                </c:pt>
                <c:pt idx="10798">
                  <c:v>47042</c:v>
                </c:pt>
                <c:pt idx="10799">
                  <c:v>47041</c:v>
                </c:pt>
                <c:pt idx="10800">
                  <c:v>47040</c:v>
                </c:pt>
                <c:pt idx="10801">
                  <c:v>47040</c:v>
                </c:pt>
                <c:pt idx="10802">
                  <c:v>47039</c:v>
                </c:pt>
                <c:pt idx="10803">
                  <c:v>47038</c:v>
                </c:pt>
                <c:pt idx="10804">
                  <c:v>47038</c:v>
                </c:pt>
                <c:pt idx="10805">
                  <c:v>47037</c:v>
                </c:pt>
                <c:pt idx="10806">
                  <c:v>47037</c:v>
                </c:pt>
                <c:pt idx="10807">
                  <c:v>47036</c:v>
                </c:pt>
                <c:pt idx="10808">
                  <c:v>47035</c:v>
                </c:pt>
                <c:pt idx="10809">
                  <c:v>47035</c:v>
                </c:pt>
                <c:pt idx="10810">
                  <c:v>47034</c:v>
                </c:pt>
                <c:pt idx="10811">
                  <c:v>47034</c:v>
                </c:pt>
                <c:pt idx="10812">
                  <c:v>47033</c:v>
                </c:pt>
                <c:pt idx="10813">
                  <c:v>47033</c:v>
                </c:pt>
                <c:pt idx="10814">
                  <c:v>47033</c:v>
                </c:pt>
                <c:pt idx="10815">
                  <c:v>47030</c:v>
                </c:pt>
                <c:pt idx="10816">
                  <c:v>47029</c:v>
                </c:pt>
                <c:pt idx="10817">
                  <c:v>47027</c:v>
                </c:pt>
                <c:pt idx="10818">
                  <c:v>47026</c:v>
                </c:pt>
                <c:pt idx="10819">
                  <c:v>47025</c:v>
                </c:pt>
                <c:pt idx="10820">
                  <c:v>47025</c:v>
                </c:pt>
                <c:pt idx="10821">
                  <c:v>47024</c:v>
                </c:pt>
                <c:pt idx="10822">
                  <c:v>47021</c:v>
                </c:pt>
                <c:pt idx="10823">
                  <c:v>47019</c:v>
                </c:pt>
                <c:pt idx="10824">
                  <c:v>47017</c:v>
                </c:pt>
                <c:pt idx="10825">
                  <c:v>47016</c:v>
                </c:pt>
                <c:pt idx="10826">
                  <c:v>47015</c:v>
                </c:pt>
                <c:pt idx="10827">
                  <c:v>47015</c:v>
                </c:pt>
                <c:pt idx="10828">
                  <c:v>47015</c:v>
                </c:pt>
                <c:pt idx="10829">
                  <c:v>47013</c:v>
                </c:pt>
                <c:pt idx="10830">
                  <c:v>47012</c:v>
                </c:pt>
                <c:pt idx="10831">
                  <c:v>47011</c:v>
                </c:pt>
                <c:pt idx="10832">
                  <c:v>47011</c:v>
                </c:pt>
                <c:pt idx="10833">
                  <c:v>47011</c:v>
                </c:pt>
                <c:pt idx="10834">
                  <c:v>47008</c:v>
                </c:pt>
                <c:pt idx="10835">
                  <c:v>47007</c:v>
                </c:pt>
                <c:pt idx="10836">
                  <c:v>47007</c:v>
                </c:pt>
                <c:pt idx="10837">
                  <c:v>47006</c:v>
                </c:pt>
                <c:pt idx="10838">
                  <c:v>47006</c:v>
                </c:pt>
                <c:pt idx="10839">
                  <c:v>47005</c:v>
                </c:pt>
                <c:pt idx="10840">
                  <c:v>47005</c:v>
                </c:pt>
                <c:pt idx="10841">
                  <c:v>47004</c:v>
                </c:pt>
                <c:pt idx="10842">
                  <c:v>47002</c:v>
                </c:pt>
                <c:pt idx="10843">
                  <c:v>47001</c:v>
                </c:pt>
                <c:pt idx="10844">
                  <c:v>47001</c:v>
                </c:pt>
                <c:pt idx="10845">
                  <c:v>47000</c:v>
                </c:pt>
                <c:pt idx="10846">
                  <c:v>47000</c:v>
                </c:pt>
                <c:pt idx="10847">
                  <c:v>47000</c:v>
                </c:pt>
                <c:pt idx="10848">
                  <c:v>47000</c:v>
                </c:pt>
                <c:pt idx="10849">
                  <c:v>46998</c:v>
                </c:pt>
                <c:pt idx="10850">
                  <c:v>46998</c:v>
                </c:pt>
                <c:pt idx="10851">
                  <c:v>46998</c:v>
                </c:pt>
                <c:pt idx="10852">
                  <c:v>46997</c:v>
                </c:pt>
                <c:pt idx="10853">
                  <c:v>46996</c:v>
                </c:pt>
                <c:pt idx="10854">
                  <c:v>46994</c:v>
                </c:pt>
                <c:pt idx="10855">
                  <c:v>46994</c:v>
                </c:pt>
                <c:pt idx="10856">
                  <c:v>46994</c:v>
                </c:pt>
                <c:pt idx="10857">
                  <c:v>46994</c:v>
                </c:pt>
                <c:pt idx="10858">
                  <c:v>46992</c:v>
                </c:pt>
                <c:pt idx="10859">
                  <c:v>46992</c:v>
                </c:pt>
                <c:pt idx="10860">
                  <c:v>46992</c:v>
                </c:pt>
                <c:pt idx="10861">
                  <c:v>46991</c:v>
                </c:pt>
                <c:pt idx="10862">
                  <c:v>46990</c:v>
                </c:pt>
                <c:pt idx="10863">
                  <c:v>46988</c:v>
                </c:pt>
                <c:pt idx="10864">
                  <c:v>46987</c:v>
                </c:pt>
                <c:pt idx="10865">
                  <c:v>46987</c:v>
                </c:pt>
                <c:pt idx="10866">
                  <c:v>46987</c:v>
                </c:pt>
                <c:pt idx="10867">
                  <c:v>46986</c:v>
                </c:pt>
                <c:pt idx="10868">
                  <c:v>46985</c:v>
                </c:pt>
                <c:pt idx="10869">
                  <c:v>46984</c:v>
                </c:pt>
                <c:pt idx="10870">
                  <c:v>46984</c:v>
                </c:pt>
                <c:pt idx="10871">
                  <c:v>46984</c:v>
                </c:pt>
                <c:pt idx="10872">
                  <c:v>46984</c:v>
                </c:pt>
                <c:pt idx="10873">
                  <c:v>46984</c:v>
                </c:pt>
                <c:pt idx="10874">
                  <c:v>46983</c:v>
                </c:pt>
                <c:pt idx="10875">
                  <c:v>46982</c:v>
                </c:pt>
                <c:pt idx="10876">
                  <c:v>46981</c:v>
                </c:pt>
                <c:pt idx="10877">
                  <c:v>46980</c:v>
                </c:pt>
                <c:pt idx="10878">
                  <c:v>46980</c:v>
                </c:pt>
                <c:pt idx="10879">
                  <c:v>46980</c:v>
                </c:pt>
                <c:pt idx="10880">
                  <c:v>46978</c:v>
                </c:pt>
                <c:pt idx="10881">
                  <c:v>46977</c:v>
                </c:pt>
                <c:pt idx="10882">
                  <c:v>46977</c:v>
                </c:pt>
                <c:pt idx="10883">
                  <c:v>46977</c:v>
                </c:pt>
                <c:pt idx="10884">
                  <c:v>46976</c:v>
                </c:pt>
                <c:pt idx="10885">
                  <c:v>46976</c:v>
                </c:pt>
                <c:pt idx="10886">
                  <c:v>46976</c:v>
                </c:pt>
                <c:pt idx="10887">
                  <c:v>46975</c:v>
                </c:pt>
                <c:pt idx="10888">
                  <c:v>46975</c:v>
                </c:pt>
                <c:pt idx="10889">
                  <c:v>46974</c:v>
                </c:pt>
                <c:pt idx="10890">
                  <c:v>46971</c:v>
                </c:pt>
                <c:pt idx="10891">
                  <c:v>46971</c:v>
                </c:pt>
                <c:pt idx="10892">
                  <c:v>46970</c:v>
                </c:pt>
                <c:pt idx="10893">
                  <c:v>46969</c:v>
                </c:pt>
                <c:pt idx="10894">
                  <c:v>46968</c:v>
                </c:pt>
                <c:pt idx="10895">
                  <c:v>46968</c:v>
                </c:pt>
                <c:pt idx="10896">
                  <c:v>46967</c:v>
                </c:pt>
                <c:pt idx="10897">
                  <c:v>46966</c:v>
                </c:pt>
                <c:pt idx="10898">
                  <c:v>46966</c:v>
                </c:pt>
                <c:pt idx="10899">
                  <c:v>46963</c:v>
                </c:pt>
                <c:pt idx="10900">
                  <c:v>46963</c:v>
                </c:pt>
                <c:pt idx="10901">
                  <c:v>46963</c:v>
                </c:pt>
                <c:pt idx="10902">
                  <c:v>46962</c:v>
                </c:pt>
                <c:pt idx="10903">
                  <c:v>46961</c:v>
                </c:pt>
                <c:pt idx="10904">
                  <c:v>46960</c:v>
                </c:pt>
                <c:pt idx="10905">
                  <c:v>46959</c:v>
                </c:pt>
                <c:pt idx="10906">
                  <c:v>46959</c:v>
                </c:pt>
                <c:pt idx="10907">
                  <c:v>46958</c:v>
                </c:pt>
                <c:pt idx="10908">
                  <c:v>46958</c:v>
                </c:pt>
                <c:pt idx="10909">
                  <c:v>46958</c:v>
                </c:pt>
                <c:pt idx="10910">
                  <c:v>46957</c:v>
                </c:pt>
                <c:pt idx="10911">
                  <c:v>46957</c:v>
                </c:pt>
                <c:pt idx="10912">
                  <c:v>46956</c:v>
                </c:pt>
                <c:pt idx="10913">
                  <c:v>46956</c:v>
                </c:pt>
                <c:pt idx="10914">
                  <c:v>46956</c:v>
                </c:pt>
                <c:pt idx="10915">
                  <c:v>46956</c:v>
                </c:pt>
                <c:pt idx="10916">
                  <c:v>46956</c:v>
                </c:pt>
                <c:pt idx="10917">
                  <c:v>46955</c:v>
                </c:pt>
                <c:pt idx="10918">
                  <c:v>46955</c:v>
                </c:pt>
                <c:pt idx="10919">
                  <c:v>46955</c:v>
                </c:pt>
                <c:pt idx="10920">
                  <c:v>46954</c:v>
                </c:pt>
                <c:pt idx="10921">
                  <c:v>46954</c:v>
                </c:pt>
                <c:pt idx="10922">
                  <c:v>46953</c:v>
                </c:pt>
                <c:pt idx="10923">
                  <c:v>46953</c:v>
                </c:pt>
                <c:pt idx="10924">
                  <c:v>46951</c:v>
                </c:pt>
                <c:pt idx="10925">
                  <c:v>46950</c:v>
                </c:pt>
                <c:pt idx="10926">
                  <c:v>46950</c:v>
                </c:pt>
                <c:pt idx="10927">
                  <c:v>46949</c:v>
                </c:pt>
                <c:pt idx="10928">
                  <c:v>46948</c:v>
                </c:pt>
                <c:pt idx="10929">
                  <c:v>46947</c:v>
                </c:pt>
                <c:pt idx="10930">
                  <c:v>46947</c:v>
                </c:pt>
                <c:pt idx="10931">
                  <c:v>46946</c:v>
                </c:pt>
                <c:pt idx="10932">
                  <c:v>46945</c:v>
                </c:pt>
                <c:pt idx="10933">
                  <c:v>46945</c:v>
                </c:pt>
                <c:pt idx="10934">
                  <c:v>46944</c:v>
                </c:pt>
                <c:pt idx="10935">
                  <c:v>46943</c:v>
                </c:pt>
                <c:pt idx="10936">
                  <c:v>46943</c:v>
                </c:pt>
                <c:pt idx="10937">
                  <c:v>46941</c:v>
                </c:pt>
                <c:pt idx="10938">
                  <c:v>46940</c:v>
                </c:pt>
                <c:pt idx="10939">
                  <c:v>46940</c:v>
                </c:pt>
                <c:pt idx="10940">
                  <c:v>46938</c:v>
                </c:pt>
                <c:pt idx="10941">
                  <c:v>46937</c:v>
                </c:pt>
                <c:pt idx="10942">
                  <c:v>46937</c:v>
                </c:pt>
                <c:pt idx="10943">
                  <c:v>46936</c:v>
                </c:pt>
                <c:pt idx="10944">
                  <c:v>46936</c:v>
                </c:pt>
                <c:pt idx="10945">
                  <c:v>46935</c:v>
                </c:pt>
                <c:pt idx="10946">
                  <c:v>46932</c:v>
                </c:pt>
                <c:pt idx="10947">
                  <c:v>46930</c:v>
                </c:pt>
                <c:pt idx="10948">
                  <c:v>46930</c:v>
                </c:pt>
                <c:pt idx="10949">
                  <c:v>46930</c:v>
                </c:pt>
                <c:pt idx="10950">
                  <c:v>46929</c:v>
                </c:pt>
                <c:pt idx="10951">
                  <c:v>46928</c:v>
                </c:pt>
                <c:pt idx="10952">
                  <c:v>46928</c:v>
                </c:pt>
                <c:pt idx="10953">
                  <c:v>46928</c:v>
                </c:pt>
                <c:pt idx="10954">
                  <c:v>46926</c:v>
                </c:pt>
                <c:pt idx="10955">
                  <c:v>46925</c:v>
                </c:pt>
                <c:pt idx="10956">
                  <c:v>46924</c:v>
                </c:pt>
                <c:pt idx="10957">
                  <c:v>46923</c:v>
                </c:pt>
                <c:pt idx="10958">
                  <c:v>46921</c:v>
                </c:pt>
                <c:pt idx="10959">
                  <c:v>46921</c:v>
                </c:pt>
                <c:pt idx="10960">
                  <c:v>46921</c:v>
                </c:pt>
                <c:pt idx="10961">
                  <c:v>46921</c:v>
                </c:pt>
                <c:pt idx="10962">
                  <c:v>46921</c:v>
                </c:pt>
                <c:pt idx="10963">
                  <c:v>46917</c:v>
                </c:pt>
                <c:pt idx="10964">
                  <c:v>46917</c:v>
                </c:pt>
                <c:pt idx="10965">
                  <c:v>46916</c:v>
                </c:pt>
                <c:pt idx="10966">
                  <c:v>46915</c:v>
                </c:pt>
                <c:pt idx="10967">
                  <c:v>46914</c:v>
                </c:pt>
                <c:pt idx="10968">
                  <c:v>46914</c:v>
                </c:pt>
                <c:pt idx="10969">
                  <c:v>46913</c:v>
                </c:pt>
                <c:pt idx="10970">
                  <c:v>46913</c:v>
                </c:pt>
                <c:pt idx="10971">
                  <c:v>46912</c:v>
                </c:pt>
                <c:pt idx="10972">
                  <c:v>46912</c:v>
                </c:pt>
                <c:pt idx="10973">
                  <c:v>46910</c:v>
                </c:pt>
                <c:pt idx="10974">
                  <c:v>46910</c:v>
                </c:pt>
                <c:pt idx="10975">
                  <c:v>46909</c:v>
                </c:pt>
                <c:pt idx="10976">
                  <c:v>46908</c:v>
                </c:pt>
                <c:pt idx="10977">
                  <c:v>46907</c:v>
                </c:pt>
                <c:pt idx="10978">
                  <c:v>46907</c:v>
                </c:pt>
                <c:pt idx="10979">
                  <c:v>46907</c:v>
                </c:pt>
                <c:pt idx="10980">
                  <c:v>46906</c:v>
                </c:pt>
                <c:pt idx="10981">
                  <c:v>46906</c:v>
                </c:pt>
                <c:pt idx="10982">
                  <c:v>46906</c:v>
                </c:pt>
                <c:pt idx="10983">
                  <c:v>46906</c:v>
                </c:pt>
                <c:pt idx="10984">
                  <c:v>46904</c:v>
                </c:pt>
                <c:pt idx="10985">
                  <c:v>46901</c:v>
                </c:pt>
                <c:pt idx="10986">
                  <c:v>46900</c:v>
                </c:pt>
                <c:pt idx="10987">
                  <c:v>46900</c:v>
                </c:pt>
                <c:pt idx="10988">
                  <c:v>46899</c:v>
                </c:pt>
                <c:pt idx="10989">
                  <c:v>46898</c:v>
                </c:pt>
                <c:pt idx="10990">
                  <c:v>46897</c:v>
                </c:pt>
                <c:pt idx="10991">
                  <c:v>46897</c:v>
                </c:pt>
                <c:pt idx="10992">
                  <c:v>46897</c:v>
                </c:pt>
                <c:pt idx="10993">
                  <c:v>46897</c:v>
                </c:pt>
                <c:pt idx="10994">
                  <c:v>46896</c:v>
                </c:pt>
                <c:pt idx="10995">
                  <c:v>46895</c:v>
                </c:pt>
                <c:pt idx="10996">
                  <c:v>46894</c:v>
                </c:pt>
                <c:pt idx="10997">
                  <c:v>46893</c:v>
                </c:pt>
                <c:pt idx="10998">
                  <c:v>46892</c:v>
                </c:pt>
                <c:pt idx="10999">
                  <c:v>46892</c:v>
                </c:pt>
                <c:pt idx="11000">
                  <c:v>46890</c:v>
                </c:pt>
                <c:pt idx="11001">
                  <c:v>46888</c:v>
                </c:pt>
                <c:pt idx="11002">
                  <c:v>46888</c:v>
                </c:pt>
                <c:pt idx="11003">
                  <c:v>46887</c:v>
                </c:pt>
                <c:pt idx="11004">
                  <c:v>46887</c:v>
                </c:pt>
                <c:pt idx="11005">
                  <c:v>46887</c:v>
                </c:pt>
                <c:pt idx="11006">
                  <c:v>46886</c:v>
                </c:pt>
                <c:pt idx="11007">
                  <c:v>46886</c:v>
                </c:pt>
                <c:pt idx="11008">
                  <c:v>46886</c:v>
                </c:pt>
                <c:pt idx="11009">
                  <c:v>46885</c:v>
                </c:pt>
                <c:pt idx="11010">
                  <c:v>46884</c:v>
                </c:pt>
                <c:pt idx="11011">
                  <c:v>46884</c:v>
                </c:pt>
                <c:pt idx="11012">
                  <c:v>46883</c:v>
                </c:pt>
                <c:pt idx="11013">
                  <c:v>46883</c:v>
                </c:pt>
                <c:pt idx="11014">
                  <c:v>46882</c:v>
                </c:pt>
                <c:pt idx="11015">
                  <c:v>46882</c:v>
                </c:pt>
                <c:pt idx="11016">
                  <c:v>46881</c:v>
                </c:pt>
                <c:pt idx="11017">
                  <c:v>46881</c:v>
                </c:pt>
                <c:pt idx="11018">
                  <c:v>46880</c:v>
                </c:pt>
                <c:pt idx="11019">
                  <c:v>46878</c:v>
                </c:pt>
                <c:pt idx="11020">
                  <c:v>46878</c:v>
                </c:pt>
                <c:pt idx="11021">
                  <c:v>46878</c:v>
                </c:pt>
                <c:pt idx="11022">
                  <c:v>46878</c:v>
                </c:pt>
                <c:pt idx="11023">
                  <c:v>46876</c:v>
                </c:pt>
                <c:pt idx="11024">
                  <c:v>46876</c:v>
                </c:pt>
                <c:pt idx="11025">
                  <c:v>46875</c:v>
                </c:pt>
                <c:pt idx="11026">
                  <c:v>46873</c:v>
                </c:pt>
                <c:pt idx="11027">
                  <c:v>46872</c:v>
                </c:pt>
                <c:pt idx="11028">
                  <c:v>46871</c:v>
                </c:pt>
                <c:pt idx="11029">
                  <c:v>46871</c:v>
                </c:pt>
                <c:pt idx="11030">
                  <c:v>46871</c:v>
                </c:pt>
                <c:pt idx="11031">
                  <c:v>46870</c:v>
                </c:pt>
                <c:pt idx="11032">
                  <c:v>46869</c:v>
                </c:pt>
                <c:pt idx="11033">
                  <c:v>46869</c:v>
                </c:pt>
                <c:pt idx="11034">
                  <c:v>46868</c:v>
                </c:pt>
                <c:pt idx="11035">
                  <c:v>46867</c:v>
                </c:pt>
                <c:pt idx="11036">
                  <c:v>46867</c:v>
                </c:pt>
                <c:pt idx="11037">
                  <c:v>46867</c:v>
                </c:pt>
                <c:pt idx="11038">
                  <c:v>46866</c:v>
                </c:pt>
                <c:pt idx="11039">
                  <c:v>46866</c:v>
                </c:pt>
                <c:pt idx="11040">
                  <c:v>46866</c:v>
                </c:pt>
                <c:pt idx="11041">
                  <c:v>46865</c:v>
                </c:pt>
                <c:pt idx="11042">
                  <c:v>46865</c:v>
                </c:pt>
                <c:pt idx="11043">
                  <c:v>46865</c:v>
                </c:pt>
                <c:pt idx="11044">
                  <c:v>46865</c:v>
                </c:pt>
                <c:pt idx="11045">
                  <c:v>46864</c:v>
                </c:pt>
                <c:pt idx="11046">
                  <c:v>46863</c:v>
                </c:pt>
                <c:pt idx="11047">
                  <c:v>46863</c:v>
                </c:pt>
                <c:pt idx="11048">
                  <c:v>46863</c:v>
                </c:pt>
                <c:pt idx="11049">
                  <c:v>46862</c:v>
                </c:pt>
                <c:pt idx="11050">
                  <c:v>46861</c:v>
                </c:pt>
                <c:pt idx="11051">
                  <c:v>46860</c:v>
                </c:pt>
                <c:pt idx="11052">
                  <c:v>46860</c:v>
                </c:pt>
                <c:pt idx="11053">
                  <c:v>46858</c:v>
                </c:pt>
                <c:pt idx="11054">
                  <c:v>46857</c:v>
                </c:pt>
                <c:pt idx="11055">
                  <c:v>46857</c:v>
                </c:pt>
                <c:pt idx="11056">
                  <c:v>46857</c:v>
                </c:pt>
                <c:pt idx="11057">
                  <c:v>46857</c:v>
                </c:pt>
                <c:pt idx="11058">
                  <c:v>46857</c:v>
                </c:pt>
                <c:pt idx="11059">
                  <c:v>46857</c:v>
                </c:pt>
                <c:pt idx="11060">
                  <c:v>46856</c:v>
                </c:pt>
                <c:pt idx="11061">
                  <c:v>46856</c:v>
                </c:pt>
                <c:pt idx="11062">
                  <c:v>46855</c:v>
                </c:pt>
                <c:pt idx="11063">
                  <c:v>46855</c:v>
                </c:pt>
                <c:pt idx="11064">
                  <c:v>46855</c:v>
                </c:pt>
                <c:pt idx="11065">
                  <c:v>46853</c:v>
                </c:pt>
                <c:pt idx="11066">
                  <c:v>46853</c:v>
                </c:pt>
                <c:pt idx="11067">
                  <c:v>46853</c:v>
                </c:pt>
                <c:pt idx="11068">
                  <c:v>46853</c:v>
                </c:pt>
                <c:pt idx="11069">
                  <c:v>46853</c:v>
                </c:pt>
                <c:pt idx="11070">
                  <c:v>46852</c:v>
                </c:pt>
                <c:pt idx="11071">
                  <c:v>46852</c:v>
                </c:pt>
                <c:pt idx="11072">
                  <c:v>46852</c:v>
                </c:pt>
                <c:pt idx="11073">
                  <c:v>46852</c:v>
                </c:pt>
                <c:pt idx="11074">
                  <c:v>46851</c:v>
                </c:pt>
                <c:pt idx="11075">
                  <c:v>46851</c:v>
                </c:pt>
                <c:pt idx="11076">
                  <c:v>46851</c:v>
                </c:pt>
                <c:pt idx="11077">
                  <c:v>46851</c:v>
                </c:pt>
                <c:pt idx="11078">
                  <c:v>46850</c:v>
                </c:pt>
                <c:pt idx="11079">
                  <c:v>46850</c:v>
                </c:pt>
                <c:pt idx="11080">
                  <c:v>46849</c:v>
                </c:pt>
                <c:pt idx="11081">
                  <c:v>46848</c:v>
                </c:pt>
                <c:pt idx="11082">
                  <c:v>46848</c:v>
                </c:pt>
                <c:pt idx="11083">
                  <c:v>46847</c:v>
                </c:pt>
                <c:pt idx="11084">
                  <c:v>46847</c:v>
                </c:pt>
                <c:pt idx="11085">
                  <c:v>46847</c:v>
                </c:pt>
                <c:pt idx="11086">
                  <c:v>46846</c:v>
                </c:pt>
                <c:pt idx="11087">
                  <c:v>46846</c:v>
                </c:pt>
                <c:pt idx="11088">
                  <c:v>46845</c:v>
                </c:pt>
                <c:pt idx="11089">
                  <c:v>46844</c:v>
                </c:pt>
                <c:pt idx="11090">
                  <c:v>46844</c:v>
                </c:pt>
                <c:pt idx="11091">
                  <c:v>46843</c:v>
                </c:pt>
                <c:pt idx="11092">
                  <c:v>46843</c:v>
                </c:pt>
                <c:pt idx="11093">
                  <c:v>46842</c:v>
                </c:pt>
                <c:pt idx="11094">
                  <c:v>46842</c:v>
                </c:pt>
                <c:pt idx="11095">
                  <c:v>46841</c:v>
                </c:pt>
                <c:pt idx="11096">
                  <c:v>46840</c:v>
                </c:pt>
                <c:pt idx="11097">
                  <c:v>46839</c:v>
                </c:pt>
                <c:pt idx="11098">
                  <c:v>46839</c:v>
                </c:pt>
                <c:pt idx="11099">
                  <c:v>46838</c:v>
                </c:pt>
                <c:pt idx="11100">
                  <c:v>46838</c:v>
                </c:pt>
                <c:pt idx="11101">
                  <c:v>46837</c:v>
                </c:pt>
                <c:pt idx="11102">
                  <c:v>46837</c:v>
                </c:pt>
                <c:pt idx="11103">
                  <c:v>46836</c:v>
                </c:pt>
                <c:pt idx="11104">
                  <c:v>46836</c:v>
                </c:pt>
                <c:pt idx="11105">
                  <c:v>46835</c:v>
                </c:pt>
                <c:pt idx="11106">
                  <c:v>46834</c:v>
                </c:pt>
                <c:pt idx="11107">
                  <c:v>46834</c:v>
                </c:pt>
                <c:pt idx="11108">
                  <c:v>46834</c:v>
                </c:pt>
                <c:pt idx="11109">
                  <c:v>46834</c:v>
                </c:pt>
                <c:pt idx="11110">
                  <c:v>46834</c:v>
                </c:pt>
                <c:pt idx="11111">
                  <c:v>46833</c:v>
                </c:pt>
                <c:pt idx="11112">
                  <c:v>46833</c:v>
                </c:pt>
                <c:pt idx="11113">
                  <c:v>46833</c:v>
                </c:pt>
                <c:pt idx="11114">
                  <c:v>46832</c:v>
                </c:pt>
                <c:pt idx="11115">
                  <c:v>46832</c:v>
                </c:pt>
                <c:pt idx="11116">
                  <c:v>46832</c:v>
                </c:pt>
                <c:pt idx="11117">
                  <c:v>46831</c:v>
                </c:pt>
                <c:pt idx="11118">
                  <c:v>46831</c:v>
                </c:pt>
                <c:pt idx="11119">
                  <c:v>46830</c:v>
                </c:pt>
                <c:pt idx="11120">
                  <c:v>46828</c:v>
                </c:pt>
                <c:pt idx="11121">
                  <c:v>46827</c:v>
                </c:pt>
                <c:pt idx="11122">
                  <c:v>46827</c:v>
                </c:pt>
                <c:pt idx="11123">
                  <c:v>46827</c:v>
                </c:pt>
                <c:pt idx="11124">
                  <c:v>46827</c:v>
                </c:pt>
                <c:pt idx="11125">
                  <c:v>46826</c:v>
                </c:pt>
                <c:pt idx="11126">
                  <c:v>46825</c:v>
                </c:pt>
                <c:pt idx="11127">
                  <c:v>46825</c:v>
                </c:pt>
                <c:pt idx="11128">
                  <c:v>46825</c:v>
                </c:pt>
                <c:pt idx="11129">
                  <c:v>46825</c:v>
                </c:pt>
                <c:pt idx="11130">
                  <c:v>46823</c:v>
                </c:pt>
                <c:pt idx="11131">
                  <c:v>46822</c:v>
                </c:pt>
                <c:pt idx="11132">
                  <c:v>46822</c:v>
                </c:pt>
                <c:pt idx="11133">
                  <c:v>46822</c:v>
                </c:pt>
                <c:pt idx="11134">
                  <c:v>46821</c:v>
                </c:pt>
                <c:pt idx="11135">
                  <c:v>46819</c:v>
                </c:pt>
                <c:pt idx="11136">
                  <c:v>46818</c:v>
                </c:pt>
                <c:pt idx="11137">
                  <c:v>46817</c:v>
                </c:pt>
                <c:pt idx="11138">
                  <c:v>46817</c:v>
                </c:pt>
                <c:pt idx="11139">
                  <c:v>46816</c:v>
                </c:pt>
                <c:pt idx="11140">
                  <c:v>46815</c:v>
                </c:pt>
                <c:pt idx="11141">
                  <c:v>46815</c:v>
                </c:pt>
                <c:pt idx="11142">
                  <c:v>46815</c:v>
                </c:pt>
                <c:pt idx="11143">
                  <c:v>46814</c:v>
                </c:pt>
                <c:pt idx="11144">
                  <c:v>46814</c:v>
                </c:pt>
                <c:pt idx="11145">
                  <c:v>46813</c:v>
                </c:pt>
                <c:pt idx="11146">
                  <c:v>46813</c:v>
                </c:pt>
                <c:pt idx="11147">
                  <c:v>46812</c:v>
                </c:pt>
                <c:pt idx="11148">
                  <c:v>46812</c:v>
                </c:pt>
                <c:pt idx="11149">
                  <c:v>46811</c:v>
                </c:pt>
                <c:pt idx="11150">
                  <c:v>46811</c:v>
                </c:pt>
                <c:pt idx="11151">
                  <c:v>46810</c:v>
                </c:pt>
                <c:pt idx="11152">
                  <c:v>46808</c:v>
                </c:pt>
                <c:pt idx="11153">
                  <c:v>46807</c:v>
                </c:pt>
                <c:pt idx="11154">
                  <c:v>46806</c:v>
                </c:pt>
                <c:pt idx="11155">
                  <c:v>46806</c:v>
                </c:pt>
                <c:pt idx="11156">
                  <c:v>46806</c:v>
                </c:pt>
                <c:pt idx="11157">
                  <c:v>46806</c:v>
                </c:pt>
                <c:pt idx="11158">
                  <c:v>46806</c:v>
                </c:pt>
                <c:pt idx="11159">
                  <c:v>46806</c:v>
                </c:pt>
                <c:pt idx="11160">
                  <c:v>46805</c:v>
                </c:pt>
                <c:pt idx="11161">
                  <c:v>46804</c:v>
                </c:pt>
                <c:pt idx="11162">
                  <c:v>46803</c:v>
                </c:pt>
                <c:pt idx="11163">
                  <c:v>46803</c:v>
                </c:pt>
                <c:pt idx="11164">
                  <c:v>46802</c:v>
                </c:pt>
                <c:pt idx="11165">
                  <c:v>46802</c:v>
                </c:pt>
                <c:pt idx="11166">
                  <c:v>46802</c:v>
                </c:pt>
                <c:pt idx="11167">
                  <c:v>46802</c:v>
                </c:pt>
                <c:pt idx="11168">
                  <c:v>46800</c:v>
                </c:pt>
                <c:pt idx="11169">
                  <c:v>46800</c:v>
                </c:pt>
                <c:pt idx="11170">
                  <c:v>46800</c:v>
                </c:pt>
                <c:pt idx="11171">
                  <c:v>46798</c:v>
                </c:pt>
                <c:pt idx="11172">
                  <c:v>46798</c:v>
                </c:pt>
                <c:pt idx="11173">
                  <c:v>46797</c:v>
                </c:pt>
                <c:pt idx="11174">
                  <c:v>46797</c:v>
                </c:pt>
                <c:pt idx="11175">
                  <c:v>46796</c:v>
                </c:pt>
                <c:pt idx="11176">
                  <c:v>46796</c:v>
                </c:pt>
                <c:pt idx="11177">
                  <c:v>46796</c:v>
                </c:pt>
                <c:pt idx="11178">
                  <c:v>46795</c:v>
                </c:pt>
                <c:pt idx="11179">
                  <c:v>46794</c:v>
                </c:pt>
                <c:pt idx="11180">
                  <c:v>46794</c:v>
                </c:pt>
                <c:pt idx="11181">
                  <c:v>46793</c:v>
                </c:pt>
                <c:pt idx="11182">
                  <c:v>46793</c:v>
                </c:pt>
                <c:pt idx="11183">
                  <c:v>46793</c:v>
                </c:pt>
                <c:pt idx="11184">
                  <c:v>46792</c:v>
                </c:pt>
                <c:pt idx="11185">
                  <c:v>46791</c:v>
                </c:pt>
                <c:pt idx="11186">
                  <c:v>46791</c:v>
                </c:pt>
                <c:pt idx="11187">
                  <c:v>46790</c:v>
                </c:pt>
                <c:pt idx="11188">
                  <c:v>46790</c:v>
                </c:pt>
                <c:pt idx="11189">
                  <c:v>46790</c:v>
                </c:pt>
                <c:pt idx="11190">
                  <c:v>46789</c:v>
                </c:pt>
                <c:pt idx="11191">
                  <c:v>46789</c:v>
                </c:pt>
                <c:pt idx="11192">
                  <c:v>46789</c:v>
                </c:pt>
                <c:pt idx="11193">
                  <c:v>46789</c:v>
                </c:pt>
                <c:pt idx="11194">
                  <c:v>46786</c:v>
                </c:pt>
                <c:pt idx="11195">
                  <c:v>46786</c:v>
                </c:pt>
                <c:pt idx="11196">
                  <c:v>46785</c:v>
                </c:pt>
                <c:pt idx="11197">
                  <c:v>46784</c:v>
                </c:pt>
                <c:pt idx="11198">
                  <c:v>46784</c:v>
                </c:pt>
                <c:pt idx="11199">
                  <c:v>46783</c:v>
                </c:pt>
                <c:pt idx="11200">
                  <c:v>46782</c:v>
                </c:pt>
                <c:pt idx="11201">
                  <c:v>46782</c:v>
                </c:pt>
                <c:pt idx="11202">
                  <c:v>46782</c:v>
                </c:pt>
                <c:pt idx="11203">
                  <c:v>46782</c:v>
                </c:pt>
                <c:pt idx="11204">
                  <c:v>46780</c:v>
                </c:pt>
                <c:pt idx="11205">
                  <c:v>46780</c:v>
                </c:pt>
                <c:pt idx="11206">
                  <c:v>46779</c:v>
                </c:pt>
                <c:pt idx="11207">
                  <c:v>46778</c:v>
                </c:pt>
                <c:pt idx="11208">
                  <c:v>46778</c:v>
                </c:pt>
                <c:pt idx="11209">
                  <c:v>46775</c:v>
                </c:pt>
                <c:pt idx="11210">
                  <c:v>46773</c:v>
                </c:pt>
                <c:pt idx="11211">
                  <c:v>46771</c:v>
                </c:pt>
                <c:pt idx="11212">
                  <c:v>46771</c:v>
                </c:pt>
                <c:pt idx="11213">
                  <c:v>46771</c:v>
                </c:pt>
                <c:pt idx="11214">
                  <c:v>46770</c:v>
                </c:pt>
                <c:pt idx="11215">
                  <c:v>46769</c:v>
                </c:pt>
                <c:pt idx="11216">
                  <c:v>46768</c:v>
                </c:pt>
                <c:pt idx="11217">
                  <c:v>46766</c:v>
                </c:pt>
                <c:pt idx="11218">
                  <c:v>46765</c:v>
                </c:pt>
                <c:pt idx="11219">
                  <c:v>46764</c:v>
                </c:pt>
                <c:pt idx="11220">
                  <c:v>46764</c:v>
                </c:pt>
                <c:pt idx="11221">
                  <c:v>46763</c:v>
                </c:pt>
                <c:pt idx="11222">
                  <c:v>46763</c:v>
                </c:pt>
                <c:pt idx="11223">
                  <c:v>46763</c:v>
                </c:pt>
                <c:pt idx="11224">
                  <c:v>46762</c:v>
                </c:pt>
                <c:pt idx="11225">
                  <c:v>46760</c:v>
                </c:pt>
                <c:pt idx="11226">
                  <c:v>46760</c:v>
                </c:pt>
                <c:pt idx="11227">
                  <c:v>46758</c:v>
                </c:pt>
                <c:pt idx="11228">
                  <c:v>46757</c:v>
                </c:pt>
                <c:pt idx="11229">
                  <c:v>46757</c:v>
                </c:pt>
                <c:pt idx="11230">
                  <c:v>46755</c:v>
                </c:pt>
                <c:pt idx="11231">
                  <c:v>46755</c:v>
                </c:pt>
                <c:pt idx="11232">
                  <c:v>46754</c:v>
                </c:pt>
                <c:pt idx="11233">
                  <c:v>46753</c:v>
                </c:pt>
                <c:pt idx="11234">
                  <c:v>46752</c:v>
                </c:pt>
                <c:pt idx="11235">
                  <c:v>46751</c:v>
                </c:pt>
                <c:pt idx="11236">
                  <c:v>46751</c:v>
                </c:pt>
                <c:pt idx="11237">
                  <c:v>46751</c:v>
                </c:pt>
                <c:pt idx="11238">
                  <c:v>46751</c:v>
                </c:pt>
                <c:pt idx="11239">
                  <c:v>46750</c:v>
                </c:pt>
                <c:pt idx="11240">
                  <c:v>46750</c:v>
                </c:pt>
                <c:pt idx="11241">
                  <c:v>46750</c:v>
                </c:pt>
                <c:pt idx="11242">
                  <c:v>46749</c:v>
                </c:pt>
                <c:pt idx="11243">
                  <c:v>46749</c:v>
                </c:pt>
                <c:pt idx="11244">
                  <c:v>46748</c:v>
                </c:pt>
                <c:pt idx="11245">
                  <c:v>46748</c:v>
                </c:pt>
                <c:pt idx="11246">
                  <c:v>46748</c:v>
                </c:pt>
                <c:pt idx="11247">
                  <c:v>46748</c:v>
                </c:pt>
                <c:pt idx="11248">
                  <c:v>46746</c:v>
                </c:pt>
                <c:pt idx="11249">
                  <c:v>46746</c:v>
                </c:pt>
                <c:pt idx="11250">
                  <c:v>46746</c:v>
                </c:pt>
                <c:pt idx="11251">
                  <c:v>46745</c:v>
                </c:pt>
                <c:pt idx="11252">
                  <c:v>46745</c:v>
                </c:pt>
                <c:pt idx="11253">
                  <c:v>46745</c:v>
                </c:pt>
                <c:pt idx="11254">
                  <c:v>46744</c:v>
                </c:pt>
                <c:pt idx="11255">
                  <c:v>46744</c:v>
                </c:pt>
                <c:pt idx="11256">
                  <c:v>46743</c:v>
                </c:pt>
                <c:pt idx="11257">
                  <c:v>46743</c:v>
                </c:pt>
                <c:pt idx="11258">
                  <c:v>46741</c:v>
                </c:pt>
                <c:pt idx="11259">
                  <c:v>46741</c:v>
                </c:pt>
                <c:pt idx="11260">
                  <c:v>46740</c:v>
                </c:pt>
                <c:pt idx="11261">
                  <c:v>46740</c:v>
                </c:pt>
                <c:pt idx="11262">
                  <c:v>46737</c:v>
                </c:pt>
                <c:pt idx="11263">
                  <c:v>46737</c:v>
                </c:pt>
                <c:pt idx="11264">
                  <c:v>46736</c:v>
                </c:pt>
                <c:pt idx="11265">
                  <c:v>46735</c:v>
                </c:pt>
                <c:pt idx="11266">
                  <c:v>46735</c:v>
                </c:pt>
                <c:pt idx="11267">
                  <c:v>46734</c:v>
                </c:pt>
                <c:pt idx="11268">
                  <c:v>46733</c:v>
                </c:pt>
                <c:pt idx="11269">
                  <c:v>46731</c:v>
                </c:pt>
                <c:pt idx="11270">
                  <c:v>46731</c:v>
                </c:pt>
                <c:pt idx="11271">
                  <c:v>46730</c:v>
                </c:pt>
                <c:pt idx="11272">
                  <c:v>46729</c:v>
                </c:pt>
                <c:pt idx="11273">
                  <c:v>46728</c:v>
                </c:pt>
                <c:pt idx="11274">
                  <c:v>46728</c:v>
                </c:pt>
                <c:pt idx="11275">
                  <c:v>46727</c:v>
                </c:pt>
                <c:pt idx="11276">
                  <c:v>46726</c:v>
                </c:pt>
                <c:pt idx="11277">
                  <c:v>46726</c:v>
                </c:pt>
                <c:pt idx="11278">
                  <c:v>46726</c:v>
                </c:pt>
                <c:pt idx="11279">
                  <c:v>46726</c:v>
                </c:pt>
                <c:pt idx="11280">
                  <c:v>46725</c:v>
                </c:pt>
                <c:pt idx="11281">
                  <c:v>46725</c:v>
                </c:pt>
                <c:pt idx="11282">
                  <c:v>46725</c:v>
                </c:pt>
                <c:pt idx="11283">
                  <c:v>46725</c:v>
                </c:pt>
                <c:pt idx="11284">
                  <c:v>46724</c:v>
                </c:pt>
                <c:pt idx="11285">
                  <c:v>46724</c:v>
                </c:pt>
                <c:pt idx="11286">
                  <c:v>46723</c:v>
                </c:pt>
                <c:pt idx="11287">
                  <c:v>46722</c:v>
                </c:pt>
                <c:pt idx="11288">
                  <c:v>46720</c:v>
                </c:pt>
                <c:pt idx="11289">
                  <c:v>46720</c:v>
                </c:pt>
                <c:pt idx="11290">
                  <c:v>46718</c:v>
                </c:pt>
                <c:pt idx="11291">
                  <c:v>46718</c:v>
                </c:pt>
                <c:pt idx="11292">
                  <c:v>46718</c:v>
                </c:pt>
                <c:pt idx="11293">
                  <c:v>46717</c:v>
                </c:pt>
                <c:pt idx="11294">
                  <c:v>46717</c:v>
                </c:pt>
                <c:pt idx="11295">
                  <c:v>46716</c:v>
                </c:pt>
                <c:pt idx="11296">
                  <c:v>46715</c:v>
                </c:pt>
                <c:pt idx="11297">
                  <c:v>46715</c:v>
                </c:pt>
                <c:pt idx="11298">
                  <c:v>46714</c:v>
                </c:pt>
                <c:pt idx="11299">
                  <c:v>46713</c:v>
                </c:pt>
                <c:pt idx="11300">
                  <c:v>46713</c:v>
                </c:pt>
                <c:pt idx="11301">
                  <c:v>46712</c:v>
                </c:pt>
                <c:pt idx="11302">
                  <c:v>46712</c:v>
                </c:pt>
                <c:pt idx="11303">
                  <c:v>46712</c:v>
                </c:pt>
                <c:pt idx="11304">
                  <c:v>46711</c:v>
                </c:pt>
                <c:pt idx="11305">
                  <c:v>46711</c:v>
                </c:pt>
                <c:pt idx="11306">
                  <c:v>46710</c:v>
                </c:pt>
                <c:pt idx="11307">
                  <c:v>46710</c:v>
                </c:pt>
                <c:pt idx="11308">
                  <c:v>46709</c:v>
                </c:pt>
                <c:pt idx="11309">
                  <c:v>46709</c:v>
                </c:pt>
                <c:pt idx="11310">
                  <c:v>46709</c:v>
                </c:pt>
                <c:pt idx="11311">
                  <c:v>46708</c:v>
                </c:pt>
                <c:pt idx="11312">
                  <c:v>46708</c:v>
                </c:pt>
                <c:pt idx="11313">
                  <c:v>46707</c:v>
                </c:pt>
                <c:pt idx="11314">
                  <c:v>46705</c:v>
                </c:pt>
                <c:pt idx="11315">
                  <c:v>46705</c:v>
                </c:pt>
                <c:pt idx="11316">
                  <c:v>46704</c:v>
                </c:pt>
                <c:pt idx="11317">
                  <c:v>46704</c:v>
                </c:pt>
                <c:pt idx="11318">
                  <c:v>46703</c:v>
                </c:pt>
                <c:pt idx="11319">
                  <c:v>46703</c:v>
                </c:pt>
                <c:pt idx="11320">
                  <c:v>46702</c:v>
                </c:pt>
                <c:pt idx="11321">
                  <c:v>46701</c:v>
                </c:pt>
                <c:pt idx="11322">
                  <c:v>46700</c:v>
                </c:pt>
                <c:pt idx="11323">
                  <c:v>46700</c:v>
                </c:pt>
                <c:pt idx="11324">
                  <c:v>46700</c:v>
                </c:pt>
                <c:pt idx="11325">
                  <c:v>46699</c:v>
                </c:pt>
                <c:pt idx="11326">
                  <c:v>46699</c:v>
                </c:pt>
                <c:pt idx="11327">
                  <c:v>46699</c:v>
                </c:pt>
                <c:pt idx="11328">
                  <c:v>46699</c:v>
                </c:pt>
                <c:pt idx="11329">
                  <c:v>46697</c:v>
                </c:pt>
                <c:pt idx="11330">
                  <c:v>46696</c:v>
                </c:pt>
                <c:pt idx="11331">
                  <c:v>46696</c:v>
                </c:pt>
                <c:pt idx="11332">
                  <c:v>46695</c:v>
                </c:pt>
                <c:pt idx="11333">
                  <c:v>46695</c:v>
                </c:pt>
                <c:pt idx="11334">
                  <c:v>46693</c:v>
                </c:pt>
                <c:pt idx="11335">
                  <c:v>46691</c:v>
                </c:pt>
                <c:pt idx="11336">
                  <c:v>46691</c:v>
                </c:pt>
                <c:pt idx="11337">
                  <c:v>46690</c:v>
                </c:pt>
                <c:pt idx="11338">
                  <c:v>46689</c:v>
                </c:pt>
                <c:pt idx="11339">
                  <c:v>46689</c:v>
                </c:pt>
                <c:pt idx="11340">
                  <c:v>46685</c:v>
                </c:pt>
                <c:pt idx="11341">
                  <c:v>46685</c:v>
                </c:pt>
                <c:pt idx="11342">
                  <c:v>46685</c:v>
                </c:pt>
                <c:pt idx="11343">
                  <c:v>46685</c:v>
                </c:pt>
                <c:pt idx="11344">
                  <c:v>46685</c:v>
                </c:pt>
                <c:pt idx="11345">
                  <c:v>46684</c:v>
                </c:pt>
                <c:pt idx="11346">
                  <c:v>46684</c:v>
                </c:pt>
                <c:pt idx="11347">
                  <c:v>46684</c:v>
                </c:pt>
                <c:pt idx="11348">
                  <c:v>46684</c:v>
                </c:pt>
                <c:pt idx="11349">
                  <c:v>46683</c:v>
                </c:pt>
                <c:pt idx="11350">
                  <c:v>46683</c:v>
                </c:pt>
                <c:pt idx="11351">
                  <c:v>46682</c:v>
                </c:pt>
                <c:pt idx="11352">
                  <c:v>46682</c:v>
                </c:pt>
                <c:pt idx="11353">
                  <c:v>46682</c:v>
                </c:pt>
                <c:pt idx="11354">
                  <c:v>46681</c:v>
                </c:pt>
                <c:pt idx="11355">
                  <c:v>46680</c:v>
                </c:pt>
                <c:pt idx="11356">
                  <c:v>46679</c:v>
                </c:pt>
                <c:pt idx="11357">
                  <c:v>46679</c:v>
                </c:pt>
                <c:pt idx="11358">
                  <c:v>46678</c:v>
                </c:pt>
                <c:pt idx="11359">
                  <c:v>46676</c:v>
                </c:pt>
                <c:pt idx="11360">
                  <c:v>46676</c:v>
                </c:pt>
                <c:pt idx="11361">
                  <c:v>46676</c:v>
                </c:pt>
                <c:pt idx="11362">
                  <c:v>46676</c:v>
                </c:pt>
                <c:pt idx="11363">
                  <c:v>46676</c:v>
                </c:pt>
                <c:pt idx="11364">
                  <c:v>46672</c:v>
                </c:pt>
                <c:pt idx="11365">
                  <c:v>46671</c:v>
                </c:pt>
                <c:pt idx="11366">
                  <c:v>46670</c:v>
                </c:pt>
                <c:pt idx="11367">
                  <c:v>46669</c:v>
                </c:pt>
                <c:pt idx="11368">
                  <c:v>46669</c:v>
                </c:pt>
                <c:pt idx="11369">
                  <c:v>46669</c:v>
                </c:pt>
                <c:pt idx="11370">
                  <c:v>46669</c:v>
                </c:pt>
                <c:pt idx="11371">
                  <c:v>46668</c:v>
                </c:pt>
                <c:pt idx="11372">
                  <c:v>46665</c:v>
                </c:pt>
                <c:pt idx="11373">
                  <c:v>46665</c:v>
                </c:pt>
                <c:pt idx="11374">
                  <c:v>46664</c:v>
                </c:pt>
                <c:pt idx="11375">
                  <c:v>46664</c:v>
                </c:pt>
                <c:pt idx="11376">
                  <c:v>46664</c:v>
                </c:pt>
                <c:pt idx="11377">
                  <c:v>46663</c:v>
                </c:pt>
                <c:pt idx="11378">
                  <c:v>46663</c:v>
                </c:pt>
                <c:pt idx="11379">
                  <c:v>46662</c:v>
                </c:pt>
                <c:pt idx="11380">
                  <c:v>46662</c:v>
                </c:pt>
                <c:pt idx="11381">
                  <c:v>46661</c:v>
                </c:pt>
                <c:pt idx="11382">
                  <c:v>46660</c:v>
                </c:pt>
                <c:pt idx="11383">
                  <c:v>46659</c:v>
                </c:pt>
                <c:pt idx="11384">
                  <c:v>46658</c:v>
                </c:pt>
                <c:pt idx="11385">
                  <c:v>46658</c:v>
                </c:pt>
                <c:pt idx="11386">
                  <c:v>46658</c:v>
                </c:pt>
                <c:pt idx="11387">
                  <c:v>46657</c:v>
                </c:pt>
                <c:pt idx="11388">
                  <c:v>46656</c:v>
                </c:pt>
                <c:pt idx="11389">
                  <c:v>46656</c:v>
                </c:pt>
                <c:pt idx="11390">
                  <c:v>46654</c:v>
                </c:pt>
                <c:pt idx="11391">
                  <c:v>46653</c:v>
                </c:pt>
                <c:pt idx="11392">
                  <c:v>46653</c:v>
                </c:pt>
                <c:pt idx="11393">
                  <c:v>46653</c:v>
                </c:pt>
                <c:pt idx="11394">
                  <c:v>46653</c:v>
                </c:pt>
                <c:pt idx="11395">
                  <c:v>46650</c:v>
                </c:pt>
                <c:pt idx="11396">
                  <c:v>46650</c:v>
                </c:pt>
                <c:pt idx="11397">
                  <c:v>46649</c:v>
                </c:pt>
                <c:pt idx="11398">
                  <c:v>46649</c:v>
                </c:pt>
                <c:pt idx="11399">
                  <c:v>46649</c:v>
                </c:pt>
                <c:pt idx="11400">
                  <c:v>46648</c:v>
                </c:pt>
                <c:pt idx="11401">
                  <c:v>46648</c:v>
                </c:pt>
                <c:pt idx="11402">
                  <c:v>46648</c:v>
                </c:pt>
                <c:pt idx="11403">
                  <c:v>46646</c:v>
                </c:pt>
                <c:pt idx="11404">
                  <c:v>46645</c:v>
                </c:pt>
                <c:pt idx="11405">
                  <c:v>46644</c:v>
                </c:pt>
                <c:pt idx="11406">
                  <c:v>46643</c:v>
                </c:pt>
                <c:pt idx="11407">
                  <c:v>46641</c:v>
                </c:pt>
                <c:pt idx="11408">
                  <c:v>46641</c:v>
                </c:pt>
                <c:pt idx="11409">
                  <c:v>46641</c:v>
                </c:pt>
                <c:pt idx="11410">
                  <c:v>46640</c:v>
                </c:pt>
                <c:pt idx="11411">
                  <c:v>46640</c:v>
                </c:pt>
                <c:pt idx="11412">
                  <c:v>46640</c:v>
                </c:pt>
                <c:pt idx="11413">
                  <c:v>46637</c:v>
                </c:pt>
                <c:pt idx="11414">
                  <c:v>46636</c:v>
                </c:pt>
                <c:pt idx="11415">
                  <c:v>46636</c:v>
                </c:pt>
                <c:pt idx="11416">
                  <c:v>46635</c:v>
                </c:pt>
                <c:pt idx="11417">
                  <c:v>46635</c:v>
                </c:pt>
                <c:pt idx="11418">
                  <c:v>46635</c:v>
                </c:pt>
                <c:pt idx="11419">
                  <c:v>46633</c:v>
                </c:pt>
                <c:pt idx="11420">
                  <c:v>46633</c:v>
                </c:pt>
                <c:pt idx="11421">
                  <c:v>46633</c:v>
                </c:pt>
                <c:pt idx="11422">
                  <c:v>46631</c:v>
                </c:pt>
                <c:pt idx="11423">
                  <c:v>46630</c:v>
                </c:pt>
                <c:pt idx="11424">
                  <c:v>46630</c:v>
                </c:pt>
                <c:pt idx="11425">
                  <c:v>46630</c:v>
                </c:pt>
                <c:pt idx="11426">
                  <c:v>46629</c:v>
                </c:pt>
                <c:pt idx="11427">
                  <c:v>46628</c:v>
                </c:pt>
                <c:pt idx="11428">
                  <c:v>46627</c:v>
                </c:pt>
                <c:pt idx="11429">
                  <c:v>46625</c:v>
                </c:pt>
                <c:pt idx="11430">
                  <c:v>46625</c:v>
                </c:pt>
                <c:pt idx="11431">
                  <c:v>46625</c:v>
                </c:pt>
                <c:pt idx="11432">
                  <c:v>46625</c:v>
                </c:pt>
                <c:pt idx="11433">
                  <c:v>46625</c:v>
                </c:pt>
                <c:pt idx="11434">
                  <c:v>46623</c:v>
                </c:pt>
                <c:pt idx="11435">
                  <c:v>46621</c:v>
                </c:pt>
                <c:pt idx="11436">
                  <c:v>46621</c:v>
                </c:pt>
                <c:pt idx="11437">
                  <c:v>46620</c:v>
                </c:pt>
                <c:pt idx="11438">
                  <c:v>46616</c:v>
                </c:pt>
                <c:pt idx="11439">
                  <c:v>46615</c:v>
                </c:pt>
                <c:pt idx="11440">
                  <c:v>46614</c:v>
                </c:pt>
                <c:pt idx="11441">
                  <c:v>46614</c:v>
                </c:pt>
                <c:pt idx="11442">
                  <c:v>46614</c:v>
                </c:pt>
                <c:pt idx="11443">
                  <c:v>46614</c:v>
                </c:pt>
                <c:pt idx="11444">
                  <c:v>46612</c:v>
                </c:pt>
                <c:pt idx="11445">
                  <c:v>46609</c:v>
                </c:pt>
                <c:pt idx="11446">
                  <c:v>46609</c:v>
                </c:pt>
                <c:pt idx="11447">
                  <c:v>46609</c:v>
                </c:pt>
                <c:pt idx="11448">
                  <c:v>46608</c:v>
                </c:pt>
                <c:pt idx="11449">
                  <c:v>46607</c:v>
                </c:pt>
                <c:pt idx="11450">
                  <c:v>46606</c:v>
                </c:pt>
                <c:pt idx="11451">
                  <c:v>46605</c:v>
                </c:pt>
                <c:pt idx="11452">
                  <c:v>46604</c:v>
                </c:pt>
                <c:pt idx="11453">
                  <c:v>46603</c:v>
                </c:pt>
                <c:pt idx="11454">
                  <c:v>46602</c:v>
                </c:pt>
                <c:pt idx="11455">
                  <c:v>46599</c:v>
                </c:pt>
                <c:pt idx="11456">
                  <c:v>46599</c:v>
                </c:pt>
                <c:pt idx="11457">
                  <c:v>46599</c:v>
                </c:pt>
                <c:pt idx="11458">
                  <c:v>46599</c:v>
                </c:pt>
                <c:pt idx="11459">
                  <c:v>46599</c:v>
                </c:pt>
                <c:pt idx="11460">
                  <c:v>46599</c:v>
                </c:pt>
                <c:pt idx="11461">
                  <c:v>46599</c:v>
                </c:pt>
                <c:pt idx="11462">
                  <c:v>46599</c:v>
                </c:pt>
                <c:pt idx="11463">
                  <c:v>46598</c:v>
                </c:pt>
                <c:pt idx="11464">
                  <c:v>46598</c:v>
                </c:pt>
                <c:pt idx="11465">
                  <c:v>46598</c:v>
                </c:pt>
                <c:pt idx="11466">
                  <c:v>46597</c:v>
                </c:pt>
                <c:pt idx="11467">
                  <c:v>46597</c:v>
                </c:pt>
                <c:pt idx="11468">
                  <c:v>46596</c:v>
                </c:pt>
                <c:pt idx="11469">
                  <c:v>46596</c:v>
                </c:pt>
                <c:pt idx="11470">
                  <c:v>46596</c:v>
                </c:pt>
                <c:pt idx="11471">
                  <c:v>46596</c:v>
                </c:pt>
                <c:pt idx="11472">
                  <c:v>46596</c:v>
                </c:pt>
                <c:pt idx="11473">
                  <c:v>46595</c:v>
                </c:pt>
                <c:pt idx="11474">
                  <c:v>46594</c:v>
                </c:pt>
                <c:pt idx="11475">
                  <c:v>46593</c:v>
                </c:pt>
                <c:pt idx="11476">
                  <c:v>46593</c:v>
                </c:pt>
                <c:pt idx="11477">
                  <c:v>46593</c:v>
                </c:pt>
                <c:pt idx="11478">
                  <c:v>46592</c:v>
                </c:pt>
                <c:pt idx="11479">
                  <c:v>46591</c:v>
                </c:pt>
                <c:pt idx="11480">
                  <c:v>46590</c:v>
                </c:pt>
                <c:pt idx="11481">
                  <c:v>46589</c:v>
                </c:pt>
                <c:pt idx="11482">
                  <c:v>46589</c:v>
                </c:pt>
                <c:pt idx="11483">
                  <c:v>46587</c:v>
                </c:pt>
                <c:pt idx="11484">
                  <c:v>46587</c:v>
                </c:pt>
                <c:pt idx="11485">
                  <c:v>46587</c:v>
                </c:pt>
                <c:pt idx="11486">
                  <c:v>46584</c:v>
                </c:pt>
                <c:pt idx="11487">
                  <c:v>46580</c:v>
                </c:pt>
                <c:pt idx="11488">
                  <c:v>46580</c:v>
                </c:pt>
                <c:pt idx="11489">
                  <c:v>46580</c:v>
                </c:pt>
                <c:pt idx="11490">
                  <c:v>46578</c:v>
                </c:pt>
                <c:pt idx="11491">
                  <c:v>46578</c:v>
                </c:pt>
                <c:pt idx="11492">
                  <c:v>46577</c:v>
                </c:pt>
                <c:pt idx="11493">
                  <c:v>46576</c:v>
                </c:pt>
                <c:pt idx="11494">
                  <c:v>46576</c:v>
                </c:pt>
                <c:pt idx="11495">
                  <c:v>46575</c:v>
                </c:pt>
                <c:pt idx="11496">
                  <c:v>46574</c:v>
                </c:pt>
                <c:pt idx="11497">
                  <c:v>46573</c:v>
                </c:pt>
                <c:pt idx="11498">
                  <c:v>46573</c:v>
                </c:pt>
                <c:pt idx="11499">
                  <c:v>46573</c:v>
                </c:pt>
                <c:pt idx="11500">
                  <c:v>46573</c:v>
                </c:pt>
                <c:pt idx="11501">
                  <c:v>46571</c:v>
                </c:pt>
                <c:pt idx="11502">
                  <c:v>46571</c:v>
                </c:pt>
                <c:pt idx="11503">
                  <c:v>46570</c:v>
                </c:pt>
                <c:pt idx="11504">
                  <c:v>46570</c:v>
                </c:pt>
                <c:pt idx="11505">
                  <c:v>46569</c:v>
                </c:pt>
                <c:pt idx="11506">
                  <c:v>46569</c:v>
                </c:pt>
                <c:pt idx="11507">
                  <c:v>46567</c:v>
                </c:pt>
                <c:pt idx="11508">
                  <c:v>46566</c:v>
                </c:pt>
                <c:pt idx="11509">
                  <c:v>46565</c:v>
                </c:pt>
                <c:pt idx="11510">
                  <c:v>46565</c:v>
                </c:pt>
                <c:pt idx="11511">
                  <c:v>46564</c:v>
                </c:pt>
                <c:pt idx="11512">
                  <c:v>46564</c:v>
                </c:pt>
                <c:pt idx="11513">
                  <c:v>46564</c:v>
                </c:pt>
                <c:pt idx="11514">
                  <c:v>46563</c:v>
                </c:pt>
                <c:pt idx="11515">
                  <c:v>46563</c:v>
                </c:pt>
                <c:pt idx="11516">
                  <c:v>46561</c:v>
                </c:pt>
                <c:pt idx="11517">
                  <c:v>46561</c:v>
                </c:pt>
                <c:pt idx="11518">
                  <c:v>46557</c:v>
                </c:pt>
                <c:pt idx="11519">
                  <c:v>46557</c:v>
                </c:pt>
                <c:pt idx="11520">
                  <c:v>46557</c:v>
                </c:pt>
                <c:pt idx="11521">
                  <c:v>46556</c:v>
                </c:pt>
                <c:pt idx="11522">
                  <c:v>46555</c:v>
                </c:pt>
                <c:pt idx="11523">
                  <c:v>46555</c:v>
                </c:pt>
                <c:pt idx="11524">
                  <c:v>46554</c:v>
                </c:pt>
                <c:pt idx="11525">
                  <c:v>46554</c:v>
                </c:pt>
                <c:pt idx="11526">
                  <c:v>46552</c:v>
                </c:pt>
                <c:pt idx="11527">
                  <c:v>46550</c:v>
                </c:pt>
                <c:pt idx="11528">
                  <c:v>46550</c:v>
                </c:pt>
                <c:pt idx="11529">
                  <c:v>46549</c:v>
                </c:pt>
                <c:pt idx="11530">
                  <c:v>46548</c:v>
                </c:pt>
                <c:pt idx="11531">
                  <c:v>46547</c:v>
                </c:pt>
                <c:pt idx="11532">
                  <c:v>46547</c:v>
                </c:pt>
                <c:pt idx="11533">
                  <c:v>46546</c:v>
                </c:pt>
                <c:pt idx="11534">
                  <c:v>46546</c:v>
                </c:pt>
                <c:pt idx="11535">
                  <c:v>46546</c:v>
                </c:pt>
                <c:pt idx="11536">
                  <c:v>46545</c:v>
                </c:pt>
                <c:pt idx="11537">
                  <c:v>46545</c:v>
                </c:pt>
                <c:pt idx="11538">
                  <c:v>46544</c:v>
                </c:pt>
                <c:pt idx="11539">
                  <c:v>46544</c:v>
                </c:pt>
                <c:pt idx="11540">
                  <c:v>46543</c:v>
                </c:pt>
                <c:pt idx="11541">
                  <c:v>46541</c:v>
                </c:pt>
                <c:pt idx="11542">
                  <c:v>46540</c:v>
                </c:pt>
                <c:pt idx="11543">
                  <c:v>46539</c:v>
                </c:pt>
                <c:pt idx="11544">
                  <c:v>46539</c:v>
                </c:pt>
                <c:pt idx="11545">
                  <c:v>46537</c:v>
                </c:pt>
                <c:pt idx="11546">
                  <c:v>46536</c:v>
                </c:pt>
                <c:pt idx="11547">
                  <c:v>46535</c:v>
                </c:pt>
                <c:pt idx="11548">
                  <c:v>46535</c:v>
                </c:pt>
                <c:pt idx="11549">
                  <c:v>46535</c:v>
                </c:pt>
                <c:pt idx="11550">
                  <c:v>46534</c:v>
                </c:pt>
                <c:pt idx="11551">
                  <c:v>46534</c:v>
                </c:pt>
                <c:pt idx="11552">
                  <c:v>46533</c:v>
                </c:pt>
                <c:pt idx="11553">
                  <c:v>46532</c:v>
                </c:pt>
                <c:pt idx="11554">
                  <c:v>46532</c:v>
                </c:pt>
                <c:pt idx="11555">
                  <c:v>46531</c:v>
                </c:pt>
                <c:pt idx="11556">
                  <c:v>46531</c:v>
                </c:pt>
                <c:pt idx="11557">
                  <c:v>46531</c:v>
                </c:pt>
                <c:pt idx="11558">
                  <c:v>46530</c:v>
                </c:pt>
                <c:pt idx="11559">
                  <c:v>46530</c:v>
                </c:pt>
                <c:pt idx="11560">
                  <c:v>46529</c:v>
                </c:pt>
                <c:pt idx="11561">
                  <c:v>46528</c:v>
                </c:pt>
                <c:pt idx="11562">
                  <c:v>46528</c:v>
                </c:pt>
                <c:pt idx="11563">
                  <c:v>46528</c:v>
                </c:pt>
                <c:pt idx="11564">
                  <c:v>46527</c:v>
                </c:pt>
                <c:pt idx="11565">
                  <c:v>46526</c:v>
                </c:pt>
                <c:pt idx="11566">
                  <c:v>46526</c:v>
                </c:pt>
                <c:pt idx="11567">
                  <c:v>46526</c:v>
                </c:pt>
                <c:pt idx="11568">
                  <c:v>46526</c:v>
                </c:pt>
                <c:pt idx="11569">
                  <c:v>46525</c:v>
                </c:pt>
                <c:pt idx="11570">
                  <c:v>46525</c:v>
                </c:pt>
                <c:pt idx="11571">
                  <c:v>46525</c:v>
                </c:pt>
                <c:pt idx="11572">
                  <c:v>46525</c:v>
                </c:pt>
                <c:pt idx="11573">
                  <c:v>46524</c:v>
                </c:pt>
                <c:pt idx="11574">
                  <c:v>46524</c:v>
                </c:pt>
                <c:pt idx="11575">
                  <c:v>46522</c:v>
                </c:pt>
                <c:pt idx="11576">
                  <c:v>46521</c:v>
                </c:pt>
                <c:pt idx="11577">
                  <c:v>46521</c:v>
                </c:pt>
                <c:pt idx="11578">
                  <c:v>46520</c:v>
                </c:pt>
                <c:pt idx="11579">
                  <c:v>46519</c:v>
                </c:pt>
                <c:pt idx="11580">
                  <c:v>46518</c:v>
                </c:pt>
                <c:pt idx="11581">
                  <c:v>46518</c:v>
                </c:pt>
                <c:pt idx="11582">
                  <c:v>46517</c:v>
                </c:pt>
                <c:pt idx="11583">
                  <c:v>46516</c:v>
                </c:pt>
                <c:pt idx="11584">
                  <c:v>46516</c:v>
                </c:pt>
                <c:pt idx="11585">
                  <c:v>46515</c:v>
                </c:pt>
                <c:pt idx="11586">
                  <c:v>46515</c:v>
                </c:pt>
                <c:pt idx="11587">
                  <c:v>46513</c:v>
                </c:pt>
                <c:pt idx="11588">
                  <c:v>46512</c:v>
                </c:pt>
                <c:pt idx="11589">
                  <c:v>46510</c:v>
                </c:pt>
                <c:pt idx="11590">
                  <c:v>46509</c:v>
                </c:pt>
                <c:pt idx="11591">
                  <c:v>46509</c:v>
                </c:pt>
                <c:pt idx="11592">
                  <c:v>46507</c:v>
                </c:pt>
                <c:pt idx="11593">
                  <c:v>46507</c:v>
                </c:pt>
                <c:pt idx="11594">
                  <c:v>46506</c:v>
                </c:pt>
                <c:pt idx="11595">
                  <c:v>46505</c:v>
                </c:pt>
                <c:pt idx="11596">
                  <c:v>46505</c:v>
                </c:pt>
                <c:pt idx="11597">
                  <c:v>46505</c:v>
                </c:pt>
                <c:pt idx="11598">
                  <c:v>46504</c:v>
                </c:pt>
                <c:pt idx="11599">
                  <c:v>46504</c:v>
                </c:pt>
                <c:pt idx="11600">
                  <c:v>46503</c:v>
                </c:pt>
                <c:pt idx="11601">
                  <c:v>46503</c:v>
                </c:pt>
                <c:pt idx="11602">
                  <c:v>46503</c:v>
                </c:pt>
                <c:pt idx="11603">
                  <c:v>46503</c:v>
                </c:pt>
                <c:pt idx="11604">
                  <c:v>46502</c:v>
                </c:pt>
                <c:pt idx="11605">
                  <c:v>46502</c:v>
                </c:pt>
                <c:pt idx="11606">
                  <c:v>46501</c:v>
                </c:pt>
                <c:pt idx="11607">
                  <c:v>46497</c:v>
                </c:pt>
                <c:pt idx="11608">
                  <c:v>46497</c:v>
                </c:pt>
                <c:pt idx="11609">
                  <c:v>46497</c:v>
                </c:pt>
                <c:pt idx="11610">
                  <c:v>46497</c:v>
                </c:pt>
                <c:pt idx="11611">
                  <c:v>46496</c:v>
                </c:pt>
                <c:pt idx="11612">
                  <c:v>46496</c:v>
                </c:pt>
                <c:pt idx="11613">
                  <c:v>46492</c:v>
                </c:pt>
                <c:pt idx="11614">
                  <c:v>46491</c:v>
                </c:pt>
                <c:pt idx="11615">
                  <c:v>46491</c:v>
                </c:pt>
                <c:pt idx="11616">
                  <c:v>46491</c:v>
                </c:pt>
                <c:pt idx="11617">
                  <c:v>46490</c:v>
                </c:pt>
                <c:pt idx="11618">
                  <c:v>46490</c:v>
                </c:pt>
                <c:pt idx="11619">
                  <c:v>46490</c:v>
                </c:pt>
                <c:pt idx="11620">
                  <c:v>46490</c:v>
                </c:pt>
                <c:pt idx="11621">
                  <c:v>46490</c:v>
                </c:pt>
                <c:pt idx="11622">
                  <c:v>46490</c:v>
                </c:pt>
                <c:pt idx="11623">
                  <c:v>46489</c:v>
                </c:pt>
                <c:pt idx="11624">
                  <c:v>46489</c:v>
                </c:pt>
                <c:pt idx="11625">
                  <c:v>46487</c:v>
                </c:pt>
                <c:pt idx="11626">
                  <c:v>46486</c:v>
                </c:pt>
                <c:pt idx="11627">
                  <c:v>46486</c:v>
                </c:pt>
                <c:pt idx="11628">
                  <c:v>46486</c:v>
                </c:pt>
                <c:pt idx="11629">
                  <c:v>46485</c:v>
                </c:pt>
                <c:pt idx="11630">
                  <c:v>46484</c:v>
                </c:pt>
                <c:pt idx="11631">
                  <c:v>46484</c:v>
                </c:pt>
                <c:pt idx="11632">
                  <c:v>46484</c:v>
                </c:pt>
                <c:pt idx="11633">
                  <c:v>46484</c:v>
                </c:pt>
                <c:pt idx="11634">
                  <c:v>46483</c:v>
                </c:pt>
                <c:pt idx="11635">
                  <c:v>46483</c:v>
                </c:pt>
                <c:pt idx="11636">
                  <c:v>46483</c:v>
                </c:pt>
                <c:pt idx="11637">
                  <c:v>46481</c:v>
                </c:pt>
                <c:pt idx="11638">
                  <c:v>46481</c:v>
                </c:pt>
                <c:pt idx="11639">
                  <c:v>46480</c:v>
                </c:pt>
                <c:pt idx="11640">
                  <c:v>46480</c:v>
                </c:pt>
                <c:pt idx="11641">
                  <c:v>46479</c:v>
                </c:pt>
                <c:pt idx="11642">
                  <c:v>46479</c:v>
                </c:pt>
                <c:pt idx="11643">
                  <c:v>46477</c:v>
                </c:pt>
                <c:pt idx="11644">
                  <c:v>46477</c:v>
                </c:pt>
                <c:pt idx="11645">
                  <c:v>46476</c:v>
                </c:pt>
                <c:pt idx="11646">
                  <c:v>46475</c:v>
                </c:pt>
                <c:pt idx="11647">
                  <c:v>46474</c:v>
                </c:pt>
                <c:pt idx="11648">
                  <c:v>46473</c:v>
                </c:pt>
                <c:pt idx="11649">
                  <c:v>46473</c:v>
                </c:pt>
                <c:pt idx="11650">
                  <c:v>46473</c:v>
                </c:pt>
                <c:pt idx="11651">
                  <c:v>46472</c:v>
                </c:pt>
                <c:pt idx="11652">
                  <c:v>46472</c:v>
                </c:pt>
                <c:pt idx="11653">
                  <c:v>46471</c:v>
                </c:pt>
                <c:pt idx="11654">
                  <c:v>46471</c:v>
                </c:pt>
                <c:pt idx="11655">
                  <c:v>46471</c:v>
                </c:pt>
                <c:pt idx="11656">
                  <c:v>46471</c:v>
                </c:pt>
                <c:pt idx="11657">
                  <c:v>46470</c:v>
                </c:pt>
                <c:pt idx="11658">
                  <c:v>46469</c:v>
                </c:pt>
                <c:pt idx="11659">
                  <c:v>46468</c:v>
                </c:pt>
                <c:pt idx="11660">
                  <c:v>46468</c:v>
                </c:pt>
                <c:pt idx="11661">
                  <c:v>46468</c:v>
                </c:pt>
                <c:pt idx="11662">
                  <c:v>46466</c:v>
                </c:pt>
                <c:pt idx="11663">
                  <c:v>46465</c:v>
                </c:pt>
                <c:pt idx="11664">
                  <c:v>46463</c:v>
                </c:pt>
                <c:pt idx="11665">
                  <c:v>46462</c:v>
                </c:pt>
                <c:pt idx="11666">
                  <c:v>46461</c:v>
                </c:pt>
                <c:pt idx="11667">
                  <c:v>46460</c:v>
                </c:pt>
                <c:pt idx="11668">
                  <c:v>46460</c:v>
                </c:pt>
                <c:pt idx="11669">
                  <c:v>46460</c:v>
                </c:pt>
                <c:pt idx="11670">
                  <c:v>46459</c:v>
                </c:pt>
                <c:pt idx="11671">
                  <c:v>46459</c:v>
                </c:pt>
                <c:pt idx="11672">
                  <c:v>46458</c:v>
                </c:pt>
                <c:pt idx="11673">
                  <c:v>46458</c:v>
                </c:pt>
                <c:pt idx="11674">
                  <c:v>46457</c:v>
                </c:pt>
                <c:pt idx="11675">
                  <c:v>46457</c:v>
                </c:pt>
                <c:pt idx="11676">
                  <c:v>46457</c:v>
                </c:pt>
                <c:pt idx="11677">
                  <c:v>46456</c:v>
                </c:pt>
                <c:pt idx="11678">
                  <c:v>46456</c:v>
                </c:pt>
                <c:pt idx="11679">
                  <c:v>46455</c:v>
                </c:pt>
                <c:pt idx="11680">
                  <c:v>46455</c:v>
                </c:pt>
                <c:pt idx="11681">
                  <c:v>46455</c:v>
                </c:pt>
                <c:pt idx="11682">
                  <c:v>46455</c:v>
                </c:pt>
                <c:pt idx="11683">
                  <c:v>46455</c:v>
                </c:pt>
                <c:pt idx="11684">
                  <c:v>46452</c:v>
                </c:pt>
                <c:pt idx="11685">
                  <c:v>46449</c:v>
                </c:pt>
                <c:pt idx="11686">
                  <c:v>46448</c:v>
                </c:pt>
                <c:pt idx="11687">
                  <c:v>46448</c:v>
                </c:pt>
                <c:pt idx="11688">
                  <c:v>46447</c:v>
                </c:pt>
                <c:pt idx="11689">
                  <c:v>46447</c:v>
                </c:pt>
                <c:pt idx="11690">
                  <c:v>46446</c:v>
                </c:pt>
                <c:pt idx="11691">
                  <c:v>46446</c:v>
                </c:pt>
                <c:pt idx="11692">
                  <c:v>46446</c:v>
                </c:pt>
                <c:pt idx="11693">
                  <c:v>46446</c:v>
                </c:pt>
                <c:pt idx="11694">
                  <c:v>46444</c:v>
                </c:pt>
                <c:pt idx="11695">
                  <c:v>46444</c:v>
                </c:pt>
                <c:pt idx="11696">
                  <c:v>46443</c:v>
                </c:pt>
                <c:pt idx="11697">
                  <c:v>46443</c:v>
                </c:pt>
                <c:pt idx="11698">
                  <c:v>46442</c:v>
                </c:pt>
                <c:pt idx="11699">
                  <c:v>46439</c:v>
                </c:pt>
                <c:pt idx="11700">
                  <c:v>46438</c:v>
                </c:pt>
                <c:pt idx="11701">
                  <c:v>46438</c:v>
                </c:pt>
                <c:pt idx="11702">
                  <c:v>46437</c:v>
                </c:pt>
                <c:pt idx="11703">
                  <c:v>46437</c:v>
                </c:pt>
                <c:pt idx="11704">
                  <c:v>46437</c:v>
                </c:pt>
                <c:pt idx="11705">
                  <c:v>46436</c:v>
                </c:pt>
                <c:pt idx="11706">
                  <c:v>46435</c:v>
                </c:pt>
                <c:pt idx="11707">
                  <c:v>46435</c:v>
                </c:pt>
                <c:pt idx="11708">
                  <c:v>46435</c:v>
                </c:pt>
                <c:pt idx="11709">
                  <c:v>46434</c:v>
                </c:pt>
                <c:pt idx="11710">
                  <c:v>46434</c:v>
                </c:pt>
                <c:pt idx="11711">
                  <c:v>46433</c:v>
                </c:pt>
                <c:pt idx="11712">
                  <c:v>46433</c:v>
                </c:pt>
                <c:pt idx="11713">
                  <c:v>46431</c:v>
                </c:pt>
                <c:pt idx="11714">
                  <c:v>46431</c:v>
                </c:pt>
                <c:pt idx="11715">
                  <c:v>46431</c:v>
                </c:pt>
                <c:pt idx="11716">
                  <c:v>46430</c:v>
                </c:pt>
                <c:pt idx="11717">
                  <c:v>46430</c:v>
                </c:pt>
                <c:pt idx="11718">
                  <c:v>46428</c:v>
                </c:pt>
                <c:pt idx="11719">
                  <c:v>46428</c:v>
                </c:pt>
                <c:pt idx="11720">
                  <c:v>46428</c:v>
                </c:pt>
                <c:pt idx="11721">
                  <c:v>46428</c:v>
                </c:pt>
                <c:pt idx="11722">
                  <c:v>46428</c:v>
                </c:pt>
                <c:pt idx="11723">
                  <c:v>46425</c:v>
                </c:pt>
                <c:pt idx="11724">
                  <c:v>46425</c:v>
                </c:pt>
                <c:pt idx="11725">
                  <c:v>46424</c:v>
                </c:pt>
                <c:pt idx="11726">
                  <c:v>46423</c:v>
                </c:pt>
                <c:pt idx="11727">
                  <c:v>46422</c:v>
                </c:pt>
                <c:pt idx="11728">
                  <c:v>46422</c:v>
                </c:pt>
                <c:pt idx="11729">
                  <c:v>46422</c:v>
                </c:pt>
                <c:pt idx="11730">
                  <c:v>46422</c:v>
                </c:pt>
                <c:pt idx="11731">
                  <c:v>46419</c:v>
                </c:pt>
                <c:pt idx="11732">
                  <c:v>46418</c:v>
                </c:pt>
                <c:pt idx="11733">
                  <c:v>46416</c:v>
                </c:pt>
                <c:pt idx="11734">
                  <c:v>46416</c:v>
                </c:pt>
                <c:pt idx="11735">
                  <c:v>46416</c:v>
                </c:pt>
                <c:pt idx="11736">
                  <c:v>46415</c:v>
                </c:pt>
                <c:pt idx="11737">
                  <c:v>46414</c:v>
                </c:pt>
                <c:pt idx="11738">
                  <c:v>46414</c:v>
                </c:pt>
                <c:pt idx="11739">
                  <c:v>46413</c:v>
                </c:pt>
                <c:pt idx="11740">
                  <c:v>46412</c:v>
                </c:pt>
                <c:pt idx="11741">
                  <c:v>46412</c:v>
                </c:pt>
                <c:pt idx="11742">
                  <c:v>46411</c:v>
                </c:pt>
                <c:pt idx="11743">
                  <c:v>46409</c:v>
                </c:pt>
                <c:pt idx="11744">
                  <c:v>46409</c:v>
                </c:pt>
                <c:pt idx="11745">
                  <c:v>46409</c:v>
                </c:pt>
                <c:pt idx="11746">
                  <c:v>46408</c:v>
                </c:pt>
                <c:pt idx="11747">
                  <c:v>46406</c:v>
                </c:pt>
                <c:pt idx="11748">
                  <c:v>46405</c:v>
                </c:pt>
                <c:pt idx="11749">
                  <c:v>46405</c:v>
                </c:pt>
                <c:pt idx="11750">
                  <c:v>46404</c:v>
                </c:pt>
                <c:pt idx="11751">
                  <c:v>46403</c:v>
                </c:pt>
                <c:pt idx="11752">
                  <c:v>46401</c:v>
                </c:pt>
                <c:pt idx="11753">
                  <c:v>46401</c:v>
                </c:pt>
                <c:pt idx="11754">
                  <c:v>46401</c:v>
                </c:pt>
                <c:pt idx="11755">
                  <c:v>46400</c:v>
                </c:pt>
                <c:pt idx="11756">
                  <c:v>46400</c:v>
                </c:pt>
                <c:pt idx="11757">
                  <c:v>46400</c:v>
                </c:pt>
                <c:pt idx="11758">
                  <c:v>46399</c:v>
                </c:pt>
                <c:pt idx="11759">
                  <c:v>46398</c:v>
                </c:pt>
                <c:pt idx="11760">
                  <c:v>46398</c:v>
                </c:pt>
                <c:pt idx="11761">
                  <c:v>46397</c:v>
                </c:pt>
                <c:pt idx="11762">
                  <c:v>46395</c:v>
                </c:pt>
                <c:pt idx="11763">
                  <c:v>46393</c:v>
                </c:pt>
                <c:pt idx="11764">
                  <c:v>46393</c:v>
                </c:pt>
                <c:pt idx="11765">
                  <c:v>46391</c:v>
                </c:pt>
                <c:pt idx="11766">
                  <c:v>46390</c:v>
                </c:pt>
                <c:pt idx="11767">
                  <c:v>46389</c:v>
                </c:pt>
                <c:pt idx="11768">
                  <c:v>46389</c:v>
                </c:pt>
                <c:pt idx="11769">
                  <c:v>46389</c:v>
                </c:pt>
                <c:pt idx="11770">
                  <c:v>46389</c:v>
                </c:pt>
                <c:pt idx="11771">
                  <c:v>46388</c:v>
                </c:pt>
                <c:pt idx="11772">
                  <c:v>46388</c:v>
                </c:pt>
                <c:pt idx="11773">
                  <c:v>46387</c:v>
                </c:pt>
                <c:pt idx="11774">
                  <c:v>46387</c:v>
                </c:pt>
                <c:pt idx="11775">
                  <c:v>46387</c:v>
                </c:pt>
                <c:pt idx="11776">
                  <c:v>46387</c:v>
                </c:pt>
                <c:pt idx="11777">
                  <c:v>46386</c:v>
                </c:pt>
                <c:pt idx="11778">
                  <c:v>46386</c:v>
                </c:pt>
                <c:pt idx="11779">
                  <c:v>46385</c:v>
                </c:pt>
                <c:pt idx="11780">
                  <c:v>46385</c:v>
                </c:pt>
                <c:pt idx="11781">
                  <c:v>46384</c:v>
                </c:pt>
                <c:pt idx="11782">
                  <c:v>46384</c:v>
                </c:pt>
                <c:pt idx="11783">
                  <c:v>46384</c:v>
                </c:pt>
                <c:pt idx="11784">
                  <c:v>46384</c:v>
                </c:pt>
                <c:pt idx="11785">
                  <c:v>46383</c:v>
                </c:pt>
                <c:pt idx="11786">
                  <c:v>46383</c:v>
                </c:pt>
                <c:pt idx="11787">
                  <c:v>46383</c:v>
                </c:pt>
                <c:pt idx="11788">
                  <c:v>46382</c:v>
                </c:pt>
                <c:pt idx="11789">
                  <c:v>46380</c:v>
                </c:pt>
                <c:pt idx="11790">
                  <c:v>46379</c:v>
                </c:pt>
                <c:pt idx="11791">
                  <c:v>46379</c:v>
                </c:pt>
                <c:pt idx="11792">
                  <c:v>46378</c:v>
                </c:pt>
                <c:pt idx="11793">
                  <c:v>46378</c:v>
                </c:pt>
                <c:pt idx="11794">
                  <c:v>46378</c:v>
                </c:pt>
                <c:pt idx="11795">
                  <c:v>46377</c:v>
                </c:pt>
                <c:pt idx="11796">
                  <c:v>46377</c:v>
                </c:pt>
                <c:pt idx="11797">
                  <c:v>46377</c:v>
                </c:pt>
                <c:pt idx="11798">
                  <c:v>46375</c:v>
                </c:pt>
                <c:pt idx="11799">
                  <c:v>46375</c:v>
                </c:pt>
                <c:pt idx="11800">
                  <c:v>46374</c:v>
                </c:pt>
                <c:pt idx="11801">
                  <c:v>46374</c:v>
                </c:pt>
                <c:pt idx="11802">
                  <c:v>46374</c:v>
                </c:pt>
                <c:pt idx="11803">
                  <c:v>46374</c:v>
                </c:pt>
                <c:pt idx="11804">
                  <c:v>46374</c:v>
                </c:pt>
                <c:pt idx="11805">
                  <c:v>46374</c:v>
                </c:pt>
                <c:pt idx="11806">
                  <c:v>46374</c:v>
                </c:pt>
                <c:pt idx="11807">
                  <c:v>46374</c:v>
                </c:pt>
                <c:pt idx="11808">
                  <c:v>46373</c:v>
                </c:pt>
                <c:pt idx="11809">
                  <c:v>46371</c:v>
                </c:pt>
                <c:pt idx="11810">
                  <c:v>46370</c:v>
                </c:pt>
                <c:pt idx="11811">
                  <c:v>46370</c:v>
                </c:pt>
                <c:pt idx="11812">
                  <c:v>46369</c:v>
                </c:pt>
                <c:pt idx="11813">
                  <c:v>46369</c:v>
                </c:pt>
                <c:pt idx="11814">
                  <c:v>46368</c:v>
                </c:pt>
                <c:pt idx="11815">
                  <c:v>46368</c:v>
                </c:pt>
                <c:pt idx="11816">
                  <c:v>46368</c:v>
                </c:pt>
                <c:pt idx="11817">
                  <c:v>46366</c:v>
                </c:pt>
                <c:pt idx="11818">
                  <c:v>46366</c:v>
                </c:pt>
                <c:pt idx="11819">
                  <c:v>46362</c:v>
                </c:pt>
                <c:pt idx="11820">
                  <c:v>46361</c:v>
                </c:pt>
                <c:pt idx="11821">
                  <c:v>46360</c:v>
                </c:pt>
                <c:pt idx="11822">
                  <c:v>46360</c:v>
                </c:pt>
                <c:pt idx="11823">
                  <c:v>46359</c:v>
                </c:pt>
                <c:pt idx="11824">
                  <c:v>46359</c:v>
                </c:pt>
                <c:pt idx="11825">
                  <c:v>46358</c:v>
                </c:pt>
                <c:pt idx="11826">
                  <c:v>46358</c:v>
                </c:pt>
                <c:pt idx="11827">
                  <c:v>46357</c:v>
                </c:pt>
                <c:pt idx="11828">
                  <c:v>46356</c:v>
                </c:pt>
                <c:pt idx="11829">
                  <c:v>46356</c:v>
                </c:pt>
                <c:pt idx="11830">
                  <c:v>46355</c:v>
                </c:pt>
                <c:pt idx="11831">
                  <c:v>46354</c:v>
                </c:pt>
                <c:pt idx="11832">
                  <c:v>46354</c:v>
                </c:pt>
                <c:pt idx="11833">
                  <c:v>46354</c:v>
                </c:pt>
                <c:pt idx="11834">
                  <c:v>46354</c:v>
                </c:pt>
                <c:pt idx="11835">
                  <c:v>46353</c:v>
                </c:pt>
                <c:pt idx="11836">
                  <c:v>46352</c:v>
                </c:pt>
                <c:pt idx="11837">
                  <c:v>46351</c:v>
                </c:pt>
                <c:pt idx="11838">
                  <c:v>46351</c:v>
                </c:pt>
                <c:pt idx="11839">
                  <c:v>46350</c:v>
                </c:pt>
                <c:pt idx="11840">
                  <c:v>46348</c:v>
                </c:pt>
                <c:pt idx="11841">
                  <c:v>46346</c:v>
                </c:pt>
                <c:pt idx="11842">
                  <c:v>46346</c:v>
                </c:pt>
                <c:pt idx="11843">
                  <c:v>46345</c:v>
                </c:pt>
                <c:pt idx="11844">
                  <c:v>46344</c:v>
                </c:pt>
                <c:pt idx="11845">
                  <c:v>46344</c:v>
                </c:pt>
                <c:pt idx="11846">
                  <c:v>46343</c:v>
                </c:pt>
                <c:pt idx="11847">
                  <c:v>46342</c:v>
                </c:pt>
                <c:pt idx="11848">
                  <c:v>46342</c:v>
                </c:pt>
                <c:pt idx="11849">
                  <c:v>46341</c:v>
                </c:pt>
                <c:pt idx="11850">
                  <c:v>46341</c:v>
                </c:pt>
                <c:pt idx="11851">
                  <c:v>46341</c:v>
                </c:pt>
                <c:pt idx="11852">
                  <c:v>46338</c:v>
                </c:pt>
                <c:pt idx="11853">
                  <c:v>46337</c:v>
                </c:pt>
                <c:pt idx="11854">
                  <c:v>46337</c:v>
                </c:pt>
                <c:pt idx="11855">
                  <c:v>46337</c:v>
                </c:pt>
                <c:pt idx="11856">
                  <c:v>46337</c:v>
                </c:pt>
                <c:pt idx="11857">
                  <c:v>46337</c:v>
                </c:pt>
                <c:pt idx="11858">
                  <c:v>46336</c:v>
                </c:pt>
                <c:pt idx="11859">
                  <c:v>46336</c:v>
                </c:pt>
                <c:pt idx="11860">
                  <c:v>46335</c:v>
                </c:pt>
                <c:pt idx="11861">
                  <c:v>46334</c:v>
                </c:pt>
                <c:pt idx="11862">
                  <c:v>46334</c:v>
                </c:pt>
                <c:pt idx="11863">
                  <c:v>46333</c:v>
                </c:pt>
                <c:pt idx="11864">
                  <c:v>46333</c:v>
                </c:pt>
                <c:pt idx="11865">
                  <c:v>46332</c:v>
                </c:pt>
                <c:pt idx="11866">
                  <c:v>46332</c:v>
                </c:pt>
                <c:pt idx="11867">
                  <c:v>46331</c:v>
                </c:pt>
                <c:pt idx="11868">
                  <c:v>46331</c:v>
                </c:pt>
                <c:pt idx="11869">
                  <c:v>46330</c:v>
                </c:pt>
                <c:pt idx="11870">
                  <c:v>46330</c:v>
                </c:pt>
                <c:pt idx="11871">
                  <c:v>46329</c:v>
                </c:pt>
                <c:pt idx="11872">
                  <c:v>46329</c:v>
                </c:pt>
                <c:pt idx="11873">
                  <c:v>46329</c:v>
                </c:pt>
                <c:pt idx="11874">
                  <c:v>46328</c:v>
                </c:pt>
                <c:pt idx="11875">
                  <c:v>46327</c:v>
                </c:pt>
                <c:pt idx="11876">
                  <c:v>46327</c:v>
                </c:pt>
                <c:pt idx="11877">
                  <c:v>46327</c:v>
                </c:pt>
                <c:pt idx="11878">
                  <c:v>46326</c:v>
                </c:pt>
                <c:pt idx="11879">
                  <c:v>46326</c:v>
                </c:pt>
                <c:pt idx="11880">
                  <c:v>46326</c:v>
                </c:pt>
                <c:pt idx="11881">
                  <c:v>46325</c:v>
                </c:pt>
                <c:pt idx="11882">
                  <c:v>46324</c:v>
                </c:pt>
                <c:pt idx="11883">
                  <c:v>46324</c:v>
                </c:pt>
                <c:pt idx="11884">
                  <c:v>46324</c:v>
                </c:pt>
                <c:pt idx="11885">
                  <c:v>46323</c:v>
                </c:pt>
                <c:pt idx="11886">
                  <c:v>46323</c:v>
                </c:pt>
                <c:pt idx="11887">
                  <c:v>46323</c:v>
                </c:pt>
                <c:pt idx="11888">
                  <c:v>46321</c:v>
                </c:pt>
                <c:pt idx="11889">
                  <c:v>46321</c:v>
                </c:pt>
                <c:pt idx="11890">
                  <c:v>46319</c:v>
                </c:pt>
                <c:pt idx="11891">
                  <c:v>46318</c:v>
                </c:pt>
                <c:pt idx="11892">
                  <c:v>46318</c:v>
                </c:pt>
                <c:pt idx="11893">
                  <c:v>46318</c:v>
                </c:pt>
                <c:pt idx="11894">
                  <c:v>46315</c:v>
                </c:pt>
                <c:pt idx="11895">
                  <c:v>46315</c:v>
                </c:pt>
                <c:pt idx="11896">
                  <c:v>46313</c:v>
                </c:pt>
                <c:pt idx="11897">
                  <c:v>46312</c:v>
                </c:pt>
                <c:pt idx="11898">
                  <c:v>46312</c:v>
                </c:pt>
                <c:pt idx="11899">
                  <c:v>46312</c:v>
                </c:pt>
                <c:pt idx="11900">
                  <c:v>46312</c:v>
                </c:pt>
                <c:pt idx="11901">
                  <c:v>46311</c:v>
                </c:pt>
                <c:pt idx="11902">
                  <c:v>46311</c:v>
                </c:pt>
                <c:pt idx="11903">
                  <c:v>46310</c:v>
                </c:pt>
                <c:pt idx="11904">
                  <c:v>46309</c:v>
                </c:pt>
                <c:pt idx="11905">
                  <c:v>46308</c:v>
                </c:pt>
                <c:pt idx="11906">
                  <c:v>46308</c:v>
                </c:pt>
                <c:pt idx="11907">
                  <c:v>46307</c:v>
                </c:pt>
                <c:pt idx="11908">
                  <c:v>46306</c:v>
                </c:pt>
                <c:pt idx="11909">
                  <c:v>46306</c:v>
                </c:pt>
                <c:pt idx="11910">
                  <c:v>46304</c:v>
                </c:pt>
                <c:pt idx="11911">
                  <c:v>46303</c:v>
                </c:pt>
                <c:pt idx="11912">
                  <c:v>46303</c:v>
                </c:pt>
                <c:pt idx="11913">
                  <c:v>46302</c:v>
                </c:pt>
                <c:pt idx="11914">
                  <c:v>46302</c:v>
                </c:pt>
                <c:pt idx="11915">
                  <c:v>46301</c:v>
                </c:pt>
                <c:pt idx="11916">
                  <c:v>46300</c:v>
                </c:pt>
                <c:pt idx="11917">
                  <c:v>46299</c:v>
                </c:pt>
                <c:pt idx="11918">
                  <c:v>46299</c:v>
                </c:pt>
                <c:pt idx="11919">
                  <c:v>46298</c:v>
                </c:pt>
                <c:pt idx="11920">
                  <c:v>46298</c:v>
                </c:pt>
                <c:pt idx="11921">
                  <c:v>46296</c:v>
                </c:pt>
                <c:pt idx="11922">
                  <c:v>46295</c:v>
                </c:pt>
                <c:pt idx="11923">
                  <c:v>46294</c:v>
                </c:pt>
                <c:pt idx="11924">
                  <c:v>46293</c:v>
                </c:pt>
                <c:pt idx="11925">
                  <c:v>46293</c:v>
                </c:pt>
                <c:pt idx="11926">
                  <c:v>46293</c:v>
                </c:pt>
                <c:pt idx="11927">
                  <c:v>46293</c:v>
                </c:pt>
                <c:pt idx="11928">
                  <c:v>46292</c:v>
                </c:pt>
                <c:pt idx="11929">
                  <c:v>46292</c:v>
                </c:pt>
                <c:pt idx="11930">
                  <c:v>46291</c:v>
                </c:pt>
                <c:pt idx="11931">
                  <c:v>46291</c:v>
                </c:pt>
                <c:pt idx="11932">
                  <c:v>46290</c:v>
                </c:pt>
                <c:pt idx="11933">
                  <c:v>46290</c:v>
                </c:pt>
                <c:pt idx="11934">
                  <c:v>46289</c:v>
                </c:pt>
                <c:pt idx="11935">
                  <c:v>46288</c:v>
                </c:pt>
                <c:pt idx="11936">
                  <c:v>46287</c:v>
                </c:pt>
                <c:pt idx="11937">
                  <c:v>46286</c:v>
                </c:pt>
                <c:pt idx="11938">
                  <c:v>46286</c:v>
                </c:pt>
                <c:pt idx="11939">
                  <c:v>46286</c:v>
                </c:pt>
                <c:pt idx="11940">
                  <c:v>46285</c:v>
                </c:pt>
                <c:pt idx="11941">
                  <c:v>46284</c:v>
                </c:pt>
                <c:pt idx="11942">
                  <c:v>46283</c:v>
                </c:pt>
                <c:pt idx="11943">
                  <c:v>46283</c:v>
                </c:pt>
                <c:pt idx="11944">
                  <c:v>46282</c:v>
                </c:pt>
                <c:pt idx="11945">
                  <c:v>46282</c:v>
                </c:pt>
                <c:pt idx="11946">
                  <c:v>46282</c:v>
                </c:pt>
                <c:pt idx="11947">
                  <c:v>46282</c:v>
                </c:pt>
                <c:pt idx="11948">
                  <c:v>46282</c:v>
                </c:pt>
                <c:pt idx="11949">
                  <c:v>46280</c:v>
                </c:pt>
                <c:pt idx="11950">
                  <c:v>46279</c:v>
                </c:pt>
                <c:pt idx="11951">
                  <c:v>46279</c:v>
                </c:pt>
                <c:pt idx="11952">
                  <c:v>46278</c:v>
                </c:pt>
                <c:pt idx="11953">
                  <c:v>46278</c:v>
                </c:pt>
                <c:pt idx="11954">
                  <c:v>46277</c:v>
                </c:pt>
                <c:pt idx="11955">
                  <c:v>46277</c:v>
                </c:pt>
                <c:pt idx="11956">
                  <c:v>46276</c:v>
                </c:pt>
                <c:pt idx="11957">
                  <c:v>46275</c:v>
                </c:pt>
                <c:pt idx="11958">
                  <c:v>46275</c:v>
                </c:pt>
                <c:pt idx="11959">
                  <c:v>46275</c:v>
                </c:pt>
                <c:pt idx="11960">
                  <c:v>46274</c:v>
                </c:pt>
                <c:pt idx="11961">
                  <c:v>46272</c:v>
                </c:pt>
                <c:pt idx="11962">
                  <c:v>46272</c:v>
                </c:pt>
                <c:pt idx="11963">
                  <c:v>46271</c:v>
                </c:pt>
                <c:pt idx="11964">
                  <c:v>46271</c:v>
                </c:pt>
                <c:pt idx="11965">
                  <c:v>46271</c:v>
                </c:pt>
                <c:pt idx="11966">
                  <c:v>46271</c:v>
                </c:pt>
                <c:pt idx="11967">
                  <c:v>46270</c:v>
                </c:pt>
                <c:pt idx="11968">
                  <c:v>46270</c:v>
                </c:pt>
                <c:pt idx="11969">
                  <c:v>46270</c:v>
                </c:pt>
                <c:pt idx="11970">
                  <c:v>46269</c:v>
                </c:pt>
                <c:pt idx="11971">
                  <c:v>46268</c:v>
                </c:pt>
                <c:pt idx="11972">
                  <c:v>46268</c:v>
                </c:pt>
                <c:pt idx="11973">
                  <c:v>46267</c:v>
                </c:pt>
                <c:pt idx="11974">
                  <c:v>46267</c:v>
                </c:pt>
                <c:pt idx="11975">
                  <c:v>46267</c:v>
                </c:pt>
                <c:pt idx="11976">
                  <c:v>46267</c:v>
                </c:pt>
                <c:pt idx="11977">
                  <c:v>46266</c:v>
                </c:pt>
                <c:pt idx="11978">
                  <c:v>46265</c:v>
                </c:pt>
                <c:pt idx="11979">
                  <c:v>46264</c:v>
                </c:pt>
                <c:pt idx="11980">
                  <c:v>46263</c:v>
                </c:pt>
                <c:pt idx="11981">
                  <c:v>46263</c:v>
                </c:pt>
                <c:pt idx="11982">
                  <c:v>46263</c:v>
                </c:pt>
                <c:pt idx="11983">
                  <c:v>46262</c:v>
                </c:pt>
                <c:pt idx="11984">
                  <c:v>46262</c:v>
                </c:pt>
                <c:pt idx="11985">
                  <c:v>46261</c:v>
                </c:pt>
                <c:pt idx="11986">
                  <c:v>46260</c:v>
                </c:pt>
                <c:pt idx="11987">
                  <c:v>46260</c:v>
                </c:pt>
                <c:pt idx="11988">
                  <c:v>46259</c:v>
                </c:pt>
                <c:pt idx="11989">
                  <c:v>46259</c:v>
                </c:pt>
                <c:pt idx="11990">
                  <c:v>46258</c:v>
                </c:pt>
                <c:pt idx="11991">
                  <c:v>46256</c:v>
                </c:pt>
                <c:pt idx="11992">
                  <c:v>46255</c:v>
                </c:pt>
                <c:pt idx="11993">
                  <c:v>46255</c:v>
                </c:pt>
                <c:pt idx="11994">
                  <c:v>46254</c:v>
                </c:pt>
                <c:pt idx="11995">
                  <c:v>46254</c:v>
                </c:pt>
                <c:pt idx="11996">
                  <c:v>46253</c:v>
                </c:pt>
                <c:pt idx="11997">
                  <c:v>46253</c:v>
                </c:pt>
                <c:pt idx="11998">
                  <c:v>46252</c:v>
                </c:pt>
                <c:pt idx="11999">
                  <c:v>46251</c:v>
                </c:pt>
                <c:pt idx="12000">
                  <c:v>46250</c:v>
                </c:pt>
                <c:pt idx="12001">
                  <c:v>46250</c:v>
                </c:pt>
                <c:pt idx="12002">
                  <c:v>46249</c:v>
                </c:pt>
                <c:pt idx="12003">
                  <c:v>46249</c:v>
                </c:pt>
                <c:pt idx="12004">
                  <c:v>46247</c:v>
                </c:pt>
                <c:pt idx="12005">
                  <c:v>46246</c:v>
                </c:pt>
                <c:pt idx="12006">
                  <c:v>46244</c:v>
                </c:pt>
                <c:pt idx="12007">
                  <c:v>46244</c:v>
                </c:pt>
                <c:pt idx="12008">
                  <c:v>46244</c:v>
                </c:pt>
                <c:pt idx="12009">
                  <c:v>46243</c:v>
                </c:pt>
                <c:pt idx="12010">
                  <c:v>46243</c:v>
                </c:pt>
                <c:pt idx="12011">
                  <c:v>46243</c:v>
                </c:pt>
                <c:pt idx="12012">
                  <c:v>46242</c:v>
                </c:pt>
                <c:pt idx="12013">
                  <c:v>46242</c:v>
                </c:pt>
                <c:pt idx="12014">
                  <c:v>46241</c:v>
                </c:pt>
                <c:pt idx="12015">
                  <c:v>46240</c:v>
                </c:pt>
                <c:pt idx="12016">
                  <c:v>46240</c:v>
                </c:pt>
                <c:pt idx="12017">
                  <c:v>46240</c:v>
                </c:pt>
                <c:pt idx="12018">
                  <c:v>46239</c:v>
                </c:pt>
                <c:pt idx="12019">
                  <c:v>46239</c:v>
                </c:pt>
                <c:pt idx="12020">
                  <c:v>46238</c:v>
                </c:pt>
                <c:pt idx="12021">
                  <c:v>46238</c:v>
                </c:pt>
                <c:pt idx="12022">
                  <c:v>46237</c:v>
                </c:pt>
                <c:pt idx="12023">
                  <c:v>46237</c:v>
                </c:pt>
                <c:pt idx="12024">
                  <c:v>46236</c:v>
                </c:pt>
                <c:pt idx="12025">
                  <c:v>46236</c:v>
                </c:pt>
                <c:pt idx="12026">
                  <c:v>46235</c:v>
                </c:pt>
                <c:pt idx="12027">
                  <c:v>46235</c:v>
                </c:pt>
                <c:pt idx="12028">
                  <c:v>46234</c:v>
                </c:pt>
                <c:pt idx="12029">
                  <c:v>46234</c:v>
                </c:pt>
                <c:pt idx="12030">
                  <c:v>46233</c:v>
                </c:pt>
                <c:pt idx="12031">
                  <c:v>46232</c:v>
                </c:pt>
                <c:pt idx="12032">
                  <c:v>46231</c:v>
                </c:pt>
                <c:pt idx="12033">
                  <c:v>46231</c:v>
                </c:pt>
                <c:pt idx="12034">
                  <c:v>46230</c:v>
                </c:pt>
                <c:pt idx="12035">
                  <c:v>46229</c:v>
                </c:pt>
                <c:pt idx="12036">
                  <c:v>46228</c:v>
                </c:pt>
                <c:pt idx="12037">
                  <c:v>46227</c:v>
                </c:pt>
                <c:pt idx="12038">
                  <c:v>46227</c:v>
                </c:pt>
                <c:pt idx="12039">
                  <c:v>46227</c:v>
                </c:pt>
                <c:pt idx="12040">
                  <c:v>46226</c:v>
                </c:pt>
                <c:pt idx="12041">
                  <c:v>46224</c:v>
                </c:pt>
                <c:pt idx="12042">
                  <c:v>46223</c:v>
                </c:pt>
                <c:pt idx="12043">
                  <c:v>46223</c:v>
                </c:pt>
                <c:pt idx="12044">
                  <c:v>46222</c:v>
                </c:pt>
                <c:pt idx="12045">
                  <c:v>46222</c:v>
                </c:pt>
                <c:pt idx="12046">
                  <c:v>46222</c:v>
                </c:pt>
                <c:pt idx="12047">
                  <c:v>46221</c:v>
                </c:pt>
                <c:pt idx="12048">
                  <c:v>46221</c:v>
                </c:pt>
                <c:pt idx="12049">
                  <c:v>46221</c:v>
                </c:pt>
                <c:pt idx="12050">
                  <c:v>46220</c:v>
                </c:pt>
                <c:pt idx="12051">
                  <c:v>46220</c:v>
                </c:pt>
                <c:pt idx="12052">
                  <c:v>46220</c:v>
                </c:pt>
                <c:pt idx="12053">
                  <c:v>46219</c:v>
                </c:pt>
                <c:pt idx="12054">
                  <c:v>46219</c:v>
                </c:pt>
                <c:pt idx="12055">
                  <c:v>46217</c:v>
                </c:pt>
                <c:pt idx="12056">
                  <c:v>46217</c:v>
                </c:pt>
                <c:pt idx="12057">
                  <c:v>46216</c:v>
                </c:pt>
                <c:pt idx="12058">
                  <c:v>46215</c:v>
                </c:pt>
                <c:pt idx="12059">
                  <c:v>46213</c:v>
                </c:pt>
                <c:pt idx="12060">
                  <c:v>46213</c:v>
                </c:pt>
                <c:pt idx="12061">
                  <c:v>46213</c:v>
                </c:pt>
                <c:pt idx="12062">
                  <c:v>46210</c:v>
                </c:pt>
                <c:pt idx="12063">
                  <c:v>46210</c:v>
                </c:pt>
                <c:pt idx="12064">
                  <c:v>46210</c:v>
                </c:pt>
                <c:pt idx="12065">
                  <c:v>46209</c:v>
                </c:pt>
                <c:pt idx="12066">
                  <c:v>46208</c:v>
                </c:pt>
                <c:pt idx="12067">
                  <c:v>46208</c:v>
                </c:pt>
                <c:pt idx="12068">
                  <c:v>46207</c:v>
                </c:pt>
                <c:pt idx="12069">
                  <c:v>46207</c:v>
                </c:pt>
                <c:pt idx="12070">
                  <c:v>46205</c:v>
                </c:pt>
                <c:pt idx="12071">
                  <c:v>46205</c:v>
                </c:pt>
                <c:pt idx="12072">
                  <c:v>46204</c:v>
                </c:pt>
                <c:pt idx="12073">
                  <c:v>46204</c:v>
                </c:pt>
                <c:pt idx="12074">
                  <c:v>46204</c:v>
                </c:pt>
                <c:pt idx="12075">
                  <c:v>46203</c:v>
                </c:pt>
                <c:pt idx="12076">
                  <c:v>46203</c:v>
                </c:pt>
                <c:pt idx="12077">
                  <c:v>46202</c:v>
                </c:pt>
                <c:pt idx="12078">
                  <c:v>46202</c:v>
                </c:pt>
                <c:pt idx="12079">
                  <c:v>46202</c:v>
                </c:pt>
                <c:pt idx="12080">
                  <c:v>46202</c:v>
                </c:pt>
                <c:pt idx="12081">
                  <c:v>46199</c:v>
                </c:pt>
                <c:pt idx="12082">
                  <c:v>46199</c:v>
                </c:pt>
                <c:pt idx="12083">
                  <c:v>46198</c:v>
                </c:pt>
                <c:pt idx="12084">
                  <c:v>46198</c:v>
                </c:pt>
                <c:pt idx="12085">
                  <c:v>46196</c:v>
                </c:pt>
                <c:pt idx="12086">
                  <c:v>46195</c:v>
                </c:pt>
                <c:pt idx="12087">
                  <c:v>46195</c:v>
                </c:pt>
                <c:pt idx="12088">
                  <c:v>46195</c:v>
                </c:pt>
                <c:pt idx="12089">
                  <c:v>46194</c:v>
                </c:pt>
                <c:pt idx="12090">
                  <c:v>46193</c:v>
                </c:pt>
                <c:pt idx="12091">
                  <c:v>46192</c:v>
                </c:pt>
                <c:pt idx="12092">
                  <c:v>46191</c:v>
                </c:pt>
                <c:pt idx="12093">
                  <c:v>46191</c:v>
                </c:pt>
                <c:pt idx="12094">
                  <c:v>46191</c:v>
                </c:pt>
                <c:pt idx="12095">
                  <c:v>46190</c:v>
                </c:pt>
                <c:pt idx="12096">
                  <c:v>46190</c:v>
                </c:pt>
                <c:pt idx="12097">
                  <c:v>46189</c:v>
                </c:pt>
                <c:pt idx="12098">
                  <c:v>46187</c:v>
                </c:pt>
                <c:pt idx="12099">
                  <c:v>46186</c:v>
                </c:pt>
                <c:pt idx="12100">
                  <c:v>46186</c:v>
                </c:pt>
                <c:pt idx="12101">
                  <c:v>46186</c:v>
                </c:pt>
                <c:pt idx="12102">
                  <c:v>46184</c:v>
                </c:pt>
                <c:pt idx="12103">
                  <c:v>46184</c:v>
                </c:pt>
                <c:pt idx="12104">
                  <c:v>46184</c:v>
                </c:pt>
                <c:pt idx="12105">
                  <c:v>46184</c:v>
                </c:pt>
                <c:pt idx="12106">
                  <c:v>46183</c:v>
                </c:pt>
                <c:pt idx="12107">
                  <c:v>46181</c:v>
                </c:pt>
                <c:pt idx="12108">
                  <c:v>46180</c:v>
                </c:pt>
                <c:pt idx="12109">
                  <c:v>46180</c:v>
                </c:pt>
                <c:pt idx="12110">
                  <c:v>46180</c:v>
                </c:pt>
                <c:pt idx="12111">
                  <c:v>46179</c:v>
                </c:pt>
                <c:pt idx="12112">
                  <c:v>46179</c:v>
                </c:pt>
                <c:pt idx="12113">
                  <c:v>46179</c:v>
                </c:pt>
                <c:pt idx="12114">
                  <c:v>46179</c:v>
                </c:pt>
                <c:pt idx="12115">
                  <c:v>46178</c:v>
                </c:pt>
                <c:pt idx="12116">
                  <c:v>46178</c:v>
                </c:pt>
                <c:pt idx="12117">
                  <c:v>46177</c:v>
                </c:pt>
                <c:pt idx="12118">
                  <c:v>46177</c:v>
                </c:pt>
                <c:pt idx="12119">
                  <c:v>46176</c:v>
                </c:pt>
                <c:pt idx="12120">
                  <c:v>46175</c:v>
                </c:pt>
                <c:pt idx="12121">
                  <c:v>46175</c:v>
                </c:pt>
                <c:pt idx="12122">
                  <c:v>46174</c:v>
                </c:pt>
                <c:pt idx="12123">
                  <c:v>46174</c:v>
                </c:pt>
                <c:pt idx="12124">
                  <c:v>46174</c:v>
                </c:pt>
                <c:pt idx="12125">
                  <c:v>46173</c:v>
                </c:pt>
                <c:pt idx="12126">
                  <c:v>46172</c:v>
                </c:pt>
                <c:pt idx="12127">
                  <c:v>46172</c:v>
                </c:pt>
                <c:pt idx="12128">
                  <c:v>46171</c:v>
                </c:pt>
                <c:pt idx="12129">
                  <c:v>46171</c:v>
                </c:pt>
                <c:pt idx="12130">
                  <c:v>46170</c:v>
                </c:pt>
                <c:pt idx="12131">
                  <c:v>46167</c:v>
                </c:pt>
                <c:pt idx="12132">
                  <c:v>46167</c:v>
                </c:pt>
                <c:pt idx="12133">
                  <c:v>46166</c:v>
                </c:pt>
                <c:pt idx="12134">
                  <c:v>46166</c:v>
                </c:pt>
                <c:pt idx="12135">
                  <c:v>46166</c:v>
                </c:pt>
                <c:pt idx="12136">
                  <c:v>46165</c:v>
                </c:pt>
                <c:pt idx="12137">
                  <c:v>46164</c:v>
                </c:pt>
                <c:pt idx="12138">
                  <c:v>46163</c:v>
                </c:pt>
                <c:pt idx="12139">
                  <c:v>46162</c:v>
                </c:pt>
                <c:pt idx="12140">
                  <c:v>46161</c:v>
                </c:pt>
                <c:pt idx="12141">
                  <c:v>46160</c:v>
                </c:pt>
                <c:pt idx="12142">
                  <c:v>46159</c:v>
                </c:pt>
                <c:pt idx="12143">
                  <c:v>46157</c:v>
                </c:pt>
                <c:pt idx="12144">
                  <c:v>46157</c:v>
                </c:pt>
                <c:pt idx="12145">
                  <c:v>46157</c:v>
                </c:pt>
                <c:pt idx="12146">
                  <c:v>46156</c:v>
                </c:pt>
                <c:pt idx="12147">
                  <c:v>46156</c:v>
                </c:pt>
                <c:pt idx="12148">
                  <c:v>46155</c:v>
                </c:pt>
                <c:pt idx="12149">
                  <c:v>46154</c:v>
                </c:pt>
                <c:pt idx="12150">
                  <c:v>46153</c:v>
                </c:pt>
                <c:pt idx="12151">
                  <c:v>46153</c:v>
                </c:pt>
                <c:pt idx="12152">
                  <c:v>46152</c:v>
                </c:pt>
                <c:pt idx="12153">
                  <c:v>46151</c:v>
                </c:pt>
                <c:pt idx="12154">
                  <c:v>46150</c:v>
                </c:pt>
                <c:pt idx="12155">
                  <c:v>46150</c:v>
                </c:pt>
                <c:pt idx="12156">
                  <c:v>46149</c:v>
                </c:pt>
                <c:pt idx="12157">
                  <c:v>46148</c:v>
                </c:pt>
                <c:pt idx="12158">
                  <c:v>46148</c:v>
                </c:pt>
                <c:pt idx="12159">
                  <c:v>46148</c:v>
                </c:pt>
                <c:pt idx="12160">
                  <c:v>46148</c:v>
                </c:pt>
                <c:pt idx="12161">
                  <c:v>46148</c:v>
                </c:pt>
                <c:pt idx="12162">
                  <c:v>46147</c:v>
                </c:pt>
                <c:pt idx="12163">
                  <c:v>46147</c:v>
                </c:pt>
                <c:pt idx="12164">
                  <c:v>46147</c:v>
                </c:pt>
                <c:pt idx="12165">
                  <c:v>46146</c:v>
                </c:pt>
                <c:pt idx="12166">
                  <c:v>46145</c:v>
                </c:pt>
                <c:pt idx="12167">
                  <c:v>46145</c:v>
                </c:pt>
                <c:pt idx="12168">
                  <c:v>46145</c:v>
                </c:pt>
                <c:pt idx="12169">
                  <c:v>46145</c:v>
                </c:pt>
                <c:pt idx="12170">
                  <c:v>46145</c:v>
                </c:pt>
                <c:pt idx="12171">
                  <c:v>46145</c:v>
                </c:pt>
                <c:pt idx="12172">
                  <c:v>46145</c:v>
                </c:pt>
                <c:pt idx="12173">
                  <c:v>46143</c:v>
                </c:pt>
                <c:pt idx="12174">
                  <c:v>46143</c:v>
                </c:pt>
                <c:pt idx="12175">
                  <c:v>46143</c:v>
                </c:pt>
                <c:pt idx="12176">
                  <c:v>46140</c:v>
                </c:pt>
                <c:pt idx="12177">
                  <c:v>46140</c:v>
                </c:pt>
                <c:pt idx="12178">
                  <c:v>46140</c:v>
                </c:pt>
                <c:pt idx="12179">
                  <c:v>46139</c:v>
                </c:pt>
                <c:pt idx="12180">
                  <c:v>46138</c:v>
                </c:pt>
                <c:pt idx="12181">
                  <c:v>46138</c:v>
                </c:pt>
                <c:pt idx="12182">
                  <c:v>46138</c:v>
                </c:pt>
                <c:pt idx="12183">
                  <c:v>46138</c:v>
                </c:pt>
                <c:pt idx="12184">
                  <c:v>46137</c:v>
                </c:pt>
                <c:pt idx="12185">
                  <c:v>46137</c:v>
                </c:pt>
                <c:pt idx="12186">
                  <c:v>46137</c:v>
                </c:pt>
                <c:pt idx="12187">
                  <c:v>46135</c:v>
                </c:pt>
                <c:pt idx="12188">
                  <c:v>46134</c:v>
                </c:pt>
                <c:pt idx="12189">
                  <c:v>46133</c:v>
                </c:pt>
                <c:pt idx="12190">
                  <c:v>46131</c:v>
                </c:pt>
                <c:pt idx="12191">
                  <c:v>46129</c:v>
                </c:pt>
                <c:pt idx="12192">
                  <c:v>46129</c:v>
                </c:pt>
                <c:pt idx="12193">
                  <c:v>46129</c:v>
                </c:pt>
                <c:pt idx="12194">
                  <c:v>46128</c:v>
                </c:pt>
                <c:pt idx="12195">
                  <c:v>46127</c:v>
                </c:pt>
                <c:pt idx="12196">
                  <c:v>46127</c:v>
                </c:pt>
                <c:pt idx="12197">
                  <c:v>46126</c:v>
                </c:pt>
                <c:pt idx="12198">
                  <c:v>46125</c:v>
                </c:pt>
                <c:pt idx="12199">
                  <c:v>46125</c:v>
                </c:pt>
                <c:pt idx="12200">
                  <c:v>46123</c:v>
                </c:pt>
                <c:pt idx="12201">
                  <c:v>46122</c:v>
                </c:pt>
                <c:pt idx="12202">
                  <c:v>46122</c:v>
                </c:pt>
                <c:pt idx="12203">
                  <c:v>46122</c:v>
                </c:pt>
                <c:pt idx="12204">
                  <c:v>46122</c:v>
                </c:pt>
                <c:pt idx="12205">
                  <c:v>46121</c:v>
                </c:pt>
                <c:pt idx="12206">
                  <c:v>46121</c:v>
                </c:pt>
                <c:pt idx="12207">
                  <c:v>46121</c:v>
                </c:pt>
                <c:pt idx="12208">
                  <c:v>46120</c:v>
                </c:pt>
                <c:pt idx="12209">
                  <c:v>46119</c:v>
                </c:pt>
                <c:pt idx="12210">
                  <c:v>46118</c:v>
                </c:pt>
                <c:pt idx="12211">
                  <c:v>46118</c:v>
                </c:pt>
                <c:pt idx="12212">
                  <c:v>46118</c:v>
                </c:pt>
                <c:pt idx="12213">
                  <c:v>46118</c:v>
                </c:pt>
                <c:pt idx="12214">
                  <c:v>46117</c:v>
                </c:pt>
                <c:pt idx="12215">
                  <c:v>46117</c:v>
                </c:pt>
                <c:pt idx="12216">
                  <c:v>46116</c:v>
                </c:pt>
                <c:pt idx="12217">
                  <c:v>46115</c:v>
                </c:pt>
                <c:pt idx="12218">
                  <c:v>46115</c:v>
                </c:pt>
                <c:pt idx="12219">
                  <c:v>46114</c:v>
                </c:pt>
                <c:pt idx="12220">
                  <c:v>46114</c:v>
                </c:pt>
                <c:pt idx="12221">
                  <c:v>46114</c:v>
                </c:pt>
                <c:pt idx="12222">
                  <c:v>46113</c:v>
                </c:pt>
                <c:pt idx="12223">
                  <c:v>46112</c:v>
                </c:pt>
                <c:pt idx="12224">
                  <c:v>46112</c:v>
                </c:pt>
                <c:pt idx="12225">
                  <c:v>46111</c:v>
                </c:pt>
                <c:pt idx="12226">
                  <c:v>46111</c:v>
                </c:pt>
                <c:pt idx="12227">
                  <c:v>46111</c:v>
                </c:pt>
                <c:pt idx="12228">
                  <c:v>46111</c:v>
                </c:pt>
                <c:pt idx="12229">
                  <c:v>46110</c:v>
                </c:pt>
                <c:pt idx="12230">
                  <c:v>46110</c:v>
                </c:pt>
                <c:pt idx="12231">
                  <c:v>46110</c:v>
                </c:pt>
                <c:pt idx="12232">
                  <c:v>46110</c:v>
                </c:pt>
                <c:pt idx="12233">
                  <c:v>46110</c:v>
                </c:pt>
                <c:pt idx="12234">
                  <c:v>46109</c:v>
                </c:pt>
                <c:pt idx="12235">
                  <c:v>46107</c:v>
                </c:pt>
                <c:pt idx="12236">
                  <c:v>46106</c:v>
                </c:pt>
                <c:pt idx="12237">
                  <c:v>46106</c:v>
                </c:pt>
                <c:pt idx="12238">
                  <c:v>46105</c:v>
                </c:pt>
                <c:pt idx="12239">
                  <c:v>46104</c:v>
                </c:pt>
                <c:pt idx="12240">
                  <c:v>46104</c:v>
                </c:pt>
                <c:pt idx="12241">
                  <c:v>46104</c:v>
                </c:pt>
                <c:pt idx="12242">
                  <c:v>46104</c:v>
                </c:pt>
                <c:pt idx="12243">
                  <c:v>46103</c:v>
                </c:pt>
                <c:pt idx="12244">
                  <c:v>46102</c:v>
                </c:pt>
                <c:pt idx="12245">
                  <c:v>46101</c:v>
                </c:pt>
                <c:pt idx="12246">
                  <c:v>46099</c:v>
                </c:pt>
                <c:pt idx="12247">
                  <c:v>46099</c:v>
                </c:pt>
                <c:pt idx="12248">
                  <c:v>46097</c:v>
                </c:pt>
                <c:pt idx="12249">
                  <c:v>46097</c:v>
                </c:pt>
                <c:pt idx="12250">
                  <c:v>46096</c:v>
                </c:pt>
                <c:pt idx="12251">
                  <c:v>46096</c:v>
                </c:pt>
                <c:pt idx="12252">
                  <c:v>46093</c:v>
                </c:pt>
                <c:pt idx="12253">
                  <c:v>46093</c:v>
                </c:pt>
                <c:pt idx="12254">
                  <c:v>46093</c:v>
                </c:pt>
                <c:pt idx="12255">
                  <c:v>46093</c:v>
                </c:pt>
                <c:pt idx="12256">
                  <c:v>46092</c:v>
                </c:pt>
                <c:pt idx="12257">
                  <c:v>46091</c:v>
                </c:pt>
                <c:pt idx="12258">
                  <c:v>46090</c:v>
                </c:pt>
                <c:pt idx="12259">
                  <c:v>46089</c:v>
                </c:pt>
                <c:pt idx="12260">
                  <c:v>46089</c:v>
                </c:pt>
                <c:pt idx="12261">
                  <c:v>46088</c:v>
                </c:pt>
                <c:pt idx="12262">
                  <c:v>46087</c:v>
                </c:pt>
                <c:pt idx="12263">
                  <c:v>46087</c:v>
                </c:pt>
                <c:pt idx="12264">
                  <c:v>46087</c:v>
                </c:pt>
                <c:pt idx="12265">
                  <c:v>46086</c:v>
                </c:pt>
                <c:pt idx="12266">
                  <c:v>46086</c:v>
                </c:pt>
                <c:pt idx="12267">
                  <c:v>46085</c:v>
                </c:pt>
                <c:pt idx="12268">
                  <c:v>46085</c:v>
                </c:pt>
                <c:pt idx="12269">
                  <c:v>46083</c:v>
                </c:pt>
                <c:pt idx="12270">
                  <c:v>46082</c:v>
                </c:pt>
                <c:pt idx="12271">
                  <c:v>46082</c:v>
                </c:pt>
                <c:pt idx="12272">
                  <c:v>46080</c:v>
                </c:pt>
                <c:pt idx="12273">
                  <c:v>46079</c:v>
                </c:pt>
                <c:pt idx="12274">
                  <c:v>46079</c:v>
                </c:pt>
                <c:pt idx="12275">
                  <c:v>46078</c:v>
                </c:pt>
                <c:pt idx="12276">
                  <c:v>46077</c:v>
                </c:pt>
                <c:pt idx="12277">
                  <c:v>46077</c:v>
                </c:pt>
                <c:pt idx="12278">
                  <c:v>46077</c:v>
                </c:pt>
                <c:pt idx="12279">
                  <c:v>46076</c:v>
                </c:pt>
                <c:pt idx="12280">
                  <c:v>46076</c:v>
                </c:pt>
                <c:pt idx="12281">
                  <c:v>46076</c:v>
                </c:pt>
                <c:pt idx="12282">
                  <c:v>46075</c:v>
                </c:pt>
                <c:pt idx="12283">
                  <c:v>46073</c:v>
                </c:pt>
                <c:pt idx="12284">
                  <c:v>46073</c:v>
                </c:pt>
                <c:pt idx="12285">
                  <c:v>46073</c:v>
                </c:pt>
                <c:pt idx="12286">
                  <c:v>46072</c:v>
                </c:pt>
                <c:pt idx="12287">
                  <c:v>46071</c:v>
                </c:pt>
                <c:pt idx="12288">
                  <c:v>46070</c:v>
                </c:pt>
                <c:pt idx="12289">
                  <c:v>46070</c:v>
                </c:pt>
                <c:pt idx="12290">
                  <c:v>46070</c:v>
                </c:pt>
                <c:pt idx="12291">
                  <c:v>46070</c:v>
                </c:pt>
                <c:pt idx="12292">
                  <c:v>46069</c:v>
                </c:pt>
                <c:pt idx="12293">
                  <c:v>46069</c:v>
                </c:pt>
                <c:pt idx="12294">
                  <c:v>46068</c:v>
                </c:pt>
                <c:pt idx="12295">
                  <c:v>46068</c:v>
                </c:pt>
                <c:pt idx="12296">
                  <c:v>46067</c:v>
                </c:pt>
                <c:pt idx="12297">
                  <c:v>46067</c:v>
                </c:pt>
                <c:pt idx="12298">
                  <c:v>46067</c:v>
                </c:pt>
                <c:pt idx="12299">
                  <c:v>46066</c:v>
                </c:pt>
                <c:pt idx="12300">
                  <c:v>46065</c:v>
                </c:pt>
                <c:pt idx="12301">
                  <c:v>46065</c:v>
                </c:pt>
                <c:pt idx="12302">
                  <c:v>46064</c:v>
                </c:pt>
                <c:pt idx="12303">
                  <c:v>46064</c:v>
                </c:pt>
                <c:pt idx="12304">
                  <c:v>46064</c:v>
                </c:pt>
                <c:pt idx="12305">
                  <c:v>46063</c:v>
                </c:pt>
                <c:pt idx="12306">
                  <c:v>46062</c:v>
                </c:pt>
                <c:pt idx="12307">
                  <c:v>46062</c:v>
                </c:pt>
                <c:pt idx="12308">
                  <c:v>46061</c:v>
                </c:pt>
                <c:pt idx="12309">
                  <c:v>46061</c:v>
                </c:pt>
                <c:pt idx="12310">
                  <c:v>46061</c:v>
                </c:pt>
                <c:pt idx="12311">
                  <c:v>46061</c:v>
                </c:pt>
                <c:pt idx="12312">
                  <c:v>46060</c:v>
                </c:pt>
                <c:pt idx="12313">
                  <c:v>46059</c:v>
                </c:pt>
                <c:pt idx="12314">
                  <c:v>46059</c:v>
                </c:pt>
                <c:pt idx="12315">
                  <c:v>46059</c:v>
                </c:pt>
                <c:pt idx="12316">
                  <c:v>46058</c:v>
                </c:pt>
                <c:pt idx="12317">
                  <c:v>46057</c:v>
                </c:pt>
                <c:pt idx="12318">
                  <c:v>46057</c:v>
                </c:pt>
                <c:pt idx="12319">
                  <c:v>46057</c:v>
                </c:pt>
                <c:pt idx="12320">
                  <c:v>46056</c:v>
                </c:pt>
                <c:pt idx="12321">
                  <c:v>46056</c:v>
                </c:pt>
                <c:pt idx="12322">
                  <c:v>46055</c:v>
                </c:pt>
                <c:pt idx="12323">
                  <c:v>46054</c:v>
                </c:pt>
                <c:pt idx="12324">
                  <c:v>46054</c:v>
                </c:pt>
                <c:pt idx="12325">
                  <c:v>46054</c:v>
                </c:pt>
                <c:pt idx="12326">
                  <c:v>46053</c:v>
                </c:pt>
                <c:pt idx="12327">
                  <c:v>46053</c:v>
                </c:pt>
                <c:pt idx="12328">
                  <c:v>46052</c:v>
                </c:pt>
                <c:pt idx="12329">
                  <c:v>46052</c:v>
                </c:pt>
                <c:pt idx="12330">
                  <c:v>46051</c:v>
                </c:pt>
                <c:pt idx="12331">
                  <c:v>46050</c:v>
                </c:pt>
                <c:pt idx="12332">
                  <c:v>46049</c:v>
                </c:pt>
                <c:pt idx="12333">
                  <c:v>46047</c:v>
                </c:pt>
                <c:pt idx="12334">
                  <c:v>46046</c:v>
                </c:pt>
                <c:pt idx="12335">
                  <c:v>46046</c:v>
                </c:pt>
                <c:pt idx="12336">
                  <c:v>46045</c:v>
                </c:pt>
                <c:pt idx="12337">
                  <c:v>46044</c:v>
                </c:pt>
                <c:pt idx="12338">
                  <c:v>46042</c:v>
                </c:pt>
                <c:pt idx="12339">
                  <c:v>46040</c:v>
                </c:pt>
                <c:pt idx="12340">
                  <c:v>46039</c:v>
                </c:pt>
                <c:pt idx="12341">
                  <c:v>46038</c:v>
                </c:pt>
                <c:pt idx="12342">
                  <c:v>46037</c:v>
                </c:pt>
                <c:pt idx="12343">
                  <c:v>46036</c:v>
                </c:pt>
                <c:pt idx="12344">
                  <c:v>46033</c:v>
                </c:pt>
                <c:pt idx="12345">
                  <c:v>46033</c:v>
                </c:pt>
                <c:pt idx="12346">
                  <c:v>46033</c:v>
                </c:pt>
                <c:pt idx="12347">
                  <c:v>46031</c:v>
                </c:pt>
                <c:pt idx="12348">
                  <c:v>46031</c:v>
                </c:pt>
                <c:pt idx="12349">
                  <c:v>46030</c:v>
                </c:pt>
                <c:pt idx="12350">
                  <c:v>46030</c:v>
                </c:pt>
                <c:pt idx="12351">
                  <c:v>46030</c:v>
                </c:pt>
                <c:pt idx="12352">
                  <c:v>46030</c:v>
                </c:pt>
                <c:pt idx="12353">
                  <c:v>46029</c:v>
                </c:pt>
                <c:pt idx="12354">
                  <c:v>46029</c:v>
                </c:pt>
                <c:pt idx="12355">
                  <c:v>46028</c:v>
                </c:pt>
                <c:pt idx="12356">
                  <c:v>46028</c:v>
                </c:pt>
                <c:pt idx="12357">
                  <c:v>46028</c:v>
                </c:pt>
                <c:pt idx="12358">
                  <c:v>46028</c:v>
                </c:pt>
                <c:pt idx="12359">
                  <c:v>46027</c:v>
                </c:pt>
                <c:pt idx="12360">
                  <c:v>46027</c:v>
                </c:pt>
                <c:pt idx="12361">
                  <c:v>46026</c:v>
                </c:pt>
                <c:pt idx="12362">
                  <c:v>46026</c:v>
                </c:pt>
                <c:pt idx="12363">
                  <c:v>46025</c:v>
                </c:pt>
                <c:pt idx="12364">
                  <c:v>46025</c:v>
                </c:pt>
                <c:pt idx="12365">
                  <c:v>46023</c:v>
                </c:pt>
                <c:pt idx="12366">
                  <c:v>46022</c:v>
                </c:pt>
                <c:pt idx="12367">
                  <c:v>46022</c:v>
                </c:pt>
                <c:pt idx="12368">
                  <c:v>46021</c:v>
                </c:pt>
                <c:pt idx="12369">
                  <c:v>46019</c:v>
                </c:pt>
                <c:pt idx="12370">
                  <c:v>46017</c:v>
                </c:pt>
                <c:pt idx="12371">
                  <c:v>46017</c:v>
                </c:pt>
                <c:pt idx="12372">
                  <c:v>46016</c:v>
                </c:pt>
                <c:pt idx="12373">
                  <c:v>46016</c:v>
                </c:pt>
                <c:pt idx="12374">
                  <c:v>46015</c:v>
                </c:pt>
                <c:pt idx="12375">
                  <c:v>46014</c:v>
                </c:pt>
                <c:pt idx="12376">
                  <c:v>46014</c:v>
                </c:pt>
                <c:pt idx="12377">
                  <c:v>46013</c:v>
                </c:pt>
                <c:pt idx="12378">
                  <c:v>46012</c:v>
                </c:pt>
                <c:pt idx="12379">
                  <c:v>46011</c:v>
                </c:pt>
                <c:pt idx="12380">
                  <c:v>46011</c:v>
                </c:pt>
                <c:pt idx="12381">
                  <c:v>46010</c:v>
                </c:pt>
                <c:pt idx="12382">
                  <c:v>46010</c:v>
                </c:pt>
                <c:pt idx="12383">
                  <c:v>46010</c:v>
                </c:pt>
                <c:pt idx="12384">
                  <c:v>46010</c:v>
                </c:pt>
                <c:pt idx="12385">
                  <c:v>46009</c:v>
                </c:pt>
                <c:pt idx="12386">
                  <c:v>46009</c:v>
                </c:pt>
                <c:pt idx="12387">
                  <c:v>46009</c:v>
                </c:pt>
                <c:pt idx="12388">
                  <c:v>46009</c:v>
                </c:pt>
                <c:pt idx="12389">
                  <c:v>46008</c:v>
                </c:pt>
                <c:pt idx="12390">
                  <c:v>46008</c:v>
                </c:pt>
                <c:pt idx="12391">
                  <c:v>46007</c:v>
                </c:pt>
                <c:pt idx="12392">
                  <c:v>46006</c:v>
                </c:pt>
                <c:pt idx="12393">
                  <c:v>46005</c:v>
                </c:pt>
                <c:pt idx="12394">
                  <c:v>46004</c:v>
                </c:pt>
                <c:pt idx="12395">
                  <c:v>46004</c:v>
                </c:pt>
                <c:pt idx="12396">
                  <c:v>46003</c:v>
                </c:pt>
                <c:pt idx="12397">
                  <c:v>46003</c:v>
                </c:pt>
                <c:pt idx="12398">
                  <c:v>46003</c:v>
                </c:pt>
                <c:pt idx="12399">
                  <c:v>46002</c:v>
                </c:pt>
                <c:pt idx="12400">
                  <c:v>46002</c:v>
                </c:pt>
                <c:pt idx="12401">
                  <c:v>46002</c:v>
                </c:pt>
                <c:pt idx="12402">
                  <c:v>46002</c:v>
                </c:pt>
                <c:pt idx="12403">
                  <c:v>46000</c:v>
                </c:pt>
                <c:pt idx="12404">
                  <c:v>46000</c:v>
                </c:pt>
                <c:pt idx="12405">
                  <c:v>45999</c:v>
                </c:pt>
                <c:pt idx="12406">
                  <c:v>45999</c:v>
                </c:pt>
                <c:pt idx="12407">
                  <c:v>45999</c:v>
                </c:pt>
                <c:pt idx="12408">
                  <c:v>45997</c:v>
                </c:pt>
                <c:pt idx="12409">
                  <c:v>45997</c:v>
                </c:pt>
                <c:pt idx="12410">
                  <c:v>45997</c:v>
                </c:pt>
                <c:pt idx="12411">
                  <c:v>45996</c:v>
                </c:pt>
                <c:pt idx="12412">
                  <c:v>45995</c:v>
                </c:pt>
                <c:pt idx="12413">
                  <c:v>45995</c:v>
                </c:pt>
                <c:pt idx="12414">
                  <c:v>45995</c:v>
                </c:pt>
                <c:pt idx="12415">
                  <c:v>45995</c:v>
                </c:pt>
                <c:pt idx="12416">
                  <c:v>45994</c:v>
                </c:pt>
                <c:pt idx="12417">
                  <c:v>45994</c:v>
                </c:pt>
                <c:pt idx="12418">
                  <c:v>45994</c:v>
                </c:pt>
                <c:pt idx="12419">
                  <c:v>45993</c:v>
                </c:pt>
                <c:pt idx="12420">
                  <c:v>45993</c:v>
                </c:pt>
                <c:pt idx="12421">
                  <c:v>45993</c:v>
                </c:pt>
                <c:pt idx="12422">
                  <c:v>45993</c:v>
                </c:pt>
                <c:pt idx="12423">
                  <c:v>45992</c:v>
                </c:pt>
                <c:pt idx="12424">
                  <c:v>45991</c:v>
                </c:pt>
                <c:pt idx="12425">
                  <c:v>45991</c:v>
                </c:pt>
                <c:pt idx="12426">
                  <c:v>45990</c:v>
                </c:pt>
                <c:pt idx="12427">
                  <c:v>45990</c:v>
                </c:pt>
                <c:pt idx="12428">
                  <c:v>45989</c:v>
                </c:pt>
                <c:pt idx="12429">
                  <c:v>45988</c:v>
                </c:pt>
                <c:pt idx="12430">
                  <c:v>45988</c:v>
                </c:pt>
                <c:pt idx="12431">
                  <c:v>45986</c:v>
                </c:pt>
                <c:pt idx="12432">
                  <c:v>45985</c:v>
                </c:pt>
                <c:pt idx="12433">
                  <c:v>45985</c:v>
                </c:pt>
                <c:pt idx="12434">
                  <c:v>45985</c:v>
                </c:pt>
                <c:pt idx="12435">
                  <c:v>45985</c:v>
                </c:pt>
                <c:pt idx="12436">
                  <c:v>45984</c:v>
                </c:pt>
                <c:pt idx="12437">
                  <c:v>45984</c:v>
                </c:pt>
                <c:pt idx="12438">
                  <c:v>45983</c:v>
                </c:pt>
                <c:pt idx="12439">
                  <c:v>45981</c:v>
                </c:pt>
                <c:pt idx="12440">
                  <c:v>45981</c:v>
                </c:pt>
                <c:pt idx="12441">
                  <c:v>45981</c:v>
                </c:pt>
                <c:pt idx="12442">
                  <c:v>45980</c:v>
                </c:pt>
                <c:pt idx="12443">
                  <c:v>45980</c:v>
                </c:pt>
                <c:pt idx="12444">
                  <c:v>45979</c:v>
                </c:pt>
                <c:pt idx="12445">
                  <c:v>45979</c:v>
                </c:pt>
                <c:pt idx="12446">
                  <c:v>45978</c:v>
                </c:pt>
                <c:pt idx="12447">
                  <c:v>45978</c:v>
                </c:pt>
                <c:pt idx="12448">
                  <c:v>45978</c:v>
                </c:pt>
                <c:pt idx="12449">
                  <c:v>45977</c:v>
                </c:pt>
                <c:pt idx="12450">
                  <c:v>45976</c:v>
                </c:pt>
                <c:pt idx="12451">
                  <c:v>45975</c:v>
                </c:pt>
                <c:pt idx="12452">
                  <c:v>45974</c:v>
                </c:pt>
                <c:pt idx="12453">
                  <c:v>45974</c:v>
                </c:pt>
                <c:pt idx="12454">
                  <c:v>45974</c:v>
                </c:pt>
                <c:pt idx="12455">
                  <c:v>45974</c:v>
                </c:pt>
                <c:pt idx="12456">
                  <c:v>45974</c:v>
                </c:pt>
                <c:pt idx="12457">
                  <c:v>45973</c:v>
                </c:pt>
                <c:pt idx="12458">
                  <c:v>45973</c:v>
                </c:pt>
                <c:pt idx="12459">
                  <c:v>45972</c:v>
                </c:pt>
                <c:pt idx="12460">
                  <c:v>45972</c:v>
                </c:pt>
                <c:pt idx="12461">
                  <c:v>45971</c:v>
                </c:pt>
                <c:pt idx="12462">
                  <c:v>45970</c:v>
                </c:pt>
                <c:pt idx="12463">
                  <c:v>45970</c:v>
                </c:pt>
                <c:pt idx="12464">
                  <c:v>45970</c:v>
                </c:pt>
                <c:pt idx="12465">
                  <c:v>45969</c:v>
                </c:pt>
                <c:pt idx="12466">
                  <c:v>45969</c:v>
                </c:pt>
                <c:pt idx="12467">
                  <c:v>45969</c:v>
                </c:pt>
                <c:pt idx="12468">
                  <c:v>45969</c:v>
                </c:pt>
                <c:pt idx="12469">
                  <c:v>45968</c:v>
                </c:pt>
                <c:pt idx="12470">
                  <c:v>45968</c:v>
                </c:pt>
                <c:pt idx="12471">
                  <c:v>45967</c:v>
                </c:pt>
                <c:pt idx="12472">
                  <c:v>45966</c:v>
                </c:pt>
                <c:pt idx="12473">
                  <c:v>45966</c:v>
                </c:pt>
                <c:pt idx="12474">
                  <c:v>45966</c:v>
                </c:pt>
                <c:pt idx="12475">
                  <c:v>45965</c:v>
                </c:pt>
                <c:pt idx="12476">
                  <c:v>45964</c:v>
                </c:pt>
                <c:pt idx="12477">
                  <c:v>45963</c:v>
                </c:pt>
                <c:pt idx="12478">
                  <c:v>45963</c:v>
                </c:pt>
                <c:pt idx="12479">
                  <c:v>45963</c:v>
                </c:pt>
                <c:pt idx="12480">
                  <c:v>45963</c:v>
                </c:pt>
                <c:pt idx="12481">
                  <c:v>45962</c:v>
                </c:pt>
                <c:pt idx="12482">
                  <c:v>45962</c:v>
                </c:pt>
                <c:pt idx="12483">
                  <c:v>45960</c:v>
                </c:pt>
                <c:pt idx="12484">
                  <c:v>45960</c:v>
                </c:pt>
                <c:pt idx="12485">
                  <c:v>45960</c:v>
                </c:pt>
                <c:pt idx="12486">
                  <c:v>45959</c:v>
                </c:pt>
                <c:pt idx="12487">
                  <c:v>45957</c:v>
                </c:pt>
                <c:pt idx="12488">
                  <c:v>45957</c:v>
                </c:pt>
                <c:pt idx="12489">
                  <c:v>45956</c:v>
                </c:pt>
                <c:pt idx="12490">
                  <c:v>45954</c:v>
                </c:pt>
                <c:pt idx="12491">
                  <c:v>45954</c:v>
                </c:pt>
                <c:pt idx="12492">
                  <c:v>45954</c:v>
                </c:pt>
                <c:pt idx="12493">
                  <c:v>45954</c:v>
                </c:pt>
                <c:pt idx="12494">
                  <c:v>45953</c:v>
                </c:pt>
                <c:pt idx="12495">
                  <c:v>45953</c:v>
                </c:pt>
                <c:pt idx="12496">
                  <c:v>45953</c:v>
                </c:pt>
                <c:pt idx="12497">
                  <c:v>45953</c:v>
                </c:pt>
                <c:pt idx="12498">
                  <c:v>45951</c:v>
                </c:pt>
                <c:pt idx="12499">
                  <c:v>45951</c:v>
                </c:pt>
                <c:pt idx="12500">
                  <c:v>45951</c:v>
                </c:pt>
                <c:pt idx="12501">
                  <c:v>45950</c:v>
                </c:pt>
                <c:pt idx="12502">
                  <c:v>45950</c:v>
                </c:pt>
                <c:pt idx="12503">
                  <c:v>45950</c:v>
                </c:pt>
                <c:pt idx="12504">
                  <c:v>45950</c:v>
                </c:pt>
                <c:pt idx="12505">
                  <c:v>45949</c:v>
                </c:pt>
                <c:pt idx="12506">
                  <c:v>45948</c:v>
                </c:pt>
                <c:pt idx="12507">
                  <c:v>45948</c:v>
                </c:pt>
                <c:pt idx="12508">
                  <c:v>45948</c:v>
                </c:pt>
                <c:pt idx="12509">
                  <c:v>45946</c:v>
                </c:pt>
                <c:pt idx="12510">
                  <c:v>45946</c:v>
                </c:pt>
                <c:pt idx="12511">
                  <c:v>45945</c:v>
                </c:pt>
                <c:pt idx="12512">
                  <c:v>45945</c:v>
                </c:pt>
                <c:pt idx="12513">
                  <c:v>45945</c:v>
                </c:pt>
                <c:pt idx="12514">
                  <c:v>45944</c:v>
                </c:pt>
                <c:pt idx="12515">
                  <c:v>45943</c:v>
                </c:pt>
                <c:pt idx="12516">
                  <c:v>45943</c:v>
                </c:pt>
                <c:pt idx="12517">
                  <c:v>45942</c:v>
                </c:pt>
                <c:pt idx="12518">
                  <c:v>45941</c:v>
                </c:pt>
                <c:pt idx="12519">
                  <c:v>45941</c:v>
                </c:pt>
                <c:pt idx="12520">
                  <c:v>45940</c:v>
                </c:pt>
                <c:pt idx="12521">
                  <c:v>45940</c:v>
                </c:pt>
                <c:pt idx="12522">
                  <c:v>45939</c:v>
                </c:pt>
                <c:pt idx="12523">
                  <c:v>45938</c:v>
                </c:pt>
                <c:pt idx="12524">
                  <c:v>45936</c:v>
                </c:pt>
                <c:pt idx="12525">
                  <c:v>45935</c:v>
                </c:pt>
                <c:pt idx="12526">
                  <c:v>45935</c:v>
                </c:pt>
                <c:pt idx="12527">
                  <c:v>45935</c:v>
                </c:pt>
                <c:pt idx="12528">
                  <c:v>45934</c:v>
                </c:pt>
                <c:pt idx="12529">
                  <c:v>45934</c:v>
                </c:pt>
                <c:pt idx="12530">
                  <c:v>45933</c:v>
                </c:pt>
                <c:pt idx="12531">
                  <c:v>45932</c:v>
                </c:pt>
                <c:pt idx="12532">
                  <c:v>45931</c:v>
                </c:pt>
                <c:pt idx="12533">
                  <c:v>45931</c:v>
                </c:pt>
                <c:pt idx="12534">
                  <c:v>45931</c:v>
                </c:pt>
                <c:pt idx="12535">
                  <c:v>45930</c:v>
                </c:pt>
                <c:pt idx="12536">
                  <c:v>45930</c:v>
                </c:pt>
                <c:pt idx="12537">
                  <c:v>45929</c:v>
                </c:pt>
                <c:pt idx="12538">
                  <c:v>45928</c:v>
                </c:pt>
                <c:pt idx="12539">
                  <c:v>45928</c:v>
                </c:pt>
                <c:pt idx="12540">
                  <c:v>45927</c:v>
                </c:pt>
                <c:pt idx="12541">
                  <c:v>45926</c:v>
                </c:pt>
                <c:pt idx="12542">
                  <c:v>45926</c:v>
                </c:pt>
                <c:pt idx="12543">
                  <c:v>45925</c:v>
                </c:pt>
                <c:pt idx="12544">
                  <c:v>45925</c:v>
                </c:pt>
                <c:pt idx="12545">
                  <c:v>45925</c:v>
                </c:pt>
                <c:pt idx="12546">
                  <c:v>45925</c:v>
                </c:pt>
                <c:pt idx="12547">
                  <c:v>45924</c:v>
                </c:pt>
                <c:pt idx="12548">
                  <c:v>45924</c:v>
                </c:pt>
                <c:pt idx="12549">
                  <c:v>45922</c:v>
                </c:pt>
                <c:pt idx="12550">
                  <c:v>45921</c:v>
                </c:pt>
                <c:pt idx="12551">
                  <c:v>45920</c:v>
                </c:pt>
                <c:pt idx="12552">
                  <c:v>45920</c:v>
                </c:pt>
                <c:pt idx="12553">
                  <c:v>45920</c:v>
                </c:pt>
                <c:pt idx="12554">
                  <c:v>45919</c:v>
                </c:pt>
                <c:pt idx="12555">
                  <c:v>45919</c:v>
                </c:pt>
                <c:pt idx="12556">
                  <c:v>45917</c:v>
                </c:pt>
                <c:pt idx="12557">
                  <c:v>45915</c:v>
                </c:pt>
                <c:pt idx="12558">
                  <c:v>45915</c:v>
                </c:pt>
                <c:pt idx="12559">
                  <c:v>45915</c:v>
                </c:pt>
                <c:pt idx="12560">
                  <c:v>45915</c:v>
                </c:pt>
                <c:pt idx="12561">
                  <c:v>45915</c:v>
                </c:pt>
                <c:pt idx="12562">
                  <c:v>45915</c:v>
                </c:pt>
                <c:pt idx="12563">
                  <c:v>45914</c:v>
                </c:pt>
                <c:pt idx="12564">
                  <c:v>45914</c:v>
                </c:pt>
                <c:pt idx="12565">
                  <c:v>45914</c:v>
                </c:pt>
                <c:pt idx="12566">
                  <c:v>45913</c:v>
                </c:pt>
                <c:pt idx="12567">
                  <c:v>45913</c:v>
                </c:pt>
                <c:pt idx="12568">
                  <c:v>45913</c:v>
                </c:pt>
                <c:pt idx="12569">
                  <c:v>45912</c:v>
                </c:pt>
                <c:pt idx="12570">
                  <c:v>45911</c:v>
                </c:pt>
                <c:pt idx="12571">
                  <c:v>45910</c:v>
                </c:pt>
                <c:pt idx="12572">
                  <c:v>45910</c:v>
                </c:pt>
                <c:pt idx="12573">
                  <c:v>45910</c:v>
                </c:pt>
                <c:pt idx="12574">
                  <c:v>45908</c:v>
                </c:pt>
                <c:pt idx="12575">
                  <c:v>45907</c:v>
                </c:pt>
                <c:pt idx="12576">
                  <c:v>45907</c:v>
                </c:pt>
                <c:pt idx="12577">
                  <c:v>45905</c:v>
                </c:pt>
                <c:pt idx="12578">
                  <c:v>45902</c:v>
                </c:pt>
                <c:pt idx="12579">
                  <c:v>45902</c:v>
                </c:pt>
                <c:pt idx="12580">
                  <c:v>45901</c:v>
                </c:pt>
                <c:pt idx="12581">
                  <c:v>45900</c:v>
                </c:pt>
                <c:pt idx="12582">
                  <c:v>45899</c:v>
                </c:pt>
                <c:pt idx="12583">
                  <c:v>45899</c:v>
                </c:pt>
                <c:pt idx="12584">
                  <c:v>45898</c:v>
                </c:pt>
                <c:pt idx="12585">
                  <c:v>45898</c:v>
                </c:pt>
                <c:pt idx="12586">
                  <c:v>45898</c:v>
                </c:pt>
                <c:pt idx="12587">
                  <c:v>45898</c:v>
                </c:pt>
                <c:pt idx="12588">
                  <c:v>45897</c:v>
                </c:pt>
                <c:pt idx="12589">
                  <c:v>45897</c:v>
                </c:pt>
                <c:pt idx="12590">
                  <c:v>45897</c:v>
                </c:pt>
                <c:pt idx="12591">
                  <c:v>45896</c:v>
                </c:pt>
                <c:pt idx="12592">
                  <c:v>45895</c:v>
                </c:pt>
                <c:pt idx="12593">
                  <c:v>45894</c:v>
                </c:pt>
                <c:pt idx="12594">
                  <c:v>45894</c:v>
                </c:pt>
                <c:pt idx="12595">
                  <c:v>45892</c:v>
                </c:pt>
                <c:pt idx="12596">
                  <c:v>45892</c:v>
                </c:pt>
                <c:pt idx="12597">
                  <c:v>45892</c:v>
                </c:pt>
                <c:pt idx="12598">
                  <c:v>45892</c:v>
                </c:pt>
                <c:pt idx="12599">
                  <c:v>45891</c:v>
                </c:pt>
                <c:pt idx="12600">
                  <c:v>45890</c:v>
                </c:pt>
                <c:pt idx="12601">
                  <c:v>45890</c:v>
                </c:pt>
                <c:pt idx="12602">
                  <c:v>45890</c:v>
                </c:pt>
                <c:pt idx="12603">
                  <c:v>45889</c:v>
                </c:pt>
                <c:pt idx="12604">
                  <c:v>45889</c:v>
                </c:pt>
                <c:pt idx="12605">
                  <c:v>45889</c:v>
                </c:pt>
                <c:pt idx="12606">
                  <c:v>45888</c:v>
                </c:pt>
                <c:pt idx="12607">
                  <c:v>45887</c:v>
                </c:pt>
                <c:pt idx="12608">
                  <c:v>45886</c:v>
                </c:pt>
                <c:pt idx="12609">
                  <c:v>45886</c:v>
                </c:pt>
                <c:pt idx="12610">
                  <c:v>45886</c:v>
                </c:pt>
                <c:pt idx="12611">
                  <c:v>45885</c:v>
                </c:pt>
                <c:pt idx="12612">
                  <c:v>45885</c:v>
                </c:pt>
                <c:pt idx="12613">
                  <c:v>45885</c:v>
                </c:pt>
                <c:pt idx="12614">
                  <c:v>45885</c:v>
                </c:pt>
                <c:pt idx="12615">
                  <c:v>45884</c:v>
                </c:pt>
                <c:pt idx="12616">
                  <c:v>45884</c:v>
                </c:pt>
                <c:pt idx="12617">
                  <c:v>45884</c:v>
                </c:pt>
                <c:pt idx="12618">
                  <c:v>45883</c:v>
                </c:pt>
                <c:pt idx="12619">
                  <c:v>45881</c:v>
                </c:pt>
                <c:pt idx="12620">
                  <c:v>45880</c:v>
                </c:pt>
                <c:pt idx="12621">
                  <c:v>45879</c:v>
                </c:pt>
                <c:pt idx="12622">
                  <c:v>45879</c:v>
                </c:pt>
                <c:pt idx="12623">
                  <c:v>45879</c:v>
                </c:pt>
                <c:pt idx="12624">
                  <c:v>45878</c:v>
                </c:pt>
                <c:pt idx="12625">
                  <c:v>45878</c:v>
                </c:pt>
                <c:pt idx="12626">
                  <c:v>45878</c:v>
                </c:pt>
                <c:pt idx="12627">
                  <c:v>45877</c:v>
                </c:pt>
                <c:pt idx="12628">
                  <c:v>45877</c:v>
                </c:pt>
                <c:pt idx="12629">
                  <c:v>45877</c:v>
                </c:pt>
                <c:pt idx="12630">
                  <c:v>45876</c:v>
                </c:pt>
                <c:pt idx="12631">
                  <c:v>45875</c:v>
                </c:pt>
                <c:pt idx="12632">
                  <c:v>45875</c:v>
                </c:pt>
                <c:pt idx="12633">
                  <c:v>45875</c:v>
                </c:pt>
                <c:pt idx="12634">
                  <c:v>45875</c:v>
                </c:pt>
                <c:pt idx="12635">
                  <c:v>45874</c:v>
                </c:pt>
                <c:pt idx="12636">
                  <c:v>45874</c:v>
                </c:pt>
                <c:pt idx="12637">
                  <c:v>45873</c:v>
                </c:pt>
                <c:pt idx="12638">
                  <c:v>45873</c:v>
                </c:pt>
                <c:pt idx="12639">
                  <c:v>45872</c:v>
                </c:pt>
                <c:pt idx="12640">
                  <c:v>45871</c:v>
                </c:pt>
                <c:pt idx="12641">
                  <c:v>45871</c:v>
                </c:pt>
                <c:pt idx="12642">
                  <c:v>45871</c:v>
                </c:pt>
                <c:pt idx="12643">
                  <c:v>45869</c:v>
                </c:pt>
                <c:pt idx="12644">
                  <c:v>45869</c:v>
                </c:pt>
                <c:pt idx="12645">
                  <c:v>45869</c:v>
                </c:pt>
                <c:pt idx="12646">
                  <c:v>45868</c:v>
                </c:pt>
                <c:pt idx="12647">
                  <c:v>45867</c:v>
                </c:pt>
                <c:pt idx="12648">
                  <c:v>45867</c:v>
                </c:pt>
                <c:pt idx="12649">
                  <c:v>45867</c:v>
                </c:pt>
                <c:pt idx="12650">
                  <c:v>45866</c:v>
                </c:pt>
                <c:pt idx="12651">
                  <c:v>45866</c:v>
                </c:pt>
                <c:pt idx="12652">
                  <c:v>45866</c:v>
                </c:pt>
                <c:pt idx="12653">
                  <c:v>45865</c:v>
                </c:pt>
                <c:pt idx="12654">
                  <c:v>45865</c:v>
                </c:pt>
                <c:pt idx="12655">
                  <c:v>45864</c:v>
                </c:pt>
                <c:pt idx="12656">
                  <c:v>45864</c:v>
                </c:pt>
                <c:pt idx="12657">
                  <c:v>45863</c:v>
                </c:pt>
                <c:pt idx="12658">
                  <c:v>45863</c:v>
                </c:pt>
                <c:pt idx="12659">
                  <c:v>45862</c:v>
                </c:pt>
                <c:pt idx="12660">
                  <c:v>45862</c:v>
                </c:pt>
                <c:pt idx="12661">
                  <c:v>45861</c:v>
                </c:pt>
                <c:pt idx="12662">
                  <c:v>45861</c:v>
                </c:pt>
                <c:pt idx="12663">
                  <c:v>45860</c:v>
                </c:pt>
                <c:pt idx="12664">
                  <c:v>45860</c:v>
                </c:pt>
                <c:pt idx="12665">
                  <c:v>45859</c:v>
                </c:pt>
                <c:pt idx="12666">
                  <c:v>45858</c:v>
                </c:pt>
                <c:pt idx="12667">
                  <c:v>45857</c:v>
                </c:pt>
                <c:pt idx="12668">
                  <c:v>45856</c:v>
                </c:pt>
                <c:pt idx="12669">
                  <c:v>45855</c:v>
                </c:pt>
                <c:pt idx="12670">
                  <c:v>45855</c:v>
                </c:pt>
                <c:pt idx="12671">
                  <c:v>45855</c:v>
                </c:pt>
                <c:pt idx="12672">
                  <c:v>45853</c:v>
                </c:pt>
                <c:pt idx="12673">
                  <c:v>45853</c:v>
                </c:pt>
                <c:pt idx="12674">
                  <c:v>45852</c:v>
                </c:pt>
                <c:pt idx="12675">
                  <c:v>45852</c:v>
                </c:pt>
                <c:pt idx="12676">
                  <c:v>45851</c:v>
                </c:pt>
                <c:pt idx="12677">
                  <c:v>45850</c:v>
                </c:pt>
                <c:pt idx="12678">
                  <c:v>45849</c:v>
                </c:pt>
                <c:pt idx="12679">
                  <c:v>45848</c:v>
                </c:pt>
                <c:pt idx="12680">
                  <c:v>45848</c:v>
                </c:pt>
                <c:pt idx="12681">
                  <c:v>45847</c:v>
                </c:pt>
                <c:pt idx="12682">
                  <c:v>45847</c:v>
                </c:pt>
                <c:pt idx="12683">
                  <c:v>45847</c:v>
                </c:pt>
                <c:pt idx="12684">
                  <c:v>45845</c:v>
                </c:pt>
                <c:pt idx="12685">
                  <c:v>45845</c:v>
                </c:pt>
                <c:pt idx="12686">
                  <c:v>45845</c:v>
                </c:pt>
                <c:pt idx="12687">
                  <c:v>45844</c:v>
                </c:pt>
                <c:pt idx="12688">
                  <c:v>45844</c:v>
                </c:pt>
                <c:pt idx="12689">
                  <c:v>45843</c:v>
                </c:pt>
                <c:pt idx="12690">
                  <c:v>45843</c:v>
                </c:pt>
                <c:pt idx="12691">
                  <c:v>45843</c:v>
                </c:pt>
                <c:pt idx="12692">
                  <c:v>45842</c:v>
                </c:pt>
                <c:pt idx="12693">
                  <c:v>45842</c:v>
                </c:pt>
                <c:pt idx="12694">
                  <c:v>45842</c:v>
                </c:pt>
                <c:pt idx="12695">
                  <c:v>45842</c:v>
                </c:pt>
                <c:pt idx="12696">
                  <c:v>45842</c:v>
                </c:pt>
                <c:pt idx="12697">
                  <c:v>45841</c:v>
                </c:pt>
                <c:pt idx="12698">
                  <c:v>45841</c:v>
                </c:pt>
                <c:pt idx="12699">
                  <c:v>45841</c:v>
                </c:pt>
                <c:pt idx="12700">
                  <c:v>45840</c:v>
                </c:pt>
                <c:pt idx="12701">
                  <c:v>45839</c:v>
                </c:pt>
                <c:pt idx="12702">
                  <c:v>45838</c:v>
                </c:pt>
                <c:pt idx="12703">
                  <c:v>45835</c:v>
                </c:pt>
                <c:pt idx="12704">
                  <c:v>45835</c:v>
                </c:pt>
                <c:pt idx="12705">
                  <c:v>45835</c:v>
                </c:pt>
                <c:pt idx="12706">
                  <c:v>45834</c:v>
                </c:pt>
                <c:pt idx="12707">
                  <c:v>45834</c:v>
                </c:pt>
                <c:pt idx="12708">
                  <c:v>45833</c:v>
                </c:pt>
                <c:pt idx="12709">
                  <c:v>45833</c:v>
                </c:pt>
                <c:pt idx="12710">
                  <c:v>45832</c:v>
                </c:pt>
                <c:pt idx="12711">
                  <c:v>45832</c:v>
                </c:pt>
                <c:pt idx="12712">
                  <c:v>45832</c:v>
                </c:pt>
                <c:pt idx="12713">
                  <c:v>45831</c:v>
                </c:pt>
                <c:pt idx="12714">
                  <c:v>45831</c:v>
                </c:pt>
                <c:pt idx="12715">
                  <c:v>45831</c:v>
                </c:pt>
                <c:pt idx="12716">
                  <c:v>45830</c:v>
                </c:pt>
                <c:pt idx="12717">
                  <c:v>45829</c:v>
                </c:pt>
                <c:pt idx="12718">
                  <c:v>45827</c:v>
                </c:pt>
                <c:pt idx="12719">
                  <c:v>45827</c:v>
                </c:pt>
                <c:pt idx="12720">
                  <c:v>45826</c:v>
                </c:pt>
                <c:pt idx="12721">
                  <c:v>45826</c:v>
                </c:pt>
                <c:pt idx="12722">
                  <c:v>45826</c:v>
                </c:pt>
                <c:pt idx="12723">
                  <c:v>45826</c:v>
                </c:pt>
                <c:pt idx="12724">
                  <c:v>45825</c:v>
                </c:pt>
                <c:pt idx="12725">
                  <c:v>45825</c:v>
                </c:pt>
                <c:pt idx="12726">
                  <c:v>45825</c:v>
                </c:pt>
                <c:pt idx="12727">
                  <c:v>45824</c:v>
                </c:pt>
                <c:pt idx="12728">
                  <c:v>45824</c:v>
                </c:pt>
                <c:pt idx="12729">
                  <c:v>45824</c:v>
                </c:pt>
                <c:pt idx="12730">
                  <c:v>45822</c:v>
                </c:pt>
                <c:pt idx="12731">
                  <c:v>45822</c:v>
                </c:pt>
                <c:pt idx="12732">
                  <c:v>45822</c:v>
                </c:pt>
                <c:pt idx="12733">
                  <c:v>45821</c:v>
                </c:pt>
                <c:pt idx="12734">
                  <c:v>45820</c:v>
                </c:pt>
                <c:pt idx="12735">
                  <c:v>45820</c:v>
                </c:pt>
                <c:pt idx="12736">
                  <c:v>45817</c:v>
                </c:pt>
                <c:pt idx="12737">
                  <c:v>45817</c:v>
                </c:pt>
                <c:pt idx="12738">
                  <c:v>45817</c:v>
                </c:pt>
                <c:pt idx="12739">
                  <c:v>45816</c:v>
                </c:pt>
                <c:pt idx="12740">
                  <c:v>45816</c:v>
                </c:pt>
                <c:pt idx="12741">
                  <c:v>45816</c:v>
                </c:pt>
                <c:pt idx="12742">
                  <c:v>45811</c:v>
                </c:pt>
                <c:pt idx="12743">
                  <c:v>45811</c:v>
                </c:pt>
                <c:pt idx="12744">
                  <c:v>45811</c:v>
                </c:pt>
                <c:pt idx="12745">
                  <c:v>45810</c:v>
                </c:pt>
                <c:pt idx="12746">
                  <c:v>45809</c:v>
                </c:pt>
                <c:pt idx="12747">
                  <c:v>45809</c:v>
                </c:pt>
                <c:pt idx="12748">
                  <c:v>45808</c:v>
                </c:pt>
                <c:pt idx="12749">
                  <c:v>45808</c:v>
                </c:pt>
                <c:pt idx="12750">
                  <c:v>45807</c:v>
                </c:pt>
                <c:pt idx="12751">
                  <c:v>45807</c:v>
                </c:pt>
                <c:pt idx="12752">
                  <c:v>45807</c:v>
                </c:pt>
                <c:pt idx="12753">
                  <c:v>45806</c:v>
                </c:pt>
                <c:pt idx="12754">
                  <c:v>45806</c:v>
                </c:pt>
                <c:pt idx="12755">
                  <c:v>45806</c:v>
                </c:pt>
                <c:pt idx="12756">
                  <c:v>45805</c:v>
                </c:pt>
                <c:pt idx="12757">
                  <c:v>45805</c:v>
                </c:pt>
                <c:pt idx="12758">
                  <c:v>45804</c:v>
                </c:pt>
                <c:pt idx="12759">
                  <c:v>45804</c:v>
                </c:pt>
                <c:pt idx="12760">
                  <c:v>45803</c:v>
                </c:pt>
                <c:pt idx="12761">
                  <c:v>45803</c:v>
                </c:pt>
                <c:pt idx="12762">
                  <c:v>45801</c:v>
                </c:pt>
                <c:pt idx="12763">
                  <c:v>45801</c:v>
                </c:pt>
                <c:pt idx="12764">
                  <c:v>45801</c:v>
                </c:pt>
                <c:pt idx="12765">
                  <c:v>45801</c:v>
                </c:pt>
                <c:pt idx="12766">
                  <c:v>45800</c:v>
                </c:pt>
                <c:pt idx="12767">
                  <c:v>45800</c:v>
                </c:pt>
                <c:pt idx="12768">
                  <c:v>45800</c:v>
                </c:pt>
                <c:pt idx="12769">
                  <c:v>45800</c:v>
                </c:pt>
                <c:pt idx="12770">
                  <c:v>45799</c:v>
                </c:pt>
                <c:pt idx="12771">
                  <c:v>45799</c:v>
                </c:pt>
                <c:pt idx="12772">
                  <c:v>45799</c:v>
                </c:pt>
                <c:pt idx="12773">
                  <c:v>45799</c:v>
                </c:pt>
                <c:pt idx="12774">
                  <c:v>45799</c:v>
                </c:pt>
                <c:pt idx="12775">
                  <c:v>45798</c:v>
                </c:pt>
                <c:pt idx="12776">
                  <c:v>45797</c:v>
                </c:pt>
                <c:pt idx="12777">
                  <c:v>45796</c:v>
                </c:pt>
                <c:pt idx="12778">
                  <c:v>45796</c:v>
                </c:pt>
                <c:pt idx="12779">
                  <c:v>45794</c:v>
                </c:pt>
                <c:pt idx="12780">
                  <c:v>45794</c:v>
                </c:pt>
                <c:pt idx="12781">
                  <c:v>45794</c:v>
                </c:pt>
                <c:pt idx="12782">
                  <c:v>45793</c:v>
                </c:pt>
                <c:pt idx="12783">
                  <c:v>45792</c:v>
                </c:pt>
                <c:pt idx="12784">
                  <c:v>45791</c:v>
                </c:pt>
                <c:pt idx="12785">
                  <c:v>45791</c:v>
                </c:pt>
                <c:pt idx="12786">
                  <c:v>45790</c:v>
                </c:pt>
                <c:pt idx="12787">
                  <c:v>45790</c:v>
                </c:pt>
                <c:pt idx="12788">
                  <c:v>45790</c:v>
                </c:pt>
                <c:pt idx="12789">
                  <c:v>45789</c:v>
                </c:pt>
                <c:pt idx="12790">
                  <c:v>45789</c:v>
                </c:pt>
                <c:pt idx="12791">
                  <c:v>45789</c:v>
                </c:pt>
                <c:pt idx="12792">
                  <c:v>45788</c:v>
                </c:pt>
                <c:pt idx="12793">
                  <c:v>45787</c:v>
                </c:pt>
                <c:pt idx="12794">
                  <c:v>45786</c:v>
                </c:pt>
                <c:pt idx="12795">
                  <c:v>45786</c:v>
                </c:pt>
                <c:pt idx="12796">
                  <c:v>45786</c:v>
                </c:pt>
                <c:pt idx="12797">
                  <c:v>45786</c:v>
                </c:pt>
                <c:pt idx="12798">
                  <c:v>45785</c:v>
                </c:pt>
                <c:pt idx="12799">
                  <c:v>45783</c:v>
                </c:pt>
                <c:pt idx="12800">
                  <c:v>45783</c:v>
                </c:pt>
                <c:pt idx="12801">
                  <c:v>45782</c:v>
                </c:pt>
                <c:pt idx="12802">
                  <c:v>45782</c:v>
                </c:pt>
                <c:pt idx="12803">
                  <c:v>45781</c:v>
                </c:pt>
                <c:pt idx="12804">
                  <c:v>45781</c:v>
                </c:pt>
                <c:pt idx="12805">
                  <c:v>45781</c:v>
                </c:pt>
                <c:pt idx="12806">
                  <c:v>45780</c:v>
                </c:pt>
                <c:pt idx="12807">
                  <c:v>45780</c:v>
                </c:pt>
                <c:pt idx="12808">
                  <c:v>45780</c:v>
                </c:pt>
                <c:pt idx="12809">
                  <c:v>45779</c:v>
                </c:pt>
                <c:pt idx="12810">
                  <c:v>45779</c:v>
                </c:pt>
                <c:pt idx="12811">
                  <c:v>45778</c:v>
                </c:pt>
                <c:pt idx="12812">
                  <c:v>45777</c:v>
                </c:pt>
                <c:pt idx="12813">
                  <c:v>45777</c:v>
                </c:pt>
                <c:pt idx="12814">
                  <c:v>45777</c:v>
                </c:pt>
                <c:pt idx="12815">
                  <c:v>45777</c:v>
                </c:pt>
                <c:pt idx="12816">
                  <c:v>45777</c:v>
                </c:pt>
                <c:pt idx="12817">
                  <c:v>45776</c:v>
                </c:pt>
                <c:pt idx="12818">
                  <c:v>45776</c:v>
                </c:pt>
                <c:pt idx="12819">
                  <c:v>45776</c:v>
                </c:pt>
                <c:pt idx="12820">
                  <c:v>45775</c:v>
                </c:pt>
                <c:pt idx="12821">
                  <c:v>45774</c:v>
                </c:pt>
                <c:pt idx="12822">
                  <c:v>45773</c:v>
                </c:pt>
                <c:pt idx="12823">
                  <c:v>45773</c:v>
                </c:pt>
                <c:pt idx="12824">
                  <c:v>45773</c:v>
                </c:pt>
                <c:pt idx="12825">
                  <c:v>45772</c:v>
                </c:pt>
                <c:pt idx="12826">
                  <c:v>45771</c:v>
                </c:pt>
                <c:pt idx="12827">
                  <c:v>45771</c:v>
                </c:pt>
                <c:pt idx="12828">
                  <c:v>45770</c:v>
                </c:pt>
                <c:pt idx="12829">
                  <c:v>45770</c:v>
                </c:pt>
                <c:pt idx="12830">
                  <c:v>45769</c:v>
                </c:pt>
                <c:pt idx="12831">
                  <c:v>45769</c:v>
                </c:pt>
                <c:pt idx="12832">
                  <c:v>45767</c:v>
                </c:pt>
                <c:pt idx="12833">
                  <c:v>45766</c:v>
                </c:pt>
                <c:pt idx="12834">
                  <c:v>45766</c:v>
                </c:pt>
                <c:pt idx="12835">
                  <c:v>45766</c:v>
                </c:pt>
                <c:pt idx="12836">
                  <c:v>45765</c:v>
                </c:pt>
                <c:pt idx="12837">
                  <c:v>45765</c:v>
                </c:pt>
                <c:pt idx="12838">
                  <c:v>45763</c:v>
                </c:pt>
                <c:pt idx="12839">
                  <c:v>45762</c:v>
                </c:pt>
                <c:pt idx="12840">
                  <c:v>45762</c:v>
                </c:pt>
                <c:pt idx="12841">
                  <c:v>45761</c:v>
                </c:pt>
                <c:pt idx="12842">
                  <c:v>45761</c:v>
                </c:pt>
                <c:pt idx="12843">
                  <c:v>45760</c:v>
                </c:pt>
                <c:pt idx="12844">
                  <c:v>45760</c:v>
                </c:pt>
                <c:pt idx="12845">
                  <c:v>45760</c:v>
                </c:pt>
                <c:pt idx="12846">
                  <c:v>45759</c:v>
                </c:pt>
                <c:pt idx="12847">
                  <c:v>45759</c:v>
                </c:pt>
                <c:pt idx="12848">
                  <c:v>45758</c:v>
                </c:pt>
                <c:pt idx="12849">
                  <c:v>45758</c:v>
                </c:pt>
                <c:pt idx="12850">
                  <c:v>45756</c:v>
                </c:pt>
                <c:pt idx="12851">
                  <c:v>45756</c:v>
                </c:pt>
                <c:pt idx="12852">
                  <c:v>45754</c:v>
                </c:pt>
                <c:pt idx="12853">
                  <c:v>45753</c:v>
                </c:pt>
                <c:pt idx="12854">
                  <c:v>45753</c:v>
                </c:pt>
                <c:pt idx="12855">
                  <c:v>45753</c:v>
                </c:pt>
                <c:pt idx="12856">
                  <c:v>45749</c:v>
                </c:pt>
                <c:pt idx="12857">
                  <c:v>45749</c:v>
                </c:pt>
                <c:pt idx="12858">
                  <c:v>45748</c:v>
                </c:pt>
                <c:pt idx="12859">
                  <c:v>45748</c:v>
                </c:pt>
                <c:pt idx="12860">
                  <c:v>45747</c:v>
                </c:pt>
                <c:pt idx="12861">
                  <c:v>45747</c:v>
                </c:pt>
                <c:pt idx="12862">
                  <c:v>45747</c:v>
                </c:pt>
                <c:pt idx="12863">
                  <c:v>45747</c:v>
                </c:pt>
                <c:pt idx="12864">
                  <c:v>45746</c:v>
                </c:pt>
                <c:pt idx="12865">
                  <c:v>45745</c:v>
                </c:pt>
                <c:pt idx="12866">
                  <c:v>45745</c:v>
                </c:pt>
                <c:pt idx="12867">
                  <c:v>45745</c:v>
                </c:pt>
                <c:pt idx="12868">
                  <c:v>45745</c:v>
                </c:pt>
                <c:pt idx="12869">
                  <c:v>45744</c:v>
                </c:pt>
                <c:pt idx="12870">
                  <c:v>45744</c:v>
                </c:pt>
                <c:pt idx="12871">
                  <c:v>45743</c:v>
                </c:pt>
                <c:pt idx="12872">
                  <c:v>45742</c:v>
                </c:pt>
                <c:pt idx="12873">
                  <c:v>45742</c:v>
                </c:pt>
                <c:pt idx="12874">
                  <c:v>45742</c:v>
                </c:pt>
                <c:pt idx="12875">
                  <c:v>45741</c:v>
                </c:pt>
                <c:pt idx="12876">
                  <c:v>45741</c:v>
                </c:pt>
                <c:pt idx="12877">
                  <c:v>45741</c:v>
                </c:pt>
                <c:pt idx="12878">
                  <c:v>45741</c:v>
                </c:pt>
                <c:pt idx="12879">
                  <c:v>45740</c:v>
                </c:pt>
                <c:pt idx="12880">
                  <c:v>45739</c:v>
                </c:pt>
                <c:pt idx="12881">
                  <c:v>45739</c:v>
                </c:pt>
                <c:pt idx="12882">
                  <c:v>45738</c:v>
                </c:pt>
                <c:pt idx="12883">
                  <c:v>45737</c:v>
                </c:pt>
                <c:pt idx="12884">
                  <c:v>45737</c:v>
                </c:pt>
                <c:pt idx="12885">
                  <c:v>45736</c:v>
                </c:pt>
                <c:pt idx="12886">
                  <c:v>45736</c:v>
                </c:pt>
                <c:pt idx="12887">
                  <c:v>45735</c:v>
                </c:pt>
                <c:pt idx="12888">
                  <c:v>45733</c:v>
                </c:pt>
                <c:pt idx="12889">
                  <c:v>45731</c:v>
                </c:pt>
                <c:pt idx="12890">
                  <c:v>45729</c:v>
                </c:pt>
                <c:pt idx="12891">
                  <c:v>45728</c:v>
                </c:pt>
                <c:pt idx="12892">
                  <c:v>45728</c:v>
                </c:pt>
                <c:pt idx="12893">
                  <c:v>45728</c:v>
                </c:pt>
                <c:pt idx="12894">
                  <c:v>45727</c:v>
                </c:pt>
                <c:pt idx="12895">
                  <c:v>45726</c:v>
                </c:pt>
                <c:pt idx="12896">
                  <c:v>45725</c:v>
                </c:pt>
                <c:pt idx="12897">
                  <c:v>45725</c:v>
                </c:pt>
                <c:pt idx="12898">
                  <c:v>45724</c:v>
                </c:pt>
                <c:pt idx="12899">
                  <c:v>45724</c:v>
                </c:pt>
                <c:pt idx="12900">
                  <c:v>45723</c:v>
                </c:pt>
                <c:pt idx="12901">
                  <c:v>45723</c:v>
                </c:pt>
                <c:pt idx="12902">
                  <c:v>45723</c:v>
                </c:pt>
                <c:pt idx="12903">
                  <c:v>45722</c:v>
                </c:pt>
                <c:pt idx="12904">
                  <c:v>45722</c:v>
                </c:pt>
                <c:pt idx="12905">
                  <c:v>45721</c:v>
                </c:pt>
                <c:pt idx="12906">
                  <c:v>45721</c:v>
                </c:pt>
                <c:pt idx="12907">
                  <c:v>45721</c:v>
                </c:pt>
                <c:pt idx="12908">
                  <c:v>45720</c:v>
                </c:pt>
                <c:pt idx="12909">
                  <c:v>45720</c:v>
                </c:pt>
                <c:pt idx="12910">
                  <c:v>45720</c:v>
                </c:pt>
                <c:pt idx="12911">
                  <c:v>45719</c:v>
                </c:pt>
                <c:pt idx="12912">
                  <c:v>45719</c:v>
                </c:pt>
                <c:pt idx="12913">
                  <c:v>45718</c:v>
                </c:pt>
                <c:pt idx="12914">
                  <c:v>45717</c:v>
                </c:pt>
                <c:pt idx="12915">
                  <c:v>45715</c:v>
                </c:pt>
                <c:pt idx="12916">
                  <c:v>45715</c:v>
                </c:pt>
                <c:pt idx="12917">
                  <c:v>45715</c:v>
                </c:pt>
                <c:pt idx="12918">
                  <c:v>45713</c:v>
                </c:pt>
                <c:pt idx="12919">
                  <c:v>45713</c:v>
                </c:pt>
                <c:pt idx="12920">
                  <c:v>45712</c:v>
                </c:pt>
                <c:pt idx="12921">
                  <c:v>45712</c:v>
                </c:pt>
                <c:pt idx="12922">
                  <c:v>45711</c:v>
                </c:pt>
                <c:pt idx="12923">
                  <c:v>45710</c:v>
                </c:pt>
                <c:pt idx="12924">
                  <c:v>45710</c:v>
                </c:pt>
                <c:pt idx="12925">
                  <c:v>45709</c:v>
                </c:pt>
                <c:pt idx="12926">
                  <c:v>45709</c:v>
                </c:pt>
                <c:pt idx="12927">
                  <c:v>45709</c:v>
                </c:pt>
                <c:pt idx="12928">
                  <c:v>45708</c:v>
                </c:pt>
                <c:pt idx="12929">
                  <c:v>45708</c:v>
                </c:pt>
                <c:pt idx="12930">
                  <c:v>45708</c:v>
                </c:pt>
                <c:pt idx="12931">
                  <c:v>45706</c:v>
                </c:pt>
                <c:pt idx="12932">
                  <c:v>45705</c:v>
                </c:pt>
                <c:pt idx="12933">
                  <c:v>45704</c:v>
                </c:pt>
                <c:pt idx="12934">
                  <c:v>45704</c:v>
                </c:pt>
                <c:pt idx="12935">
                  <c:v>45703</c:v>
                </c:pt>
                <c:pt idx="12936">
                  <c:v>45702</c:v>
                </c:pt>
                <c:pt idx="12937">
                  <c:v>45702</c:v>
                </c:pt>
                <c:pt idx="12938">
                  <c:v>45702</c:v>
                </c:pt>
                <c:pt idx="12939">
                  <c:v>45702</c:v>
                </c:pt>
                <c:pt idx="12940">
                  <c:v>45701</c:v>
                </c:pt>
                <c:pt idx="12941">
                  <c:v>45701</c:v>
                </c:pt>
                <c:pt idx="12942">
                  <c:v>45700</c:v>
                </c:pt>
                <c:pt idx="12943">
                  <c:v>45700</c:v>
                </c:pt>
                <c:pt idx="12944">
                  <c:v>45700</c:v>
                </c:pt>
                <c:pt idx="12945">
                  <c:v>45699</c:v>
                </c:pt>
                <c:pt idx="12946">
                  <c:v>45699</c:v>
                </c:pt>
                <c:pt idx="12947">
                  <c:v>45698</c:v>
                </c:pt>
                <c:pt idx="12948">
                  <c:v>45698</c:v>
                </c:pt>
                <c:pt idx="12949">
                  <c:v>45697</c:v>
                </c:pt>
                <c:pt idx="12950">
                  <c:v>45696</c:v>
                </c:pt>
                <c:pt idx="12951">
                  <c:v>45696</c:v>
                </c:pt>
                <c:pt idx="12952">
                  <c:v>45695</c:v>
                </c:pt>
                <c:pt idx="12953">
                  <c:v>45694</c:v>
                </c:pt>
                <c:pt idx="12954">
                  <c:v>45693</c:v>
                </c:pt>
                <c:pt idx="12955">
                  <c:v>45692</c:v>
                </c:pt>
                <c:pt idx="12956">
                  <c:v>45692</c:v>
                </c:pt>
                <c:pt idx="12957">
                  <c:v>45692</c:v>
                </c:pt>
                <c:pt idx="12958">
                  <c:v>45690</c:v>
                </c:pt>
                <c:pt idx="12959">
                  <c:v>45689</c:v>
                </c:pt>
                <c:pt idx="12960">
                  <c:v>45688</c:v>
                </c:pt>
                <c:pt idx="12961">
                  <c:v>45687</c:v>
                </c:pt>
                <c:pt idx="12962">
                  <c:v>45687</c:v>
                </c:pt>
                <c:pt idx="12963">
                  <c:v>45686</c:v>
                </c:pt>
                <c:pt idx="12964">
                  <c:v>45686</c:v>
                </c:pt>
                <c:pt idx="12965">
                  <c:v>45685</c:v>
                </c:pt>
                <c:pt idx="12966">
                  <c:v>45685</c:v>
                </c:pt>
                <c:pt idx="12967">
                  <c:v>45684</c:v>
                </c:pt>
                <c:pt idx="12968">
                  <c:v>45684</c:v>
                </c:pt>
                <c:pt idx="12969">
                  <c:v>45684</c:v>
                </c:pt>
                <c:pt idx="12970">
                  <c:v>45683</c:v>
                </c:pt>
                <c:pt idx="12971">
                  <c:v>45683</c:v>
                </c:pt>
                <c:pt idx="12972">
                  <c:v>45683</c:v>
                </c:pt>
                <c:pt idx="12973">
                  <c:v>45682</c:v>
                </c:pt>
                <c:pt idx="12974">
                  <c:v>45682</c:v>
                </c:pt>
                <c:pt idx="12975">
                  <c:v>45682</c:v>
                </c:pt>
                <c:pt idx="12976">
                  <c:v>45681</c:v>
                </c:pt>
                <c:pt idx="12977">
                  <c:v>45681</c:v>
                </c:pt>
                <c:pt idx="12978">
                  <c:v>45680</c:v>
                </c:pt>
                <c:pt idx="12979">
                  <c:v>45680</c:v>
                </c:pt>
                <c:pt idx="12980">
                  <c:v>45679</c:v>
                </c:pt>
                <c:pt idx="12981">
                  <c:v>45678</c:v>
                </c:pt>
                <c:pt idx="12982">
                  <c:v>45678</c:v>
                </c:pt>
                <c:pt idx="12983">
                  <c:v>45676</c:v>
                </c:pt>
                <c:pt idx="12984">
                  <c:v>45676</c:v>
                </c:pt>
                <c:pt idx="12985">
                  <c:v>45676</c:v>
                </c:pt>
                <c:pt idx="12986">
                  <c:v>45676</c:v>
                </c:pt>
                <c:pt idx="12987">
                  <c:v>45675</c:v>
                </c:pt>
                <c:pt idx="12988">
                  <c:v>45674</c:v>
                </c:pt>
                <c:pt idx="12989">
                  <c:v>45674</c:v>
                </c:pt>
                <c:pt idx="12990">
                  <c:v>45674</c:v>
                </c:pt>
                <c:pt idx="12991">
                  <c:v>45673</c:v>
                </c:pt>
                <c:pt idx="12992">
                  <c:v>45671</c:v>
                </c:pt>
                <c:pt idx="12993">
                  <c:v>45670</c:v>
                </c:pt>
                <c:pt idx="12994">
                  <c:v>45669</c:v>
                </c:pt>
                <c:pt idx="12995">
                  <c:v>45668</c:v>
                </c:pt>
                <c:pt idx="12996">
                  <c:v>45668</c:v>
                </c:pt>
                <c:pt idx="12997">
                  <c:v>45667</c:v>
                </c:pt>
                <c:pt idx="12998">
                  <c:v>45666</c:v>
                </c:pt>
                <c:pt idx="12999">
                  <c:v>45666</c:v>
                </c:pt>
                <c:pt idx="13000">
                  <c:v>45665</c:v>
                </c:pt>
                <c:pt idx="13001">
                  <c:v>45665</c:v>
                </c:pt>
                <c:pt idx="13002">
                  <c:v>45665</c:v>
                </c:pt>
                <c:pt idx="13003">
                  <c:v>45664</c:v>
                </c:pt>
                <c:pt idx="13004">
                  <c:v>45663</c:v>
                </c:pt>
                <c:pt idx="13005">
                  <c:v>45662</c:v>
                </c:pt>
                <c:pt idx="13006">
                  <c:v>45660</c:v>
                </c:pt>
                <c:pt idx="13007">
                  <c:v>45660</c:v>
                </c:pt>
                <c:pt idx="13008">
                  <c:v>45659</c:v>
                </c:pt>
                <c:pt idx="13009">
                  <c:v>45658</c:v>
                </c:pt>
                <c:pt idx="13010">
                  <c:v>45657</c:v>
                </c:pt>
                <c:pt idx="13011">
                  <c:v>45657</c:v>
                </c:pt>
                <c:pt idx="13012">
                  <c:v>45657</c:v>
                </c:pt>
                <c:pt idx="13013">
                  <c:v>45657</c:v>
                </c:pt>
                <c:pt idx="13014">
                  <c:v>45656</c:v>
                </c:pt>
                <c:pt idx="13015">
                  <c:v>45656</c:v>
                </c:pt>
                <c:pt idx="13016">
                  <c:v>45655</c:v>
                </c:pt>
                <c:pt idx="13017">
                  <c:v>45655</c:v>
                </c:pt>
                <c:pt idx="13018">
                  <c:v>45654</c:v>
                </c:pt>
                <c:pt idx="13019">
                  <c:v>45654</c:v>
                </c:pt>
                <c:pt idx="13020">
                  <c:v>45654</c:v>
                </c:pt>
                <c:pt idx="13021">
                  <c:v>45653</c:v>
                </c:pt>
                <c:pt idx="13022">
                  <c:v>45653</c:v>
                </c:pt>
                <c:pt idx="13023">
                  <c:v>45653</c:v>
                </c:pt>
                <c:pt idx="13024">
                  <c:v>45651</c:v>
                </c:pt>
                <c:pt idx="13025">
                  <c:v>45650</c:v>
                </c:pt>
                <c:pt idx="13026">
                  <c:v>45650</c:v>
                </c:pt>
                <c:pt idx="13027">
                  <c:v>45649</c:v>
                </c:pt>
                <c:pt idx="13028">
                  <c:v>45648</c:v>
                </c:pt>
                <c:pt idx="13029">
                  <c:v>45648</c:v>
                </c:pt>
                <c:pt idx="13030">
                  <c:v>45648</c:v>
                </c:pt>
                <c:pt idx="13031">
                  <c:v>45647</c:v>
                </c:pt>
                <c:pt idx="13032">
                  <c:v>45646</c:v>
                </c:pt>
                <c:pt idx="13033">
                  <c:v>45646</c:v>
                </c:pt>
                <c:pt idx="13034">
                  <c:v>45646</c:v>
                </c:pt>
                <c:pt idx="13035">
                  <c:v>45645</c:v>
                </c:pt>
                <c:pt idx="13036">
                  <c:v>45644</c:v>
                </c:pt>
                <c:pt idx="13037">
                  <c:v>45644</c:v>
                </c:pt>
                <c:pt idx="13038">
                  <c:v>45642</c:v>
                </c:pt>
                <c:pt idx="13039">
                  <c:v>45641</c:v>
                </c:pt>
                <c:pt idx="13040">
                  <c:v>45640</c:v>
                </c:pt>
                <c:pt idx="13041">
                  <c:v>45640</c:v>
                </c:pt>
                <c:pt idx="13042">
                  <c:v>45640</c:v>
                </c:pt>
                <c:pt idx="13043">
                  <c:v>45640</c:v>
                </c:pt>
                <c:pt idx="13044">
                  <c:v>45640</c:v>
                </c:pt>
                <c:pt idx="13045">
                  <c:v>45639</c:v>
                </c:pt>
                <c:pt idx="13046">
                  <c:v>45639</c:v>
                </c:pt>
                <c:pt idx="13047">
                  <c:v>45638</c:v>
                </c:pt>
                <c:pt idx="13048">
                  <c:v>45638</c:v>
                </c:pt>
                <c:pt idx="13049">
                  <c:v>45637</c:v>
                </c:pt>
                <c:pt idx="13050">
                  <c:v>45637</c:v>
                </c:pt>
                <c:pt idx="13051">
                  <c:v>45637</c:v>
                </c:pt>
                <c:pt idx="13052">
                  <c:v>45637</c:v>
                </c:pt>
                <c:pt idx="13053">
                  <c:v>45636</c:v>
                </c:pt>
                <c:pt idx="13054">
                  <c:v>45636</c:v>
                </c:pt>
                <c:pt idx="13055">
                  <c:v>45636</c:v>
                </c:pt>
                <c:pt idx="13056">
                  <c:v>45635</c:v>
                </c:pt>
                <c:pt idx="13057">
                  <c:v>45635</c:v>
                </c:pt>
                <c:pt idx="13058">
                  <c:v>45635</c:v>
                </c:pt>
                <c:pt idx="13059">
                  <c:v>45634</c:v>
                </c:pt>
                <c:pt idx="13060">
                  <c:v>45634</c:v>
                </c:pt>
                <c:pt idx="13061">
                  <c:v>45634</c:v>
                </c:pt>
                <c:pt idx="13062">
                  <c:v>45633</c:v>
                </c:pt>
                <c:pt idx="13063">
                  <c:v>45633</c:v>
                </c:pt>
                <c:pt idx="13064">
                  <c:v>45633</c:v>
                </c:pt>
                <c:pt idx="13065">
                  <c:v>45633</c:v>
                </c:pt>
                <c:pt idx="13066">
                  <c:v>45632</c:v>
                </c:pt>
                <c:pt idx="13067">
                  <c:v>45632</c:v>
                </c:pt>
                <c:pt idx="13068">
                  <c:v>45630</c:v>
                </c:pt>
                <c:pt idx="13069">
                  <c:v>45629</c:v>
                </c:pt>
                <c:pt idx="13070">
                  <c:v>45629</c:v>
                </c:pt>
                <c:pt idx="13071">
                  <c:v>45628</c:v>
                </c:pt>
                <c:pt idx="13072">
                  <c:v>45628</c:v>
                </c:pt>
                <c:pt idx="13073">
                  <c:v>45628</c:v>
                </c:pt>
                <c:pt idx="13074">
                  <c:v>45627</c:v>
                </c:pt>
                <c:pt idx="13075">
                  <c:v>45626</c:v>
                </c:pt>
                <c:pt idx="13076">
                  <c:v>45625</c:v>
                </c:pt>
                <c:pt idx="13077">
                  <c:v>45625</c:v>
                </c:pt>
                <c:pt idx="13078">
                  <c:v>45624</c:v>
                </c:pt>
                <c:pt idx="13079">
                  <c:v>45623</c:v>
                </c:pt>
                <c:pt idx="13080">
                  <c:v>45623</c:v>
                </c:pt>
                <c:pt idx="13081">
                  <c:v>45622</c:v>
                </c:pt>
                <c:pt idx="13082">
                  <c:v>45622</c:v>
                </c:pt>
                <c:pt idx="13083">
                  <c:v>45622</c:v>
                </c:pt>
                <c:pt idx="13084">
                  <c:v>45622</c:v>
                </c:pt>
                <c:pt idx="13085">
                  <c:v>45621</c:v>
                </c:pt>
                <c:pt idx="13086">
                  <c:v>45621</c:v>
                </c:pt>
                <c:pt idx="13087">
                  <c:v>45620</c:v>
                </c:pt>
                <c:pt idx="13088">
                  <c:v>45620</c:v>
                </c:pt>
                <c:pt idx="13089">
                  <c:v>45619</c:v>
                </c:pt>
                <c:pt idx="13090">
                  <c:v>45619</c:v>
                </c:pt>
                <c:pt idx="13091">
                  <c:v>45619</c:v>
                </c:pt>
                <c:pt idx="13092">
                  <c:v>45618</c:v>
                </c:pt>
                <c:pt idx="13093">
                  <c:v>45618</c:v>
                </c:pt>
                <c:pt idx="13094">
                  <c:v>45618</c:v>
                </c:pt>
                <c:pt idx="13095">
                  <c:v>45617</c:v>
                </c:pt>
                <c:pt idx="13096">
                  <c:v>45617</c:v>
                </c:pt>
                <c:pt idx="13097">
                  <c:v>45617</c:v>
                </c:pt>
                <c:pt idx="13098">
                  <c:v>45616</c:v>
                </c:pt>
                <c:pt idx="13099">
                  <c:v>45616</c:v>
                </c:pt>
                <c:pt idx="13100">
                  <c:v>45616</c:v>
                </c:pt>
                <c:pt idx="13101">
                  <c:v>45615</c:v>
                </c:pt>
                <c:pt idx="13102">
                  <c:v>45614</c:v>
                </c:pt>
                <c:pt idx="13103">
                  <c:v>45614</c:v>
                </c:pt>
                <c:pt idx="13104">
                  <c:v>45613</c:v>
                </c:pt>
                <c:pt idx="13105">
                  <c:v>45613</c:v>
                </c:pt>
                <c:pt idx="13106">
                  <c:v>45612</c:v>
                </c:pt>
                <c:pt idx="13107">
                  <c:v>45612</c:v>
                </c:pt>
                <c:pt idx="13108">
                  <c:v>45612</c:v>
                </c:pt>
                <c:pt idx="13109">
                  <c:v>45612</c:v>
                </c:pt>
                <c:pt idx="13110">
                  <c:v>45611</c:v>
                </c:pt>
                <c:pt idx="13111">
                  <c:v>45610</c:v>
                </c:pt>
                <c:pt idx="13112">
                  <c:v>45610</c:v>
                </c:pt>
                <c:pt idx="13113">
                  <c:v>45609</c:v>
                </c:pt>
                <c:pt idx="13114">
                  <c:v>45609</c:v>
                </c:pt>
                <c:pt idx="13115">
                  <c:v>45609</c:v>
                </c:pt>
                <c:pt idx="13116">
                  <c:v>45608</c:v>
                </c:pt>
                <c:pt idx="13117">
                  <c:v>45608</c:v>
                </c:pt>
                <c:pt idx="13118">
                  <c:v>45607</c:v>
                </c:pt>
                <c:pt idx="13119">
                  <c:v>45607</c:v>
                </c:pt>
                <c:pt idx="13120">
                  <c:v>45606</c:v>
                </c:pt>
                <c:pt idx="13121">
                  <c:v>45606</c:v>
                </c:pt>
                <c:pt idx="13122">
                  <c:v>45605</c:v>
                </c:pt>
                <c:pt idx="13123">
                  <c:v>45605</c:v>
                </c:pt>
                <c:pt idx="13124">
                  <c:v>45603</c:v>
                </c:pt>
                <c:pt idx="13125">
                  <c:v>45602</c:v>
                </c:pt>
                <c:pt idx="13126">
                  <c:v>45602</c:v>
                </c:pt>
                <c:pt idx="13127">
                  <c:v>45602</c:v>
                </c:pt>
                <c:pt idx="13128">
                  <c:v>45601</c:v>
                </c:pt>
                <c:pt idx="13129">
                  <c:v>45599</c:v>
                </c:pt>
                <c:pt idx="13130">
                  <c:v>45599</c:v>
                </c:pt>
                <c:pt idx="13131">
                  <c:v>45599</c:v>
                </c:pt>
                <c:pt idx="13132">
                  <c:v>45598</c:v>
                </c:pt>
                <c:pt idx="13133">
                  <c:v>45598</c:v>
                </c:pt>
                <c:pt idx="13134">
                  <c:v>45597</c:v>
                </c:pt>
                <c:pt idx="13135">
                  <c:v>45597</c:v>
                </c:pt>
                <c:pt idx="13136">
                  <c:v>45597</c:v>
                </c:pt>
                <c:pt idx="13137">
                  <c:v>45595</c:v>
                </c:pt>
                <c:pt idx="13138">
                  <c:v>45595</c:v>
                </c:pt>
                <c:pt idx="13139">
                  <c:v>45595</c:v>
                </c:pt>
                <c:pt idx="13140">
                  <c:v>45594</c:v>
                </c:pt>
                <c:pt idx="13141">
                  <c:v>45594</c:v>
                </c:pt>
                <c:pt idx="13142">
                  <c:v>45594</c:v>
                </c:pt>
                <c:pt idx="13143">
                  <c:v>45593</c:v>
                </c:pt>
                <c:pt idx="13144">
                  <c:v>45592</c:v>
                </c:pt>
                <c:pt idx="13145">
                  <c:v>45591</c:v>
                </c:pt>
                <c:pt idx="13146">
                  <c:v>45591</c:v>
                </c:pt>
                <c:pt idx="13147">
                  <c:v>45591</c:v>
                </c:pt>
                <c:pt idx="13148">
                  <c:v>45590</c:v>
                </c:pt>
                <c:pt idx="13149">
                  <c:v>45590</c:v>
                </c:pt>
                <c:pt idx="13150">
                  <c:v>45590</c:v>
                </c:pt>
                <c:pt idx="13151">
                  <c:v>45589</c:v>
                </c:pt>
                <c:pt idx="13152">
                  <c:v>45589</c:v>
                </c:pt>
                <c:pt idx="13153">
                  <c:v>45588</c:v>
                </c:pt>
                <c:pt idx="13154">
                  <c:v>45588</c:v>
                </c:pt>
                <c:pt idx="13155">
                  <c:v>45588</c:v>
                </c:pt>
                <c:pt idx="13156">
                  <c:v>45587</c:v>
                </c:pt>
                <c:pt idx="13157">
                  <c:v>45586</c:v>
                </c:pt>
                <c:pt idx="13158">
                  <c:v>45586</c:v>
                </c:pt>
                <c:pt idx="13159">
                  <c:v>45585</c:v>
                </c:pt>
                <c:pt idx="13160">
                  <c:v>45585</c:v>
                </c:pt>
                <c:pt idx="13161">
                  <c:v>45584</c:v>
                </c:pt>
                <c:pt idx="13162">
                  <c:v>45584</c:v>
                </c:pt>
                <c:pt idx="13163">
                  <c:v>45583</c:v>
                </c:pt>
                <c:pt idx="13164">
                  <c:v>45583</c:v>
                </c:pt>
                <c:pt idx="13165">
                  <c:v>45583</c:v>
                </c:pt>
                <c:pt idx="13166">
                  <c:v>45583</c:v>
                </c:pt>
                <c:pt idx="13167">
                  <c:v>45583</c:v>
                </c:pt>
                <c:pt idx="13168">
                  <c:v>45583</c:v>
                </c:pt>
                <c:pt idx="13169">
                  <c:v>45582</c:v>
                </c:pt>
                <c:pt idx="13170">
                  <c:v>45582</c:v>
                </c:pt>
                <c:pt idx="13171">
                  <c:v>45582</c:v>
                </c:pt>
                <c:pt idx="13172">
                  <c:v>45580</c:v>
                </c:pt>
                <c:pt idx="13173">
                  <c:v>45580</c:v>
                </c:pt>
                <c:pt idx="13174">
                  <c:v>45579</c:v>
                </c:pt>
                <c:pt idx="13175">
                  <c:v>45579</c:v>
                </c:pt>
                <c:pt idx="13176">
                  <c:v>45579</c:v>
                </c:pt>
                <c:pt idx="13177">
                  <c:v>45579</c:v>
                </c:pt>
                <c:pt idx="13178">
                  <c:v>45579</c:v>
                </c:pt>
                <c:pt idx="13179">
                  <c:v>45578</c:v>
                </c:pt>
                <c:pt idx="13180">
                  <c:v>45578</c:v>
                </c:pt>
                <c:pt idx="13181">
                  <c:v>45577</c:v>
                </c:pt>
                <c:pt idx="13182">
                  <c:v>45577</c:v>
                </c:pt>
                <c:pt idx="13183">
                  <c:v>45576</c:v>
                </c:pt>
                <c:pt idx="13184">
                  <c:v>45576</c:v>
                </c:pt>
                <c:pt idx="13185">
                  <c:v>45575</c:v>
                </c:pt>
                <c:pt idx="13186">
                  <c:v>45575</c:v>
                </c:pt>
                <c:pt idx="13187">
                  <c:v>45574</c:v>
                </c:pt>
                <c:pt idx="13188">
                  <c:v>45574</c:v>
                </c:pt>
                <c:pt idx="13189">
                  <c:v>45574</c:v>
                </c:pt>
                <c:pt idx="13190">
                  <c:v>45573</c:v>
                </c:pt>
                <c:pt idx="13191">
                  <c:v>45573</c:v>
                </c:pt>
                <c:pt idx="13192">
                  <c:v>45572</c:v>
                </c:pt>
                <c:pt idx="13193">
                  <c:v>45571</c:v>
                </c:pt>
                <c:pt idx="13194">
                  <c:v>45571</c:v>
                </c:pt>
                <c:pt idx="13195">
                  <c:v>45570</c:v>
                </c:pt>
                <c:pt idx="13196">
                  <c:v>45569</c:v>
                </c:pt>
                <c:pt idx="13197">
                  <c:v>45569</c:v>
                </c:pt>
                <c:pt idx="13198">
                  <c:v>45568</c:v>
                </c:pt>
                <c:pt idx="13199">
                  <c:v>45568</c:v>
                </c:pt>
                <c:pt idx="13200">
                  <c:v>45567</c:v>
                </c:pt>
                <c:pt idx="13201">
                  <c:v>45567</c:v>
                </c:pt>
                <c:pt idx="13202">
                  <c:v>45567</c:v>
                </c:pt>
                <c:pt idx="13203">
                  <c:v>45567</c:v>
                </c:pt>
                <c:pt idx="13204">
                  <c:v>45567</c:v>
                </c:pt>
                <c:pt idx="13205">
                  <c:v>45566</c:v>
                </c:pt>
                <c:pt idx="13206">
                  <c:v>45565</c:v>
                </c:pt>
                <c:pt idx="13207">
                  <c:v>45564</c:v>
                </c:pt>
                <c:pt idx="13208">
                  <c:v>45564</c:v>
                </c:pt>
                <c:pt idx="13209">
                  <c:v>45564</c:v>
                </c:pt>
                <c:pt idx="13210">
                  <c:v>45563</c:v>
                </c:pt>
                <c:pt idx="13211">
                  <c:v>45563</c:v>
                </c:pt>
                <c:pt idx="13212">
                  <c:v>45562</c:v>
                </c:pt>
                <c:pt idx="13213">
                  <c:v>45561</c:v>
                </c:pt>
                <c:pt idx="13214">
                  <c:v>45561</c:v>
                </c:pt>
                <c:pt idx="13215">
                  <c:v>45561</c:v>
                </c:pt>
                <c:pt idx="13216">
                  <c:v>45561</c:v>
                </c:pt>
                <c:pt idx="13217">
                  <c:v>45560</c:v>
                </c:pt>
                <c:pt idx="13218">
                  <c:v>45560</c:v>
                </c:pt>
                <c:pt idx="13219">
                  <c:v>45559</c:v>
                </c:pt>
                <c:pt idx="13220">
                  <c:v>45559</c:v>
                </c:pt>
                <c:pt idx="13221">
                  <c:v>45559</c:v>
                </c:pt>
                <c:pt idx="13222">
                  <c:v>45559</c:v>
                </c:pt>
                <c:pt idx="13223">
                  <c:v>45558</c:v>
                </c:pt>
                <c:pt idx="13224">
                  <c:v>45558</c:v>
                </c:pt>
                <c:pt idx="13225">
                  <c:v>45558</c:v>
                </c:pt>
                <c:pt idx="13226">
                  <c:v>45557</c:v>
                </c:pt>
                <c:pt idx="13227">
                  <c:v>45556</c:v>
                </c:pt>
                <c:pt idx="13228">
                  <c:v>45555</c:v>
                </c:pt>
                <c:pt idx="13229">
                  <c:v>45554</c:v>
                </c:pt>
                <c:pt idx="13230">
                  <c:v>45554</c:v>
                </c:pt>
                <c:pt idx="13231">
                  <c:v>45554</c:v>
                </c:pt>
                <c:pt idx="13232">
                  <c:v>45554</c:v>
                </c:pt>
                <c:pt idx="13233">
                  <c:v>45553</c:v>
                </c:pt>
                <c:pt idx="13234">
                  <c:v>45553</c:v>
                </c:pt>
                <c:pt idx="13235">
                  <c:v>45553</c:v>
                </c:pt>
                <c:pt idx="13236">
                  <c:v>45553</c:v>
                </c:pt>
                <c:pt idx="13237">
                  <c:v>45552</c:v>
                </c:pt>
                <c:pt idx="13238">
                  <c:v>45551</c:v>
                </c:pt>
                <c:pt idx="13239">
                  <c:v>45551</c:v>
                </c:pt>
                <c:pt idx="13240">
                  <c:v>45551</c:v>
                </c:pt>
                <c:pt idx="13241">
                  <c:v>45551</c:v>
                </c:pt>
                <c:pt idx="13242">
                  <c:v>45550</c:v>
                </c:pt>
                <c:pt idx="13243">
                  <c:v>45550</c:v>
                </c:pt>
                <c:pt idx="13244">
                  <c:v>45549</c:v>
                </c:pt>
                <c:pt idx="13245">
                  <c:v>45549</c:v>
                </c:pt>
                <c:pt idx="13246">
                  <c:v>45549</c:v>
                </c:pt>
                <c:pt idx="13247">
                  <c:v>45548</c:v>
                </c:pt>
                <c:pt idx="13248">
                  <c:v>45548</c:v>
                </c:pt>
                <c:pt idx="13249">
                  <c:v>45548</c:v>
                </c:pt>
                <c:pt idx="13250">
                  <c:v>45547</c:v>
                </c:pt>
                <c:pt idx="13251">
                  <c:v>45547</c:v>
                </c:pt>
                <c:pt idx="13252">
                  <c:v>45547</c:v>
                </c:pt>
                <c:pt idx="13253">
                  <c:v>45547</c:v>
                </c:pt>
                <c:pt idx="13254">
                  <c:v>45546</c:v>
                </c:pt>
                <c:pt idx="13255">
                  <c:v>45545</c:v>
                </c:pt>
                <c:pt idx="13256">
                  <c:v>45545</c:v>
                </c:pt>
                <c:pt idx="13257">
                  <c:v>45544</c:v>
                </c:pt>
                <c:pt idx="13258">
                  <c:v>45544</c:v>
                </c:pt>
                <c:pt idx="13259">
                  <c:v>45544</c:v>
                </c:pt>
                <c:pt idx="13260">
                  <c:v>45542</c:v>
                </c:pt>
                <c:pt idx="13261">
                  <c:v>45542</c:v>
                </c:pt>
                <c:pt idx="13262">
                  <c:v>45541</c:v>
                </c:pt>
                <c:pt idx="13263">
                  <c:v>45540</c:v>
                </c:pt>
                <c:pt idx="13264">
                  <c:v>45539</c:v>
                </c:pt>
                <c:pt idx="13265">
                  <c:v>45539</c:v>
                </c:pt>
                <c:pt idx="13266">
                  <c:v>45538</c:v>
                </c:pt>
                <c:pt idx="13267">
                  <c:v>45538</c:v>
                </c:pt>
                <c:pt idx="13268">
                  <c:v>45538</c:v>
                </c:pt>
                <c:pt idx="13269">
                  <c:v>45537</c:v>
                </c:pt>
                <c:pt idx="13270">
                  <c:v>45537</c:v>
                </c:pt>
                <c:pt idx="13271">
                  <c:v>45536</c:v>
                </c:pt>
                <c:pt idx="13272">
                  <c:v>45536</c:v>
                </c:pt>
                <c:pt idx="13273">
                  <c:v>45535</c:v>
                </c:pt>
                <c:pt idx="13274">
                  <c:v>45535</c:v>
                </c:pt>
                <c:pt idx="13275">
                  <c:v>45534</c:v>
                </c:pt>
                <c:pt idx="13276">
                  <c:v>45534</c:v>
                </c:pt>
                <c:pt idx="13277">
                  <c:v>45534</c:v>
                </c:pt>
                <c:pt idx="13278">
                  <c:v>45534</c:v>
                </c:pt>
                <c:pt idx="13279">
                  <c:v>45533</c:v>
                </c:pt>
                <c:pt idx="13280">
                  <c:v>45531</c:v>
                </c:pt>
                <c:pt idx="13281">
                  <c:v>45530</c:v>
                </c:pt>
                <c:pt idx="13282">
                  <c:v>45529</c:v>
                </c:pt>
                <c:pt idx="13283">
                  <c:v>45529</c:v>
                </c:pt>
                <c:pt idx="13284">
                  <c:v>45529</c:v>
                </c:pt>
                <c:pt idx="13285">
                  <c:v>45529</c:v>
                </c:pt>
                <c:pt idx="13286">
                  <c:v>45528</c:v>
                </c:pt>
                <c:pt idx="13287">
                  <c:v>45528</c:v>
                </c:pt>
                <c:pt idx="13288">
                  <c:v>45528</c:v>
                </c:pt>
                <c:pt idx="13289">
                  <c:v>45528</c:v>
                </c:pt>
                <c:pt idx="13290">
                  <c:v>45528</c:v>
                </c:pt>
                <c:pt idx="13291">
                  <c:v>45527</c:v>
                </c:pt>
                <c:pt idx="13292">
                  <c:v>45527</c:v>
                </c:pt>
                <c:pt idx="13293">
                  <c:v>45526</c:v>
                </c:pt>
                <c:pt idx="13294">
                  <c:v>45526</c:v>
                </c:pt>
                <c:pt idx="13295">
                  <c:v>45526</c:v>
                </c:pt>
                <c:pt idx="13296">
                  <c:v>45525</c:v>
                </c:pt>
                <c:pt idx="13297">
                  <c:v>45525</c:v>
                </c:pt>
                <c:pt idx="13298">
                  <c:v>45525</c:v>
                </c:pt>
                <c:pt idx="13299">
                  <c:v>45525</c:v>
                </c:pt>
                <c:pt idx="13300">
                  <c:v>45525</c:v>
                </c:pt>
                <c:pt idx="13301">
                  <c:v>45524</c:v>
                </c:pt>
                <c:pt idx="13302">
                  <c:v>45523</c:v>
                </c:pt>
                <c:pt idx="13303">
                  <c:v>45523</c:v>
                </c:pt>
                <c:pt idx="13304">
                  <c:v>45523</c:v>
                </c:pt>
                <c:pt idx="13305">
                  <c:v>45522</c:v>
                </c:pt>
                <c:pt idx="13306">
                  <c:v>45522</c:v>
                </c:pt>
                <c:pt idx="13307">
                  <c:v>45520</c:v>
                </c:pt>
                <c:pt idx="13308">
                  <c:v>45519</c:v>
                </c:pt>
                <c:pt idx="13309">
                  <c:v>45518</c:v>
                </c:pt>
                <c:pt idx="13310">
                  <c:v>45518</c:v>
                </c:pt>
                <c:pt idx="13311">
                  <c:v>45517</c:v>
                </c:pt>
                <c:pt idx="13312">
                  <c:v>45516</c:v>
                </c:pt>
                <c:pt idx="13313">
                  <c:v>45516</c:v>
                </c:pt>
                <c:pt idx="13314">
                  <c:v>45516</c:v>
                </c:pt>
                <c:pt idx="13315">
                  <c:v>45516</c:v>
                </c:pt>
                <c:pt idx="13316">
                  <c:v>45516</c:v>
                </c:pt>
                <c:pt idx="13317">
                  <c:v>45515</c:v>
                </c:pt>
                <c:pt idx="13318">
                  <c:v>45515</c:v>
                </c:pt>
                <c:pt idx="13319">
                  <c:v>45515</c:v>
                </c:pt>
                <c:pt idx="13320">
                  <c:v>45515</c:v>
                </c:pt>
                <c:pt idx="13321">
                  <c:v>45514</c:v>
                </c:pt>
                <c:pt idx="13322">
                  <c:v>45514</c:v>
                </c:pt>
                <c:pt idx="13323">
                  <c:v>45513</c:v>
                </c:pt>
                <c:pt idx="13324">
                  <c:v>45512</c:v>
                </c:pt>
                <c:pt idx="13325">
                  <c:v>45512</c:v>
                </c:pt>
                <c:pt idx="13326">
                  <c:v>45512</c:v>
                </c:pt>
                <c:pt idx="13327">
                  <c:v>45512</c:v>
                </c:pt>
                <c:pt idx="13328">
                  <c:v>45509</c:v>
                </c:pt>
                <c:pt idx="13329">
                  <c:v>45508</c:v>
                </c:pt>
                <c:pt idx="13330">
                  <c:v>45508</c:v>
                </c:pt>
                <c:pt idx="13331">
                  <c:v>45507</c:v>
                </c:pt>
                <c:pt idx="13332">
                  <c:v>45507</c:v>
                </c:pt>
                <c:pt idx="13333">
                  <c:v>45507</c:v>
                </c:pt>
                <c:pt idx="13334">
                  <c:v>45506</c:v>
                </c:pt>
                <c:pt idx="13335">
                  <c:v>45506</c:v>
                </c:pt>
                <c:pt idx="13336">
                  <c:v>45506</c:v>
                </c:pt>
                <c:pt idx="13337">
                  <c:v>45505</c:v>
                </c:pt>
                <c:pt idx="13338">
                  <c:v>45505</c:v>
                </c:pt>
                <c:pt idx="13339">
                  <c:v>45505</c:v>
                </c:pt>
                <c:pt idx="13340">
                  <c:v>45504</c:v>
                </c:pt>
                <c:pt idx="13341">
                  <c:v>45504</c:v>
                </c:pt>
                <c:pt idx="13342">
                  <c:v>45502</c:v>
                </c:pt>
                <c:pt idx="13343">
                  <c:v>45502</c:v>
                </c:pt>
                <c:pt idx="13344">
                  <c:v>45500</c:v>
                </c:pt>
                <c:pt idx="13345">
                  <c:v>45500</c:v>
                </c:pt>
                <c:pt idx="13346">
                  <c:v>45500</c:v>
                </c:pt>
                <c:pt idx="13347">
                  <c:v>45499</c:v>
                </c:pt>
                <c:pt idx="13348">
                  <c:v>45498</c:v>
                </c:pt>
                <c:pt idx="13349">
                  <c:v>45497</c:v>
                </c:pt>
                <c:pt idx="13350">
                  <c:v>45497</c:v>
                </c:pt>
                <c:pt idx="13351">
                  <c:v>45496</c:v>
                </c:pt>
                <c:pt idx="13352">
                  <c:v>45496</c:v>
                </c:pt>
                <c:pt idx="13353">
                  <c:v>45495</c:v>
                </c:pt>
                <c:pt idx="13354">
                  <c:v>45495</c:v>
                </c:pt>
                <c:pt idx="13355">
                  <c:v>45494</c:v>
                </c:pt>
                <c:pt idx="13356">
                  <c:v>45494</c:v>
                </c:pt>
                <c:pt idx="13357">
                  <c:v>45493</c:v>
                </c:pt>
                <c:pt idx="13358">
                  <c:v>45493</c:v>
                </c:pt>
                <c:pt idx="13359">
                  <c:v>45492</c:v>
                </c:pt>
                <c:pt idx="13360">
                  <c:v>45492</c:v>
                </c:pt>
                <c:pt idx="13361">
                  <c:v>45492</c:v>
                </c:pt>
                <c:pt idx="13362">
                  <c:v>45491</c:v>
                </c:pt>
                <c:pt idx="13363">
                  <c:v>45491</c:v>
                </c:pt>
                <c:pt idx="13364">
                  <c:v>45491</c:v>
                </c:pt>
                <c:pt idx="13365">
                  <c:v>45490</c:v>
                </c:pt>
                <c:pt idx="13366">
                  <c:v>45490</c:v>
                </c:pt>
                <c:pt idx="13367">
                  <c:v>45490</c:v>
                </c:pt>
                <c:pt idx="13368">
                  <c:v>45489</c:v>
                </c:pt>
                <c:pt idx="13369">
                  <c:v>45489</c:v>
                </c:pt>
                <c:pt idx="13370">
                  <c:v>45489</c:v>
                </c:pt>
                <c:pt idx="13371">
                  <c:v>45489</c:v>
                </c:pt>
                <c:pt idx="13372">
                  <c:v>45489</c:v>
                </c:pt>
                <c:pt idx="13373">
                  <c:v>45488</c:v>
                </c:pt>
                <c:pt idx="13374">
                  <c:v>45488</c:v>
                </c:pt>
                <c:pt idx="13375">
                  <c:v>45487</c:v>
                </c:pt>
                <c:pt idx="13376">
                  <c:v>45487</c:v>
                </c:pt>
                <c:pt idx="13377">
                  <c:v>45487</c:v>
                </c:pt>
                <c:pt idx="13378">
                  <c:v>45487</c:v>
                </c:pt>
                <c:pt idx="13379">
                  <c:v>45485</c:v>
                </c:pt>
                <c:pt idx="13380">
                  <c:v>45485</c:v>
                </c:pt>
                <c:pt idx="13381">
                  <c:v>45484</c:v>
                </c:pt>
                <c:pt idx="13382">
                  <c:v>45484</c:v>
                </c:pt>
                <c:pt idx="13383">
                  <c:v>45483</c:v>
                </c:pt>
                <c:pt idx="13384">
                  <c:v>45481</c:v>
                </c:pt>
                <c:pt idx="13385">
                  <c:v>45480</c:v>
                </c:pt>
                <c:pt idx="13386">
                  <c:v>45480</c:v>
                </c:pt>
                <c:pt idx="13387">
                  <c:v>45480</c:v>
                </c:pt>
                <c:pt idx="13388">
                  <c:v>45480</c:v>
                </c:pt>
                <c:pt idx="13389">
                  <c:v>45480</c:v>
                </c:pt>
                <c:pt idx="13390">
                  <c:v>45480</c:v>
                </c:pt>
                <c:pt idx="13391">
                  <c:v>45479</c:v>
                </c:pt>
                <c:pt idx="13392">
                  <c:v>45479</c:v>
                </c:pt>
                <c:pt idx="13393">
                  <c:v>45478</c:v>
                </c:pt>
                <c:pt idx="13394">
                  <c:v>45478</c:v>
                </c:pt>
                <c:pt idx="13395">
                  <c:v>45478</c:v>
                </c:pt>
                <c:pt idx="13396">
                  <c:v>45477</c:v>
                </c:pt>
                <c:pt idx="13397">
                  <c:v>45476</c:v>
                </c:pt>
                <c:pt idx="13398">
                  <c:v>45476</c:v>
                </c:pt>
                <c:pt idx="13399">
                  <c:v>45475</c:v>
                </c:pt>
                <c:pt idx="13400">
                  <c:v>45475</c:v>
                </c:pt>
                <c:pt idx="13401">
                  <c:v>45475</c:v>
                </c:pt>
                <c:pt idx="13402">
                  <c:v>45474</c:v>
                </c:pt>
                <c:pt idx="13403">
                  <c:v>45473</c:v>
                </c:pt>
                <c:pt idx="13404">
                  <c:v>45473</c:v>
                </c:pt>
                <c:pt idx="13405">
                  <c:v>45473</c:v>
                </c:pt>
                <c:pt idx="13406">
                  <c:v>45470</c:v>
                </c:pt>
                <c:pt idx="13407">
                  <c:v>45469</c:v>
                </c:pt>
                <c:pt idx="13408">
                  <c:v>45469</c:v>
                </c:pt>
                <c:pt idx="13409">
                  <c:v>45469</c:v>
                </c:pt>
                <c:pt idx="13410">
                  <c:v>45468</c:v>
                </c:pt>
                <c:pt idx="13411">
                  <c:v>45468</c:v>
                </c:pt>
                <c:pt idx="13412">
                  <c:v>45467</c:v>
                </c:pt>
                <c:pt idx="13413">
                  <c:v>45467</c:v>
                </c:pt>
                <c:pt idx="13414">
                  <c:v>45466</c:v>
                </c:pt>
                <c:pt idx="13415">
                  <c:v>45466</c:v>
                </c:pt>
                <c:pt idx="13416">
                  <c:v>45465</c:v>
                </c:pt>
                <c:pt idx="13417">
                  <c:v>45465</c:v>
                </c:pt>
                <c:pt idx="13418">
                  <c:v>45465</c:v>
                </c:pt>
                <c:pt idx="13419">
                  <c:v>45464</c:v>
                </c:pt>
                <c:pt idx="13420">
                  <c:v>45463</c:v>
                </c:pt>
                <c:pt idx="13421">
                  <c:v>45463</c:v>
                </c:pt>
                <c:pt idx="13422">
                  <c:v>45463</c:v>
                </c:pt>
                <c:pt idx="13423">
                  <c:v>45462</c:v>
                </c:pt>
                <c:pt idx="13424">
                  <c:v>45462</c:v>
                </c:pt>
                <c:pt idx="13425">
                  <c:v>45462</c:v>
                </c:pt>
                <c:pt idx="13426">
                  <c:v>45461</c:v>
                </c:pt>
                <c:pt idx="13427">
                  <c:v>45461</c:v>
                </c:pt>
                <c:pt idx="13428">
                  <c:v>45459</c:v>
                </c:pt>
                <c:pt idx="13429">
                  <c:v>45459</c:v>
                </c:pt>
                <c:pt idx="13430">
                  <c:v>45459</c:v>
                </c:pt>
                <c:pt idx="13431">
                  <c:v>45458</c:v>
                </c:pt>
                <c:pt idx="13432">
                  <c:v>45458</c:v>
                </c:pt>
                <c:pt idx="13433">
                  <c:v>45458</c:v>
                </c:pt>
                <c:pt idx="13434">
                  <c:v>45457</c:v>
                </c:pt>
                <c:pt idx="13435">
                  <c:v>45457</c:v>
                </c:pt>
                <c:pt idx="13436">
                  <c:v>45455</c:v>
                </c:pt>
                <c:pt idx="13437">
                  <c:v>45455</c:v>
                </c:pt>
                <c:pt idx="13438">
                  <c:v>45455</c:v>
                </c:pt>
                <c:pt idx="13439">
                  <c:v>45455</c:v>
                </c:pt>
                <c:pt idx="13440">
                  <c:v>45453</c:v>
                </c:pt>
                <c:pt idx="13441">
                  <c:v>45453</c:v>
                </c:pt>
                <c:pt idx="13442">
                  <c:v>45453</c:v>
                </c:pt>
                <c:pt idx="13443">
                  <c:v>45453</c:v>
                </c:pt>
                <c:pt idx="13444">
                  <c:v>45452</c:v>
                </c:pt>
                <c:pt idx="13445">
                  <c:v>45451</c:v>
                </c:pt>
                <c:pt idx="13446">
                  <c:v>45450</c:v>
                </c:pt>
                <c:pt idx="13447">
                  <c:v>45448</c:v>
                </c:pt>
                <c:pt idx="13448">
                  <c:v>45447</c:v>
                </c:pt>
                <c:pt idx="13449">
                  <c:v>45446</c:v>
                </c:pt>
                <c:pt idx="13450">
                  <c:v>45445</c:v>
                </c:pt>
                <c:pt idx="13451">
                  <c:v>45445</c:v>
                </c:pt>
                <c:pt idx="13452">
                  <c:v>45444</c:v>
                </c:pt>
                <c:pt idx="13453">
                  <c:v>45444</c:v>
                </c:pt>
                <c:pt idx="13454">
                  <c:v>45443</c:v>
                </c:pt>
                <c:pt idx="13455">
                  <c:v>45443</c:v>
                </c:pt>
                <c:pt idx="13456">
                  <c:v>45442</c:v>
                </c:pt>
                <c:pt idx="13457">
                  <c:v>45442</c:v>
                </c:pt>
                <c:pt idx="13458">
                  <c:v>45442</c:v>
                </c:pt>
                <c:pt idx="13459">
                  <c:v>45442</c:v>
                </c:pt>
                <c:pt idx="13460">
                  <c:v>45440</c:v>
                </c:pt>
                <c:pt idx="13461">
                  <c:v>45439</c:v>
                </c:pt>
                <c:pt idx="13462">
                  <c:v>45438</c:v>
                </c:pt>
                <c:pt idx="13463">
                  <c:v>45436</c:v>
                </c:pt>
                <c:pt idx="13464">
                  <c:v>45435</c:v>
                </c:pt>
                <c:pt idx="13465">
                  <c:v>45435</c:v>
                </c:pt>
                <c:pt idx="13466">
                  <c:v>45435</c:v>
                </c:pt>
                <c:pt idx="13467">
                  <c:v>45434</c:v>
                </c:pt>
                <c:pt idx="13468">
                  <c:v>45431</c:v>
                </c:pt>
                <c:pt idx="13469">
                  <c:v>45431</c:v>
                </c:pt>
                <c:pt idx="13470">
                  <c:v>45428</c:v>
                </c:pt>
                <c:pt idx="13471">
                  <c:v>45427</c:v>
                </c:pt>
                <c:pt idx="13472">
                  <c:v>45426</c:v>
                </c:pt>
                <c:pt idx="13473">
                  <c:v>45426</c:v>
                </c:pt>
                <c:pt idx="13474">
                  <c:v>45426</c:v>
                </c:pt>
                <c:pt idx="13475">
                  <c:v>45425</c:v>
                </c:pt>
                <c:pt idx="13476">
                  <c:v>45425</c:v>
                </c:pt>
                <c:pt idx="13477">
                  <c:v>45424</c:v>
                </c:pt>
                <c:pt idx="13478">
                  <c:v>45424</c:v>
                </c:pt>
                <c:pt idx="13479">
                  <c:v>45422</c:v>
                </c:pt>
                <c:pt idx="13480">
                  <c:v>45419</c:v>
                </c:pt>
                <c:pt idx="13481">
                  <c:v>45417</c:v>
                </c:pt>
                <c:pt idx="13482">
                  <c:v>45415</c:v>
                </c:pt>
                <c:pt idx="13483">
                  <c:v>45414</c:v>
                </c:pt>
                <c:pt idx="13484">
                  <c:v>45413</c:v>
                </c:pt>
                <c:pt idx="13485">
                  <c:v>45412</c:v>
                </c:pt>
                <c:pt idx="13486">
                  <c:v>45410</c:v>
                </c:pt>
                <c:pt idx="13487">
                  <c:v>45410</c:v>
                </c:pt>
                <c:pt idx="13488">
                  <c:v>45410</c:v>
                </c:pt>
                <c:pt idx="13489">
                  <c:v>45409</c:v>
                </c:pt>
                <c:pt idx="13490">
                  <c:v>45409</c:v>
                </c:pt>
                <c:pt idx="13491">
                  <c:v>45408</c:v>
                </c:pt>
                <c:pt idx="13492">
                  <c:v>45408</c:v>
                </c:pt>
                <c:pt idx="13493">
                  <c:v>45407</c:v>
                </c:pt>
                <c:pt idx="13494">
                  <c:v>45406</c:v>
                </c:pt>
                <c:pt idx="13495">
                  <c:v>45406</c:v>
                </c:pt>
                <c:pt idx="13496">
                  <c:v>45406</c:v>
                </c:pt>
                <c:pt idx="13497">
                  <c:v>45406</c:v>
                </c:pt>
                <c:pt idx="13498">
                  <c:v>45405</c:v>
                </c:pt>
                <c:pt idx="13499">
                  <c:v>45405</c:v>
                </c:pt>
                <c:pt idx="13500">
                  <c:v>45405</c:v>
                </c:pt>
                <c:pt idx="13501">
                  <c:v>45404</c:v>
                </c:pt>
                <c:pt idx="13502">
                  <c:v>45403</c:v>
                </c:pt>
                <c:pt idx="13503">
                  <c:v>45403</c:v>
                </c:pt>
                <c:pt idx="13504">
                  <c:v>45403</c:v>
                </c:pt>
                <c:pt idx="13505">
                  <c:v>45402</c:v>
                </c:pt>
                <c:pt idx="13506">
                  <c:v>45401</c:v>
                </c:pt>
                <c:pt idx="13507">
                  <c:v>45400</c:v>
                </c:pt>
                <c:pt idx="13508">
                  <c:v>45399</c:v>
                </c:pt>
                <c:pt idx="13509">
                  <c:v>45399</c:v>
                </c:pt>
                <c:pt idx="13510">
                  <c:v>45399</c:v>
                </c:pt>
                <c:pt idx="13511">
                  <c:v>45398</c:v>
                </c:pt>
                <c:pt idx="13512">
                  <c:v>45398</c:v>
                </c:pt>
                <c:pt idx="13513">
                  <c:v>45397</c:v>
                </c:pt>
                <c:pt idx="13514">
                  <c:v>45394</c:v>
                </c:pt>
                <c:pt idx="13515">
                  <c:v>45394</c:v>
                </c:pt>
                <c:pt idx="13516">
                  <c:v>45394</c:v>
                </c:pt>
                <c:pt idx="13517">
                  <c:v>45393</c:v>
                </c:pt>
                <c:pt idx="13518">
                  <c:v>45393</c:v>
                </c:pt>
                <c:pt idx="13519">
                  <c:v>45393</c:v>
                </c:pt>
                <c:pt idx="13520">
                  <c:v>45392</c:v>
                </c:pt>
                <c:pt idx="13521">
                  <c:v>45391</c:v>
                </c:pt>
                <c:pt idx="13522">
                  <c:v>45391</c:v>
                </c:pt>
                <c:pt idx="13523">
                  <c:v>45390</c:v>
                </c:pt>
                <c:pt idx="13524">
                  <c:v>45390</c:v>
                </c:pt>
                <c:pt idx="13525">
                  <c:v>45390</c:v>
                </c:pt>
                <c:pt idx="13526">
                  <c:v>45390</c:v>
                </c:pt>
                <c:pt idx="13527">
                  <c:v>45389</c:v>
                </c:pt>
                <c:pt idx="13528">
                  <c:v>45388</c:v>
                </c:pt>
                <c:pt idx="13529">
                  <c:v>45388</c:v>
                </c:pt>
                <c:pt idx="13530">
                  <c:v>45387</c:v>
                </c:pt>
                <c:pt idx="13531">
                  <c:v>45387</c:v>
                </c:pt>
                <c:pt idx="13532">
                  <c:v>45387</c:v>
                </c:pt>
                <c:pt idx="13533">
                  <c:v>45387</c:v>
                </c:pt>
                <c:pt idx="13534">
                  <c:v>45387</c:v>
                </c:pt>
                <c:pt idx="13535">
                  <c:v>45386</c:v>
                </c:pt>
                <c:pt idx="13536">
                  <c:v>45386</c:v>
                </c:pt>
                <c:pt idx="13537">
                  <c:v>45385</c:v>
                </c:pt>
                <c:pt idx="13538">
                  <c:v>45383</c:v>
                </c:pt>
                <c:pt idx="13539">
                  <c:v>45383</c:v>
                </c:pt>
                <c:pt idx="13540">
                  <c:v>45383</c:v>
                </c:pt>
                <c:pt idx="13541">
                  <c:v>45382</c:v>
                </c:pt>
                <c:pt idx="13542">
                  <c:v>45380</c:v>
                </c:pt>
                <c:pt idx="13543">
                  <c:v>45379</c:v>
                </c:pt>
                <c:pt idx="13544">
                  <c:v>45378</c:v>
                </c:pt>
                <c:pt idx="13545">
                  <c:v>45378</c:v>
                </c:pt>
                <c:pt idx="13546">
                  <c:v>45378</c:v>
                </c:pt>
                <c:pt idx="13547">
                  <c:v>45378</c:v>
                </c:pt>
                <c:pt idx="13548">
                  <c:v>45378</c:v>
                </c:pt>
                <c:pt idx="13549">
                  <c:v>45377</c:v>
                </c:pt>
                <c:pt idx="13550">
                  <c:v>45375</c:v>
                </c:pt>
                <c:pt idx="13551">
                  <c:v>45374</c:v>
                </c:pt>
                <c:pt idx="13552">
                  <c:v>45373</c:v>
                </c:pt>
                <c:pt idx="13553">
                  <c:v>45372</c:v>
                </c:pt>
                <c:pt idx="13554">
                  <c:v>45371</c:v>
                </c:pt>
                <c:pt idx="13555">
                  <c:v>45371</c:v>
                </c:pt>
                <c:pt idx="13556">
                  <c:v>45371</c:v>
                </c:pt>
                <c:pt idx="13557">
                  <c:v>45370</c:v>
                </c:pt>
                <c:pt idx="13558">
                  <c:v>45369</c:v>
                </c:pt>
                <c:pt idx="13559">
                  <c:v>45369</c:v>
                </c:pt>
                <c:pt idx="13560">
                  <c:v>45369</c:v>
                </c:pt>
                <c:pt idx="13561">
                  <c:v>45368</c:v>
                </c:pt>
                <c:pt idx="13562">
                  <c:v>45368</c:v>
                </c:pt>
                <c:pt idx="13563">
                  <c:v>45367</c:v>
                </c:pt>
                <c:pt idx="13564">
                  <c:v>45366</c:v>
                </c:pt>
                <c:pt idx="13565">
                  <c:v>45365</c:v>
                </c:pt>
                <c:pt idx="13566">
                  <c:v>45363</c:v>
                </c:pt>
                <c:pt idx="13567">
                  <c:v>45362</c:v>
                </c:pt>
                <c:pt idx="13568">
                  <c:v>45362</c:v>
                </c:pt>
                <c:pt idx="13569">
                  <c:v>45360</c:v>
                </c:pt>
                <c:pt idx="13570">
                  <c:v>45359</c:v>
                </c:pt>
                <c:pt idx="13571">
                  <c:v>45359</c:v>
                </c:pt>
                <c:pt idx="13572">
                  <c:v>45359</c:v>
                </c:pt>
                <c:pt idx="13573">
                  <c:v>45358</c:v>
                </c:pt>
                <c:pt idx="13574">
                  <c:v>45357</c:v>
                </c:pt>
                <c:pt idx="13575">
                  <c:v>45357</c:v>
                </c:pt>
                <c:pt idx="13576">
                  <c:v>45356</c:v>
                </c:pt>
                <c:pt idx="13577">
                  <c:v>45356</c:v>
                </c:pt>
                <c:pt idx="13578">
                  <c:v>45356</c:v>
                </c:pt>
                <c:pt idx="13579">
                  <c:v>45356</c:v>
                </c:pt>
                <c:pt idx="13580">
                  <c:v>45355</c:v>
                </c:pt>
                <c:pt idx="13581">
                  <c:v>45355</c:v>
                </c:pt>
                <c:pt idx="13582">
                  <c:v>45354</c:v>
                </c:pt>
                <c:pt idx="13583">
                  <c:v>45354</c:v>
                </c:pt>
                <c:pt idx="13584">
                  <c:v>45354</c:v>
                </c:pt>
                <c:pt idx="13585">
                  <c:v>45353</c:v>
                </c:pt>
                <c:pt idx="13586">
                  <c:v>45353</c:v>
                </c:pt>
                <c:pt idx="13587">
                  <c:v>45353</c:v>
                </c:pt>
                <c:pt idx="13588">
                  <c:v>45352</c:v>
                </c:pt>
                <c:pt idx="13589">
                  <c:v>45351</c:v>
                </c:pt>
                <c:pt idx="13590">
                  <c:v>45350</c:v>
                </c:pt>
                <c:pt idx="13591">
                  <c:v>45349</c:v>
                </c:pt>
                <c:pt idx="13592">
                  <c:v>45349</c:v>
                </c:pt>
                <c:pt idx="13593">
                  <c:v>45348</c:v>
                </c:pt>
                <c:pt idx="13594">
                  <c:v>45348</c:v>
                </c:pt>
                <c:pt idx="13595">
                  <c:v>45347</c:v>
                </c:pt>
                <c:pt idx="13596">
                  <c:v>45346</c:v>
                </c:pt>
                <c:pt idx="13597">
                  <c:v>45344</c:v>
                </c:pt>
                <c:pt idx="13598">
                  <c:v>45344</c:v>
                </c:pt>
                <c:pt idx="13599">
                  <c:v>45344</c:v>
                </c:pt>
                <c:pt idx="13600">
                  <c:v>45343</c:v>
                </c:pt>
                <c:pt idx="13601">
                  <c:v>45343</c:v>
                </c:pt>
                <c:pt idx="13602">
                  <c:v>45342</c:v>
                </c:pt>
                <c:pt idx="13603">
                  <c:v>45342</c:v>
                </c:pt>
                <c:pt idx="13604">
                  <c:v>45341</c:v>
                </c:pt>
                <c:pt idx="13605">
                  <c:v>45341</c:v>
                </c:pt>
                <c:pt idx="13606">
                  <c:v>45341</c:v>
                </c:pt>
                <c:pt idx="13607">
                  <c:v>45341</c:v>
                </c:pt>
                <c:pt idx="13608">
                  <c:v>45341</c:v>
                </c:pt>
                <c:pt idx="13609">
                  <c:v>45340</c:v>
                </c:pt>
                <c:pt idx="13610">
                  <c:v>45339</c:v>
                </c:pt>
                <c:pt idx="13611">
                  <c:v>45339</c:v>
                </c:pt>
                <c:pt idx="13612">
                  <c:v>45338</c:v>
                </c:pt>
                <c:pt idx="13613">
                  <c:v>45338</c:v>
                </c:pt>
                <c:pt idx="13614">
                  <c:v>45337</c:v>
                </c:pt>
                <c:pt idx="13615">
                  <c:v>45336</c:v>
                </c:pt>
                <c:pt idx="13616">
                  <c:v>45334</c:v>
                </c:pt>
                <c:pt idx="13617">
                  <c:v>45334</c:v>
                </c:pt>
                <c:pt idx="13618">
                  <c:v>45333</c:v>
                </c:pt>
                <c:pt idx="13619">
                  <c:v>45332</c:v>
                </c:pt>
                <c:pt idx="13620">
                  <c:v>45331</c:v>
                </c:pt>
                <c:pt idx="13621">
                  <c:v>45331</c:v>
                </c:pt>
                <c:pt idx="13622">
                  <c:v>45331</c:v>
                </c:pt>
                <c:pt idx="13623">
                  <c:v>45330</c:v>
                </c:pt>
                <c:pt idx="13624">
                  <c:v>45330</c:v>
                </c:pt>
                <c:pt idx="13625">
                  <c:v>45330</c:v>
                </c:pt>
                <c:pt idx="13626">
                  <c:v>45330</c:v>
                </c:pt>
                <c:pt idx="13627">
                  <c:v>45329</c:v>
                </c:pt>
                <c:pt idx="13628">
                  <c:v>45328</c:v>
                </c:pt>
                <c:pt idx="13629">
                  <c:v>45328</c:v>
                </c:pt>
                <c:pt idx="13630">
                  <c:v>45328</c:v>
                </c:pt>
                <c:pt idx="13631">
                  <c:v>45328</c:v>
                </c:pt>
                <c:pt idx="13632">
                  <c:v>45327</c:v>
                </c:pt>
                <c:pt idx="13633">
                  <c:v>45326</c:v>
                </c:pt>
                <c:pt idx="13634">
                  <c:v>45326</c:v>
                </c:pt>
                <c:pt idx="13635">
                  <c:v>45325</c:v>
                </c:pt>
                <c:pt idx="13636">
                  <c:v>45324</c:v>
                </c:pt>
                <c:pt idx="13637">
                  <c:v>45324</c:v>
                </c:pt>
                <c:pt idx="13638">
                  <c:v>45324</c:v>
                </c:pt>
                <c:pt idx="13639">
                  <c:v>45323</c:v>
                </c:pt>
                <c:pt idx="13640">
                  <c:v>45323</c:v>
                </c:pt>
                <c:pt idx="13641">
                  <c:v>45322</c:v>
                </c:pt>
                <c:pt idx="13642">
                  <c:v>45321</c:v>
                </c:pt>
                <c:pt idx="13643">
                  <c:v>45321</c:v>
                </c:pt>
                <c:pt idx="13644">
                  <c:v>45321</c:v>
                </c:pt>
                <c:pt idx="13645">
                  <c:v>45321</c:v>
                </c:pt>
                <c:pt idx="13646">
                  <c:v>45319</c:v>
                </c:pt>
                <c:pt idx="13647">
                  <c:v>45319</c:v>
                </c:pt>
                <c:pt idx="13648">
                  <c:v>45318</c:v>
                </c:pt>
                <c:pt idx="13649">
                  <c:v>45317</c:v>
                </c:pt>
                <c:pt idx="13650">
                  <c:v>45317</c:v>
                </c:pt>
                <c:pt idx="13651">
                  <c:v>45316</c:v>
                </c:pt>
                <c:pt idx="13652">
                  <c:v>45316</c:v>
                </c:pt>
                <c:pt idx="13653">
                  <c:v>45316</c:v>
                </c:pt>
                <c:pt idx="13654">
                  <c:v>45315</c:v>
                </c:pt>
                <c:pt idx="13655">
                  <c:v>45315</c:v>
                </c:pt>
                <c:pt idx="13656">
                  <c:v>45315</c:v>
                </c:pt>
                <c:pt idx="13657">
                  <c:v>45313</c:v>
                </c:pt>
                <c:pt idx="13658">
                  <c:v>45313</c:v>
                </c:pt>
                <c:pt idx="13659">
                  <c:v>45312</c:v>
                </c:pt>
                <c:pt idx="13660">
                  <c:v>45311</c:v>
                </c:pt>
                <c:pt idx="13661">
                  <c:v>45311</c:v>
                </c:pt>
                <c:pt idx="13662">
                  <c:v>45310</c:v>
                </c:pt>
                <c:pt idx="13663">
                  <c:v>45310</c:v>
                </c:pt>
                <c:pt idx="13664">
                  <c:v>45309</c:v>
                </c:pt>
                <c:pt idx="13665">
                  <c:v>45305</c:v>
                </c:pt>
                <c:pt idx="13666">
                  <c:v>45304</c:v>
                </c:pt>
                <c:pt idx="13667">
                  <c:v>45303</c:v>
                </c:pt>
                <c:pt idx="13668">
                  <c:v>45303</c:v>
                </c:pt>
                <c:pt idx="13669">
                  <c:v>45302</c:v>
                </c:pt>
                <c:pt idx="13670">
                  <c:v>45301</c:v>
                </c:pt>
                <c:pt idx="13671">
                  <c:v>45301</c:v>
                </c:pt>
                <c:pt idx="13672">
                  <c:v>45301</c:v>
                </c:pt>
                <c:pt idx="13673">
                  <c:v>45300</c:v>
                </c:pt>
                <c:pt idx="13674">
                  <c:v>45300</c:v>
                </c:pt>
                <c:pt idx="13675">
                  <c:v>45300</c:v>
                </c:pt>
                <c:pt idx="13676">
                  <c:v>45299</c:v>
                </c:pt>
                <c:pt idx="13677">
                  <c:v>45299</c:v>
                </c:pt>
                <c:pt idx="13678">
                  <c:v>45298</c:v>
                </c:pt>
                <c:pt idx="13679">
                  <c:v>45298</c:v>
                </c:pt>
                <c:pt idx="13680">
                  <c:v>45298</c:v>
                </c:pt>
                <c:pt idx="13681">
                  <c:v>45296</c:v>
                </c:pt>
                <c:pt idx="13682">
                  <c:v>45296</c:v>
                </c:pt>
                <c:pt idx="13683">
                  <c:v>45296</c:v>
                </c:pt>
                <c:pt idx="13684">
                  <c:v>45295</c:v>
                </c:pt>
                <c:pt idx="13685">
                  <c:v>45295</c:v>
                </c:pt>
                <c:pt idx="13686">
                  <c:v>45293</c:v>
                </c:pt>
                <c:pt idx="13687">
                  <c:v>45292</c:v>
                </c:pt>
                <c:pt idx="13688">
                  <c:v>45292</c:v>
                </c:pt>
                <c:pt idx="13689">
                  <c:v>45291</c:v>
                </c:pt>
                <c:pt idx="13690">
                  <c:v>45290</c:v>
                </c:pt>
                <c:pt idx="13691">
                  <c:v>45290</c:v>
                </c:pt>
                <c:pt idx="13692">
                  <c:v>45289</c:v>
                </c:pt>
                <c:pt idx="13693">
                  <c:v>45289</c:v>
                </c:pt>
                <c:pt idx="13694">
                  <c:v>45288</c:v>
                </c:pt>
                <c:pt idx="13695">
                  <c:v>45288</c:v>
                </c:pt>
                <c:pt idx="13696">
                  <c:v>45288</c:v>
                </c:pt>
                <c:pt idx="13697">
                  <c:v>45286</c:v>
                </c:pt>
                <c:pt idx="13698">
                  <c:v>45286</c:v>
                </c:pt>
                <c:pt idx="13699">
                  <c:v>45286</c:v>
                </c:pt>
                <c:pt idx="13700">
                  <c:v>45285</c:v>
                </c:pt>
                <c:pt idx="13701">
                  <c:v>45285</c:v>
                </c:pt>
                <c:pt idx="13702">
                  <c:v>45284</c:v>
                </c:pt>
                <c:pt idx="13703">
                  <c:v>45284</c:v>
                </c:pt>
                <c:pt idx="13704">
                  <c:v>45284</c:v>
                </c:pt>
                <c:pt idx="13705">
                  <c:v>45283</c:v>
                </c:pt>
                <c:pt idx="13706">
                  <c:v>45283</c:v>
                </c:pt>
                <c:pt idx="13707">
                  <c:v>45282</c:v>
                </c:pt>
                <c:pt idx="13708">
                  <c:v>45281</c:v>
                </c:pt>
                <c:pt idx="13709">
                  <c:v>45280</c:v>
                </c:pt>
                <c:pt idx="13710">
                  <c:v>45280</c:v>
                </c:pt>
                <c:pt idx="13711">
                  <c:v>45280</c:v>
                </c:pt>
                <c:pt idx="13712">
                  <c:v>45280</c:v>
                </c:pt>
                <c:pt idx="13713">
                  <c:v>45279</c:v>
                </c:pt>
                <c:pt idx="13714">
                  <c:v>45278</c:v>
                </c:pt>
                <c:pt idx="13715">
                  <c:v>45277</c:v>
                </c:pt>
                <c:pt idx="13716">
                  <c:v>45277</c:v>
                </c:pt>
                <c:pt idx="13717">
                  <c:v>45277</c:v>
                </c:pt>
                <c:pt idx="13718">
                  <c:v>45276</c:v>
                </c:pt>
                <c:pt idx="13719">
                  <c:v>45275</c:v>
                </c:pt>
                <c:pt idx="13720">
                  <c:v>45274</c:v>
                </c:pt>
                <c:pt idx="13721">
                  <c:v>45273</c:v>
                </c:pt>
                <c:pt idx="13722">
                  <c:v>45273</c:v>
                </c:pt>
                <c:pt idx="13723">
                  <c:v>45273</c:v>
                </c:pt>
                <c:pt idx="13724">
                  <c:v>45272</c:v>
                </c:pt>
                <c:pt idx="13725">
                  <c:v>45271</c:v>
                </c:pt>
                <c:pt idx="13726">
                  <c:v>45271</c:v>
                </c:pt>
                <c:pt idx="13727">
                  <c:v>45269</c:v>
                </c:pt>
                <c:pt idx="13728">
                  <c:v>45269</c:v>
                </c:pt>
                <c:pt idx="13729">
                  <c:v>45268</c:v>
                </c:pt>
                <c:pt idx="13730">
                  <c:v>45267</c:v>
                </c:pt>
                <c:pt idx="13731">
                  <c:v>45265</c:v>
                </c:pt>
                <c:pt idx="13732">
                  <c:v>45265</c:v>
                </c:pt>
                <c:pt idx="13733">
                  <c:v>45264</c:v>
                </c:pt>
                <c:pt idx="13734">
                  <c:v>45262</c:v>
                </c:pt>
                <c:pt idx="13735">
                  <c:v>45262</c:v>
                </c:pt>
                <c:pt idx="13736">
                  <c:v>45261</c:v>
                </c:pt>
                <c:pt idx="13737">
                  <c:v>45260</c:v>
                </c:pt>
                <c:pt idx="13738">
                  <c:v>45260</c:v>
                </c:pt>
                <c:pt idx="13739">
                  <c:v>45259</c:v>
                </c:pt>
                <c:pt idx="13740">
                  <c:v>45259</c:v>
                </c:pt>
                <c:pt idx="13741">
                  <c:v>45259</c:v>
                </c:pt>
                <c:pt idx="13742">
                  <c:v>45258</c:v>
                </c:pt>
                <c:pt idx="13743">
                  <c:v>45258</c:v>
                </c:pt>
                <c:pt idx="13744">
                  <c:v>45258</c:v>
                </c:pt>
                <c:pt idx="13745">
                  <c:v>45258</c:v>
                </c:pt>
                <c:pt idx="13746">
                  <c:v>45258</c:v>
                </c:pt>
                <c:pt idx="13747">
                  <c:v>45257</c:v>
                </c:pt>
                <c:pt idx="13748">
                  <c:v>45257</c:v>
                </c:pt>
                <c:pt idx="13749">
                  <c:v>45256</c:v>
                </c:pt>
                <c:pt idx="13750">
                  <c:v>45256</c:v>
                </c:pt>
                <c:pt idx="13751">
                  <c:v>45255</c:v>
                </c:pt>
                <c:pt idx="13752">
                  <c:v>45255</c:v>
                </c:pt>
                <c:pt idx="13753">
                  <c:v>45254</c:v>
                </c:pt>
                <c:pt idx="13754">
                  <c:v>45254</c:v>
                </c:pt>
                <c:pt idx="13755">
                  <c:v>45254</c:v>
                </c:pt>
                <c:pt idx="13756">
                  <c:v>45253</c:v>
                </c:pt>
                <c:pt idx="13757">
                  <c:v>45253</c:v>
                </c:pt>
                <c:pt idx="13758">
                  <c:v>45252</c:v>
                </c:pt>
                <c:pt idx="13759">
                  <c:v>45252</c:v>
                </c:pt>
                <c:pt idx="13760">
                  <c:v>45251</c:v>
                </c:pt>
                <c:pt idx="13761">
                  <c:v>45251</c:v>
                </c:pt>
                <c:pt idx="13762">
                  <c:v>45250</c:v>
                </c:pt>
                <c:pt idx="13763">
                  <c:v>45250</c:v>
                </c:pt>
                <c:pt idx="13764">
                  <c:v>45249</c:v>
                </c:pt>
                <c:pt idx="13765">
                  <c:v>45249</c:v>
                </c:pt>
                <c:pt idx="13766">
                  <c:v>45248</c:v>
                </c:pt>
                <c:pt idx="13767">
                  <c:v>45247</c:v>
                </c:pt>
                <c:pt idx="13768">
                  <c:v>45247</c:v>
                </c:pt>
                <c:pt idx="13769">
                  <c:v>45247</c:v>
                </c:pt>
                <c:pt idx="13770">
                  <c:v>45246</c:v>
                </c:pt>
                <c:pt idx="13771">
                  <c:v>45246</c:v>
                </c:pt>
                <c:pt idx="13772">
                  <c:v>45245</c:v>
                </c:pt>
                <c:pt idx="13773">
                  <c:v>45245</c:v>
                </c:pt>
                <c:pt idx="13774">
                  <c:v>45245</c:v>
                </c:pt>
                <c:pt idx="13775">
                  <c:v>45245</c:v>
                </c:pt>
                <c:pt idx="13776">
                  <c:v>45244</c:v>
                </c:pt>
                <c:pt idx="13777">
                  <c:v>45243</c:v>
                </c:pt>
                <c:pt idx="13778">
                  <c:v>45242</c:v>
                </c:pt>
                <c:pt idx="13779">
                  <c:v>45241</c:v>
                </c:pt>
                <c:pt idx="13780">
                  <c:v>45240</c:v>
                </c:pt>
                <c:pt idx="13781">
                  <c:v>45240</c:v>
                </c:pt>
                <c:pt idx="13782">
                  <c:v>45238</c:v>
                </c:pt>
                <c:pt idx="13783">
                  <c:v>45238</c:v>
                </c:pt>
                <c:pt idx="13784">
                  <c:v>45238</c:v>
                </c:pt>
                <c:pt idx="13785">
                  <c:v>45237</c:v>
                </c:pt>
                <c:pt idx="13786">
                  <c:v>45237</c:v>
                </c:pt>
                <c:pt idx="13787">
                  <c:v>45236</c:v>
                </c:pt>
                <c:pt idx="13788">
                  <c:v>45235</c:v>
                </c:pt>
                <c:pt idx="13789">
                  <c:v>45235</c:v>
                </c:pt>
                <c:pt idx="13790">
                  <c:v>45234</c:v>
                </c:pt>
                <c:pt idx="13791">
                  <c:v>45234</c:v>
                </c:pt>
                <c:pt idx="13792">
                  <c:v>45234</c:v>
                </c:pt>
                <c:pt idx="13793">
                  <c:v>45234</c:v>
                </c:pt>
                <c:pt idx="13794">
                  <c:v>45233</c:v>
                </c:pt>
                <c:pt idx="13795">
                  <c:v>45231</c:v>
                </c:pt>
                <c:pt idx="13796">
                  <c:v>45230</c:v>
                </c:pt>
                <c:pt idx="13797">
                  <c:v>45228</c:v>
                </c:pt>
                <c:pt idx="13798">
                  <c:v>45227</c:v>
                </c:pt>
                <c:pt idx="13799">
                  <c:v>45227</c:v>
                </c:pt>
                <c:pt idx="13800">
                  <c:v>45226</c:v>
                </c:pt>
                <c:pt idx="13801">
                  <c:v>45226</c:v>
                </c:pt>
                <c:pt idx="13802">
                  <c:v>45225</c:v>
                </c:pt>
                <c:pt idx="13803">
                  <c:v>45225</c:v>
                </c:pt>
                <c:pt idx="13804">
                  <c:v>45225</c:v>
                </c:pt>
                <c:pt idx="13805">
                  <c:v>45224</c:v>
                </c:pt>
                <c:pt idx="13806">
                  <c:v>45223</c:v>
                </c:pt>
                <c:pt idx="13807">
                  <c:v>45222</c:v>
                </c:pt>
                <c:pt idx="13808">
                  <c:v>45222</c:v>
                </c:pt>
                <c:pt idx="13809">
                  <c:v>45222</c:v>
                </c:pt>
                <c:pt idx="13810">
                  <c:v>45222</c:v>
                </c:pt>
                <c:pt idx="13811">
                  <c:v>45221</c:v>
                </c:pt>
                <c:pt idx="13812">
                  <c:v>45221</c:v>
                </c:pt>
                <c:pt idx="13813">
                  <c:v>45221</c:v>
                </c:pt>
                <c:pt idx="13814">
                  <c:v>45220</c:v>
                </c:pt>
                <c:pt idx="13815">
                  <c:v>45218</c:v>
                </c:pt>
                <c:pt idx="13816">
                  <c:v>45218</c:v>
                </c:pt>
                <c:pt idx="13817">
                  <c:v>45216</c:v>
                </c:pt>
                <c:pt idx="13818">
                  <c:v>45215</c:v>
                </c:pt>
                <c:pt idx="13819">
                  <c:v>45213</c:v>
                </c:pt>
                <c:pt idx="13820">
                  <c:v>45213</c:v>
                </c:pt>
                <c:pt idx="13821">
                  <c:v>45211</c:v>
                </c:pt>
                <c:pt idx="13822">
                  <c:v>45209</c:v>
                </c:pt>
                <c:pt idx="13823">
                  <c:v>45209</c:v>
                </c:pt>
                <c:pt idx="13824">
                  <c:v>45208</c:v>
                </c:pt>
                <c:pt idx="13825">
                  <c:v>45208</c:v>
                </c:pt>
                <c:pt idx="13826">
                  <c:v>45207</c:v>
                </c:pt>
                <c:pt idx="13827">
                  <c:v>45207</c:v>
                </c:pt>
                <c:pt idx="13828">
                  <c:v>45206</c:v>
                </c:pt>
                <c:pt idx="13829">
                  <c:v>45205</c:v>
                </c:pt>
                <c:pt idx="13830">
                  <c:v>45205</c:v>
                </c:pt>
                <c:pt idx="13831">
                  <c:v>45205</c:v>
                </c:pt>
                <c:pt idx="13832">
                  <c:v>45204</c:v>
                </c:pt>
                <c:pt idx="13833">
                  <c:v>45204</c:v>
                </c:pt>
                <c:pt idx="13834">
                  <c:v>45203</c:v>
                </c:pt>
                <c:pt idx="13835">
                  <c:v>45203</c:v>
                </c:pt>
                <c:pt idx="13836">
                  <c:v>45203</c:v>
                </c:pt>
                <c:pt idx="13837">
                  <c:v>45203</c:v>
                </c:pt>
                <c:pt idx="13838">
                  <c:v>45202</c:v>
                </c:pt>
                <c:pt idx="13839">
                  <c:v>45202</c:v>
                </c:pt>
                <c:pt idx="13840">
                  <c:v>45201</c:v>
                </c:pt>
                <c:pt idx="13841">
                  <c:v>45201</c:v>
                </c:pt>
                <c:pt idx="13842">
                  <c:v>45201</c:v>
                </c:pt>
                <c:pt idx="13843">
                  <c:v>45200</c:v>
                </c:pt>
                <c:pt idx="13844">
                  <c:v>45200</c:v>
                </c:pt>
                <c:pt idx="13845">
                  <c:v>45199</c:v>
                </c:pt>
                <c:pt idx="13846">
                  <c:v>45198</c:v>
                </c:pt>
                <c:pt idx="13847">
                  <c:v>45198</c:v>
                </c:pt>
                <c:pt idx="13848">
                  <c:v>45198</c:v>
                </c:pt>
                <c:pt idx="13849">
                  <c:v>45197</c:v>
                </c:pt>
                <c:pt idx="13850">
                  <c:v>45197</c:v>
                </c:pt>
                <c:pt idx="13851">
                  <c:v>45197</c:v>
                </c:pt>
                <c:pt idx="13852">
                  <c:v>45196</c:v>
                </c:pt>
                <c:pt idx="13853">
                  <c:v>45196</c:v>
                </c:pt>
                <c:pt idx="13854">
                  <c:v>45196</c:v>
                </c:pt>
                <c:pt idx="13855">
                  <c:v>45196</c:v>
                </c:pt>
                <c:pt idx="13856">
                  <c:v>45196</c:v>
                </c:pt>
                <c:pt idx="13857">
                  <c:v>45194</c:v>
                </c:pt>
                <c:pt idx="13858">
                  <c:v>45194</c:v>
                </c:pt>
                <c:pt idx="13859">
                  <c:v>45194</c:v>
                </c:pt>
                <c:pt idx="13860">
                  <c:v>45194</c:v>
                </c:pt>
                <c:pt idx="13861">
                  <c:v>45194</c:v>
                </c:pt>
                <c:pt idx="13862">
                  <c:v>45193</c:v>
                </c:pt>
                <c:pt idx="13863">
                  <c:v>45193</c:v>
                </c:pt>
                <c:pt idx="13864">
                  <c:v>45193</c:v>
                </c:pt>
                <c:pt idx="13865">
                  <c:v>45193</c:v>
                </c:pt>
                <c:pt idx="13866">
                  <c:v>45193</c:v>
                </c:pt>
                <c:pt idx="13867">
                  <c:v>45192</c:v>
                </c:pt>
                <c:pt idx="13868">
                  <c:v>45192</c:v>
                </c:pt>
                <c:pt idx="13869">
                  <c:v>45192</c:v>
                </c:pt>
                <c:pt idx="13870">
                  <c:v>45191</c:v>
                </c:pt>
                <c:pt idx="13871">
                  <c:v>45191</c:v>
                </c:pt>
                <c:pt idx="13872">
                  <c:v>45190</c:v>
                </c:pt>
                <c:pt idx="13873">
                  <c:v>45190</c:v>
                </c:pt>
                <c:pt idx="13874">
                  <c:v>45190</c:v>
                </c:pt>
                <c:pt idx="13875">
                  <c:v>45189</c:v>
                </c:pt>
                <c:pt idx="13876">
                  <c:v>45189</c:v>
                </c:pt>
                <c:pt idx="13877">
                  <c:v>45189</c:v>
                </c:pt>
                <c:pt idx="13878">
                  <c:v>45189</c:v>
                </c:pt>
                <c:pt idx="13879">
                  <c:v>45189</c:v>
                </c:pt>
                <c:pt idx="13880">
                  <c:v>45188</c:v>
                </c:pt>
                <c:pt idx="13881">
                  <c:v>45188</c:v>
                </c:pt>
                <c:pt idx="13882">
                  <c:v>45188</c:v>
                </c:pt>
                <c:pt idx="13883">
                  <c:v>45187</c:v>
                </c:pt>
                <c:pt idx="13884">
                  <c:v>45187</c:v>
                </c:pt>
                <c:pt idx="13885">
                  <c:v>45187</c:v>
                </c:pt>
                <c:pt idx="13886">
                  <c:v>45187</c:v>
                </c:pt>
                <c:pt idx="13887">
                  <c:v>45186</c:v>
                </c:pt>
                <c:pt idx="13888">
                  <c:v>45186</c:v>
                </c:pt>
                <c:pt idx="13889">
                  <c:v>45186</c:v>
                </c:pt>
                <c:pt idx="13890">
                  <c:v>45182</c:v>
                </c:pt>
                <c:pt idx="13891">
                  <c:v>45182</c:v>
                </c:pt>
                <c:pt idx="13892">
                  <c:v>45182</c:v>
                </c:pt>
                <c:pt idx="13893">
                  <c:v>45182</c:v>
                </c:pt>
                <c:pt idx="13894">
                  <c:v>45180</c:v>
                </c:pt>
                <c:pt idx="13895">
                  <c:v>45180</c:v>
                </c:pt>
                <c:pt idx="13896">
                  <c:v>45180</c:v>
                </c:pt>
                <c:pt idx="13897">
                  <c:v>45180</c:v>
                </c:pt>
                <c:pt idx="13898">
                  <c:v>45180</c:v>
                </c:pt>
                <c:pt idx="13899">
                  <c:v>45179</c:v>
                </c:pt>
                <c:pt idx="13900">
                  <c:v>45179</c:v>
                </c:pt>
                <c:pt idx="13901">
                  <c:v>45178</c:v>
                </c:pt>
                <c:pt idx="13902">
                  <c:v>45177</c:v>
                </c:pt>
                <c:pt idx="13903">
                  <c:v>45176</c:v>
                </c:pt>
                <c:pt idx="13904">
                  <c:v>45176</c:v>
                </c:pt>
                <c:pt idx="13905">
                  <c:v>45175</c:v>
                </c:pt>
                <c:pt idx="13906">
                  <c:v>45175</c:v>
                </c:pt>
                <c:pt idx="13907">
                  <c:v>45175</c:v>
                </c:pt>
                <c:pt idx="13908">
                  <c:v>45174</c:v>
                </c:pt>
                <c:pt idx="13909">
                  <c:v>45174</c:v>
                </c:pt>
                <c:pt idx="13910">
                  <c:v>45173</c:v>
                </c:pt>
                <c:pt idx="13911">
                  <c:v>45173</c:v>
                </c:pt>
                <c:pt idx="13912">
                  <c:v>45172</c:v>
                </c:pt>
                <c:pt idx="13913">
                  <c:v>45172</c:v>
                </c:pt>
                <c:pt idx="13914">
                  <c:v>45172</c:v>
                </c:pt>
                <c:pt idx="13915">
                  <c:v>45171</c:v>
                </c:pt>
                <c:pt idx="13916">
                  <c:v>45171</c:v>
                </c:pt>
                <c:pt idx="13917">
                  <c:v>45171</c:v>
                </c:pt>
                <c:pt idx="13918">
                  <c:v>45171</c:v>
                </c:pt>
                <c:pt idx="13919">
                  <c:v>45170</c:v>
                </c:pt>
                <c:pt idx="13920">
                  <c:v>45170</c:v>
                </c:pt>
                <c:pt idx="13921">
                  <c:v>45169</c:v>
                </c:pt>
                <c:pt idx="13922">
                  <c:v>45169</c:v>
                </c:pt>
                <c:pt idx="13923">
                  <c:v>45168</c:v>
                </c:pt>
                <c:pt idx="13924">
                  <c:v>45168</c:v>
                </c:pt>
                <c:pt idx="13925">
                  <c:v>45168</c:v>
                </c:pt>
                <c:pt idx="13926">
                  <c:v>45165</c:v>
                </c:pt>
                <c:pt idx="13927">
                  <c:v>45165</c:v>
                </c:pt>
                <c:pt idx="13928">
                  <c:v>45165</c:v>
                </c:pt>
                <c:pt idx="13929">
                  <c:v>45165</c:v>
                </c:pt>
                <c:pt idx="13930">
                  <c:v>45164</c:v>
                </c:pt>
                <c:pt idx="13931">
                  <c:v>45164</c:v>
                </c:pt>
                <c:pt idx="13932">
                  <c:v>45164</c:v>
                </c:pt>
                <c:pt idx="13933">
                  <c:v>45164</c:v>
                </c:pt>
                <c:pt idx="13934">
                  <c:v>45163</c:v>
                </c:pt>
                <c:pt idx="13935">
                  <c:v>45163</c:v>
                </c:pt>
                <c:pt idx="13936">
                  <c:v>45162</c:v>
                </c:pt>
                <c:pt idx="13937">
                  <c:v>45162</c:v>
                </c:pt>
                <c:pt idx="13938">
                  <c:v>45162</c:v>
                </c:pt>
                <c:pt idx="13939">
                  <c:v>45162</c:v>
                </c:pt>
                <c:pt idx="13940">
                  <c:v>45161</c:v>
                </c:pt>
                <c:pt idx="13941">
                  <c:v>45161</c:v>
                </c:pt>
                <c:pt idx="13942">
                  <c:v>45161</c:v>
                </c:pt>
                <c:pt idx="13943">
                  <c:v>45160</c:v>
                </c:pt>
                <c:pt idx="13944">
                  <c:v>45160</c:v>
                </c:pt>
                <c:pt idx="13945">
                  <c:v>45158</c:v>
                </c:pt>
                <c:pt idx="13946">
                  <c:v>45157</c:v>
                </c:pt>
                <c:pt idx="13947">
                  <c:v>45156</c:v>
                </c:pt>
                <c:pt idx="13948">
                  <c:v>45155</c:v>
                </c:pt>
                <c:pt idx="13949">
                  <c:v>45155</c:v>
                </c:pt>
                <c:pt idx="13950">
                  <c:v>45155</c:v>
                </c:pt>
                <c:pt idx="13951">
                  <c:v>45155</c:v>
                </c:pt>
                <c:pt idx="13952">
                  <c:v>45154</c:v>
                </c:pt>
                <c:pt idx="13953">
                  <c:v>45154</c:v>
                </c:pt>
                <c:pt idx="13954">
                  <c:v>45152</c:v>
                </c:pt>
                <c:pt idx="13955">
                  <c:v>45152</c:v>
                </c:pt>
                <c:pt idx="13956">
                  <c:v>45152</c:v>
                </c:pt>
                <c:pt idx="13957">
                  <c:v>45151</c:v>
                </c:pt>
                <c:pt idx="13958">
                  <c:v>45151</c:v>
                </c:pt>
                <c:pt idx="13959">
                  <c:v>45150</c:v>
                </c:pt>
                <c:pt idx="13960">
                  <c:v>45149</c:v>
                </c:pt>
                <c:pt idx="13961">
                  <c:v>45149</c:v>
                </c:pt>
                <c:pt idx="13962">
                  <c:v>45148</c:v>
                </c:pt>
                <c:pt idx="13963">
                  <c:v>45148</c:v>
                </c:pt>
                <c:pt idx="13964">
                  <c:v>45147</c:v>
                </c:pt>
                <c:pt idx="13965">
                  <c:v>45147</c:v>
                </c:pt>
                <c:pt idx="13966">
                  <c:v>45146</c:v>
                </c:pt>
                <c:pt idx="13967">
                  <c:v>45146</c:v>
                </c:pt>
                <c:pt idx="13968">
                  <c:v>45145</c:v>
                </c:pt>
                <c:pt idx="13969">
                  <c:v>45145</c:v>
                </c:pt>
                <c:pt idx="13970">
                  <c:v>45144</c:v>
                </c:pt>
                <c:pt idx="13971">
                  <c:v>45143</c:v>
                </c:pt>
                <c:pt idx="13972">
                  <c:v>45142</c:v>
                </c:pt>
                <c:pt idx="13973">
                  <c:v>45142</c:v>
                </c:pt>
                <c:pt idx="13974">
                  <c:v>45142</c:v>
                </c:pt>
                <c:pt idx="13975">
                  <c:v>45141</c:v>
                </c:pt>
                <c:pt idx="13976">
                  <c:v>45141</c:v>
                </c:pt>
                <c:pt idx="13977">
                  <c:v>45141</c:v>
                </c:pt>
                <c:pt idx="13978">
                  <c:v>45141</c:v>
                </c:pt>
                <c:pt idx="13979">
                  <c:v>45140</c:v>
                </c:pt>
                <c:pt idx="13980">
                  <c:v>45139</c:v>
                </c:pt>
                <c:pt idx="13981">
                  <c:v>45139</c:v>
                </c:pt>
                <c:pt idx="13982">
                  <c:v>45138</c:v>
                </c:pt>
                <c:pt idx="13983">
                  <c:v>45138</c:v>
                </c:pt>
                <c:pt idx="13984">
                  <c:v>45138</c:v>
                </c:pt>
                <c:pt idx="13985">
                  <c:v>45137</c:v>
                </c:pt>
                <c:pt idx="13986">
                  <c:v>45137</c:v>
                </c:pt>
                <c:pt idx="13987">
                  <c:v>45136</c:v>
                </c:pt>
                <c:pt idx="13988">
                  <c:v>45136</c:v>
                </c:pt>
                <c:pt idx="13989">
                  <c:v>45136</c:v>
                </c:pt>
                <c:pt idx="13990">
                  <c:v>45135</c:v>
                </c:pt>
                <c:pt idx="13991">
                  <c:v>45135</c:v>
                </c:pt>
                <c:pt idx="13992">
                  <c:v>45134</c:v>
                </c:pt>
                <c:pt idx="13993">
                  <c:v>45133</c:v>
                </c:pt>
                <c:pt idx="13994">
                  <c:v>45133</c:v>
                </c:pt>
                <c:pt idx="13995">
                  <c:v>45133</c:v>
                </c:pt>
                <c:pt idx="13996">
                  <c:v>45130</c:v>
                </c:pt>
                <c:pt idx="13997">
                  <c:v>45130</c:v>
                </c:pt>
                <c:pt idx="13998">
                  <c:v>45130</c:v>
                </c:pt>
                <c:pt idx="13999">
                  <c:v>45129</c:v>
                </c:pt>
                <c:pt idx="14000">
                  <c:v>45129</c:v>
                </c:pt>
                <c:pt idx="14001">
                  <c:v>45128</c:v>
                </c:pt>
                <c:pt idx="14002">
                  <c:v>45127</c:v>
                </c:pt>
                <c:pt idx="14003">
                  <c:v>45127</c:v>
                </c:pt>
                <c:pt idx="14004">
                  <c:v>45126</c:v>
                </c:pt>
                <c:pt idx="14005">
                  <c:v>45124</c:v>
                </c:pt>
                <c:pt idx="14006">
                  <c:v>45124</c:v>
                </c:pt>
                <c:pt idx="14007">
                  <c:v>45123</c:v>
                </c:pt>
                <c:pt idx="14008">
                  <c:v>45123</c:v>
                </c:pt>
                <c:pt idx="14009">
                  <c:v>45123</c:v>
                </c:pt>
                <c:pt idx="14010">
                  <c:v>45122</c:v>
                </c:pt>
                <c:pt idx="14011">
                  <c:v>45121</c:v>
                </c:pt>
                <c:pt idx="14012">
                  <c:v>45121</c:v>
                </c:pt>
                <c:pt idx="14013">
                  <c:v>45120</c:v>
                </c:pt>
                <c:pt idx="14014">
                  <c:v>45120</c:v>
                </c:pt>
                <c:pt idx="14015">
                  <c:v>45120</c:v>
                </c:pt>
                <c:pt idx="14016">
                  <c:v>45117</c:v>
                </c:pt>
                <c:pt idx="14017">
                  <c:v>45117</c:v>
                </c:pt>
                <c:pt idx="14018">
                  <c:v>45117</c:v>
                </c:pt>
                <c:pt idx="14019">
                  <c:v>45117</c:v>
                </c:pt>
                <c:pt idx="14020">
                  <c:v>45117</c:v>
                </c:pt>
                <c:pt idx="14021">
                  <c:v>45116</c:v>
                </c:pt>
                <c:pt idx="14022">
                  <c:v>45116</c:v>
                </c:pt>
                <c:pt idx="14023">
                  <c:v>45116</c:v>
                </c:pt>
                <c:pt idx="14024">
                  <c:v>45115</c:v>
                </c:pt>
                <c:pt idx="14025">
                  <c:v>45115</c:v>
                </c:pt>
                <c:pt idx="14026">
                  <c:v>45115</c:v>
                </c:pt>
                <c:pt idx="14027">
                  <c:v>45114</c:v>
                </c:pt>
                <c:pt idx="14028">
                  <c:v>45114</c:v>
                </c:pt>
                <c:pt idx="14029">
                  <c:v>45113</c:v>
                </c:pt>
                <c:pt idx="14030">
                  <c:v>45112</c:v>
                </c:pt>
                <c:pt idx="14031">
                  <c:v>45111</c:v>
                </c:pt>
                <c:pt idx="14032">
                  <c:v>45111</c:v>
                </c:pt>
                <c:pt idx="14033">
                  <c:v>45111</c:v>
                </c:pt>
                <c:pt idx="14034">
                  <c:v>45111</c:v>
                </c:pt>
                <c:pt idx="14035">
                  <c:v>45111</c:v>
                </c:pt>
                <c:pt idx="14036">
                  <c:v>45110</c:v>
                </c:pt>
                <c:pt idx="14037">
                  <c:v>45109</c:v>
                </c:pt>
                <c:pt idx="14038">
                  <c:v>45109</c:v>
                </c:pt>
                <c:pt idx="14039">
                  <c:v>45109</c:v>
                </c:pt>
                <c:pt idx="14040">
                  <c:v>45109</c:v>
                </c:pt>
                <c:pt idx="14041">
                  <c:v>45109</c:v>
                </c:pt>
                <c:pt idx="14042">
                  <c:v>45108</c:v>
                </c:pt>
                <c:pt idx="14043">
                  <c:v>45107</c:v>
                </c:pt>
                <c:pt idx="14044">
                  <c:v>45106</c:v>
                </c:pt>
                <c:pt idx="14045">
                  <c:v>45105</c:v>
                </c:pt>
                <c:pt idx="14046">
                  <c:v>45105</c:v>
                </c:pt>
                <c:pt idx="14047">
                  <c:v>45104</c:v>
                </c:pt>
                <c:pt idx="14048">
                  <c:v>45103</c:v>
                </c:pt>
                <c:pt idx="14049">
                  <c:v>45103</c:v>
                </c:pt>
                <c:pt idx="14050">
                  <c:v>45102</c:v>
                </c:pt>
                <c:pt idx="14051">
                  <c:v>45102</c:v>
                </c:pt>
                <c:pt idx="14052">
                  <c:v>45101</c:v>
                </c:pt>
                <c:pt idx="14053">
                  <c:v>45099</c:v>
                </c:pt>
                <c:pt idx="14054">
                  <c:v>45099</c:v>
                </c:pt>
                <c:pt idx="14055">
                  <c:v>45099</c:v>
                </c:pt>
                <c:pt idx="14056">
                  <c:v>45098</c:v>
                </c:pt>
                <c:pt idx="14057">
                  <c:v>45098</c:v>
                </c:pt>
                <c:pt idx="14058">
                  <c:v>45097</c:v>
                </c:pt>
                <c:pt idx="14059">
                  <c:v>45097</c:v>
                </c:pt>
                <c:pt idx="14060">
                  <c:v>45096</c:v>
                </c:pt>
                <c:pt idx="14061">
                  <c:v>45095</c:v>
                </c:pt>
                <c:pt idx="14062">
                  <c:v>45095</c:v>
                </c:pt>
                <c:pt idx="14063">
                  <c:v>45094</c:v>
                </c:pt>
                <c:pt idx="14064">
                  <c:v>45094</c:v>
                </c:pt>
                <c:pt idx="14065">
                  <c:v>45094</c:v>
                </c:pt>
                <c:pt idx="14066">
                  <c:v>45093</c:v>
                </c:pt>
                <c:pt idx="14067">
                  <c:v>45092</c:v>
                </c:pt>
                <c:pt idx="14068">
                  <c:v>45091</c:v>
                </c:pt>
                <c:pt idx="14069">
                  <c:v>45091</c:v>
                </c:pt>
                <c:pt idx="14070">
                  <c:v>45090</c:v>
                </c:pt>
                <c:pt idx="14071">
                  <c:v>45090</c:v>
                </c:pt>
                <c:pt idx="14072">
                  <c:v>45089</c:v>
                </c:pt>
                <c:pt idx="14073">
                  <c:v>45089</c:v>
                </c:pt>
                <c:pt idx="14074">
                  <c:v>45089</c:v>
                </c:pt>
                <c:pt idx="14075">
                  <c:v>45089</c:v>
                </c:pt>
                <c:pt idx="14076">
                  <c:v>45089</c:v>
                </c:pt>
                <c:pt idx="14077">
                  <c:v>45089</c:v>
                </c:pt>
                <c:pt idx="14078">
                  <c:v>45087</c:v>
                </c:pt>
                <c:pt idx="14079">
                  <c:v>45087</c:v>
                </c:pt>
                <c:pt idx="14080">
                  <c:v>45087</c:v>
                </c:pt>
                <c:pt idx="14081">
                  <c:v>45087</c:v>
                </c:pt>
                <c:pt idx="14082">
                  <c:v>45086</c:v>
                </c:pt>
                <c:pt idx="14083">
                  <c:v>45086</c:v>
                </c:pt>
                <c:pt idx="14084">
                  <c:v>45085</c:v>
                </c:pt>
                <c:pt idx="14085">
                  <c:v>45084</c:v>
                </c:pt>
                <c:pt idx="14086">
                  <c:v>45084</c:v>
                </c:pt>
                <c:pt idx="14087">
                  <c:v>45084</c:v>
                </c:pt>
                <c:pt idx="14088">
                  <c:v>45083</c:v>
                </c:pt>
                <c:pt idx="14089">
                  <c:v>45082</c:v>
                </c:pt>
                <c:pt idx="14090">
                  <c:v>45081</c:v>
                </c:pt>
                <c:pt idx="14091">
                  <c:v>45081</c:v>
                </c:pt>
                <c:pt idx="14092">
                  <c:v>45081</c:v>
                </c:pt>
                <c:pt idx="14093">
                  <c:v>45080</c:v>
                </c:pt>
                <c:pt idx="14094">
                  <c:v>45080</c:v>
                </c:pt>
                <c:pt idx="14095">
                  <c:v>45079</c:v>
                </c:pt>
                <c:pt idx="14096">
                  <c:v>45079</c:v>
                </c:pt>
                <c:pt idx="14097">
                  <c:v>45078</c:v>
                </c:pt>
                <c:pt idx="14098">
                  <c:v>45078</c:v>
                </c:pt>
                <c:pt idx="14099">
                  <c:v>45076</c:v>
                </c:pt>
                <c:pt idx="14100">
                  <c:v>45076</c:v>
                </c:pt>
                <c:pt idx="14101">
                  <c:v>45076</c:v>
                </c:pt>
                <c:pt idx="14102">
                  <c:v>45075</c:v>
                </c:pt>
                <c:pt idx="14103">
                  <c:v>45074</c:v>
                </c:pt>
                <c:pt idx="14104">
                  <c:v>45074</c:v>
                </c:pt>
                <c:pt idx="14105">
                  <c:v>45073</c:v>
                </c:pt>
                <c:pt idx="14106">
                  <c:v>45073</c:v>
                </c:pt>
                <c:pt idx="14107">
                  <c:v>45072</c:v>
                </c:pt>
                <c:pt idx="14108">
                  <c:v>45072</c:v>
                </c:pt>
                <c:pt idx="14109">
                  <c:v>45072</c:v>
                </c:pt>
                <c:pt idx="14110">
                  <c:v>45071</c:v>
                </c:pt>
                <c:pt idx="14111">
                  <c:v>45071</c:v>
                </c:pt>
                <c:pt idx="14112">
                  <c:v>45070</c:v>
                </c:pt>
                <c:pt idx="14113">
                  <c:v>45070</c:v>
                </c:pt>
                <c:pt idx="14114">
                  <c:v>45070</c:v>
                </c:pt>
                <c:pt idx="14115">
                  <c:v>45070</c:v>
                </c:pt>
                <c:pt idx="14116">
                  <c:v>45068</c:v>
                </c:pt>
                <c:pt idx="14117">
                  <c:v>45067</c:v>
                </c:pt>
                <c:pt idx="14118">
                  <c:v>45067</c:v>
                </c:pt>
                <c:pt idx="14119">
                  <c:v>45067</c:v>
                </c:pt>
                <c:pt idx="14120">
                  <c:v>45066</c:v>
                </c:pt>
                <c:pt idx="14121">
                  <c:v>45066</c:v>
                </c:pt>
                <c:pt idx="14122">
                  <c:v>45066</c:v>
                </c:pt>
                <c:pt idx="14123">
                  <c:v>45065</c:v>
                </c:pt>
                <c:pt idx="14124">
                  <c:v>45065</c:v>
                </c:pt>
                <c:pt idx="14125">
                  <c:v>45064</c:v>
                </c:pt>
                <c:pt idx="14126">
                  <c:v>45064</c:v>
                </c:pt>
                <c:pt idx="14127">
                  <c:v>45063</c:v>
                </c:pt>
                <c:pt idx="14128">
                  <c:v>45063</c:v>
                </c:pt>
                <c:pt idx="14129">
                  <c:v>45061</c:v>
                </c:pt>
                <c:pt idx="14130">
                  <c:v>45061</c:v>
                </c:pt>
                <c:pt idx="14131">
                  <c:v>45061</c:v>
                </c:pt>
                <c:pt idx="14132">
                  <c:v>45060</c:v>
                </c:pt>
                <c:pt idx="14133">
                  <c:v>45060</c:v>
                </c:pt>
                <c:pt idx="14134">
                  <c:v>45059</c:v>
                </c:pt>
                <c:pt idx="14135">
                  <c:v>45059</c:v>
                </c:pt>
                <c:pt idx="14136">
                  <c:v>45058</c:v>
                </c:pt>
                <c:pt idx="14137">
                  <c:v>45058</c:v>
                </c:pt>
                <c:pt idx="14138">
                  <c:v>45057</c:v>
                </c:pt>
                <c:pt idx="14139">
                  <c:v>45057</c:v>
                </c:pt>
                <c:pt idx="14140">
                  <c:v>45057</c:v>
                </c:pt>
                <c:pt idx="14141">
                  <c:v>45057</c:v>
                </c:pt>
                <c:pt idx="14142">
                  <c:v>45056</c:v>
                </c:pt>
                <c:pt idx="14143">
                  <c:v>45055</c:v>
                </c:pt>
                <c:pt idx="14144">
                  <c:v>45055</c:v>
                </c:pt>
                <c:pt idx="14145">
                  <c:v>45053</c:v>
                </c:pt>
                <c:pt idx="14146">
                  <c:v>45053</c:v>
                </c:pt>
                <c:pt idx="14147">
                  <c:v>45053</c:v>
                </c:pt>
                <c:pt idx="14148">
                  <c:v>45052</c:v>
                </c:pt>
                <c:pt idx="14149">
                  <c:v>45052</c:v>
                </c:pt>
                <c:pt idx="14150">
                  <c:v>45051</c:v>
                </c:pt>
                <c:pt idx="14151">
                  <c:v>45051</c:v>
                </c:pt>
                <c:pt idx="14152">
                  <c:v>45050</c:v>
                </c:pt>
                <c:pt idx="14153">
                  <c:v>45050</c:v>
                </c:pt>
                <c:pt idx="14154">
                  <c:v>45050</c:v>
                </c:pt>
                <c:pt idx="14155">
                  <c:v>45050</c:v>
                </c:pt>
                <c:pt idx="14156">
                  <c:v>45050</c:v>
                </c:pt>
                <c:pt idx="14157">
                  <c:v>45049</c:v>
                </c:pt>
                <c:pt idx="14158">
                  <c:v>45048</c:v>
                </c:pt>
                <c:pt idx="14159">
                  <c:v>45048</c:v>
                </c:pt>
                <c:pt idx="14160">
                  <c:v>45048</c:v>
                </c:pt>
                <c:pt idx="14161">
                  <c:v>45047</c:v>
                </c:pt>
                <c:pt idx="14162">
                  <c:v>45047</c:v>
                </c:pt>
                <c:pt idx="14163">
                  <c:v>45047</c:v>
                </c:pt>
                <c:pt idx="14164">
                  <c:v>45047</c:v>
                </c:pt>
                <c:pt idx="14165">
                  <c:v>45046</c:v>
                </c:pt>
                <c:pt idx="14166">
                  <c:v>45045</c:v>
                </c:pt>
                <c:pt idx="14167">
                  <c:v>45045</c:v>
                </c:pt>
                <c:pt idx="14168">
                  <c:v>45045</c:v>
                </c:pt>
                <c:pt idx="14169">
                  <c:v>45043</c:v>
                </c:pt>
                <c:pt idx="14170">
                  <c:v>45042</c:v>
                </c:pt>
                <c:pt idx="14171">
                  <c:v>45042</c:v>
                </c:pt>
                <c:pt idx="14172">
                  <c:v>45042</c:v>
                </c:pt>
                <c:pt idx="14173">
                  <c:v>45041</c:v>
                </c:pt>
                <c:pt idx="14174">
                  <c:v>45041</c:v>
                </c:pt>
                <c:pt idx="14175">
                  <c:v>45040</c:v>
                </c:pt>
                <c:pt idx="14176">
                  <c:v>45039</c:v>
                </c:pt>
                <c:pt idx="14177">
                  <c:v>45039</c:v>
                </c:pt>
                <c:pt idx="14178">
                  <c:v>45038</c:v>
                </c:pt>
                <c:pt idx="14179">
                  <c:v>45038</c:v>
                </c:pt>
                <c:pt idx="14180">
                  <c:v>45037</c:v>
                </c:pt>
                <c:pt idx="14181">
                  <c:v>45034</c:v>
                </c:pt>
                <c:pt idx="14182">
                  <c:v>45034</c:v>
                </c:pt>
                <c:pt idx="14183">
                  <c:v>45034</c:v>
                </c:pt>
                <c:pt idx="14184">
                  <c:v>45034</c:v>
                </c:pt>
                <c:pt idx="14185">
                  <c:v>45034</c:v>
                </c:pt>
                <c:pt idx="14186">
                  <c:v>45033</c:v>
                </c:pt>
                <c:pt idx="14187">
                  <c:v>45033</c:v>
                </c:pt>
                <c:pt idx="14188">
                  <c:v>45033</c:v>
                </c:pt>
                <c:pt idx="14189">
                  <c:v>45032</c:v>
                </c:pt>
                <c:pt idx="14190">
                  <c:v>45032</c:v>
                </c:pt>
                <c:pt idx="14191">
                  <c:v>45032</c:v>
                </c:pt>
                <c:pt idx="14192">
                  <c:v>45030</c:v>
                </c:pt>
                <c:pt idx="14193">
                  <c:v>45030</c:v>
                </c:pt>
                <c:pt idx="14194">
                  <c:v>45028</c:v>
                </c:pt>
                <c:pt idx="14195">
                  <c:v>45028</c:v>
                </c:pt>
                <c:pt idx="14196">
                  <c:v>45028</c:v>
                </c:pt>
                <c:pt idx="14197">
                  <c:v>45028</c:v>
                </c:pt>
                <c:pt idx="14198">
                  <c:v>45027</c:v>
                </c:pt>
                <c:pt idx="14199">
                  <c:v>45025</c:v>
                </c:pt>
                <c:pt idx="14200">
                  <c:v>45025</c:v>
                </c:pt>
                <c:pt idx="14201">
                  <c:v>45024</c:v>
                </c:pt>
                <c:pt idx="14202">
                  <c:v>45024</c:v>
                </c:pt>
                <c:pt idx="14203">
                  <c:v>45024</c:v>
                </c:pt>
                <c:pt idx="14204">
                  <c:v>45023</c:v>
                </c:pt>
                <c:pt idx="14205">
                  <c:v>45023</c:v>
                </c:pt>
                <c:pt idx="14206">
                  <c:v>45023</c:v>
                </c:pt>
                <c:pt idx="14207">
                  <c:v>45023</c:v>
                </c:pt>
                <c:pt idx="14208">
                  <c:v>45023</c:v>
                </c:pt>
                <c:pt idx="14209">
                  <c:v>45022</c:v>
                </c:pt>
                <c:pt idx="14210">
                  <c:v>45022</c:v>
                </c:pt>
                <c:pt idx="14211">
                  <c:v>45022</c:v>
                </c:pt>
                <c:pt idx="14212">
                  <c:v>45020</c:v>
                </c:pt>
                <c:pt idx="14213">
                  <c:v>45019</c:v>
                </c:pt>
                <c:pt idx="14214">
                  <c:v>45019</c:v>
                </c:pt>
                <c:pt idx="14215">
                  <c:v>45018</c:v>
                </c:pt>
                <c:pt idx="14216">
                  <c:v>45018</c:v>
                </c:pt>
                <c:pt idx="14217">
                  <c:v>45017</c:v>
                </c:pt>
                <c:pt idx="14218">
                  <c:v>45017</c:v>
                </c:pt>
                <c:pt idx="14219">
                  <c:v>45016</c:v>
                </c:pt>
                <c:pt idx="14220">
                  <c:v>45015</c:v>
                </c:pt>
                <c:pt idx="14221">
                  <c:v>45015</c:v>
                </c:pt>
                <c:pt idx="14222">
                  <c:v>45014</c:v>
                </c:pt>
                <c:pt idx="14223">
                  <c:v>45014</c:v>
                </c:pt>
                <c:pt idx="14224">
                  <c:v>45014</c:v>
                </c:pt>
                <c:pt idx="14225">
                  <c:v>45012</c:v>
                </c:pt>
                <c:pt idx="14226">
                  <c:v>45012</c:v>
                </c:pt>
                <c:pt idx="14227">
                  <c:v>45012</c:v>
                </c:pt>
                <c:pt idx="14228">
                  <c:v>45011</c:v>
                </c:pt>
                <c:pt idx="14229">
                  <c:v>45011</c:v>
                </c:pt>
                <c:pt idx="14230">
                  <c:v>45011</c:v>
                </c:pt>
                <c:pt idx="14231">
                  <c:v>45011</c:v>
                </c:pt>
                <c:pt idx="14232">
                  <c:v>45011</c:v>
                </c:pt>
                <c:pt idx="14233">
                  <c:v>45010</c:v>
                </c:pt>
                <c:pt idx="14234">
                  <c:v>45010</c:v>
                </c:pt>
                <c:pt idx="14235">
                  <c:v>45009</c:v>
                </c:pt>
                <c:pt idx="14236">
                  <c:v>45008</c:v>
                </c:pt>
                <c:pt idx="14237">
                  <c:v>45007</c:v>
                </c:pt>
                <c:pt idx="14238">
                  <c:v>45007</c:v>
                </c:pt>
                <c:pt idx="14239">
                  <c:v>45006</c:v>
                </c:pt>
                <c:pt idx="14240">
                  <c:v>45005</c:v>
                </c:pt>
                <c:pt idx="14241">
                  <c:v>45005</c:v>
                </c:pt>
                <c:pt idx="14242">
                  <c:v>45003</c:v>
                </c:pt>
                <c:pt idx="14243">
                  <c:v>45003</c:v>
                </c:pt>
                <c:pt idx="14244">
                  <c:v>45001</c:v>
                </c:pt>
                <c:pt idx="14245">
                  <c:v>45000</c:v>
                </c:pt>
                <c:pt idx="14246">
                  <c:v>44999</c:v>
                </c:pt>
                <c:pt idx="14247">
                  <c:v>44999</c:v>
                </c:pt>
                <c:pt idx="14248">
                  <c:v>44998</c:v>
                </c:pt>
                <c:pt idx="14249">
                  <c:v>44998</c:v>
                </c:pt>
                <c:pt idx="14250">
                  <c:v>44997</c:v>
                </c:pt>
                <c:pt idx="14251">
                  <c:v>44996</c:v>
                </c:pt>
                <c:pt idx="14252">
                  <c:v>44995</c:v>
                </c:pt>
                <c:pt idx="14253">
                  <c:v>44995</c:v>
                </c:pt>
                <c:pt idx="14254">
                  <c:v>44995</c:v>
                </c:pt>
                <c:pt idx="14255">
                  <c:v>44994</c:v>
                </c:pt>
                <c:pt idx="14256">
                  <c:v>44994</c:v>
                </c:pt>
                <c:pt idx="14257">
                  <c:v>44994</c:v>
                </c:pt>
                <c:pt idx="14258">
                  <c:v>44994</c:v>
                </c:pt>
                <c:pt idx="14259">
                  <c:v>44992</c:v>
                </c:pt>
                <c:pt idx="14260">
                  <c:v>44992</c:v>
                </c:pt>
                <c:pt idx="14261">
                  <c:v>44992</c:v>
                </c:pt>
                <c:pt idx="14262">
                  <c:v>44991</c:v>
                </c:pt>
                <c:pt idx="14263">
                  <c:v>44991</c:v>
                </c:pt>
                <c:pt idx="14264">
                  <c:v>44991</c:v>
                </c:pt>
                <c:pt idx="14265">
                  <c:v>44991</c:v>
                </c:pt>
                <c:pt idx="14266">
                  <c:v>44991</c:v>
                </c:pt>
                <c:pt idx="14267">
                  <c:v>44991</c:v>
                </c:pt>
                <c:pt idx="14268">
                  <c:v>44990</c:v>
                </c:pt>
                <c:pt idx="14269">
                  <c:v>44990</c:v>
                </c:pt>
                <c:pt idx="14270">
                  <c:v>44990</c:v>
                </c:pt>
                <c:pt idx="14271">
                  <c:v>44990</c:v>
                </c:pt>
                <c:pt idx="14272">
                  <c:v>44989</c:v>
                </c:pt>
                <c:pt idx="14273">
                  <c:v>44988</c:v>
                </c:pt>
                <c:pt idx="14274">
                  <c:v>44988</c:v>
                </c:pt>
                <c:pt idx="14275">
                  <c:v>44988</c:v>
                </c:pt>
                <c:pt idx="14276">
                  <c:v>44988</c:v>
                </c:pt>
                <c:pt idx="14277">
                  <c:v>44987</c:v>
                </c:pt>
                <c:pt idx="14278">
                  <c:v>44987</c:v>
                </c:pt>
                <c:pt idx="14279">
                  <c:v>44987</c:v>
                </c:pt>
                <c:pt idx="14280">
                  <c:v>44986</c:v>
                </c:pt>
                <c:pt idx="14281">
                  <c:v>44985</c:v>
                </c:pt>
                <c:pt idx="14282">
                  <c:v>44985</c:v>
                </c:pt>
                <c:pt idx="14283">
                  <c:v>44985</c:v>
                </c:pt>
                <c:pt idx="14284">
                  <c:v>44984</c:v>
                </c:pt>
                <c:pt idx="14285">
                  <c:v>44984</c:v>
                </c:pt>
                <c:pt idx="14286">
                  <c:v>44984</c:v>
                </c:pt>
                <c:pt idx="14287">
                  <c:v>44984</c:v>
                </c:pt>
                <c:pt idx="14288">
                  <c:v>44983</c:v>
                </c:pt>
                <c:pt idx="14289">
                  <c:v>44983</c:v>
                </c:pt>
                <c:pt idx="14290">
                  <c:v>44982</c:v>
                </c:pt>
                <c:pt idx="14291">
                  <c:v>44981</c:v>
                </c:pt>
                <c:pt idx="14292">
                  <c:v>44980</c:v>
                </c:pt>
                <c:pt idx="14293">
                  <c:v>44979</c:v>
                </c:pt>
                <c:pt idx="14294">
                  <c:v>44979</c:v>
                </c:pt>
                <c:pt idx="14295">
                  <c:v>44979</c:v>
                </c:pt>
                <c:pt idx="14296">
                  <c:v>44978</c:v>
                </c:pt>
                <c:pt idx="14297">
                  <c:v>44978</c:v>
                </c:pt>
                <c:pt idx="14298">
                  <c:v>44977</c:v>
                </c:pt>
                <c:pt idx="14299">
                  <c:v>44976</c:v>
                </c:pt>
                <c:pt idx="14300">
                  <c:v>44975</c:v>
                </c:pt>
                <c:pt idx="14301">
                  <c:v>44975</c:v>
                </c:pt>
                <c:pt idx="14302">
                  <c:v>44974</c:v>
                </c:pt>
                <c:pt idx="14303">
                  <c:v>44974</c:v>
                </c:pt>
                <c:pt idx="14304">
                  <c:v>44974</c:v>
                </c:pt>
                <c:pt idx="14305">
                  <c:v>44973</c:v>
                </c:pt>
                <c:pt idx="14306">
                  <c:v>44973</c:v>
                </c:pt>
                <c:pt idx="14307">
                  <c:v>44973</c:v>
                </c:pt>
                <c:pt idx="14308">
                  <c:v>44973</c:v>
                </c:pt>
                <c:pt idx="14309">
                  <c:v>44972</c:v>
                </c:pt>
                <c:pt idx="14310">
                  <c:v>44972</c:v>
                </c:pt>
                <c:pt idx="14311">
                  <c:v>44972</c:v>
                </c:pt>
                <c:pt idx="14312">
                  <c:v>44972</c:v>
                </c:pt>
                <c:pt idx="14313">
                  <c:v>44971</c:v>
                </c:pt>
                <c:pt idx="14314">
                  <c:v>44970</c:v>
                </c:pt>
                <c:pt idx="14315">
                  <c:v>44969</c:v>
                </c:pt>
                <c:pt idx="14316">
                  <c:v>44967</c:v>
                </c:pt>
                <c:pt idx="14317">
                  <c:v>44966</c:v>
                </c:pt>
                <c:pt idx="14318">
                  <c:v>44965</c:v>
                </c:pt>
                <c:pt idx="14319">
                  <c:v>44965</c:v>
                </c:pt>
                <c:pt idx="14320">
                  <c:v>44964</c:v>
                </c:pt>
                <c:pt idx="14321">
                  <c:v>44964</c:v>
                </c:pt>
                <c:pt idx="14322">
                  <c:v>44964</c:v>
                </c:pt>
                <c:pt idx="14323">
                  <c:v>44962</c:v>
                </c:pt>
                <c:pt idx="14324">
                  <c:v>44962</c:v>
                </c:pt>
                <c:pt idx="14325">
                  <c:v>44962</c:v>
                </c:pt>
                <c:pt idx="14326">
                  <c:v>44961</c:v>
                </c:pt>
                <c:pt idx="14327">
                  <c:v>44960</c:v>
                </c:pt>
                <c:pt idx="14328">
                  <c:v>44960</c:v>
                </c:pt>
                <c:pt idx="14329">
                  <c:v>44959</c:v>
                </c:pt>
                <c:pt idx="14330">
                  <c:v>44958</c:v>
                </c:pt>
                <c:pt idx="14331">
                  <c:v>44958</c:v>
                </c:pt>
                <c:pt idx="14332">
                  <c:v>44958</c:v>
                </c:pt>
                <c:pt idx="14333">
                  <c:v>44957</c:v>
                </c:pt>
                <c:pt idx="14334">
                  <c:v>44956</c:v>
                </c:pt>
                <c:pt idx="14335">
                  <c:v>44956</c:v>
                </c:pt>
                <c:pt idx="14336">
                  <c:v>44955</c:v>
                </c:pt>
                <c:pt idx="14337">
                  <c:v>44955</c:v>
                </c:pt>
                <c:pt idx="14338">
                  <c:v>44955</c:v>
                </c:pt>
                <c:pt idx="14339">
                  <c:v>44953</c:v>
                </c:pt>
                <c:pt idx="14340">
                  <c:v>44953</c:v>
                </c:pt>
                <c:pt idx="14341">
                  <c:v>44951</c:v>
                </c:pt>
                <c:pt idx="14342">
                  <c:v>44951</c:v>
                </c:pt>
                <c:pt idx="14343">
                  <c:v>44950</c:v>
                </c:pt>
                <c:pt idx="14344">
                  <c:v>44950</c:v>
                </c:pt>
                <c:pt idx="14345">
                  <c:v>44949</c:v>
                </c:pt>
                <c:pt idx="14346">
                  <c:v>44949</c:v>
                </c:pt>
                <c:pt idx="14347">
                  <c:v>44948</c:v>
                </c:pt>
                <c:pt idx="14348">
                  <c:v>44947</c:v>
                </c:pt>
                <c:pt idx="14349">
                  <c:v>44947</c:v>
                </c:pt>
                <c:pt idx="14350">
                  <c:v>44947</c:v>
                </c:pt>
                <c:pt idx="14351">
                  <c:v>44947</c:v>
                </c:pt>
                <c:pt idx="14352">
                  <c:v>44946</c:v>
                </c:pt>
                <c:pt idx="14353">
                  <c:v>44944</c:v>
                </c:pt>
                <c:pt idx="14354">
                  <c:v>44944</c:v>
                </c:pt>
                <c:pt idx="14355">
                  <c:v>44943</c:v>
                </c:pt>
                <c:pt idx="14356">
                  <c:v>44942</c:v>
                </c:pt>
                <c:pt idx="14357">
                  <c:v>44942</c:v>
                </c:pt>
                <c:pt idx="14358">
                  <c:v>44941</c:v>
                </c:pt>
                <c:pt idx="14359">
                  <c:v>44940</c:v>
                </c:pt>
                <c:pt idx="14360">
                  <c:v>44940</c:v>
                </c:pt>
                <c:pt idx="14361">
                  <c:v>44940</c:v>
                </c:pt>
                <c:pt idx="14362">
                  <c:v>44939</c:v>
                </c:pt>
                <c:pt idx="14363">
                  <c:v>44939</c:v>
                </c:pt>
                <c:pt idx="14364">
                  <c:v>44938</c:v>
                </c:pt>
                <c:pt idx="14365">
                  <c:v>44938</c:v>
                </c:pt>
                <c:pt idx="14366">
                  <c:v>44937</c:v>
                </c:pt>
                <c:pt idx="14367">
                  <c:v>44936</c:v>
                </c:pt>
                <c:pt idx="14368">
                  <c:v>44936</c:v>
                </c:pt>
                <c:pt idx="14369">
                  <c:v>44936</c:v>
                </c:pt>
                <c:pt idx="14370">
                  <c:v>44936</c:v>
                </c:pt>
                <c:pt idx="14371">
                  <c:v>44935</c:v>
                </c:pt>
                <c:pt idx="14372">
                  <c:v>44935</c:v>
                </c:pt>
                <c:pt idx="14373">
                  <c:v>44934</c:v>
                </c:pt>
                <c:pt idx="14374">
                  <c:v>44934</c:v>
                </c:pt>
                <c:pt idx="14375">
                  <c:v>44933</c:v>
                </c:pt>
                <c:pt idx="14376">
                  <c:v>44933</c:v>
                </c:pt>
                <c:pt idx="14377">
                  <c:v>44932</c:v>
                </c:pt>
                <c:pt idx="14378">
                  <c:v>44932</c:v>
                </c:pt>
                <c:pt idx="14379">
                  <c:v>44930</c:v>
                </c:pt>
                <c:pt idx="14380">
                  <c:v>44929</c:v>
                </c:pt>
                <c:pt idx="14381">
                  <c:v>44928</c:v>
                </c:pt>
                <c:pt idx="14382">
                  <c:v>44927</c:v>
                </c:pt>
                <c:pt idx="14383">
                  <c:v>44926</c:v>
                </c:pt>
                <c:pt idx="14384">
                  <c:v>44926</c:v>
                </c:pt>
                <c:pt idx="14385">
                  <c:v>44925</c:v>
                </c:pt>
                <c:pt idx="14386">
                  <c:v>44925</c:v>
                </c:pt>
                <c:pt idx="14387">
                  <c:v>44925</c:v>
                </c:pt>
                <c:pt idx="14388">
                  <c:v>44924</c:v>
                </c:pt>
                <c:pt idx="14389">
                  <c:v>44924</c:v>
                </c:pt>
                <c:pt idx="14390">
                  <c:v>44923</c:v>
                </c:pt>
                <c:pt idx="14391">
                  <c:v>44923</c:v>
                </c:pt>
                <c:pt idx="14392">
                  <c:v>44922</c:v>
                </c:pt>
                <c:pt idx="14393">
                  <c:v>44922</c:v>
                </c:pt>
                <c:pt idx="14394">
                  <c:v>44921</c:v>
                </c:pt>
                <c:pt idx="14395">
                  <c:v>44920</c:v>
                </c:pt>
                <c:pt idx="14396">
                  <c:v>44920</c:v>
                </c:pt>
                <c:pt idx="14397">
                  <c:v>44916</c:v>
                </c:pt>
                <c:pt idx="14398">
                  <c:v>44916</c:v>
                </c:pt>
                <c:pt idx="14399">
                  <c:v>44915</c:v>
                </c:pt>
                <c:pt idx="14400">
                  <c:v>44915</c:v>
                </c:pt>
                <c:pt idx="14401">
                  <c:v>44914</c:v>
                </c:pt>
                <c:pt idx="14402">
                  <c:v>44914</c:v>
                </c:pt>
                <c:pt idx="14403">
                  <c:v>44913</c:v>
                </c:pt>
                <c:pt idx="14404">
                  <c:v>44913</c:v>
                </c:pt>
                <c:pt idx="14405">
                  <c:v>44913</c:v>
                </c:pt>
                <c:pt idx="14406">
                  <c:v>44913</c:v>
                </c:pt>
                <c:pt idx="14407">
                  <c:v>44912</c:v>
                </c:pt>
                <c:pt idx="14408">
                  <c:v>44909</c:v>
                </c:pt>
                <c:pt idx="14409">
                  <c:v>44909</c:v>
                </c:pt>
                <c:pt idx="14410">
                  <c:v>44909</c:v>
                </c:pt>
                <c:pt idx="14411">
                  <c:v>44909</c:v>
                </c:pt>
                <c:pt idx="14412">
                  <c:v>44908</c:v>
                </c:pt>
                <c:pt idx="14413">
                  <c:v>44908</c:v>
                </c:pt>
                <c:pt idx="14414">
                  <c:v>44907</c:v>
                </c:pt>
                <c:pt idx="14415">
                  <c:v>44906</c:v>
                </c:pt>
                <c:pt idx="14416">
                  <c:v>44905</c:v>
                </c:pt>
                <c:pt idx="14417">
                  <c:v>44905</c:v>
                </c:pt>
                <c:pt idx="14418">
                  <c:v>44904</c:v>
                </c:pt>
                <c:pt idx="14419">
                  <c:v>44904</c:v>
                </c:pt>
                <c:pt idx="14420">
                  <c:v>44904</c:v>
                </c:pt>
                <c:pt idx="14421">
                  <c:v>44903</c:v>
                </c:pt>
                <c:pt idx="14422">
                  <c:v>44903</c:v>
                </c:pt>
                <c:pt idx="14423">
                  <c:v>44903</c:v>
                </c:pt>
                <c:pt idx="14424">
                  <c:v>44903</c:v>
                </c:pt>
                <c:pt idx="14425">
                  <c:v>44902</c:v>
                </c:pt>
                <c:pt idx="14426">
                  <c:v>44902</c:v>
                </c:pt>
                <c:pt idx="14427">
                  <c:v>44901</c:v>
                </c:pt>
                <c:pt idx="14428">
                  <c:v>44901</c:v>
                </c:pt>
                <c:pt idx="14429">
                  <c:v>44900</c:v>
                </c:pt>
                <c:pt idx="14430">
                  <c:v>44900</c:v>
                </c:pt>
                <c:pt idx="14431">
                  <c:v>44900</c:v>
                </c:pt>
                <c:pt idx="14432">
                  <c:v>44899</c:v>
                </c:pt>
                <c:pt idx="14433">
                  <c:v>44898</c:v>
                </c:pt>
                <c:pt idx="14434">
                  <c:v>44897</c:v>
                </c:pt>
                <c:pt idx="14435">
                  <c:v>44897</c:v>
                </c:pt>
                <c:pt idx="14436">
                  <c:v>44894</c:v>
                </c:pt>
                <c:pt idx="14437">
                  <c:v>44894</c:v>
                </c:pt>
                <c:pt idx="14438">
                  <c:v>44894</c:v>
                </c:pt>
                <c:pt idx="14439">
                  <c:v>44894</c:v>
                </c:pt>
                <c:pt idx="14440">
                  <c:v>44894</c:v>
                </c:pt>
                <c:pt idx="14441">
                  <c:v>44894</c:v>
                </c:pt>
                <c:pt idx="14442">
                  <c:v>44893</c:v>
                </c:pt>
                <c:pt idx="14443">
                  <c:v>44892</c:v>
                </c:pt>
                <c:pt idx="14444">
                  <c:v>44891</c:v>
                </c:pt>
                <c:pt idx="14445">
                  <c:v>44891</c:v>
                </c:pt>
                <c:pt idx="14446">
                  <c:v>44890</c:v>
                </c:pt>
                <c:pt idx="14447">
                  <c:v>44890</c:v>
                </c:pt>
                <c:pt idx="14448">
                  <c:v>44890</c:v>
                </c:pt>
                <c:pt idx="14449">
                  <c:v>44890</c:v>
                </c:pt>
                <c:pt idx="14450">
                  <c:v>44889</c:v>
                </c:pt>
                <c:pt idx="14451">
                  <c:v>44888</c:v>
                </c:pt>
                <c:pt idx="14452">
                  <c:v>44888</c:v>
                </c:pt>
                <c:pt idx="14453">
                  <c:v>44887</c:v>
                </c:pt>
                <c:pt idx="14454">
                  <c:v>44886</c:v>
                </c:pt>
                <c:pt idx="14455">
                  <c:v>44883</c:v>
                </c:pt>
                <c:pt idx="14456">
                  <c:v>44883</c:v>
                </c:pt>
                <c:pt idx="14457">
                  <c:v>44883</c:v>
                </c:pt>
                <c:pt idx="14458">
                  <c:v>44882</c:v>
                </c:pt>
                <c:pt idx="14459">
                  <c:v>44882</c:v>
                </c:pt>
                <c:pt idx="14460">
                  <c:v>44882</c:v>
                </c:pt>
                <c:pt idx="14461">
                  <c:v>44881</c:v>
                </c:pt>
                <c:pt idx="14462">
                  <c:v>44881</c:v>
                </c:pt>
                <c:pt idx="14463">
                  <c:v>44881</c:v>
                </c:pt>
                <c:pt idx="14464">
                  <c:v>44881</c:v>
                </c:pt>
                <c:pt idx="14465">
                  <c:v>44880</c:v>
                </c:pt>
                <c:pt idx="14466">
                  <c:v>44879</c:v>
                </c:pt>
                <c:pt idx="14467">
                  <c:v>44879</c:v>
                </c:pt>
                <c:pt idx="14468">
                  <c:v>44878</c:v>
                </c:pt>
                <c:pt idx="14469">
                  <c:v>44878</c:v>
                </c:pt>
                <c:pt idx="14470">
                  <c:v>44878</c:v>
                </c:pt>
                <c:pt idx="14471">
                  <c:v>44877</c:v>
                </c:pt>
                <c:pt idx="14472">
                  <c:v>44877</c:v>
                </c:pt>
                <c:pt idx="14473">
                  <c:v>44876</c:v>
                </c:pt>
                <c:pt idx="14474">
                  <c:v>44876</c:v>
                </c:pt>
                <c:pt idx="14475">
                  <c:v>44876</c:v>
                </c:pt>
                <c:pt idx="14476">
                  <c:v>44876</c:v>
                </c:pt>
                <c:pt idx="14477">
                  <c:v>44875</c:v>
                </c:pt>
                <c:pt idx="14478">
                  <c:v>44875</c:v>
                </c:pt>
                <c:pt idx="14479">
                  <c:v>44875</c:v>
                </c:pt>
                <c:pt idx="14480">
                  <c:v>44874</c:v>
                </c:pt>
                <c:pt idx="14481">
                  <c:v>44874</c:v>
                </c:pt>
                <c:pt idx="14482">
                  <c:v>44874</c:v>
                </c:pt>
                <c:pt idx="14483">
                  <c:v>44873</c:v>
                </c:pt>
                <c:pt idx="14484">
                  <c:v>44873</c:v>
                </c:pt>
                <c:pt idx="14485">
                  <c:v>44873</c:v>
                </c:pt>
                <c:pt idx="14486">
                  <c:v>44871</c:v>
                </c:pt>
                <c:pt idx="14487">
                  <c:v>44871</c:v>
                </c:pt>
                <c:pt idx="14488">
                  <c:v>44871</c:v>
                </c:pt>
                <c:pt idx="14489">
                  <c:v>44870</c:v>
                </c:pt>
                <c:pt idx="14490">
                  <c:v>44868</c:v>
                </c:pt>
                <c:pt idx="14491">
                  <c:v>44868</c:v>
                </c:pt>
                <c:pt idx="14492">
                  <c:v>44868</c:v>
                </c:pt>
                <c:pt idx="14493">
                  <c:v>44867</c:v>
                </c:pt>
                <c:pt idx="14494">
                  <c:v>44867</c:v>
                </c:pt>
                <c:pt idx="14495">
                  <c:v>44867</c:v>
                </c:pt>
                <c:pt idx="14496">
                  <c:v>44867</c:v>
                </c:pt>
                <c:pt idx="14497">
                  <c:v>44866</c:v>
                </c:pt>
                <c:pt idx="14498">
                  <c:v>44865</c:v>
                </c:pt>
                <c:pt idx="14499">
                  <c:v>44865</c:v>
                </c:pt>
                <c:pt idx="14500">
                  <c:v>44864</c:v>
                </c:pt>
                <c:pt idx="14501">
                  <c:v>44864</c:v>
                </c:pt>
                <c:pt idx="14502">
                  <c:v>44863</c:v>
                </c:pt>
                <c:pt idx="14503">
                  <c:v>44862</c:v>
                </c:pt>
                <c:pt idx="14504">
                  <c:v>44862</c:v>
                </c:pt>
                <c:pt idx="14505">
                  <c:v>44860</c:v>
                </c:pt>
                <c:pt idx="14506">
                  <c:v>44860</c:v>
                </c:pt>
                <c:pt idx="14507">
                  <c:v>44859</c:v>
                </c:pt>
                <c:pt idx="14508">
                  <c:v>44859</c:v>
                </c:pt>
                <c:pt idx="14509">
                  <c:v>44858</c:v>
                </c:pt>
                <c:pt idx="14510">
                  <c:v>44858</c:v>
                </c:pt>
                <c:pt idx="14511">
                  <c:v>44857</c:v>
                </c:pt>
                <c:pt idx="14512">
                  <c:v>44857</c:v>
                </c:pt>
                <c:pt idx="14513">
                  <c:v>44857</c:v>
                </c:pt>
                <c:pt idx="14514">
                  <c:v>44856</c:v>
                </c:pt>
                <c:pt idx="14515">
                  <c:v>44856</c:v>
                </c:pt>
                <c:pt idx="14516">
                  <c:v>44855</c:v>
                </c:pt>
                <c:pt idx="14517">
                  <c:v>44855</c:v>
                </c:pt>
                <c:pt idx="14518">
                  <c:v>44854</c:v>
                </c:pt>
                <c:pt idx="14519">
                  <c:v>44854</c:v>
                </c:pt>
                <c:pt idx="14520">
                  <c:v>44854</c:v>
                </c:pt>
                <c:pt idx="14521">
                  <c:v>44852</c:v>
                </c:pt>
                <c:pt idx="14522">
                  <c:v>44852</c:v>
                </c:pt>
                <c:pt idx="14523">
                  <c:v>44852</c:v>
                </c:pt>
                <c:pt idx="14524">
                  <c:v>44851</c:v>
                </c:pt>
                <c:pt idx="14525">
                  <c:v>44851</c:v>
                </c:pt>
                <c:pt idx="14526">
                  <c:v>44851</c:v>
                </c:pt>
                <c:pt idx="14527">
                  <c:v>44850</c:v>
                </c:pt>
                <c:pt idx="14528">
                  <c:v>44850</c:v>
                </c:pt>
                <c:pt idx="14529">
                  <c:v>44849</c:v>
                </c:pt>
                <c:pt idx="14530">
                  <c:v>44849</c:v>
                </c:pt>
                <c:pt idx="14531">
                  <c:v>44849</c:v>
                </c:pt>
                <c:pt idx="14532">
                  <c:v>44848</c:v>
                </c:pt>
                <c:pt idx="14533">
                  <c:v>44846</c:v>
                </c:pt>
                <c:pt idx="14534">
                  <c:v>44845</c:v>
                </c:pt>
                <c:pt idx="14535">
                  <c:v>44844</c:v>
                </c:pt>
                <c:pt idx="14536">
                  <c:v>44843</c:v>
                </c:pt>
                <c:pt idx="14537">
                  <c:v>44842</c:v>
                </c:pt>
                <c:pt idx="14538">
                  <c:v>44842</c:v>
                </c:pt>
                <c:pt idx="14539">
                  <c:v>44841</c:v>
                </c:pt>
                <c:pt idx="14540">
                  <c:v>44840</c:v>
                </c:pt>
                <c:pt idx="14541">
                  <c:v>44840</c:v>
                </c:pt>
                <c:pt idx="14542">
                  <c:v>44839</c:v>
                </c:pt>
                <c:pt idx="14543">
                  <c:v>44839</c:v>
                </c:pt>
                <c:pt idx="14544">
                  <c:v>44838</c:v>
                </c:pt>
                <c:pt idx="14545">
                  <c:v>44837</c:v>
                </c:pt>
                <c:pt idx="14546">
                  <c:v>44836</c:v>
                </c:pt>
                <c:pt idx="14547">
                  <c:v>44835</c:v>
                </c:pt>
                <c:pt idx="14548">
                  <c:v>44835</c:v>
                </c:pt>
                <c:pt idx="14549">
                  <c:v>44835</c:v>
                </c:pt>
                <c:pt idx="14550">
                  <c:v>44834</c:v>
                </c:pt>
                <c:pt idx="14551">
                  <c:v>44834</c:v>
                </c:pt>
                <c:pt idx="14552">
                  <c:v>44833</c:v>
                </c:pt>
                <c:pt idx="14553">
                  <c:v>44832</c:v>
                </c:pt>
                <c:pt idx="14554">
                  <c:v>44831</c:v>
                </c:pt>
                <c:pt idx="14555">
                  <c:v>44831</c:v>
                </c:pt>
                <c:pt idx="14556">
                  <c:v>44831</c:v>
                </c:pt>
                <c:pt idx="14557">
                  <c:v>44830</c:v>
                </c:pt>
                <c:pt idx="14558">
                  <c:v>44829</c:v>
                </c:pt>
                <c:pt idx="14559">
                  <c:v>44829</c:v>
                </c:pt>
                <c:pt idx="14560">
                  <c:v>44829</c:v>
                </c:pt>
                <c:pt idx="14561">
                  <c:v>44829</c:v>
                </c:pt>
                <c:pt idx="14562">
                  <c:v>44828</c:v>
                </c:pt>
                <c:pt idx="14563">
                  <c:v>44828</c:v>
                </c:pt>
                <c:pt idx="14564">
                  <c:v>44827</c:v>
                </c:pt>
                <c:pt idx="14565">
                  <c:v>44826</c:v>
                </c:pt>
                <c:pt idx="14566">
                  <c:v>44826</c:v>
                </c:pt>
                <c:pt idx="14567">
                  <c:v>44826</c:v>
                </c:pt>
                <c:pt idx="14568">
                  <c:v>44826</c:v>
                </c:pt>
                <c:pt idx="14569">
                  <c:v>44825</c:v>
                </c:pt>
                <c:pt idx="14570">
                  <c:v>44824</c:v>
                </c:pt>
                <c:pt idx="14571">
                  <c:v>44824</c:v>
                </c:pt>
                <c:pt idx="14572">
                  <c:v>44824</c:v>
                </c:pt>
                <c:pt idx="14573">
                  <c:v>44824</c:v>
                </c:pt>
                <c:pt idx="14574">
                  <c:v>44823</c:v>
                </c:pt>
                <c:pt idx="14575">
                  <c:v>44822</c:v>
                </c:pt>
                <c:pt idx="14576">
                  <c:v>44821</c:v>
                </c:pt>
                <c:pt idx="14577">
                  <c:v>44821</c:v>
                </c:pt>
                <c:pt idx="14578">
                  <c:v>44820</c:v>
                </c:pt>
                <c:pt idx="14579">
                  <c:v>44819</c:v>
                </c:pt>
                <c:pt idx="14580">
                  <c:v>44819</c:v>
                </c:pt>
                <c:pt idx="14581">
                  <c:v>44819</c:v>
                </c:pt>
                <c:pt idx="14582">
                  <c:v>44817</c:v>
                </c:pt>
                <c:pt idx="14583">
                  <c:v>44817</c:v>
                </c:pt>
                <c:pt idx="14584">
                  <c:v>44816</c:v>
                </c:pt>
                <c:pt idx="14585">
                  <c:v>44816</c:v>
                </c:pt>
                <c:pt idx="14586">
                  <c:v>44815</c:v>
                </c:pt>
                <c:pt idx="14587">
                  <c:v>44814</c:v>
                </c:pt>
                <c:pt idx="14588">
                  <c:v>44814</c:v>
                </c:pt>
                <c:pt idx="14589">
                  <c:v>44813</c:v>
                </c:pt>
                <c:pt idx="14590">
                  <c:v>44813</c:v>
                </c:pt>
                <c:pt idx="14591">
                  <c:v>44813</c:v>
                </c:pt>
                <c:pt idx="14592">
                  <c:v>44812</c:v>
                </c:pt>
                <c:pt idx="14593">
                  <c:v>44811</c:v>
                </c:pt>
                <c:pt idx="14594">
                  <c:v>44811</c:v>
                </c:pt>
                <c:pt idx="14595">
                  <c:v>44810</c:v>
                </c:pt>
                <c:pt idx="14596">
                  <c:v>44810</c:v>
                </c:pt>
                <c:pt idx="14597">
                  <c:v>44809</c:v>
                </c:pt>
                <c:pt idx="14598">
                  <c:v>44809</c:v>
                </c:pt>
                <c:pt idx="14599">
                  <c:v>44806</c:v>
                </c:pt>
                <c:pt idx="14600">
                  <c:v>44806</c:v>
                </c:pt>
                <c:pt idx="14601">
                  <c:v>44806</c:v>
                </c:pt>
                <c:pt idx="14602">
                  <c:v>44805</c:v>
                </c:pt>
                <c:pt idx="14603">
                  <c:v>44805</c:v>
                </c:pt>
                <c:pt idx="14604">
                  <c:v>44805</c:v>
                </c:pt>
                <c:pt idx="14605">
                  <c:v>44805</c:v>
                </c:pt>
                <c:pt idx="14606">
                  <c:v>44805</c:v>
                </c:pt>
                <c:pt idx="14607">
                  <c:v>44805</c:v>
                </c:pt>
                <c:pt idx="14608">
                  <c:v>44804</c:v>
                </c:pt>
                <c:pt idx="14609">
                  <c:v>44803</c:v>
                </c:pt>
                <c:pt idx="14610">
                  <c:v>44803</c:v>
                </c:pt>
                <c:pt idx="14611">
                  <c:v>44803</c:v>
                </c:pt>
                <c:pt idx="14612">
                  <c:v>44803</c:v>
                </c:pt>
                <c:pt idx="14613">
                  <c:v>44802</c:v>
                </c:pt>
                <c:pt idx="14614">
                  <c:v>44802</c:v>
                </c:pt>
                <c:pt idx="14615">
                  <c:v>44802</c:v>
                </c:pt>
                <c:pt idx="14616">
                  <c:v>44801</c:v>
                </c:pt>
                <c:pt idx="14617">
                  <c:v>44801</c:v>
                </c:pt>
                <c:pt idx="14618">
                  <c:v>44801</c:v>
                </c:pt>
                <c:pt idx="14619">
                  <c:v>44800</c:v>
                </c:pt>
                <c:pt idx="14620">
                  <c:v>44800</c:v>
                </c:pt>
                <c:pt idx="14621">
                  <c:v>44798</c:v>
                </c:pt>
                <c:pt idx="14622">
                  <c:v>44798</c:v>
                </c:pt>
                <c:pt idx="14623">
                  <c:v>44797</c:v>
                </c:pt>
                <c:pt idx="14624">
                  <c:v>44796</c:v>
                </c:pt>
                <c:pt idx="14625">
                  <c:v>44796</c:v>
                </c:pt>
                <c:pt idx="14626">
                  <c:v>44795</c:v>
                </c:pt>
                <c:pt idx="14627">
                  <c:v>44795</c:v>
                </c:pt>
                <c:pt idx="14628">
                  <c:v>44795</c:v>
                </c:pt>
                <c:pt idx="14629">
                  <c:v>44794</c:v>
                </c:pt>
                <c:pt idx="14630">
                  <c:v>44793</c:v>
                </c:pt>
                <c:pt idx="14631">
                  <c:v>44793</c:v>
                </c:pt>
                <c:pt idx="14632">
                  <c:v>44793</c:v>
                </c:pt>
                <c:pt idx="14633">
                  <c:v>44793</c:v>
                </c:pt>
                <c:pt idx="14634">
                  <c:v>44792</c:v>
                </c:pt>
                <c:pt idx="14635">
                  <c:v>44792</c:v>
                </c:pt>
                <c:pt idx="14636">
                  <c:v>44792</c:v>
                </c:pt>
                <c:pt idx="14637">
                  <c:v>44791</c:v>
                </c:pt>
                <c:pt idx="14638">
                  <c:v>44791</c:v>
                </c:pt>
                <c:pt idx="14639">
                  <c:v>44789</c:v>
                </c:pt>
                <c:pt idx="14640">
                  <c:v>44789</c:v>
                </c:pt>
                <c:pt idx="14641">
                  <c:v>44789</c:v>
                </c:pt>
                <c:pt idx="14642">
                  <c:v>44789</c:v>
                </c:pt>
                <c:pt idx="14643">
                  <c:v>44788</c:v>
                </c:pt>
                <c:pt idx="14644">
                  <c:v>44786</c:v>
                </c:pt>
                <c:pt idx="14645">
                  <c:v>44786</c:v>
                </c:pt>
                <c:pt idx="14646">
                  <c:v>44786</c:v>
                </c:pt>
                <c:pt idx="14647">
                  <c:v>44786</c:v>
                </c:pt>
                <c:pt idx="14648">
                  <c:v>44785</c:v>
                </c:pt>
                <c:pt idx="14649">
                  <c:v>44785</c:v>
                </c:pt>
                <c:pt idx="14650">
                  <c:v>44785</c:v>
                </c:pt>
                <c:pt idx="14651">
                  <c:v>44784</c:v>
                </c:pt>
                <c:pt idx="14652">
                  <c:v>44784</c:v>
                </c:pt>
                <c:pt idx="14653">
                  <c:v>44783</c:v>
                </c:pt>
                <c:pt idx="14654">
                  <c:v>44782</c:v>
                </c:pt>
                <c:pt idx="14655">
                  <c:v>44782</c:v>
                </c:pt>
                <c:pt idx="14656">
                  <c:v>44782</c:v>
                </c:pt>
                <c:pt idx="14657">
                  <c:v>44782</c:v>
                </c:pt>
                <c:pt idx="14658">
                  <c:v>44781</c:v>
                </c:pt>
                <c:pt idx="14659">
                  <c:v>44781</c:v>
                </c:pt>
                <c:pt idx="14660">
                  <c:v>44780</c:v>
                </c:pt>
                <c:pt idx="14661">
                  <c:v>44779</c:v>
                </c:pt>
                <c:pt idx="14662">
                  <c:v>44777</c:v>
                </c:pt>
                <c:pt idx="14663">
                  <c:v>44777</c:v>
                </c:pt>
                <c:pt idx="14664">
                  <c:v>44777</c:v>
                </c:pt>
                <c:pt idx="14665">
                  <c:v>44777</c:v>
                </c:pt>
                <c:pt idx="14666">
                  <c:v>44776</c:v>
                </c:pt>
                <c:pt idx="14667">
                  <c:v>44776</c:v>
                </c:pt>
                <c:pt idx="14668">
                  <c:v>44776</c:v>
                </c:pt>
                <c:pt idx="14669">
                  <c:v>44776</c:v>
                </c:pt>
                <c:pt idx="14670">
                  <c:v>44776</c:v>
                </c:pt>
                <c:pt idx="14671">
                  <c:v>44775</c:v>
                </c:pt>
                <c:pt idx="14672">
                  <c:v>44774</c:v>
                </c:pt>
                <c:pt idx="14673">
                  <c:v>44774</c:v>
                </c:pt>
                <c:pt idx="14674">
                  <c:v>44772</c:v>
                </c:pt>
                <c:pt idx="14675">
                  <c:v>44771</c:v>
                </c:pt>
                <c:pt idx="14676">
                  <c:v>44771</c:v>
                </c:pt>
                <c:pt idx="14677">
                  <c:v>44769</c:v>
                </c:pt>
                <c:pt idx="14678">
                  <c:v>44769</c:v>
                </c:pt>
                <c:pt idx="14679">
                  <c:v>44768</c:v>
                </c:pt>
                <c:pt idx="14680">
                  <c:v>44768</c:v>
                </c:pt>
                <c:pt idx="14681">
                  <c:v>44768</c:v>
                </c:pt>
                <c:pt idx="14682">
                  <c:v>44766</c:v>
                </c:pt>
                <c:pt idx="14683">
                  <c:v>44765</c:v>
                </c:pt>
                <c:pt idx="14684">
                  <c:v>44765</c:v>
                </c:pt>
                <c:pt idx="14685">
                  <c:v>44765</c:v>
                </c:pt>
                <c:pt idx="14686">
                  <c:v>44764</c:v>
                </c:pt>
                <c:pt idx="14687">
                  <c:v>44764</c:v>
                </c:pt>
                <c:pt idx="14688">
                  <c:v>44761</c:v>
                </c:pt>
                <c:pt idx="14689">
                  <c:v>44761</c:v>
                </c:pt>
                <c:pt idx="14690">
                  <c:v>44761</c:v>
                </c:pt>
                <c:pt idx="14691">
                  <c:v>44760</c:v>
                </c:pt>
                <c:pt idx="14692">
                  <c:v>44760</c:v>
                </c:pt>
                <c:pt idx="14693">
                  <c:v>44760</c:v>
                </c:pt>
                <c:pt idx="14694">
                  <c:v>44759</c:v>
                </c:pt>
                <c:pt idx="14695">
                  <c:v>44759</c:v>
                </c:pt>
                <c:pt idx="14696">
                  <c:v>44759</c:v>
                </c:pt>
                <c:pt idx="14697">
                  <c:v>44759</c:v>
                </c:pt>
                <c:pt idx="14698">
                  <c:v>44758</c:v>
                </c:pt>
                <c:pt idx="14699">
                  <c:v>44758</c:v>
                </c:pt>
                <c:pt idx="14700">
                  <c:v>44758</c:v>
                </c:pt>
                <c:pt idx="14701">
                  <c:v>44758</c:v>
                </c:pt>
                <c:pt idx="14702">
                  <c:v>44757</c:v>
                </c:pt>
                <c:pt idx="14703">
                  <c:v>44757</c:v>
                </c:pt>
                <c:pt idx="14704">
                  <c:v>44756</c:v>
                </c:pt>
                <c:pt idx="14705">
                  <c:v>44755</c:v>
                </c:pt>
                <c:pt idx="14706">
                  <c:v>44755</c:v>
                </c:pt>
                <c:pt idx="14707">
                  <c:v>44755</c:v>
                </c:pt>
                <c:pt idx="14708">
                  <c:v>44754</c:v>
                </c:pt>
                <c:pt idx="14709">
                  <c:v>44754</c:v>
                </c:pt>
                <c:pt idx="14710">
                  <c:v>44753</c:v>
                </c:pt>
                <c:pt idx="14711">
                  <c:v>44753</c:v>
                </c:pt>
                <c:pt idx="14712">
                  <c:v>44753</c:v>
                </c:pt>
                <c:pt idx="14713">
                  <c:v>44752</c:v>
                </c:pt>
                <c:pt idx="14714">
                  <c:v>44752</c:v>
                </c:pt>
                <c:pt idx="14715">
                  <c:v>44752</c:v>
                </c:pt>
                <c:pt idx="14716">
                  <c:v>44751</c:v>
                </c:pt>
                <c:pt idx="14717">
                  <c:v>44750</c:v>
                </c:pt>
                <c:pt idx="14718">
                  <c:v>44750</c:v>
                </c:pt>
                <c:pt idx="14719">
                  <c:v>44749</c:v>
                </c:pt>
                <c:pt idx="14720">
                  <c:v>44749</c:v>
                </c:pt>
                <c:pt idx="14721">
                  <c:v>44749</c:v>
                </c:pt>
                <c:pt idx="14722">
                  <c:v>44749</c:v>
                </c:pt>
                <c:pt idx="14723">
                  <c:v>44748</c:v>
                </c:pt>
                <c:pt idx="14724">
                  <c:v>44748</c:v>
                </c:pt>
                <c:pt idx="14725">
                  <c:v>44747</c:v>
                </c:pt>
                <c:pt idx="14726">
                  <c:v>44747</c:v>
                </c:pt>
                <c:pt idx="14727">
                  <c:v>44746</c:v>
                </c:pt>
                <c:pt idx="14728">
                  <c:v>44745</c:v>
                </c:pt>
                <c:pt idx="14729">
                  <c:v>44744</c:v>
                </c:pt>
                <c:pt idx="14730">
                  <c:v>44744</c:v>
                </c:pt>
                <c:pt idx="14731">
                  <c:v>44743</c:v>
                </c:pt>
                <c:pt idx="14732">
                  <c:v>44743</c:v>
                </c:pt>
                <c:pt idx="14733">
                  <c:v>44743</c:v>
                </c:pt>
                <c:pt idx="14734">
                  <c:v>44743</c:v>
                </c:pt>
                <c:pt idx="14735">
                  <c:v>44742</c:v>
                </c:pt>
                <c:pt idx="14736">
                  <c:v>44742</c:v>
                </c:pt>
                <c:pt idx="14737">
                  <c:v>44742</c:v>
                </c:pt>
                <c:pt idx="14738">
                  <c:v>44741</c:v>
                </c:pt>
                <c:pt idx="14739">
                  <c:v>44741</c:v>
                </c:pt>
                <c:pt idx="14740">
                  <c:v>44741</c:v>
                </c:pt>
                <c:pt idx="14741">
                  <c:v>44741</c:v>
                </c:pt>
                <c:pt idx="14742">
                  <c:v>44741</c:v>
                </c:pt>
                <c:pt idx="14743">
                  <c:v>44741</c:v>
                </c:pt>
                <c:pt idx="14744">
                  <c:v>44740</c:v>
                </c:pt>
                <c:pt idx="14745">
                  <c:v>44739</c:v>
                </c:pt>
                <c:pt idx="14746">
                  <c:v>44739</c:v>
                </c:pt>
                <c:pt idx="14747">
                  <c:v>44738</c:v>
                </c:pt>
                <c:pt idx="14748">
                  <c:v>44737</c:v>
                </c:pt>
                <c:pt idx="14749">
                  <c:v>44736</c:v>
                </c:pt>
                <c:pt idx="14750">
                  <c:v>44736</c:v>
                </c:pt>
                <c:pt idx="14751">
                  <c:v>44736</c:v>
                </c:pt>
                <c:pt idx="14752">
                  <c:v>44734</c:v>
                </c:pt>
                <c:pt idx="14753">
                  <c:v>44734</c:v>
                </c:pt>
                <c:pt idx="14754">
                  <c:v>44734</c:v>
                </c:pt>
                <c:pt idx="14755">
                  <c:v>44733</c:v>
                </c:pt>
                <c:pt idx="14756">
                  <c:v>44732</c:v>
                </c:pt>
                <c:pt idx="14757">
                  <c:v>44732</c:v>
                </c:pt>
                <c:pt idx="14758">
                  <c:v>44730</c:v>
                </c:pt>
                <c:pt idx="14759">
                  <c:v>44730</c:v>
                </c:pt>
                <c:pt idx="14760">
                  <c:v>44729</c:v>
                </c:pt>
                <c:pt idx="14761">
                  <c:v>44729</c:v>
                </c:pt>
                <c:pt idx="14762">
                  <c:v>44728</c:v>
                </c:pt>
                <c:pt idx="14763">
                  <c:v>44728</c:v>
                </c:pt>
                <c:pt idx="14764">
                  <c:v>44727</c:v>
                </c:pt>
                <c:pt idx="14765">
                  <c:v>44727</c:v>
                </c:pt>
                <c:pt idx="14766">
                  <c:v>44727</c:v>
                </c:pt>
                <c:pt idx="14767">
                  <c:v>44726</c:v>
                </c:pt>
                <c:pt idx="14768">
                  <c:v>44725</c:v>
                </c:pt>
                <c:pt idx="14769">
                  <c:v>44725</c:v>
                </c:pt>
                <c:pt idx="14770">
                  <c:v>44725</c:v>
                </c:pt>
                <c:pt idx="14771">
                  <c:v>44723</c:v>
                </c:pt>
                <c:pt idx="14772">
                  <c:v>44723</c:v>
                </c:pt>
                <c:pt idx="14773">
                  <c:v>44723</c:v>
                </c:pt>
                <c:pt idx="14774">
                  <c:v>44723</c:v>
                </c:pt>
                <c:pt idx="14775">
                  <c:v>44721</c:v>
                </c:pt>
                <c:pt idx="14776">
                  <c:v>44721</c:v>
                </c:pt>
                <c:pt idx="14777">
                  <c:v>44720</c:v>
                </c:pt>
                <c:pt idx="14778">
                  <c:v>44719</c:v>
                </c:pt>
                <c:pt idx="14779">
                  <c:v>44719</c:v>
                </c:pt>
                <c:pt idx="14780">
                  <c:v>44718</c:v>
                </c:pt>
                <c:pt idx="14781">
                  <c:v>44718</c:v>
                </c:pt>
                <c:pt idx="14782">
                  <c:v>44718</c:v>
                </c:pt>
                <c:pt idx="14783">
                  <c:v>44717</c:v>
                </c:pt>
                <c:pt idx="14784">
                  <c:v>44717</c:v>
                </c:pt>
                <c:pt idx="14785">
                  <c:v>44717</c:v>
                </c:pt>
                <c:pt idx="14786">
                  <c:v>44715</c:v>
                </c:pt>
                <c:pt idx="14787">
                  <c:v>44713</c:v>
                </c:pt>
                <c:pt idx="14788">
                  <c:v>44712</c:v>
                </c:pt>
                <c:pt idx="14789">
                  <c:v>44712</c:v>
                </c:pt>
                <c:pt idx="14790">
                  <c:v>44711</c:v>
                </c:pt>
                <c:pt idx="14791">
                  <c:v>44711</c:v>
                </c:pt>
                <c:pt idx="14792">
                  <c:v>44710</c:v>
                </c:pt>
                <c:pt idx="14793">
                  <c:v>44710</c:v>
                </c:pt>
                <c:pt idx="14794">
                  <c:v>44710</c:v>
                </c:pt>
                <c:pt idx="14795">
                  <c:v>44709</c:v>
                </c:pt>
                <c:pt idx="14796">
                  <c:v>44709</c:v>
                </c:pt>
                <c:pt idx="14797">
                  <c:v>44709</c:v>
                </c:pt>
                <c:pt idx="14798">
                  <c:v>44708</c:v>
                </c:pt>
                <c:pt idx="14799">
                  <c:v>44707</c:v>
                </c:pt>
                <c:pt idx="14800">
                  <c:v>44707</c:v>
                </c:pt>
                <c:pt idx="14801">
                  <c:v>44705</c:v>
                </c:pt>
                <c:pt idx="14802">
                  <c:v>44705</c:v>
                </c:pt>
                <c:pt idx="14803">
                  <c:v>44705</c:v>
                </c:pt>
                <c:pt idx="14804">
                  <c:v>44704</c:v>
                </c:pt>
                <c:pt idx="14805">
                  <c:v>44704</c:v>
                </c:pt>
                <c:pt idx="14806">
                  <c:v>44704</c:v>
                </c:pt>
                <c:pt idx="14807">
                  <c:v>44704</c:v>
                </c:pt>
                <c:pt idx="14808">
                  <c:v>44703</c:v>
                </c:pt>
                <c:pt idx="14809">
                  <c:v>44703</c:v>
                </c:pt>
                <c:pt idx="14810">
                  <c:v>44703</c:v>
                </c:pt>
                <c:pt idx="14811">
                  <c:v>44702</c:v>
                </c:pt>
                <c:pt idx="14812">
                  <c:v>44701</c:v>
                </c:pt>
                <c:pt idx="14813">
                  <c:v>44701</c:v>
                </c:pt>
                <c:pt idx="14814">
                  <c:v>44700</c:v>
                </c:pt>
                <c:pt idx="14815">
                  <c:v>44700</c:v>
                </c:pt>
                <c:pt idx="14816">
                  <c:v>44699</c:v>
                </c:pt>
                <c:pt idx="14817">
                  <c:v>44699</c:v>
                </c:pt>
                <c:pt idx="14818">
                  <c:v>44698</c:v>
                </c:pt>
                <c:pt idx="14819">
                  <c:v>44698</c:v>
                </c:pt>
                <c:pt idx="14820">
                  <c:v>44697</c:v>
                </c:pt>
                <c:pt idx="14821">
                  <c:v>44696</c:v>
                </c:pt>
                <c:pt idx="14822">
                  <c:v>44695</c:v>
                </c:pt>
                <c:pt idx="14823">
                  <c:v>44695</c:v>
                </c:pt>
                <c:pt idx="14824">
                  <c:v>44695</c:v>
                </c:pt>
                <c:pt idx="14825">
                  <c:v>44695</c:v>
                </c:pt>
                <c:pt idx="14826">
                  <c:v>44694</c:v>
                </c:pt>
                <c:pt idx="14827">
                  <c:v>44694</c:v>
                </c:pt>
                <c:pt idx="14828">
                  <c:v>44693</c:v>
                </c:pt>
                <c:pt idx="14829">
                  <c:v>44692</c:v>
                </c:pt>
                <c:pt idx="14830">
                  <c:v>44692</c:v>
                </c:pt>
                <c:pt idx="14831">
                  <c:v>44691</c:v>
                </c:pt>
                <c:pt idx="14832">
                  <c:v>44690</c:v>
                </c:pt>
                <c:pt idx="14833">
                  <c:v>44690</c:v>
                </c:pt>
                <c:pt idx="14834">
                  <c:v>44689</c:v>
                </c:pt>
                <c:pt idx="14835">
                  <c:v>44689</c:v>
                </c:pt>
                <c:pt idx="14836">
                  <c:v>44689</c:v>
                </c:pt>
                <c:pt idx="14837">
                  <c:v>44688</c:v>
                </c:pt>
                <c:pt idx="14838">
                  <c:v>44688</c:v>
                </c:pt>
                <c:pt idx="14839">
                  <c:v>44688</c:v>
                </c:pt>
                <c:pt idx="14840">
                  <c:v>44686</c:v>
                </c:pt>
                <c:pt idx="14841">
                  <c:v>44685</c:v>
                </c:pt>
                <c:pt idx="14842">
                  <c:v>44684</c:v>
                </c:pt>
                <c:pt idx="14843">
                  <c:v>44684</c:v>
                </c:pt>
                <c:pt idx="14844">
                  <c:v>44683</c:v>
                </c:pt>
                <c:pt idx="14845">
                  <c:v>44682</c:v>
                </c:pt>
                <c:pt idx="14846">
                  <c:v>44681</c:v>
                </c:pt>
                <c:pt idx="14847">
                  <c:v>44680</c:v>
                </c:pt>
                <c:pt idx="14848">
                  <c:v>44679</c:v>
                </c:pt>
                <c:pt idx="14849">
                  <c:v>44679</c:v>
                </c:pt>
                <c:pt idx="14850">
                  <c:v>44678</c:v>
                </c:pt>
                <c:pt idx="14851">
                  <c:v>44678</c:v>
                </c:pt>
                <c:pt idx="14852">
                  <c:v>44677</c:v>
                </c:pt>
                <c:pt idx="14853">
                  <c:v>44677</c:v>
                </c:pt>
                <c:pt idx="14854">
                  <c:v>44676</c:v>
                </c:pt>
                <c:pt idx="14855">
                  <c:v>44676</c:v>
                </c:pt>
                <c:pt idx="14856">
                  <c:v>44676</c:v>
                </c:pt>
                <c:pt idx="14857">
                  <c:v>44675</c:v>
                </c:pt>
                <c:pt idx="14858">
                  <c:v>44675</c:v>
                </c:pt>
                <c:pt idx="14859">
                  <c:v>44674</c:v>
                </c:pt>
                <c:pt idx="14860">
                  <c:v>44674</c:v>
                </c:pt>
                <c:pt idx="14861">
                  <c:v>44673</c:v>
                </c:pt>
                <c:pt idx="14862">
                  <c:v>44673</c:v>
                </c:pt>
                <c:pt idx="14863">
                  <c:v>44673</c:v>
                </c:pt>
                <c:pt idx="14864">
                  <c:v>44673</c:v>
                </c:pt>
                <c:pt idx="14865">
                  <c:v>44672</c:v>
                </c:pt>
                <c:pt idx="14866">
                  <c:v>44672</c:v>
                </c:pt>
                <c:pt idx="14867">
                  <c:v>44672</c:v>
                </c:pt>
                <c:pt idx="14868">
                  <c:v>44672</c:v>
                </c:pt>
                <c:pt idx="14869">
                  <c:v>44672</c:v>
                </c:pt>
                <c:pt idx="14870">
                  <c:v>44671</c:v>
                </c:pt>
                <c:pt idx="14871">
                  <c:v>44670</c:v>
                </c:pt>
                <c:pt idx="14872">
                  <c:v>44670</c:v>
                </c:pt>
                <c:pt idx="14873">
                  <c:v>44669</c:v>
                </c:pt>
                <c:pt idx="14874">
                  <c:v>44668</c:v>
                </c:pt>
                <c:pt idx="14875">
                  <c:v>44668</c:v>
                </c:pt>
                <c:pt idx="14876">
                  <c:v>44668</c:v>
                </c:pt>
                <c:pt idx="14877">
                  <c:v>44667</c:v>
                </c:pt>
                <c:pt idx="14878">
                  <c:v>44667</c:v>
                </c:pt>
                <c:pt idx="14879">
                  <c:v>44666</c:v>
                </c:pt>
                <c:pt idx="14880">
                  <c:v>44665</c:v>
                </c:pt>
                <c:pt idx="14881">
                  <c:v>44665</c:v>
                </c:pt>
                <c:pt idx="14882">
                  <c:v>44665</c:v>
                </c:pt>
                <c:pt idx="14883">
                  <c:v>44664</c:v>
                </c:pt>
                <c:pt idx="14884">
                  <c:v>44663</c:v>
                </c:pt>
                <c:pt idx="14885">
                  <c:v>44663</c:v>
                </c:pt>
                <c:pt idx="14886">
                  <c:v>44662</c:v>
                </c:pt>
                <c:pt idx="14887">
                  <c:v>44662</c:v>
                </c:pt>
                <c:pt idx="14888">
                  <c:v>44662</c:v>
                </c:pt>
                <c:pt idx="14889">
                  <c:v>44660</c:v>
                </c:pt>
                <c:pt idx="14890">
                  <c:v>44660</c:v>
                </c:pt>
                <c:pt idx="14891">
                  <c:v>44660</c:v>
                </c:pt>
                <c:pt idx="14892">
                  <c:v>44659</c:v>
                </c:pt>
                <c:pt idx="14893">
                  <c:v>44659</c:v>
                </c:pt>
                <c:pt idx="14894">
                  <c:v>44659</c:v>
                </c:pt>
                <c:pt idx="14895">
                  <c:v>44658</c:v>
                </c:pt>
                <c:pt idx="14896">
                  <c:v>44657</c:v>
                </c:pt>
                <c:pt idx="14897">
                  <c:v>44657</c:v>
                </c:pt>
                <c:pt idx="14898">
                  <c:v>44657</c:v>
                </c:pt>
                <c:pt idx="14899">
                  <c:v>44656</c:v>
                </c:pt>
                <c:pt idx="14900">
                  <c:v>44656</c:v>
                </c:pt>
                <c:pt idx="14901">
                  <c:v>44656</c:v>
                </c:pt>
                <c:pt idx="14902">
                  <c:v>44656</c:v>
                </c:pt>
                <c:pt idx="14903">
                  <c:v>44655</c:v>
                </c:pt>
                <c:pt idx="14904">
                  <c:v>44654</c:v>
                </c:pt>
                <c:pt idx="14905">
                  <c:v>44654</c:v>
                </c:pt>
                <c:pt idx="14906">
                  <c:v>44653</c:v>
                </c:pt>
                <c:pt idx="14907">
                  <c:v>44653</c:v>
                </c:pt>
                <c:pt idx="14908">
                  <c:v>44653</c:v>
                </c:pt>
                <c:pt idx="14909">
                  <c:v>44653</c:v>
                </c:pt>
                <c:pt idx="14910">
                  <c:v>44653</c:v>
                </c:pt>
                <c:pt idx="14911">
                  <c:v>44652</c:v>
                </c:pt>
                <c:pt idx="14912">
                  <c:v>44652</c:v>
                </c:pt>
                <c:pt idx="14913">
                  <c:v>44652</c:v>
                </c:pt>
                <c:pt idx="14914">
                  <c:v>44651</c:v>
                </c:pt>
                <c:pt idx="14915">
                  <c:v>44651</c:v>
                </c:pt>
                <c:pt idx="14916">
                  <c:v>44650</c:v>
                </c:pt>
                <c:pt idx="14917">
                  <c:v>44650</c:v>
                </c:pt>
                <c:pt idx="14918">
                  <c:v>44649</c:v>
                </c:pt>
                <c:pt idx="14919">
                  <c:v>44649</c:v>
                </c:pt>
                <c:pt idx="14920">
                  <c:v>44649</c:v>
                </c:pt>
                <c:pt idx="14921">
                  <c:v>44649</c:v>
                </c:pt>
                <c:pt idx="14922">
                  <c:v>44649</c:v>
                </c:pt>
                <c:pt idx="14923">
                  <c:v>44648</c:v>
                </c:pt>
                <c:pt idx="14924">
                  <c:v>44647</c:v>
                </c:pt>
                <c:pt idx="14925">
                  <c:v>44647</c:v>
                </c:pt>
                <c:pt idx="14926">
                  <c:v>44646</c:v>
                </c:pt>
                <c:pt idx="14927">
                  <c:v>44646</c:v>
                </c:pt>
                <c:pt idx="14928">
                  <c:v>44645</c:v>
                </c:pt>
                <c:pt idx="14929">
                  <c:v>44643</c:v>
                </c:pt>
                <c:pt idx="14930">
                  <c:v>44642</c:v>
                </c:pt>
                <c:pt idx="14931">
                  <c:v>44642</c:v>
                </c:pt>
                <c:pt idx="14932">
                  <c:v>44642</c:v>
                </c:pt>
                <c:pt idx="14933">
                  <c:v>44641</c:v>
                </c:pt>
                <c:pt idx="14934">
                  <c:v>44640</c:v>
                </c:pt>
                <c:pt idx="14935">
                  <c:v>44640</c:v>
                </c:pt>
                <c:pt idx="14936">
                  <c:v>44638</c:v>
                </c:pt>
                <c:pt idx="14937">
                  <c:v>44638</c:v>
                </c:pt>
                <c:pt idx="14938">
                  <c:v>44638</c:v>
                </c:pt>
                <c:pt idx="14939">
                  <c:v>44638</c:v>
                </c:pt>
                <c:pt idx="14940">
                  <c:v>44638</c:v>
                </c:pt>
                <c:pt idx="14941">
                  <c:v>44636</c:v>
                </c:pt>
                <c:pt idx="14942">
                  <c:v>44636</c:v>
                </c:pt>
                <c:pt idx="14943">
                  <c:v>44636</c:v>
                </c:pt>
                <c:pt idx="14944">
                  <c:v>44634</c:v>
                </c:pt>
                <c:pt idx="14945">
                  <c:v>44634</c:v>
                </c:pt>
                <c:pt idx="14946">
                  <c:v>44633</c:v>
                </c:pt>
                <c:pt idx="14947">
                  <c:v>44633</c:v>
                </c:pt>
                <c:pt idx="14948">
                  <c:v>44632</c:v>
                </c:pt>
                <c:pt idx="14949">
                  <c:v>44632</c:v>
                </c:pt>
                <c:pt idx="14950">
                  <c:v>44631</c:v>
                </c:pt>
                <c:pt idx="14951">
                  <c:v>44631</c:v>
                </c:pt>
                <c:pt idx="14952">
                  <c:v>44630</c:v>
                </c:pt>
                <c:pt idx="14953">
                  <c:v>44629</c:v>
                </c:pt>
                <c:pt idx="14954">
                  <c:v>44629</c:v>
                </c:pt>
                <c:pt idx="14955">
                  <c:v>44628</c:v>
                </c:pt>
                <c:pt idx="14956">
                  <c:v>44628</c:v>
                </c:pt>
                <c:pt idx="14957">
                  <c:v>44628</c:v>
                </c:pt>
                <c:pt idx="14958">
                  <c:v>44627</c:v>
                </c:pt>
                <c:pt idx="14959">
                  <c:v>44627</c:v>
                </c:pt>
                <c:pt idx="14960">
                  <c:v>44625</c:v>
                </c:pt>
                <c:pt idx="14961">
                  <c:v>44625</c:v>
                </c:pt>
                <c:pt idx="14962">
                  <c:v>44622</c:v>
                </c:pt>
                <c:pt idx="14963">
                  <c:v>44622</c:v>
                </c:pt>
                <c:pt idx="14964">
                  <c:v>44622</c:v>
                </c:pt>
                <c:pt idx="14965">
                  <c:v>44621</c:v>
                </c:pt>
                <c:pt idx="14966">
                  <c:v>44621</c:v>
                </c:pt>
                <c:pt idx="14967">
                  <c:v>44621</c:v>
                </c:pt>
                <c:pt idx="14968">
                  <c:v>44621</c:v>
                </c:pt>
                <c:pt idx="14969">
                  <c:v>44621</c:v>
                </c:pt>
                <c:pt idx="14970">
                  <c:v>44621</c:v>
                </c:pt>
                <c:pt idx="14971">
                  <c:v>44620</c:v>
                </c:pt>
                <c:pt idx="14972">
                  <c:v>44619</c:v>
                </c:pt>
                <c:pt idx="14973">
                  <c:v>44619</c:v>
                </c:pt>
                <c:pt idx="14974">
                  <c:v>44619</c:v>
                </c:pt>
                <c:pt idx="14975">
                  <c:v>44618</c:v>
                </c:pt>
                <c:pt idx="14976">
                  <c:v>44618</c:v>
                </c:pt>
                <c:pt idx="14977">
                  <c:v>44617</c:v>
                </c:pt>
                <c:pt idx="14978">
                  <c:v>44617</c:v>
                </c:pt>
                <c:pt idx="14979">
                  <c:v>44616</c:v>
                </c:pt>
                <c:pt idx="14980">
                  <c:v>44616</c:v>
                </c:pt>
                <c:pt idx="14981">
                  <c:v>44616</c:v>
                </c:pt>
                <c:pt idx="14982">
                  <c:v>44616</c:v>
                </c:pt>
                <c:pt idx="14983">
                  <c:v>44615</c:v>
                </c:pt>
                <c:pt idx="14984">
                  <c:v>44615</c:v>
                </c:pt>
                <c:pt idx="14985">
                  <c:v>44615</c:v>
                </c:pt>
                <c:pt idx="14986">
                  <c:v>44614</c:v>
                </c:pt>
                <c:pt idx="14987">
                  <c:v>44614</c:v>
                </c:pt>
                <c:pt idx="14988">
                  <c:v>44614</c:v>
                </c:pt>
                <c:pt idx="14989">
                  <c:v>44613</c:v>
                </c:pt>
                <c:pt idx="14990">
                  <c:v>44613</c:v>
                </c:pt>
                <c:pt idx="14991">
                  <c:v>44612</c:v>
                </c:pt>
                <c:pt idx="14992">
                  <c:v>44612</c:v>
                </c:pt>
                <c:pt idx="14993">
                  <c:v>44611</c:v>
                </c:pt>
                <c:pt idx="14994">
                  <c:v>44611</c:v>
                </c:pt>
                <c:pt idx="14995">
                  <c:v>44611</c:v>
                </c:pt>
                <c:pt idx="14996">
                  <c:v>44610</c:v>
                </c:pt>
                <c:pt idx="14997">
                  <c:v>44609</c:v>
                </c:pt>
                <c:pt idx="14998">
                  <c:v>44609</c:v>
                </c:pt>
                <c:pt idx="14999">
                  <c:v>44609</c:v>
                </c:pt>
                <c:pt idx="15000">
                  <c:v>44608</c:v>
                </c:pt>
                <c:pt idx="15001">
                  <c:v>44608</c:v>
                </c:pt>
                <c:pt idx="15002">
                  <c:v>44608</c:v>
                </c:pt>
                <c:pt idx="15003">
                  <c:v>44607</c:v>
                </c:pt>
                <c:pt idx="15004">
                  <c:v>44605</c:v>
                </c:pt>
                <c:pt idx="15005">
                  <c:v>44604</c:v>
                </c:pt>
                <c:pt idx="15006">
                  <c:v>44604</c:v>
                </c:pt>
                <c:pt idx="15007">
                  <c:v>44603</c:v>
                </c:pt>
                <c:pt idx="15008">
                  <c:v>44603</c:v>
                </c:pt>
                <c:pt idx="15009">
                  <c:v>44602</c:v>
                </c:pt>
                <c:pt idx="15010">
                  <c:v>44601</c:v>
                </c:pt>
                <c:pt idx="15011">
                  <c:v>44601</c:v>
                </c:pt>
                <c:pt idx="15012">
                  <c:v>44601</c:v>
                </c:pt>
                <c:pt idx="15013">
                  <c:v>44600</c:v>
                </c:pt>
                <c:pt idx="15014">
                  <c:v>44600</c:v>
                </c:pt>
                <c:pt idx="15015">
                  <c:v>44600</c:v>
                </c:pt>
                <c:pt idx="15016">
                  <c:v>44600</c:v>
                </c:pt>
                <c:pt idx="15017">
                  <c:v>44600</c:v>
                </c:pt>
                <c:pt idx="15018">
                  <c:v>44599</c:v>
                </c:pt>
                <c:pt idx="15019">
                  <c:v>44596</c:v>
                </c:pt>
                <c:pt idx="15020">
                  <c:v>44596</c:v>
                </c:pt>
                <c:pt idx="15021">
                  <c:v>44596</c:v>
                </c:pt>
                <c:pt idx="15022">
                  <c:v>44596</c:v>
                </c:pt>
                <c:pt idx="15023">
                  <c:v>44595</c:v>
                </c:pt>
                <c:pt idx="15024">
                  <c:v>44595</c:v>
                </c:pt>
                <c:pt idx="15025">
                  <c:v>44594</c:v>
                </c:pt>
                <c:pt idx="15026">
                  <c:v>44594</c:v>
                </c:pt>
                <c:pt idx="15027">
                  <c:v>44593</c:v>
                </c:pt>
                <c:pt idx="15028">
                  <c:v>44592</c:v>
                </c:pt>
                <c:pt idx="15029">
                  <c:v>44592</c:v>
                </c:pt>
                <c:pt idx="15030">
                  <c:v>44591</c:v>
                </c:pt>
                <c:pt idx="15031">
                  <c:v>44590</c:v>
                </c:pt>
                <c:pt idx="15032">
                  <c:v>44590</c:v>
                </c:pt>
                <c:pt idx="15033">
                  <c:v>44590</c:v>
                </c:pt>
                <c:pt idx="15034">
                  <c:v>44589</c:v>
                </c:pt>
                <c:pt idx="15035">
                  <c:v>44589</c:v>
                </c:pt>
                <c:pt idx="15036">
                  <c:v>44588</c:v>
                </c:pt>
                <c:pt idx="15037">
                  <c:v>44588</c:v>
                </c:pt>
                <c:pt idx="15038">
                  <c:v>44588</c:v>
                </c:pt>
                <c:pt idx="15039">
                  <c:v>44588</c:v>
                </c:pt>
                <c:pt idx="15040">
                  <c:v>44586</c:v>
                </c:pt>
                <c:pt idx="15041">
                  <c:v>44586</c:v>
                </c:pt>
                <c:pt idx="15042">
                  <c:v>44586</c:v>
                </c:pt>
                <c:pt idx="15043">
                  <c:v>44585</c:v>
                </c:pt>
                <c:pt idx="15044">
                  <c:v>44585</c:v>
                </c:pt>
                <c:pt idx="15045">
                  <c:v>44585</c:v>
                </c:pt>
                <c:pt idx="15046">
                  <c:v>44585</c:v>
                </c:pt>
                <c:pt idx="15047">
                  <c:v>44584</c:v>
                </c:pt>
                <c:pt idx="15048">
                  <c:v>44583</c:v>
                </c:pt>
                <c:pt idx="15049">
                  <c:v>44582</c:v>
                </c:pt>
                <c:pt idx="15050">
                  <c:v>44581</c:v>
                </c:pt>
                <c:pt idx="15051">
                  <c:v>44581</c:v>
                </c:pt>
                <c:pt idx="15052">
                  <c:v>44580</c:v>
                </c:pt>
                <c:pt idx="15053">
                  <c:v>44580</c:v>
                </c:pt>
                <c:pt idx="15054">
                  <c:v>44579</c:v>
                </c:pt>
                <c:pt idx="15055">
                  <c:v>44579</c:v>
                </c:pt>
                <c:pt idx="15056">
                  <c:v>44578</c:v>
                </c:pt>
                <c:pt idx="15057">
                  <c:v>44578</c:v>
                </c:pt>
                <c:pt idx="15058">
                  <c:v>44577</c:v>
                </c:pt>
                <c:pt idx="15059">
                  <c:v>44577</c:v>
                </c:pt>
                <c:pt idx="15060">
                  <c:v>44576</c:v>
                </c:pt>
                <c:pt idx="15061">
                  <c:v>44576</c:v>
                </c:pt>
                <c:pt idx="15062">
                  <c:v>44575</c:v>
                </c:pt>
                <c:pt idx="15063">
                  <c:v>44574</c:v>
                </c:pt>
                <c:pt idx="15064">
                  <c:v>44573</c:v>
                </c:pt>
                <c:pt idx="15065">
                  <c:v>44572</c:v>
                </c:pt>
                <c:pt idx="15066">
                  <c:v>44572</c:v>
                </c:pt>
                <c:pt idx="15067">
                  <c:v>44571</c:v>
                </c:pt>
                <c:pt idx="15068">
                  <c:v>44571</c:v>
                </c:pt>
                <c:pt idx="15069">
                  <c:v>44571</c:v>
                </c:pt>
                <c:pt idx="15070">
                  <c:v>44569</c:v>
                </c:pt>
                <c:pt idx="15071">
                  <c:v>44569</c:v>
                </c:pt>
                <c:pt idx="15072">
                  <c:v>44568</c:v>
                </c:pt>
                <c:pt idx="15073">
                  <c:v>44568</c:v>
                </c:pt>
                <c:pt idx="15074">
                  <c:v>44567</c:v>
                </c:pt>
                <c:pt idx="15075">
                  <c:v>44566</c:v>
                </c:pt>
                <c:pt idx="15076">
                  <c:v>44566</c:v>
                </c:pt>
                <c:pt idx="15077">
                  <c:v>44565</c:v>
                </c:pt>
                <c:pt idx="15078">
                  <c:v>44565</c:v>
                </c:pt>
                <c:pt idx="15079">
                  <c:v>44564</c:v>
                </c:pt>
                <c:pt idx="15080">
                  <c:v>44564</c:v>
                </c:pt>
                <c:pt idx="15081">
                  <c:v>44564</c:v>
                </c:pt>
                <c:pt idx="15082">
                  <c:v>44564</c:v>
                </c:pt>
                <c:pt idx="15083">
                  <c:v>44563</c:v>
                </c:pt>
                <c:pt idx="15084">
                  <c:v>44563</c:v>
                </c:pt>
                <c:pt idx="15085">
                  <c:v>44562</c:v>
                </c:pt>
                <c:pt idx="15086">
                  <c:v>44562</c:v>
                </c:pt>
                <c:pt idx="15087">
                  <c:v>44562</c:v>
                </c:pt>
                <c:pt idx="15088">
                  <c:v>44559</c:v>
                </c:pt>
                <c:pt idx="15089">
                  <c:v>44559</c:v>
                </c:pt>
                <c:pt idx="15090">
                  <c:v>44558</c:v>
                </c:pt>
                <c:pt idx="15091">
                  <c:v>44557</c:v>
                </c:pt>
                <c:pt idx="15092">
                  <c:v>44557</c:v>
                </c:pt>
                <c:pt idx="15093">
                  <c:v>44557</c:v>
                </c:pt>
                <c:pt idx="15094">
                  <c:v>44557</c:v>
                </c:pt>
                <c:pt idx="15095">
                  <c:v>44556</c:v>
                </c:pt>
                <c:pt idx="15096">
                  <c:v>44556</c:v>
                </c:pt>
                <c:pt idx="15097">
                  <c:v>44556</c:v>
                </c:pt>
                <c:pt idx="15098">
                  <c:v>44555</c:v>
                </c:pt>
                <c:pt idx="15099">
                  <c:v>44554</c:v>
                </c:pt>
                <c:pt idx="15100">
                  <c:v>44554</c:v>
                </c:pt>
                <c:pt idx="15101">
                  <c:v>44553</c:v>
                </c:pt>
                <c:pt idx="15102">
                  <c:v>44552</c:v>
                </c:pt>
                <c:pt idx="15103">
                  <c:v>44552</c:v>
                </c:pt>
                <c:pt idx="15104">
                  <c:v>44551</c:v>
                </c:pt>
                <c:pt idx="15105">
                  <c:v>44551</c:v>
                </c:pt>
                <c:pt idx="15106">
                  <c:v>44549</c:v>
                </c:pt>
                <c:pt idx="15107">
                  <c:v>44549</c:v>
                </c:pt>
                <c:pt idx="15108">
                  <c:v>44549</c:v>
                </c:pt>
                <c:pt idx="15109">
                  <c:v>44549</c:v>
                </c:pt>
                <c:pt idx="15110">
                  <c:v>44549</c:v>
                </c:pt>
                <c:pt idx="15111">
                  <c:v>44549</c:v>
                </c:pt>
                <c:pt idx="15112">
                  <c:v>44547</c:v>
                </c:pt>
                <c:pt idx="15113">
                  <c:v>44547</c:v>
                </c:pt>
                <c:pt idx="15114">
                  <c:v>44547</c:v>
                </c:pt>
                <c:pt idx="15115">
                  <c:v>44546</c:v>
                </c:pt>
                <c:pt idx="15116">
                  <c:v>44545</c:v>
                </c:pt>
                <c:pt idx="15117">
                  <c:v>44543</c:v>
                </c:pt>
                <c:pt idx="15118">
                  <c:v>44543</c:v>
                </c:pt>
                <c:pt idx="15119">
                  <c:v>44543</c:v>
                </c:pt>
                <c:pt idx="15120">
                  <c:v>44543</c:v>
                </c:pt>
                <c:pt idx="15121">
                  <c:v>44542</c:v>
                </c:pt>
                <c:pt idx="15122">
                  <c:v>44542</c:v>
                </c:pt>
                <c:pt idx="15123">
                  <c:v>44540</c:v>
                </c:pt>
                <c:pt idx="15124">
                  <c:v>44539</c:v>
                </c:pt>
                <c:pt idx="15125">
                  <c:v>44539</c:v>
                </c:pt>
                <c:pt idx="15126">
                  <c:v>44537</c:v>
                </c:pt>
                <c:pt idx="15127">
                  <c:v>44537</c:v>
                </c:pt>
                <c:pt idx="15128">
                  <c:v>44535</c:v>
                </c:pt>
                <c:pt idx="15129">
                  <c:v>44535</c:v>
                </c:pt>
                <c:pt idx="15130">
                  <c:v>44534</c:v>
                </c:pt>
                <c:pt idx="15131">
                  <c:v>44534</c:v>
                </c:pt>
                <c:pt idx="15132">
                  <c:v>44532</c:v>
                </c:pt>
                <c:pt idx="15133">
                  <c:v>44532</c:v>
                </c:pt>
                <c:pt idx="15134">
                  <c:v>44531</c:v>
                </c:pt>
                <c:pt idx="15135">
                  <c:v>44531</c:v>
                </c:pt>
                <c:pt idx="15136">
                  <c:v>44531</c:v>
                </c:pt>
                <c:pt idx="15137">
                  <c:v>44531</c:v>
                </c:pt>
                <c:pt idx="15138">
                  <c:v>44530</c:v>
                </c:pt>
                <c:pt idx="15139">
                  <c:v>44530</c:v>
                </c:pt>
                <c:pt idx="15140">
                  <c:v>44529</c:v>
                </c:pt>
                <c:pt idx="15141">
                  <c:v>44529</c:v>
                </c:pt>
                <c:pt idx="15142">
                  <c:v>44528</c:v>
                </c:pt>
                <c:pt idx="15143">
                  <c:v>44527</c:v>
                </c:pt>
                <c:pt idx="15144">
                  <c:v>44526</c:v>
                </c:pt>
                <c:pt idx="15145">
                  <c:v>44526</c:v>
                </c:pt>
                <c:pt idx="15146">
                  <c:v>44525</c:v>
                </c:pt>
                <c:pt idx="15147">
                  <c:v>44523</c:v>
                </c:pt>
                <c:pt idx="15148">
                  <c:v>44523</c:v>
                </c:pt>
                <c:pt idx="15149">
                  <c:v>44522</c:v>
                </c:pt>
                <c:pt idx="15150">
                  <c:v>44522</c:v>
                </c:pt>
                <c:pt idx="15151">
                  <c:v>44522</c:v>
                </c:pt>
                <c:pt idx="15152">
                  <c:v>44522</c:v>
                </c:pt>
                <c:pt idx="15153">
                  <c:v>44521</c:v>
                </c:pt>
                <c:pt idx="15154">
                  <c:v>44521</c:v>
                </c:pt>
                <c:pt idx="15155">
                  <c:v>44520</c:v>
                </c:pt>
                <c:pt idx="15156">
                  <c:v>44519</c:v>
                </c:pt>
                <c:pt idx="15157">
                  <c:v>44518</c:v>
                </c:pt>
                <c:pt idx="15158">
                  <c:v>44518</c:v>
                </c:pt>
                <c:pt idx="15159">
                  <c:v>44518</c:v>
                </c:pt>
                <c:pt idx="15160">
                  <c:v>44517</c:v>
                </c:pt>
                <c:pt idx="15161">
                  <c:v>44517</c:v>
                </c:pt>
                <c:pt idx="15162">
                  <c:v>44517</c:v>
                </c:pt>
                <c:pt idx="15163">
                  <c:v>44516</c:v>
                </c:pt>
                <c:pt idx="15164">
                  <c:v>44513</c:v>
                </c:pt>
                <c:pt idx="15165">
                  <c:v>44511</c:v>
                </c:pt>
                <c:pt idx="15166">
                  <c:v>44511</c:v>
                </c:pt>
                <c:pt idx="15167">
                  <c:v>44511</c:v>
                </c:pt>
                <c:pt idx="15168">
                  <c:v>44509</c:v>
                </c:pt>
                <c:pt idx="15169">
                  <c:v>44509</c:v>
                </c:pt>
                <c:pt idx="15170">
                  <c:v>44509</c:v>
                </c:pt>
                <c:pt idx="15171">
                  <c:v>44509</c:v>
                </c:pt>
                <c:pt idx="15172">
                  <c:v>44508</c:v>
                </c:pt>
                <c:pt idx="15173">
                  <c:v>44508</c:v>
                </c:pt>
                <c:pt idx="15174">
                  <c:v>44508</c:v>
                </c:pt>
                <c:pt idx="15175">
                  <c:v>44508</c:v>
                </c:pt>
                <c:pt idx="15176">
                  <c:v>44508</c:v>
                </c:pt>
                <c:pt idx="15177">
                  <c:v>44507</c:v>
                </c:pt>
                <c:pt idx="15178">
                  <c:v>44507</c:v>
                </c:pt>
                <c:pt idx="15179">
                  <c:v>44506</c:v>
                </c:pt>
                <c:pt idx="15180">
                  <c:v>44506</c:v>
                </c:pt>
                <c:pt idx="15181">
                  <c:v>44505</c:v>
                </c:pt>
                <c:pt idx="15182">
                  <c:v>44504</c:v>
                </c:pt>
                <c:pt idx="15183">
                  <c:v>44504</c:v>
                </c:pt>
                <c:pt idx="15184">
                  <c:v>44504</c:v>
                </c:pt>
                <c:pt idx="15185">
                  <c:v>44503</c:v>
                </c:pt>
                <c:pt idx="15186">
                  <c:v>44502</c:v>
                </c:pt>
                <c:pt idx="15187">
                  <c:v>44501</c:v>
                </c:pt>
                <c:pt idx="15188">
                  <c:v>44501</c:v>
                </c:pt>
                <c:pt idx="15189">
                  <c:v>44500</c:v>
                </c:pt>
                <c:pt idx="15190">
                  <c:v>44499</c:v>
                </c:pt>
                <c:pt idx="15191">
                  <c:v>44498</c:v>
                </c:pt>
                <c:pt idx="15192">
                  <c:v>44498</c:v>
                </c:pt>
                <c:pt idx="15193">
                  <c:v>44496</c:v>
                </c:pt>
                <c:pt idx="15194">
                  <c:v>44496</c:v>
                </c:pt>
                <c:pt idx="15195">
                  <c:v>44496</c:v>
                </c:pt>
                <c:pt idx="15196">
                  <c:v>44495</c:v>
                </c:pt>
                <c:pt idx="15197">
                  <c:v>44495</c:v>
                </c:pt>
                <c:pt idx="15198">
                  <c:v>44495</c:v>
                </c:pt>
                <c:pt idx="15199">
                  <c:v>44495</c:v>
                </c:pt>
                <c:pt idx="15200">
                  <c:v>44494</c:v>
                </c:pt>
                <c:pt idx="15201">
                  <c:v>44492</c:v>
                </c:pt>
                <c:pt idx="15202">
                  <c:v>44492</c:v>
                </c:pt>
                <c:pt idx="15203">
                  <c:v>44491</c:v>
                </c:pt>
                <c:pt idx="15204">
                  <c:v>44491</c:v>
                </c:pt>
                <c:pt idx="15205">
                  <c:v>44491</c:v>
                </c:pt>
                <c:pt idx="15206">
                  <c:v>44490</c:v>
                </c:pt>
                <c:pt idx="15207">
                  <c:v>44489</c:v>
                </c:pt>
                <c:pt idx="15208">
                  <c:v>44488</c:v>
                </c:pt>
                <c:pt idx="15209">
                  <c:v>44488</c:v>
                </c:pt>
                <c:pt idx="15210">
                  <c:v>44488</c:v>
                </c:pt>
                <c:pt idx="15211">
                  <c:v>44487</c:v>
                </c:pt>
                <c:pt idx="15212">
                  <c:v>44486</c:v>
                </c:pt>
                <c:pt idx="15213">
                  <c:v>44485</c:v>
                </c:pt>
                <c:pt idx="15214">
                  <c:v>44485</c:v>
                </c:pt>
                <c:pt idx="15215">
                  <c:v>44484</c:v>
                </c:pt>
                <c:pt idx="15216">
                  <c:v>44484</c:v>
                </c:pt>
                <c:pt idx="15217">
                  <c:v>44483</c:v>
                </c:pt>
                <c:pt idx="15218">
                  <c:v>44483</c:v>
                </c:pt>
                <c:pt idx="15219">
                  <c:v>44483</c:v>
                </c:pt>
                <c:pt idx="15220">
                  <c:v>44481</c:v>
                </c:pt>
                <c:pt idx="15221">
                  <c:v>44481</c:v>
                </c:pt>
                <c:pt idx="15222">
                  <c:v>44481</c:v>
                </c:pt>
                <c:pt idx="15223">
                  <c:v>44480</c:v>
                </c:pt>
                <c:pt idx="15224">
                  <c:v>44480</c:v>
                </c:pt>
                <c:pt idx="15225">
                  <c:v>44480</c:v>
                </c:pt>
                <c:pt idx="15226">
                  <c:v>44479</c:v>
                </c:pt>
                <c:pt idx="15227">
                  <c:v>44478</c:v>
                </c:pt>
                <c:pt idx="15228">
                  <c:v>44478</c:v>
                </c:pt>
                <c:pt idx="15229">
                  <c:v>44478</c:v>
                </c:pt>
                <c:pt idx="15230">
                  <c:v>44478</c:v>
                </c:pt>
                <c:pt idx="15231">
                  <c:v>44477</c:v>
                </c:pt>
                <c:pt idx="15232">
                  <c:v>44477</c:v>
                </c:pt>
                <c:pt idx="15233">
                  <c:v>44476</c:v>
                </c:pt>
                <c:pt idx="15234">
                  <c:v>44476</c:v>
                </c:pt>
                <c:pt idx="15235">
                  <c:v>44476</c:v>
                </c:pt>
                <c:pt idx="15236">
                  <c:v>44476</c:v>
                </c:pt>
                <c:pt idx="15237">
                  <c:v>44476</c:v>
                </c:pt>
                <c:pt idx="15238">
                  <c:v>44475</c:v>
                </c:pt>
                <c:pt idx="15239">
                  <c:v>44475</c:v>
                </c:pt>
                <c:pt idx="15240">
                  <c:v>44474</c:v>
                </c:pt>
                <c:pt idx="15241">
                  <c:v>44472</c:v>
                </c:pt>
                <c:pt idx="15242">
                  <c:v>44472</c:v>
                </c:pt>
                <c:pt idx="15243">
                  <c:v>44470</c:v>
                </c:pt>
                <c:pt idx="15244">
                  <c:v>44470</c:v>
                </c:pt>
                <c:pt idx="15245">
                  <c:v>44470</c:v>
                </c:pt>
                <c:pt idx="15246">
                  <c:v>44469</c:v>
                </c:pt>
                <c:pt idx="15247">
                  <c:v>44469</c:v>
                </c:pt>
                <c:pt idx="15248">
                  <c:v>44469</c:v>
                </c:pt>
                <c:pt idx="15249">
                  <c:v>44467</c:v>
                </c:pt>
                <c:pt idx="15250">
                  <c:v>44467</c:v>
                </c:pt>
                <c:pt idx="15251">
                  <c:v>44467</c:v>
                </c:pt>
                <c:pt idx="15252">
                  <c:v>44467</c:v>
                </c:pt>
                <c:pt idx="15253">
                  <c:v>44466</c:v>
                </c:pt>
                <c:pt idx="15254">
                  <c:v>44466</c:v>
                </c:pt>
                <c:pt idx="15255">
                  <c:v>44464</c:v>
                </c:pt>
                <c:pt idx="15256">
                  <c:v>44463</c:v>
                </c:pt>
                <c:pt idx="15257">
                  <c:v>44462</c:v>
                </c:pt>
                <c:pt idx="15258">
                  <c:v>44461</c:v>
                </c:pt>
                <c:pt idx="15259">
                  <c:v>44461</c:v>
                </c:pt>
                <c:pt idx="15260">
                  <c:v>44461</c:v>
                </c:pt>
                <c:pt idx="15261">
                  <c:v>44461</c:v>
                </c:pt>
                <c:pt idx="15262">
                  <c:v>44461</c:v>
                </c:pt>
                <c:pt idx="15263">
                  <c:v>44460</c:v>
                </c:pt>
                <c:pt idx="15264">
                  <c:v>44459</c:v>
                </c:pt>
                <c:pt idx="15265">
                  <c:v>44457</c:v>
                </c:pt>
                <c:pt idx="15266">
                  <c:v>44456</c:v>
                </c:pt>
                <c:pt idx="15267">
                  <c:v>44456</c:v>
                </c:pt>
                <c:pt idx="15268">
                  <c:v>44456</c:v>
                </c:pt>
                <c:pt idx="15269">
                  <c:v>44456</c:v>
                </c:pt>
                <c:pt idx="15270">
                  <c:v>44455</c:v>
                </c:pt>
                <c:pt idx="15271">
                  <c:v>44455</c:v>
                </c:pt>
                <c:pt idx="15272">
                  <c:v>44455</c:v>
                </c:pt>
                <c:pt idx="15273">
                  <c:v>44453</c:v>
                </c:pt>
                <c:pt idx="15274">
                  <c:v>44452</c:v>
                </c:pt>
                <c:pt idx="15275">
                  <c:v>44452</c:v>
                </c:pt>
                <c:pt idx="15276">
                  <c:v>44452</c:v>
                </c:pt>
                <c:pt idx="15277">
                  <c:v>44452</c:v>
                </c:pt>
                <c:pt idx="15278">
                  <c:v>44450</c:v>
                </c:pt>
                <c:pt idx="15279">
                  <c:v>44450</c:v>
                </c:pt>
                <c:pt idx="15280">
                  <c:v>44450</c:v>
                </c:pt>
                <c:pt idx="15281">
                  <c:v>44450</c:v>
                </c:pt>
                <c:pt idx="15282">
                  <c:v>44450</c:v>
                </c:pt>
                <c:pt idx="15283">
                  <c:v>44449</c:v>
                </c:pt>
                <c:pt idx="15284">
                  <c:v>44449</c:v>
                </c:pt>
                <c:pt idx="15285">
                  <c:v>44447</c:v>
                </c:pt>
                <c:pt idx="15286">
                  <c:v>44447</c:v>
                </c:pt>
                <c:pt idx="15287">
                  <c:v>44447</c:v>
                </c:pt>
                <c:pt idx="15288">
                  <c:v>44445</c:v>
                </c:pt>
                <c:pt idx="15289">
                  <c:v>44444</c:v>
                </c:pt>
                <c:pt idx="15290">
                  <c:v>44444</c:v>
                </c:pt>
                <c:pt idx="15291">
                  <c:v>44443</c:v>
                </c:pt>
                <c:pt idx="15292">
                  <c:v>44443</c:v>
                </c:pt>
                <c:pt idx="15293">
                  <c:v>44443</c:v>
                </c:pt>
                <c:pt idx="15294">
                  <c:v>44442</c:v>
                </c:pt>
                <c:pt idx="15295">
                  <c:v>44441</c:v>
                </c:pt>
                <c:pt idx="15296">
                  <c:v>44440</c:v>
                </c:pt>
                <c:pt idx="15297">
                  <c:v>44440</c:v>
                </c:pt>
                <c:pt idx="15298">
                  <c:v>44440</c:v>
                </c:pt>
                <c:pt idx="15299">
                  <c:v>44440</c:v>
                </c:pt>
                <c:pt idx="15300">
                  <c:v>44440</c:v>
                </c:pt>
                <c:pt idx="15301">
                  <c:v>44439</c:v>
                </c:pt>
                <c:pt idx="15302">
                  <c:v>44437</c:v>
                </c:pt>
                <c:pt idx="15303">
                  <c:v>44436</c:v>
                </c:pt>
                <c:pt idx="15304">
                  <c:v>44436</c:v>
                </c:pt>
                <c:pt idx="15305">
                  <c:v>44436</c:v>
                </c:pt>
                <c:pt idx="15306">
                  <c:v>44435</c:v>
                </c:pt>
                <c:pt idx="15307">
                  <c:v>44435</c:v>
                </c:pt>
                <c:pt idx="15308">
                  <c:v>44435</c:v>
                </c:pt>
                <c:pt idx="15309">
                  <c:v>44435</c:v>
                </c:pt>
                <c:pt idx="15310">
                  <c:v>44435</c:v>
                </c:pt>
                <c:pt idx="15311">
                  <c:v>44434</c:v>
                </c:pt>
                <c:pt idx="15312">
                  <c:v>44434</c:v>
                </c:pt>
                <c:pt idx="15313">
                  <c:v>44434</c:v>
                </c:pt>
                <c:pt idx="15314">
                  <c:v>44433</c:v>
                </c:pt>
                <c:pt idx="15315">
                  <c:v>44432</c:v>
                </c:pt>
                <c:pt idx="15316">
                  <c:v>44432</c:v>
                </c:pt>
                <c:pt idx="15317">
                  <c:v>44432</c:v>
                </c:pt>
                <c:pt idx="15318">
                  <c:v>44431</c:v>
                </c:pt>
                <c:pt idx="15319">
                  <c:v>44431</c:v>
                </c:pt>
                <c:pt idx="15320">
                  <c:v>44430</c:v>
                </c:pt>
                <c:pt idx="15321">
                  <c:v>44430</c:v>
                </c:pt>
                <c:pt idx="15322">
                  <c:v>44429</c:v>
                </c:pt>
                <c:pt idx="15323">
                  <c:v>44429</c:v>
                </c:pt>
                <c:pt idx="15324">
                  <c:v>44428</c:v>
                </c:pt>
                <c:pt idx="15325">
                  <c:v>44428</c:v>
                </c:pt>
                <c:pt idx="15326">
                  <c:v>44428</c:v>
                </c:pt>
                <c:pt idx="15327">
                  <c:v>44427</c:v>
                </c:pt>
                <c:pt idx="15328">
                  <c:v>44426</c:v>
                </c:pt>
                <c:pt idx="15329">
                  <c:v>44426</c:v>
                </c:pt>
                <c:pt idx="15330">
                  <c:v>44426</c:v>
                </c:pt>
                <c:pt idx="15331">
                  <c:v>44426</c:v>
                </c:pt>
                <c:pt idx="15332">
                  <c:v>44424</c:v>
                </c:pt>
                <c:pt idx="15333">
                  <c:v>44423</c:v>
                </c:pt>
                <c:pt idx="15334">
                  <c:v>44422</c:v>
                </c:pt>
                <c:pt idx="15335">
                  <c:v>44422</c:v>
                </c:pt>
                <c:pt idx="15336">
                  <c:v>44421</c:v>
                </c:pt>
                <c:pt idx="15337">
                  <c:v>44420</c:v>
                </c:pt>
                <c:pt idx="15338">
                  <c:v>44420</c:v>
                </c:pt>
                <c:pt idx="15339">
                  <c:v>44419</c:v>
                </c:pt>
                <c:pt idx="15340">
                  <c:v>44418</c:v>
                </c:pt>
                <c:pt idx="15341">
                  <c:v>44418</c:v>
                </c:pt>
                <c:pt idx="15342">
                  <c:v>44418</c:v>
                </c:pt>
                <c:pt idx="15343">
                  <c:v>44417</c:v>
                </c:pt>
                <c:pt idx="15344">
                  <c:v>44417</c:v>
                </c:pt>
                <c:pt idx="15345">
                  <c:v>44416</c:v>
                </c:pt>
                <c:pt idx="15346">
                  <c:v>44416</c:v>
                </c:pt>
                <c:pt idx="15347">
                  <c:v>44414</c:v>
                </c:pt>
                <c:pt idx="15348">
                  <c:v>44414</c:v>
                </c:pt>
                <c:pt idx="15349">
                  <c:v>44414</c:v>
                </c:pt>
                <c:pt idx="15350">
                  <c:v>44413</c:v>
                </c:pt>
                <c:pt idx="15351">
                  <c:v>44412</c:v>
                </c:pt>
                <c:pt idx="15352">
                  <c:v>44411</c:v>
                </c:pt>
                <c:pt idx="15353">
                  <c:v>44410</c:v>
                </c:pt>
                <c:pt idx="15354">
                  <c:v>44410</c:v>
                </c:pt>
                <c:pt idx="15355">
                  <c:v>44409</c:v>
                </c:pt>
                <c:pt idx="15356">
                  <c:v>44409</c:v>
                </c:pt>
                <c:pt idx="15357">
                  <c:v>44408</c:v>
                </c:pt>
                <c:pt idx="15358">
                  <c:v>44408</c:v>
                </c:pt>
                <c:pt idx="15359">
                  <c:v>44408</c:v>
                </c:pt>
                <c:pt idx="15360">
                  <c:v>44407</c:v>
                </c:pt>
                <c:pt idx="15361">
                  <c:v>44406</c:v>
                </c:pt>
                <c:pt idx="15362">
                  <c:v>44406</c:v>
                </c:pt>
                <c:pt idx="15363">
                  <c:v>44404</c:v>
                </c:pt>
                <c:pt idx="15364">
                  <c:v>44402</c:v>
                </c:pt>
                <c:pt idx="15365">
                  <c:v>44401</c:v>
                </c:pt>
                <c:pt idx="15366">
                  <c:v>44401</c:v>
                </c:pt>
                <c:pt idx="15367">
                  <c:v>44400</c:v>
                </c:pt>
                <c:pt idx="15368">
                  <c:v>44400</c:v>
                </c:pt>
                <c:pt idx="15369">
                  <c:v>44399</c:v>
                </c:pt>
                <c:pt idx="15370">
                  <c:v>44399</c:v>
                </c:pt>
                <c:pt idx="15371">
                  <c:v>44399</c:v>
                </c:pt>
                <c:pt idx="15372">
                  <c:v>44399</c:v>
                </c:pt>
                <c:pt idx="15373">
                  <c:v>44399</c:v>
                </c:pt>
                <c:pt idx="15374">
                  <c:v>44399</c:v>
                </c:pt>
                <c:pt idx="15375">
                  <c:v>44397</c:v>
                </c:pt>
                <c:pt idx="15376">
                  <c:v>44396</c:v>
                </c:pt>
                <c:pt idx="15377">
                  <c:v>44396</c:v>
                </c:pt>
                <c:pt idx="15378">
                  <c:v>44395</c:v>
                </c:pt>
                <c:pt idx="15379">
                  <c:v>44395</c:v>
                </c:pt>
                <c:pt idx="15380">
                  <c:v>44394</c:v>
                </c:pt>
                <c:pt idx="15381">
                  <c:v>44394</c:v>
                </c:pt>
                <c:pt idx="15382">
                  <c:v>44394</c:v>
                </c:pt>
                <c:pt idx="15383">
                  <c:v>44393</c:v>
                </c:pt>
                <c:pt idx="15384">
                  <c:v>44393</c:v>
                </c:pt>
                <c:pt idx="15385">
                  <c:v>44391</c:v>
                </c:pt>
                <c:pt idx="15386">
                  <c:v>44391</c:v>
                </c:pt>
                <c:pt idx="15387">
                  <c:v>44390</c:v>
                </c:pt>
                <c:pt idx="15388">
                  <c:v>44390</c:v>
                </c:pt>
                <c:pt idx="15389">
                  <c:v>44389</c:v>
                </c:pt>
                <c:pt idx="15390">
                  <c:v>44389</c:v>
                </c:pt>
                <c:pt idx="15391">
                  <c:v>44389</c:v>
                </c:pt>
                <c:pt idx="15392">
                  <c:v>44389</c:v>
                </c:pt>
                <c:pt idx="15393">
                  <c:v>44388</c:v>
                </c:pt>
                <c:pt idx="15394">
                  <c:v>44388</c:v>
                </c:pt>
                <c:pt idx="15395">
                  <c:v>44388</c:v>
                </c:pt>
                <c:pt idx="15396">
                  <c:v>44388</c:v>
                </c:pt>
                <c:pt idx="15397">
                  <c:v>44387</c:v>
                </c:pt>
                <c:pt idx="15398">
                  <c:v>44387</c:v>
                </c:pt>
                <c:pt idx="15399">
                  <c:v>44387</c:v>
                </c:pt>
                <c:pt idx="15400">
                  <c:v>44386</c:v>
                </c:pt>
                <c:pt idx="15401">
                  <c:v>44385</c:v>
                </c:pt>
                <c:pt idx="15402">
                  <c:v>44385</c:v>
                </c:pt>
                <c:pt idx="15403">
                  <c:v>44385</c:v>
                </c:pt>
                <c:pt idx="15404">
                  <c:v>44384</c:v>
                </c:pt>
                <c:pt idx="15405">
                  <c:v>44384</c:v>
                </c:pt>
                <c:pt idx="15406">
                  <c:v>44384</c:v>
                </c:pt>
                <c:pt idx="15407">
                  <c:v>44384</c:v>
                </c:pt>
                <c:pt idx="15408">
                  <c:v>44384</c:v>
                </c:pt>
                <c:pt idx="15409">
                  <c:v>44383</c:v>
                </c:pt>
                <c:pt idx="15410">
                  <c:v>44383</c:v>
                </c:pt>
                <c:pt idx="15411">
                  <c:v>44383</c:v>
                </c:pt>
                <c:pt idx="15412">
                  <c:v>44382</c:v>
                </c:pt>
                <c:pt idx="15413">
                  <c:v>44382</c:v>
                </c:pt>
                <c:pt idx="15414">
                  <c:v>44382</c:v>
                </c:pt>
                <c:pt idx="15415">
                  <c:v>44381</c:v>
                </c:pt>
                <c:pt idx="15416">
                  <c:v>44381</c:v>
                </c:pt>
                <c:pt idx="15417">
                  <c:v>44380</c:v>
                </c:pt>
                <c:pt idx="15418">
                  <c:v>44380</c:v>
                </c:pt>
                <c:pt idx="15419">
                  <c:v>44379</c:v>
                </c:pt>
                <c:pt idx="15420">
                  <c:v>44379</c:v>
                </c:pt>
                <c:pt idx="15421">
                  <c:v>44378</c:v>
                </c:pt>
                <c:pt idx="15422">
                  <c:v>44377</c:v>
                </c:pt>
                <c:pt idx="15423">
                  <c:v>44377</c:v>
                </c:pt>
                <c:pt idx="15424">
                  <c:v>44375</c:v>
                </c:pt>
                <c:pt idx="15425">
                  <c:v>44373</c:v>
                </c:pt>
                <c:pt idx="15426">
                  <c:v>44372</c:v>
                </c:pt>
                <c:pt idx="15427">
                  <c:v>44372</c:v>
                </c:pt>
                <c:pt idx="15428">
                  <c:v>44371</c:v>
                </c:pt>
                <c:pt idx="15429">
                  <c:v>44370</c:v>
                </c:pt>
                <c:pt idx="15430">
                  <c:v>44370</c:v>
                </c:pt>
                <c:pt idx="15431">
                  <c:v>44369</c:v>
                </c:pt>
                <c:pt idx="15432">
                  <c:v>44369</c:v>
                </c:pt>
                <c:pt idx="15433">
                  <c:v>44369</c:v>
                </c:pt>
                <c:pt idx="15434">
                  <c:v>44369</c:v>
                </c:pt>
                <c:pt idx="15435">
                  <c:v>44369</c:v>
                </c:pt>
                <c:pt idx="15436">
                  <c:v>44368</c:v>
                </c:pt>
                <c:pt idx="15437">
                  <c:v>44366</c:v>
                </c:pt>
                <c:pt idx="15438">
                  <c:v>44365</c:v>
                </c:pt>
                <c:pt idx="15439">
                  <c:v>44364</c:v>
                </c:pt>
                <c:pt idx="15440">
                  <c:v>44364</c:v>
                </c:pt>
                <c:pt idx="15441">
                  <c:v>44364</c:v>
                </c:pt>
                <c:pt idx="15442">
                  <c:v>44364</c:v>
                </c:pt>
                <c:pt idx="15443">
                  <c:v>44363</c:v>
                </c:pt>
                <c:pt idx="15444">
                  <c:v>44363</c:v>
                </c:pt>
                <c:pt idx="15445">
                  <c:v>44362</c:v>
                </c:pt>
                <c:pt idx="15446">
                  <c:v>44361</c:v>
                </c:pt>
                <c:pt idx="15447">
                  <c:v>44360</c:v>
                </c:pt>
                <c:pt idx="15448">
                  <c:v>44360</c:v>
                </c:pt>
                <c:pt idx="15449">
                  <c:v>44360</c:v>
                </c:pt>
                <c:pt idx="15450">
                  <c:v>44359</c:v>
                </c:pt>
                <c:pt idx="15451">
                  <c:v>44358</c:v>
                </c:pt>
                <c:pt idx="15452">
                  <c:v>44358</c:v>
                </c:pt>
                <c:pt idx="15453">
                  <c:v>44357</c:v>
                </c:pt>
                <c:pt idx="15454">
                  <c:v>44357</c:v>
                </c:pt>
                <c:pt idx="15455">
                  <c:v>44357</c:v>
                </c:pt>
                <c:pt idx="15456">
                  <c:v>44357</c:v>
                </c:pt>
                <c:pt idx="15457">
                  <c:v>44356</c:v>
                </c:pt>
                <c:pt idx="15458">
                  <c:v>44356</c:v>
                </c:pt>
                <c:pt idx="15459">
                  <c:v>44355</c:v>
                </c:pt>
                <c:pt idx="15460">
                  <c:v>44355</c:v>
                </c:pt>
                <c:pt idx="15461">
                  <c:v>44355</c:v>
                </c:pt>
                <c:pt idx="15462">
                  <c:v>44354</c:v>
                </c:pt>
                <c:pt idx="15463">
                  <c:v>44354</c:v>
                </c:pt>
                <c:pt idx="15464">
                  <c:v>44354</c:v>
                </c:pt>
                <c:pt idx="15465">
                  <c:v>44353</c:v>
                </c:pt>
                <c:pt idx="15466">
                  <c:v>44352</c:v>
                </c:pt>
                <c:pt idx="15467">
                  <c:v>44351</c:v>
                </c:pt>
                <c:pt idx="15468">
                  <c:v>44350</c:v>
                </c:pt>
                <c:pt idx="15469">
                  <c:v>44350</c:v>
                </c:pt>
                <c:pt idx="15470">
                  <c:v>44350</c:v>
                </c:pt>
                <c:pt idx="15471">
                  <c:v>44349</c:v>
                </c:pt>
                <c:pt idx="15472">
                  <c:v>44349</c:v>
                </c:pt>
                <c:pt idx="15473">
                  <c:v>44349</c:v>
                </c:pt>
                <c:pt idx="15474">
                  <c:v>44349</c:v>
                </c:pt>
                <c:pt idx="15475">
                  <c:v>44348</c:v>
                </c:pt>
                <c:pt idx="15476">
                  <c:v>44348</c:v>
                </c:pt>
                <c:pt idx="15477">
                  <c:v>44347</c:v>
                </c:pt>
                <c:pt idx="15478">
                  <c:v>44347</c:v>
                </c:pt>
                <c:pt idx="15479">
                  <c:v>44346</c:v>
                </c:pt>
                <c:pt idx="15480">
                  <c:v>44345</c:v>
                </c:pt>
                <c:pt idx="15481">
                  <c:v>44345</c:v>
                </c:pt>
                <c:pt idx="15482">
                  <c:v>44344</c:v>
                </c:pt>
                <c:pt idx="15483">
                  <c:v>44343</c:v>
                </c:pt>
                <c:pt idx="15484">
                  <c:v>44343</c:v>
                </c:pt>
                <c:pt idx="15485">
                  <c:v>44343</c:v>
                </c:pt>
                <c:pt idx="15486">
                  <c:v>44343</c:v>
                </c:pt>
                <c:pt idx="15487">
                  <c:v>44341</c:v>
                </c:pt>
                <c:pt idx="15488">
                  <c:v>44340</c:v>
                </c:pt>
                <c:pt idx="15489">
                  <c:v>44340</c:v>
                </c:pt>
                <c:pt idx="15490">
                  <c:v>44339</c:v>
                </c:pt>
                <c:pt idx="15491">
                  <c:v>44339</c:v>
                </c:pt>
                <c:pt idx="15492">
                  <c:v>44339</c:v>
                </c:pt>
                <c:pt idx="15493">
                  <c:v>44339</c:v>
                </c:pt>
                <c:pt idx="15494">
                  <c:v>44338</c:v>
                </c:pt>
                <c:pt idx="15495">
                  <c:v>44338</c:v>
                </c:pt>
                <c:pt idx="15496">
                  <c:v>44338</c:v>
                </c:pt>
                <c:pt idx="15497">
                  <c:v>44338</c:v>
                </c:pt>
                <c:pt idx="15498">
                  <c:v>44337</c:v>
                </c:pt>
                <c:pt idx="15499">
                  <c:v>44336</c:v>
                </c:pt>
                <c:pt idx="15500">
                  <c:v>44334</c:v>
                </c:pt>
                <c:pt idx="15501">
                  <c:v>44333</c:v>
                </c:pt>
                <c:pt idx="15502">
                  <c:v>44331</c:v>
                </c:pt>
                <c:pt idx="15503">
                  <c:v>44331</c:v>
                </c:pt>
                <c:pt idx="15504">
                  <c:v>44331</c:v>
                </c:pt>
                <c:pt idx="15505">
                  <c:v>44330</c:v>
                </c:pt>
                <c:pt idx="15506">
                  <c:v>44330</c:v>
                </c:pt>
                <c:pt idx="15507">
                  <c:v>44329</c:v>
                </c:pt>
                <c:pt idx="15508">
                  <c:v>44328</c:v>
                </c:pt>
                <c:pt idx="15509">
                  <c:v>44328</c:v>
                </c:pt>
                <c:pt idx="15510">
                  <c:v>44327</c:v>
                </c:pt>
                <c:pt idx="15511">
                  <c:v>44326</c:v>
                </c:pt>
                <c:pt idx="15512">
                  <c:v>44326</c:v>
                </c:pt>
                <c:pt idx="15513">
                  <c:v>44326</c:v>
                </c:pt>
                <c:pt idx="15514">
                  <c:v>44325</c:v>
                </c:pt>
                <c:pt idx="15515">
                  <c:v>44325</c:v>
                </c:pt>
                <c:pt idx="15516">
                  <c:v>44325</c:v>
                </c:pt>
                <c:pt idx="15517">
                  <c:v>44324</c:v>
                </c:pt>
                <c:pt idx="15518">
                  <c:v>44323</c:v>
                </c:pt>
                <c:pt idx="15519">
                  <c:v>44323</c:v>
                </c:pt>
                <c:pt idx="15520">
                  <c:v>44322</c:v>
                </c:pt>
                <c:pt idx="15521">
                  <c:v>44322</c:v>
                </c:pt>
                <c:pt idx="15522">
                  <c:v>44322</c:v>
                </c:pt>
                <c:pt idx="15523">
                  <c:v>44322</c:v>
                </c:pt>
                <c:pt idx="15524">
                  <c:v>44321</c:v>
                </c:pt>
                <c:pt idx="15525">
                  <c:v>44321</c:v>
                </c:pt>
                <c:pt idx="15526">
                  <c:v>44321</c:v>
                </c:pt>
                <c:pt idx="15527">
                  <c:v>44320</c:v>
                </c:pt>
                <c:pt idx="15528">
                  <c:v>44320</c:v>
                </c:pt>
                <c:pt idx="15529">
                  <c:v>44318</c:v>
                </c:pt>
                <c:pt idx="15530">
                  <c:v>44318</c:v>
                </c:pt>
                <c:pt idx="15531">
                  <c:v>44317</c:v>
                </c:pt>
                <c:pt idx="15532">
                  <c:v>44317</c:v>
                </c:pt>
                <c:pt idx="15533">
                  <c:v>44316</c:v>
                </c:pt>
                <c:pt idx="15534">
                  <c:v>44315</c:v>
                </c:pt>
                <c:pt idx="15535">
                  <c:v>44315</c:v>
                </c:pt>
                <c:pt idx="15536">
                  <c:v>44313</c:v>
                </c:pt>
                <c:pt idx="15537">
                  <c:v>44313</c:v>
                </c:pt>
                <c:pt idx="15538">
                  <c:v>44312</c:v>
                </c:pt>
                <c:pt idx="15539">
                  <c:v>44312</c:v>
                </c:pt>
                <c:pt idx="15540">
                  <c:v>44312</c:v>
                </c:pt>
                <c:pt idx="15541">
                  <c:v>44311</c:v>
                </c:pt>
                <c:pt idx="15542">
                  <c:v>44311</c:v>
                </c:pt>
                <c:pt idx="15543">
                  <c:v>44309</c:v>
                </c:pt>
                <c:pt idx="15544">
                  <c:v>44309</c:v>
                </c:pt>
                <c:pt idx="15545">
                  <c:v>44308</c:v>
                </c:pt>
                <c:pt idx="15546">
                  <c:v>44308</c:v>
                </c:pt>
                <c:pt idx="15547">
                  <c:v>44307</c:v>
                </c:pt>
                <c:pt idx="15548">
                  <c:v>44306</c:v>
                </c:pt>
                <c:pt idx="15549">
                  <c:v>44306</c:v>
                </c:pt>
                <c:pt idx="15550">
                  <c:v>44306</c:v>
                </c:pt>
                <c:pt idx="15551">
                  <c:v>44306</c:v>
                </c:pt>
                <c:pt idx="15552">
                  <c:v>44305</c:v>
                </c:pt>
                <c:pt idx="15553">
                  <c:v>44303</c:v>
                </c:pt>
                <c:pt idx="15554">
                  <c:v>44303</c:v>
                </c:pt>
                <c:pt idx="15555">
                  <c:v>44303</c:v>
                </c:pt>
                <c:pt idx="15556">
                  <c:v>44303</c:v>
                </c:pt>
                <c:pt idx="15557">
                  <c:v>44302</c:v>
                </c:pt>
                <c:pt idx="15558">
                  <c:v>44301</c:v>
                </c:pt>
                <c:pt idx="15559">
                  <c:v>44300</c:v>
                </c:pt>
                <c:pt idx="15560">
                  <c:v>44299</c:v>
                </c:pt>
                <c:pt idx="15561">
                  <c:v>44299</c:v>
                </c:pt>
                <c:pt idx="15562">
                  <c:v>44299</c:v>
                </c:pt>
                <c:pt idx="15563">
                  <c:v>44297</c:v>
                </c:pt>
                <c:pt idx="15564">
                  <c:v>44297</c:v>
                </c:pt>
                <c:pt idx="15565">
                  <c:v>44296</c:v>
                </c:pt>
                <c:pt idx="15566">
                  <c:v>44296</c:v>
                </c:pt>
                <c:pt idx="15567">
                  <c:v>44296</c:v>
                </c:pt>
                <c:pt idx="15568">
                  <c:v>44295</c:v>
                </c:pt>
                <c:pt idx="15569">
                  <c:v>44294</c:v>
                </c:pt>
                <c:pt idx="15570">
                  <c:v>44294</c:v>
                </c:pt>
                <c:pt idx="15571">
                  <c:v>44293</c:v>
                </c:pt>
                <c:pt idx="15572">
                  <c:v>44293</c:v>
                </c:pt>
                <c:pt idx="15573">
                  <c:v>44293</c:v>
                </c:pt>
                <c:pt idx="15574">
                  <c:v>44292</c:v>
                </c:pt>
                <c:pt idx="15575">
                  <c:v>44292</c:v>
                </c:pt>
                <c:pt idx="15576">
                  <c:v>44291</c:v>
                </c:pt>
                <c:pt idx="15577">
                  <c:v>44290</c:v>
                </c:pt>
                <c:pt idx="15578">
                  <c:v>44290</c:v>
                </c:pt>
                <c:pt idx="15579">
                  <c:v>44289</c:v>
                </c:pt>
                <c:pt idx="15580">
                  <c:v>44288</c:v>
                </c:pt>
                <c:pt idx="15581">
                  <c:v>44288</c:v>
                </c:pt>
                <c:pt idx="15582">
                  <c:v>44287</c:v>
                </c:pt>
                <c:pt idx="15583">
                  <c:v>44287</c:v>
                </c:pt>
                <c:pt idx="15584">
                  <c:v>44286</c:v>
                </c:pt>
                <c:pt idx="15585">
                  <c:v>44285</c:v>
                </c:pt>
                <c:pt idx="15586">
                  <c:v>44283</c:v>
                </c:pt>
                <c:pt idx="15587">
                  <c:v>44283</c:v>
                </c:pt>
                <c:pt idx="15588">
                  <c:v>44282</c:v>
                </c:pt>
                <c:pt idx="15589">
                  <c:v>44282</c:v>
                </c:pt>
                <c:pt idx="15590">
                  <c:v>44282</c:v>
                </c:pt>
                <c:pt idx="15591">
                  <c:v>44281</c:v>
                </c:pt>
                <c:pt idx="15592">
                  <c:v>44280</c:v>
                </c:pt>
                <c:pt idx="15593">
                  <c:v>44279</c:v>
                </c:pt>
                <c:pt idx="15594">
                  <c:v>44279</c:v>
                </c:pt>
                <c:pt idx="15595">
                  <c:v>44279</c:v>
                </c:pt>
                <c:pt idx="15596">
                  <c:v>44276</c:v>
                </c:pt>
                <c:pt idx="15597">
                  <c:v>44276</c:v>
                </c:pt>
                <c:pt idx="15598">
                  <c:v>44275</c:v>
                </c:pt>
                <c:pt idx="15599">
                  <c:v>44275</c:v>
                </c:pt>
                <c:pt idx="15600">
                  <c:v>44274</c:v>
                </c:pt>
                <c:pt idx="15601">
                  <c:v>44274</c:v>
                </c:pt>
                <c:pt idx="15602">
                  <c:v>44274</c:v>
                </c:pt>
                <c:pt idx="15603">
                  <c:v>44273</c:v>
                </c:pt>
                <c:pt idx="15604">
                  <c:v>44272</c:v>
                </c:pt>
                <c:pt idx="15605">
                  <c:v>44271</c:v>
                </c:pt>
                <c:pt idx="15606">
                  <c:v>44271</c:v>
                </c:pt>
                <c:pt idx="15607">
                  <c:v>44270</c:v>
                </c:pt>
                <c:pt idx="15608">
                  <c:v>44269</c:v>
                </c:pt>
                <c:pt idx="15609">
                  <c:v>44268</c:v>
                </c:pt>
                <c:pt idx="15610">
                  <c:v>44267</c:v>
                </c:pt>
                <c:pt idx="15611">
                  <c:v>44262</c:v>
                </c:pt>
                <c:pt idx="15612">
                  <c:v>44261</c:v>
                </c:pt>
                <c:pt idx="15613">
                  <c:v>44259</c:v>
                </c:pt>
                <c:pt idx="15614">
                  <c:v>44258</c:v>
                </c:pt>
                <c:pt idx="15615">
                  <c:v>44257</c:v>
                </c:pt>
                <c:pt idx="15616">
                  <c:v>44256</c:v>
                </c:pt>
                <c:pt idx="15617">
                  <c:v>44256</c:v>
                </c:pt>
                <c:pt idx="15618">
                  <c:v>44253</c:v>
                </c:pt>
                <c:pt idx="15619">
                  <c:v>44253</c:v>
                </c:pt>
                <c:pt idx="15620">
                  <c:v>44252</c:v>
                </c:pt>
                <c:pt idx="15621">
                  <c:v>44251</c:v>
                </c:pt>
                <c:pt idx="15622">
                  <c:v>44251</c:v>
                </c:pt>
                <c:pt idx="15623">
                  <c:v>44250</c:v>
                </c:pt>
                <c:pt idx="15624">
                  <c:v>44249</c:v>
                </c:pt>
                <c:pt idx="15625">
                  <c:v>44248</c:v>
                </c:pt>
                <c:pt idx="15626">
                  <c:v>44248</c:v>
                </c:pt>
                <c:pt idx="15627">
                  <c:v>44248</c:v>
                </c:pt>
                <c:pt idx="15628">
                  <c:v>44248</c:v>
                </c:pt>
                <c:pt idx="15629">
                  <c:v>44247</c:v>
                </c:pt>
                <c:pt idx="15630">
                  <c:v>44247</c:v>
                </c:pt>
                <c:pt idx="15631">
                  <c:v>44245</c:v>
                </c:pt>
                <c:pt idx="15632">
                  <c:v>44245</c:v>
                </c:pt>
                <c:pt idx="15633">
                  <c:v>44245</c:v>
                </c:pt>
                <c:pt idx="15634">
                  <c:v>44245</c:v>
                </c:pt>
                <c:pt idx="15635">
                  <c:v>44245</c:v>
                </c:pt>
                <c:pt idx="15636">
                  <c:v>44244</c:v>
                </c:pt>
                <c:pt idx="15637">
                  <c:v>44243</c:v>
                </c:pt>
                <c:pt idx="15638">
                  <c:v>44243</c:v>
                </c:pt>
                <c:pt idx="15639">
                  <c:v>44242</c:v>
                </c:pt>
                <c:pt idx="15640">
                  <c:v>44242</c:v>
                </c:pt>
                <c:pt idx="15641">
                  <c:v>44241</c:v>
                </c:pt>
                <c:pt idx="15642">
                  <c:v>44240</c:v>
                </c:pt>
                <c:pt idx="15643">
                  <c:v>44238</c:v>
                </c:pt>
                <c:pt idx="15644">
                  <c:v>44238</c:v>
                </c:pt>
                <c:pt idx="15645">
                  <c:v>44238</c:v>
                </c:pt>
                <c:pt idx="15646">
                  <c:v>44237</c:v>
                </c:pt>
                <c:pt idx="15647">
                  <c:v>44237</c:v>
                </c:pt>
                <c:pt idx="15648">
                  <c:v>44237</c:v>
                </c:pt>
                <c:pt idx="15649">
                  <c:v>44237</c:v>
                </c:pt>
                <c:pt idx="15650">
                  <c:v>44237</c:v>
                </c:pt>
                <c:pt idx="15651">
                  <c:v>44237</c:v>
                </c:pt>
                <c:pt idx="15652">
                  <c:v>44235</c:v>
                </c:pt>
                <c:pt idx="15653">
                  <c:v>44235</c:v>
                </c:pt>
                <c:pt idx="15654">
                  <c:v>44235</c:v>
                </c:pt>
                <c:pt idx="15655">
                  <c:v>44234</c:v>
                </c:pt>
                <c:pt idx="15656">
                  <c:v>44234</c:v>
                </c:pt>
                <c:pt idx="15657">
                  <c:v>44234</c:v>
                </c:pt>
                <c:pt idx="15658">
                  <c:v>44233</c:v>
                </c:pt>
                <c:pt idx="15659">
                  <c:v>44233</c:v>
                </c:pt>
                <c:pt idx="15660">
                  <c:v>44233</c:v>
                </c:pt>
                <c:pt idx="15661">
                  <c:v>44233</c:v>
                </c:pt>
                <c:pt idx="15662">
                  <c:v>44232</c:v>
                </c:pt>
                <c:pt idx="15663">
                  <c:v>44232</c:v>
                </c:pt>
                <c:pt idx="15664">
                  <c:v>44230</c:v>
                </c:pt>
                <c:pt idx="15665">
                  <c:v>44229</c:v>
                </c:pt>
                <c:pt idx="15666">
                  <c:v>44229</c:v>
                </c:pt>
                <c:pt idx="15667">
                  <c:v>44229</c:v>
                </c:pt>
                <c:pt idx="15668">
                  <c:v>44229</c:v>
                </c:pt>
                <c:pt idx="15669">
                  <c:v>44229</c:v>
                </c:pt>
                <c:pt idx="15670">
                  <c:v>44228</c:v>
                </c:pt>
                <c:pt idx="15671">
                  <c:v>44227</c:v>
                </c:pt>
                <c:pt idx="15672">
                  <c:v>44227</c:v>
                </c:pt>
                <c:pt idx="15673">
                  <c:v>44226</c:v>
                </c:pt>
                <c:pt idx="15674">
                  <c:v>44226</c:v>
                </c:pt>
                <c:pt idx="15675">
                  <c:v>44226</c:v>
                </c:pt>
                <c:pt idx="15676">
                  <c:v>44225</c:v>
                </c:pt>
                <c:pt idx="15677">
                  <c:v>44225</c:v>
                </c:pt>
                <c:pt idx="15678">
                  <c:v>44225</c:v>
                </c:pt>
                <c:pt idx="15679">
                  <c:v>44224</c:v>
                </c:pt>
                <c:pt idx="15680">
                  <c:v>44224</c:v>
                </c:pt>
                <c:pt idx="15681">
                  <c:v>44221</c:v>
                </c:pt>
                <c:pt idx="15682">
                  <c:v>44220</c:v>
                </c:pt>
                <c:pt idx="15683">
                  <c:v>44219</c:v>
                </c:pt>
                <c:pt idx="15684">
                  <c:v>44218</c:v>
                </c:pt>
                <c:pt idx="15685">
                  <c:v>44218</c:v>
                </c:pt>
                <c:pt idx="15686">
                  <c:v>44217</c:v>
                </c:pt>
                <c:pt idx="15687">
                  <c:v>44216</c:v>
                </c:pt>
                <c:pt idx="15688">
                  <c:v>44216</c:v>
                </c:pt>
                <c:pt idx="15689">
                  <c:v>44216</c:v>
                </c:pt>
                <c:pt idx="15690">
                  <c:v>44216</c:v>
                </c:pt>
                <c:pt idx="15691">
                  <c:v>44214</c:v>
                </c:pt>
                <c:pt idx="15692">
                  <c:v>44213</c:v>
                </c:pt>
                <c:pt idx="15693">
                  <c:v>44212</c:v>
                </c:pt>
                <c:pt idx="15694">
                  <c:v>44211</c:v>
                </c:pt>
                <c:pt idx="15695">
                  <c:v>44210</c:v>
                </c:pt>
                <c:pt idx="15696">
                  <c:v>44209</c:v>
                </c:pt>
                <c:pt idx="15697">
                  <c:v>44208</c:v>
                </c:pt>
                <c:pt idx="15698">
                  <c:v>44208</c:v>
                </c:pt>
                <c:pt idx="15699">
                  <c:v>44207</c:v>
                </c:pt>
                <c:pt idx="15700">
                  <c:v>44206</c:v>
                </c:pt>
                <c:pt idx="15701">
                  <c:v>44205</c:v>
                </c:pt>
                <c:pt idx="15702">
                  <c:v>44204</c:v>
                </c:pt>
                <c:pt idx="15703">
                  <c:v>44204</c:v>
                </c:pt>
                <c:pt idx="15704">
                  <c:v>44203</c:v>
                </c:pt>
                <c:pt idx="15705">
                  <c:v>44203</c:v>
                </c:pt>
                <c:pt idx="15706">
                  <c:v>44203</c:v>
                </c:pt>
                <c:pt idx="15707">
                  <c:v>44202</c:v>
                </c:pt>
                <c:pt idx="15708">
                  <c:v>44200</c:v>
                </c:pt>
                <c:pt idx="15709">
                  <c:v>44200</c:v>
                </c:pt>
                <c:pt idx="15710">
                  <c:v>44200</c:v>
                </c:pt>
                <c:pt idx="15711">
                  <c:v>44200</c:v>
                </c:pt>
                <c:pt idx="15712">
                  <c:v>44199</c:v>
                </c:pt>
                <c:pt idx="15713">
                  <c:v>44199</c:v>
                </c:pt>
                <c:pt idx="15714">
                  <c:v>44199</c:v>
                </c:pt>
                <c:pt idx="15715">
                  <c:v>44198</c:v>
                </c:pt>
                <c:pt idx="15716">
                  <c:v>44197</c:v>
                </c:pt>
                <c:pt idx="15717">
                  <c:v>44197</c:v>
                </c:pt>
                <c:pt idx="15718">
                  <c:v>44195</c:v>
                </c:pt>
                <c:pt idx="15719">
                  <c:v>44195</c:v>
                </c:pt>
                <c:pt idx="15720">
                  <c:v>44193</c:v>
                </c:pt>
                <c:pt idx="15721">
                  <c:v>44193</c:v>
                </c:pt>
                <c:pt idx="15722">
                  <c:v>44192</c:v>
                </c:pt>
                <c:pt idx="15723">
                  <c:v>44191</c:v>
                </c:pt>
                <c:pt idx="15724">
                  <c:v>44186</c:v>
                </c:pt>
                <c:pt idx="15725">
                  <c:v>44186</c:v>
                </c:pt>
                <c:pt idx="15726">
                  <c:v>44185</c:v>
                </c:pt>
                <c:pt idx="15727">
                  <c:v>44185</c:v>
                </c:pt>
                <c:pt idx="15728">
                  <c:v>44184</c:v>
                </c:pt>
                <c:pt idx="15729">
                  <c:v>44183</c:v>
                </c:pt>
                <c:pt idx="15730">
                  <c:v>44182</c:v>
                </c:pt>
                <c:pt idx="15731">
                  <c:v>44182</c:v>
                </c:pt>
                <c:pt idx="15732">
                  <c:v>44182</c:v>
                </c:pt>
                <c:pt idx="15733">
                  <c:v>44181</c:v>
                </c:pt>
                <c:pt idx="15734">
                  <c:v>44178</c:v>
                </c:pt>
                <c:pt idx="15735">
                  <c:v>44177</c:v>
                </c:pt>
                <c:pt idx="15736">
                  <c:v>44177</c:v>
                </c:pt>
                <c:pt idx="15737">
                  <c:v>44177</c:v>
                </c:pt>
                <c:pt idx="15738">
                  <c:v>44177</c:v>
                </c:pt>
                <c:pt idx="15739">
                  <c:v>44176</c:v>
                </c:pt>
                <c:pt idx="15740">
                  <c:v>44176</c:v>
                </c:pt>
                <c:pt idx="15741">
                  <c:v>44176</c:v>
                </c:pt>
                <c:pt idx="15742">
                  <c:v>44176</c:v>
                </c:pt>
                <c:pt idx="15743">
                  <c:v>44176</c:v>
                </c:pt>
                <c:pt idx="15744">
                  <c:v>44175</c:v>
                </c:pt>
                <c:pt idx="15745">
                  <c:v>44175</c:v>
                </c:pt>
                <c:pt idx="15746">
                  <c:v>44175</c:v>
                </c:pt>
                <c:pt idx="15747">
                  <c:v>44173</c:v>
                </c:pt>
                <c:pt idx="15748">
                  <c:v>44173</c:v>
                </c:pt>
                <c:pt idx="15749">
                  <c:v>44173</c:v>
                </c:pt>
                <c:pt idx="15750">
                  <c:v>44172</c:v>
                </c:pt>
                <c:pt idx="15751">
                  <c:v>44172</c:v>
                </c:pt>
                <c:pt idx="15752">
                  <c:v>44171</c:v>
                </c:pt>
                <c:pt idx="15753">
                  <c:v>44171</c:v>
                </c:pt>
                <c:pt idx="15754">
                  <c:v>44171</c:v>
                </c:pt>
                <c:pt idx="15755">
                  <c:v>44170</c:v>
                </c:pt>
                <c:pt idx="15756">
                  <c:v>44170</c:v>
                </c:pt>
                <c:pt idx="15757">
                  <c:v>44169</c:v>
                </c:pt>
                <c:pt idx="15758">
                  <c:v>44169</c:v>
                </c:pt>
                <c:pt idx="15759">
                  <c:v>44168</c:v>
                </c:pt>
                <c:pt idx="15760">
                  <c:v>44168</c:v>
                </c:pt>
                <c:pt idx="15761">
                  <c:v>44168</c:v>
                </c:pt>
                <c:pt idx="15762">
                  <c:v>44168</c:v>
                </c:pt>
                <c:pt idx="15763">
                  <c:v>44168</c:v>
                </c:pt>
                <c:pt idx="15764">
                  <c:v>44167</c:v>
                </c:pt>
                <c:pt idx="15765">
                  <c:v>44167</c:v>
                </c:pt>
                <c:pt idx="15766">
                  <c:v>44166</c:v>
                </c:pt>
                <c:pt idx="15767">
                  <c:v>44165</c:v>
                </c:pt>
                <c:pt idx="15768">
                  <c:v>44165</c:v>
                </c:pt>
                <c:pt idx="15769">
                  <c:v>44164</c:v>
                </c:pt>
                <c:pt idx="15770">
                  <c:v>44164</c:v>
                </c:pt>
                <c:pt idx="15771">
                  <c:v>44163</c:v>
                </c:pt>
                <c:pt idx="15772">
                  <c:v>44162</c:v>
                </c:pt>
                <c:pt idx="15773">
                  <c:v>44161</c:v>
                </c:pt>
                <c:pt idx="15774">
                  <c:v>44160</c:v>
                </c:pt>
                <c:pt idx="15775">
                  <c:v>44160</c:v>
                </c:pt>
                <c:pt idx="15776">
                  <c:v>44159</c:v>
                </c:pt>
                <c:pt idx="15777">
                  <c:v>44158</c:v>
                </c:pt>
                <c:pt idx="15778">
                  <c:v>44158</c:v>
                </c:pt>
                <c:pt idx="15779">
                  <c:v>44157</c:v>
                </c:pt>
                <c:pt idx="15780">
                  <c:v>44157</c:v>
                </c:pt>
                <c:pt idx="15781">
                  <c:v>44157</c:v>
                </c:pt>
                <c:pt idx="15782">
                  <c:v>44157</c:v>
                </c:pt>
                <c:pt idx="15783">
                  <c:v>44157</c:v>
                </c:pt>
                <c:pt idx="15784">
                  <c:v>44154</c:v>
                </c:pt>
                <c:pt idx="15785">
                  <c:v>44154</c:v>
                </c:pt>
                <c:pt idx="15786">
                  <c:v>44154</c:v>
                </c:pt>
                <c:pt idx="15787">
                  <c:v>44153</c:v>
                </c:pt>
                <c:pt idx="15788">
                  <c:v>44153</c:v>
                </c:pt>
                <c:pt idx="15789">
                  <c:v>44152</c:v>
                </c:pt>
                <c:pt idx="15790">
                  <c:v>44151</c:v>
                </c:pt>
                <c:pt idx="15791">
                  <c:v>44151</c:v>
                </c:pt>
                <c:pt idx="15792">
                  <c:v>44151</c:v>
                </c:pt>
                <c:pt idx="15793">
                  <c:v>44151</c:v>
                </c:pt>
                <c:pt idx="15794">
                  <c:v>44151</c:v>
                </c:pt>
                <c:pt idx="15795">
                  <c:v>44149</c:v>
                </c:pt>
                <c:pt idx="15796">
                  <c:v>44148</c:v>
                </c:pt>
                <c:pt idx="15797">
                  <c:v>44148</c:v>
                </c:pt>
                <c:pt idx="15798">
                  <c:v>44146</c:v>
                </c:pt>
                <c:pt idx="15799">
                  <c:v>44146</c:v>
                </c:pt>
                <c:pt idx="15800">
                  <c:v>44145</c:v>
                </c:pt>
                <c:pt idx="15801">
                  <c:v>44145</c:v>
                </c:pt>
                <c:pt idx="15802">
                  <c:v>44145</c:v>
                </c:pt>
                <c:pt idx="15803">
                  <c:v>44144</c:v>
                </c:pt>
                <c:pt idx="15804">
                  <c:v>44144</c:v>
                </c:pt>
                <c:pt idx="15805">
                  <c:v>44142</c:v>
                </c:pt>
                <c:pt idx="15806">
                  <c:v>44142</c:v>
                </c:pt>
                <c:pt idx="15807">
                  <c:v>44142</c:v>
                </c:pt>
                <c:pt idx="15808">
                  <c:v>44140</c:v>
                </c:pt>
                <c:pt idx="15809">
                  <c:v>44140</c:v>
                </c:pt>
                <c:pt idx="15810">
                  <c:v>44140</c:v>
                </c:pt>
                <c:pt idx="15811">
                  <c:v>44140</c:v>
                </c:pt>
                <c:pt idx="15812">
                  <c:v>44139</c:v>
                </c:pt>
                <c:pt idx="15813">
                  <c:v>44139</c:v>
                </c:pt>
                <c:pt idx="15814">
                  <c:v>44138</c:v>
                </c:pt>
                <c:pt idx="15815">
                  <c:v>44138</c:v>
                </c:pt>
                <c:pt idx="15816">
                  <c:v>44138</c:v>
                </c:pt>
                <c:pt idx="15817">
                  <c:v>44137</c:v>
                </c:pt>
                <c:pt idx="15818">
                  <c:v>44137</c:v>
                </c:pt>
                <c:pt idx="15819">
                  <c:v>44137</c:v>
                </c:pt>
                <c:pt idx="15820">
                  <c:v>44136</c:v>
                </c:pt>
                <c:pt idx="15821">
                  <c:v>44135</c:v>
                </c:pt>
                <c:pt idx="15822">
                  <c:v>44135</c:v>
                </c:pt>
                <c:pt idx="15823">
                  <c:v>44134</c:v>
                </c:pt>
                <c:pt idx="15824">
                  <c:v>44134</c:v>
                </c:pt>
                <c:pt idx="15825">
                  <c:v>44134</c:v>
                </c:pt>
                <c:pt idx="15826">
                  <c:v>44133</c:v>
                </c:pt>
                <c:pt idx="15827">
                  <c:v>44133</c:v>
                </c:pt>
                <c:pt idx="15828">
                  <c:v>44133</c:v>
                </c:pt>
                <c:pt idx="15829">
                  <c:v>44132</c:v>
                </c:pt>
                <c:pt idx="15830">
                  <c:v>44132</c:v>
                </c:pt>
                <c:pt idx="15831">
                  <c:v>44131</c:v>
                </c:pt>
                <c:pt idx="15832">
                  <c:v>44131</c:v>
                </c:pt>
                <c:pt idx="15833">
                  <c:v>44131</c:v>
                </c:pt>
                <c:pt idx="15834">
                  <c:v>44130</c:v>
                </c:pt>
                <c:pt idx="15835">
                  <c:v>44130</c:v>
                </c:pt>
                <c:pt idx="15836">
                  <c:v>44130</c:v>
                </c:pt>
                <c:pt idx="15837">
                  <c:v>44130</c:v>
                </c:pt>
                <c:pt idx="15838">
                  <c:v>44129</c:v>
                </c:pt>
                <c:pt idx="15839">
                  <c:v>44128</c:v>
                </c:pt>
                <c:pt idx="15840">
                  <c:v>44128</c:v>
                </c:pt>
                <c:pt idx="15841">
                  <c:v>44128</c:v>
                </c:pt>
                <c:pt idx="15842">
                  <c:v>44127</c:v>
                </c:pt>
                <c:pt idx="15843">
                  <c:v>44126</c:v>
                </c:pt>
                <c:pt idx="15844">
                  <c:v>44126</c:v>
                </c:pt>
                <c:pt idx="15845">
                  <c:v>44125</c:v>
                </c:pt>
                <c:pt idx="15846">
                  <c:v>44125</c:v>
                </c:pt>
                <c:pt idx="15847">
                  <c:v>44125</c:v>
                </c:pt>
                <c:pt idx="15848">
                  <c:v>44124</c:v>
                </c:pt>
                <c:pt idx="15849">
                  <c:v>44124</c:v>
                </c:pt>
                <c:pt idx="15850">
                  <c:v>44124</c:v>
                </c:pt>
                <c:pt idx="15851">
                  <c:v>44123</c:v>
                </c:pt>
                <c:pt idx="15852">
                  <c:v>44122</c:v>
                </c:pt>
                <c:pt idx="15853">
                  <c:v>44121</c:v>
                </c:pt>
                <c:pt idx="15854">
                  <c:v>44120</c:v>
                </c:pt>
                <c:pt idx="15855">
                  <c:v>44119</c:v>
                </c:pt>
                <c:pt idx="15856">
                  <c:v>44118</c:v>
                </c:pt>
                <c:pt idx="15857">
                  <c:v>44118</c:v>
                </c:pt>
                <c:pt idx="15858">
                  <c:v>44118</c:v>
                </c:pt>
                <c:pt idx="15859">
                  <c:v>44117</c:v>
                </c:pt>
                <c:pt idx="15860">
                  <c:v>44117</c:v>
                </c:pt>
                <c:pt idx="15861">
                  <c:v>44116</c:v>
                </c:pt>
                <c:pt idx="15862">
                  <c:v>44116</c:v>
                </c:pt>
                <c:pt idx="15863">
                  <c:v>44116</c:v>
                </c:pt>
                <c:pt idx="15864">
                  <c:v>44115</c:v>
                </c:pt>
                <c:pt idx="15865">
                  <c:v>44115</c:v>
                </c:pt>
                <c:pt idx="15866">
                  <c:v>44115</c:v>
                </c:pt>
                <c:pt idx="15867">
                  <c:v>44115</c:v>
                </c:pt>
                <c:pt idx="15868">
                  <c:v>44115</c:v>
                </c:pt>
                <c:pt idx="15869">
                  <c:v>44114</c:v>
                </c:pt>
                <c:pt idx="15870">
                  <c:v>44114</c:v>
                </c:pt>
                <c:pt idx="15871">
                  <c:v>44114</c:v>
                </c:pt>
                <c:pt idx="15872">
                  <c:v>44112</c:v>
                </c:pt>
                <c:pt idx="15873">
                  <c:v>44111</c:v>
                </c:pt>
                <c:pt idx="15874">
                  <c:v>44111</c:v>
                </c:pt>
                <c:pt idx="15875">
                  <c:v>44111</c:v>
                </c:pt>
                <c:pt idx="15876">
                  <c:v>44110</c:v>
                </c:pt>
                <c:pt idx="15877">
                  <c:v>44110</c:v>
                </c:pt>
                <c:pt idx="15878">
                  <c:v>44108</c:v>
                </c:pt>
                <c:pt idx="15879">
                  <c:v>44108</c:v>
                </c:pt>
                <c:pt idx="15880">
                  <c:v>44108</c:v>
                </c:pt>
                <c:pt idx="15881">
                  <c:v>44108</c:v>
                </c:pt>
                <c:pt idx="15882">
                  <c:v>44107</c:v>
                </c:pt>
                <c:pt idx="15883">
                  <c:v>44107</c:v>
                </c:pt>
                <c:pt idx="15884">
                  <c:v>44106</c:v>
                </c:pt>
                <c:pt idx="15885">
                  <c:v>44106</c:v>
                </c:pt>
                <c:pt idx="15886">
                  <c:v>44104</c:v>
                </c:pt>
                <c:pt idx="15887">
                  <c:v>44103</c:v>
                </c:pt>
                <c:pt idx="15888">
                  <c:v>44103</c:v>
                </c:pt>
                <c:pt idx="15889">
                  <c:v>44102</c:v>
                </c:pt>
                <c:pt idx="15890">
                  <c:v>44102</c:v>
                </c:pt>
                <c:pt idx="15891">
                  <c:v>44101</c:v>
                </c:pt>
                <c:pt idx="15892">
                  <c:v>44101</c:v>
                </c:pt>
                <c:pt idx="15893">
                  <c:v>44101</c:v>
                </c:pt>
                <c:pt idx="15894">
                  <c:v>44101</c:v>
                </c:pt>
                <c:pt idx="15895">
                  <c:v>44101</c:v>
                </c:pt>
                <c:pt idx="15896">
                  <c:v>44099</c:v>
                </c:pt>
                <c:pt idx="15897">
                  <c:v>44097</c:v>
                </c:pt>
                <c:pt idx="15898">
                  <c:v>44097</c:v>
                </c:pt>
                <c:pt idx="15899">
                  <c:v>44097</c:v>
                </c:pt>
                <c:pt idx="15900">
                  <c:v>44096</c:v>
                </c:pt>
                <c:pt idx="15901">
                  <c:v>44096</c:v>
                </c:pt>
                <c:pt idx="15902">
                  <c:v>44096</c:v>
                </c:pt>
                <c:pt idx="15903">
                  <c:v>44095</c:v>
                </c:pt>
                <c:pt idx="15904">
                  <c:v>44095</c:v>
                </c:pt>
                <c:pt idx="15905">
                  <c:v>44093</c:v>
                </c:pt>
                <c:pt idx="15906">
                  <c:v>44093</c:v>
                </c:pt>
                <c:pt idx="15907">
                  <c:v>44092</c:v>
                </c:pt>
                <c:pt idx="15908">
                  <c:v>44092</c:v>
                </c:pt>
                <c:pt idx="15909">
                  <c:v>44092</c:v>
                </c:pt>
                <c:pt idx="15910">
                  <c:v>44091</c:v>
                </c:pt>
                <c:pt idx="15911">
                  <c:v>44091</c:v>
                </c:pt>
                <c:pt idx="15912">
                  <c:v>44091</c:v>
                </c:pt>
                <c:pt idx="15913">
                  <c:v>44090</c:v>
                </c:pt>
                <c:pt idx="15914">
                  <c:v>44090</c:v>
                </c:pt>
                <c:pt idx="15915">
                  <c:v>44089</c:v>
                </c:pt>
                <c:pt idx="15916">
                  <c:v>44089</c:v>
                </c:pt>
                <c:pt idx="15917">
                  <c:v>44088</c:v>
                </c:pt>
                <c:pt idx="15918">
                  <c:v>44087</c:v>
                </c:pt>
                <c:pt idx="15919">
                  <c:v>44084</c:v>
                </c:pt>
                <c:pt idx="15920">
                  <c:v>44083</c:v>
                </c:pt>
                <c:pt idx="15921">
                  <c:v>44082</c:v>
                </c:pt>
                <c:pt idx="15922">
                  <c:v>44082</c:v>
                </c:pt>
                <c:pt idx="15923">
                  <c:v>44081</c:v>
                </c:pt>
                <c:pt idx="15924">
                  <c:v>44081</c:v>
                </c:pt>
                <c:pt idx="15925">
                  <c:v>44081</c:v>
                </c:pt>
                <c:pt idx="15926">
                  <c:v>44080</c:v>
                </c:pt>
                <c:pt idx="15927">
                  <c:v>44080</c:v>
                </c:pt>
                <c:pt idx="15928">
                  <c:v>44079</c:v>
                </c:pt>
                <c:pt idx="15929">
                  <c:v>44079</c:v>
                </c:pt>
                <c:pt idx="15930">
                  <c:v>44079</c:v>
                </c:pt>
                <c:pt idx="15931">
                  <c:v>44078</c:v>
                </c:pt>
                <c:pt idx="15932">
                  <c:v>44078</c:v>
                </c:pt>
                <c:pt idx="15933">
                  <c:v>44075</c:v>
                </c:pt>
                <c:pt idx="15934">
                  <c:v>44075</c:v>
                </c:pt>
                <c:pt idx="15935">
                  <c:v>44075</c:v>
                </c:pt>
                <c:pt idx="15936">
                  <c:v>44075</c:v>
                </c:pt>
                <c:pt idx="15937">
                  <c:v>44075</c:v>
                </c:pt>
                <c:pt idx="15938">
                  <c:v>44074</c:v>
                </c:pt>
                <c:pt idx="15939">
                  <c:v>44074</c:v>
                </c:pt>
                <c:pt idx="15940">
                  <c:v>44072</c:v>
                </c:pt>
                <c:pt idx="15941">
                  <c:v>44071</c:v>
                </c:pt>
                <c:pt idx="15942">
                  <c:v>44071</c:v>
                </c:pt>
                <c:pt idx="15943">
                  <c:v>44071</c:v>
                </c:pt>
                <c:pt idx="15944">
                  <c:v>44071</c:v>
                </c:pt>
                <c:pt idx="15945">
                  <c:v>44070</c:v>
                </c:pt>
                <c:pt idx="15946">
                  <c:v>44070</c:v>
                </c:pt>
                <c:pt idx="15947">
                  <c:v>44069</c:v>
                </c:pt>
                <c:pt idx="15948">
                  <c:v>44069</c:v>
                </c:pt>
                <c:pt idx="15949">
                  <c:v>44069</c:v>
                </c:pt>
                <c:pt idx="15950">
                  <c:v>44069</c:v>
                </c:pt>
                <c:pt idx="15951">
                  <c:v>44069</c:v>
                </c:pt>
                <c:pt idx="15952">
                  <c:v>44068</c:v>
                </c:pt>
                <c:pt idx="15953">
                  <c:v>44068</c:v>
                </c:pt>
                <c:pt idx="15954">
                  <c:v>44067</c:v>
                </c:pt>
                <c:pt idx="15955">
                  <c:v>44067</c:v>
                </c:pt>
                <c:pt idx="15956">
                  <c:v>44066</c:v>
                </c:pt>
                <c:pt idx="15957">
                  <c:v>44066</c:v>
                </c:pt>
                <c:pt idx="15958">
                  <c:v>44065</c:v>
                </c:pt>
                <c:pt idx="15959">
                  <c:v>44064</c:v>
                </c:pt>
                <c:pt idx="15960">
                  <c:v>44064</c:v>
                </c:pt>
                <c:pt idx="15961">
                  <c:v>44063</c:v>
                </c:pt>
                <c:pt idx="15962">
                  <c:v>44063</c:v>
                </c:pt>
                <c:pt idx="15963">
                  <c:v>44063</c:v>
                </c:pt>
                <c:pt idx="15964">
                  <c:v>44061</c:v>
                </c:pt>
                <c:pt idx="15965">
                  <c:v>44061</c:v>
                </c:pt>
                <c:pt idx="15966">
                  <c:v>44060</c:v>
                </c:pt>
                <c:pt idx="15967">
                  <c:v>44060</c:v>
                </c:pt>
                <c:pt idx="15968">
                  <c:v>44060</c:v>
                </c:pt>
                <c:pt idx="15969">
                  <c:v>44059</c:v>
                </c:pt>
                <c:pt idx="15970">
                  <c:v>44058</c:v>
                </c:pt>
                <c:pt idx="15971">
                  <c:v>44058</c:v>
                </c:pt>
                <c:pt idx="15972">
                  <c:v>44057</c:v>
                </c:pt>
                <c:pt idx="15973">
                  <c:v>44057</c:v>
                </c:pt>
                <c:pt idx="15974">
                  <c:v>44056</c:v>
                </c:pt>
                <c:pt idx="15975">
                  <c:v>44056</c:v>
                </c:pt>
                <c:pt idx="15976">
                  <c:v>44056</c:v>
                </c:pt>
                <c:pt idx="15977">
                  <c:v>44056</c:v>
                </c:pt>
                <c:pt idx="15978">
                  <c:v>44055</c:v>
                </c:pt>
                <c:pt idx="15979">
                  <c:v>44054</c:v>
                </c:pt>
                <c:pt idx="15980">
                  <c:v>44054</c:v>
                </c:pt>
                <c:pt idx="15981">
                  <c:v>44053</c:v>
                </c:pt>
                <c:pt idx="15982">
                  <c:v>44053</c:v>
                </c:pt>
                <c:pt idx="15983">
                  <c:v>44053</c:v>
                </c:pt>
                <c:pt idx="15984">
                  <c:v>44053</c:v>
                </c:pt>
                <c:pt idx="15985">
                  <c:v>44052</c:v>
                </c:pt>
                <c:pt idx="15986">
                  <c:v>44052</c:v>
                </c:pt>
                <c:pt idx="15987">
                  <c:v>44052</c:v>
                </c:pt>
                <c:pt idx="15988">
                  <c:v>44051</c:v>
                </c:pt>
                <c:pt idx="15989">
                  <c:v>44051</c:v>
                </c:pt>
                <c:pt idx="15990">
                  <c:v>44051</c:v>
                </c:pt>
                <c:pt idx="15991">
                  <c:v>44050</c:v>
                </c:pt>
                <c:pt idx="15992">
                  <c:v>44050</c:v>
                </c:pt>
                <c:pt idx="15993">
                  <c:v>44049</c:v>
                </c:pt>
                <c:pt idx="15994">
                  <c:v>44049</c:v>
                </c:pt>
                <c:pt idx="15995">
                  <c:v>44049</c:v>
                </c:pt>
                <c:pt idx="15996">
                  <c:v>44048</c:v>
                </c:pt>
                <c:pt idx="15997">
                  <c:v>44048</c:v>
                </c:pt>
                <c:pt idx="15998">
                  <c:v>44048</c:v>
                </c:pt>
                <c:pt idx="15999">
                  <c:v>44048</c:v>
                </c:pt>
                <c:pt idx="16000">
                  <c:v>44047</c:v>
                </c:pt>
                <c:pt idx="16001">
                  <c:v>44047</c:v>
                </c:pt>
                <c:pt idx="16002">
                  <c:v>44046</c:v>
                </c:pt>
                <c:pt idx="16003">
                  <c:v>44046</c:v>
                </c:pt>
                <c:pt idx="16004">
                  <c:v>44046</c:v>
                </c:pt>
                <c:pt idx="16005">
                  <c:v>44045</c:v>
                </c:pt>
                <c:pt idx="16006">
                  <c:v>44045</c:v>
                </c:pt>
                <c:pt idx="16007">
                  <c:v>44045</c:v>
                </c:pt>
                <c:pt idx="16008">
                  <c:v>44044</c:v>
                </c:pt>
                <c:pt idx="16009">
                  <c:v>44044</c:v>
                </c:pt>
                <c:pt idx="16010">
                  <c:v>44044</c:v>
                </c:pt>
                <c:pt idx="16011">
                  <c:v>44043</c:v>
                </c:pt>
                <c:pt idx="16012">
                  <c:v>44043</c:v>
                </c:pt>
                <c:pt idx="16013">
                  <c:v>44042</c:v>
                </c:pt>
                <c:pt idx="16014">
                  <c:v>44042</c:v>
                </c:pt>
                <c:pt idx="16015">
                  <c:v>44041</c:v>
                </c:pt>
                <c:pt idx="16016">
                  <c:v>44040</c:v>
                </c:pt>
                <c:pt idx="16017">
                  <c:v>44039</c:v>
                </c:pt>
                <c:pt idx="16018">
                  <c:v>44038</c:v>
                </c:pt>
                <c:pt idx="16019">
                  <c:v>44037</c:v>
                </c:pt>
                <c:pt idx="16020">
                  <c:v>44037</c:v>
                </c:pt>
                <c:pt idx="16021">
                  <c:v>44037</c:v>
                </c:pt>
                <c:pt idx="16022">
                  <c:v>44037</c:v>
                </c:pt>
                <c:pt idx="16023">
                  <c:v>44036</c:v>
                </c:pt>
                <c:pt idx="16024">
                  <c:v>44036</c:v>
                </c:pt>
                <c:pt idx="16025">
                  <c:v>44036</c:v>
                </c:pt>
                <c:pt idx="16026">
                  <c:v>44036</c:v>
                </c:pt>
                <c:pt idx="16027">
                  <c:v>44035</c:v>
                </c:pt>
                <c:pt idx="16028">
                  <c:v>44035</c:v>
                </c:pt>
                <c:pt idx="16029">
                  <c:v>44035</c:v>
                </c:pt>
                <c:pt idx="16030">
                  <c:v>44034</c:v>
                </c:pt>
                <c:pt idx="16031">
                  <c:v>44034</c:v>
                </c:pt>
                <c:pt idx="16032">
                  <c:v>44034</c:v>
                </c:pt>
                <c:pt idx="16033">
                  <c:v>44034</c:v>
                </c:pt>
                <c:pt idx="16034">
                  <c:v>44033</c:v>
                </c:pt>
                <c:pt idx="16035">
                  <c:v>44032</c:v>
                </c:pt>
                <c:pt idx="16036">
                  <c:v>44032</c:v>
                </c:pt>
                <c:pt idx="16037">
                  <c:v>44031</c:v>
                </c:pt>
                <c:pt idx="16038">
                  <c:v>44031</c:v>
                </c:pt>
                <c:pt idx="16039">
                  <c:v>44030</c:v>
                </c:pt>
                <c:pt idx="16040">
                  <c:v>44029</c:v>
                </c:pt>
                <c:pt idx="16041">
                  <c:v>44029</c:v>
                </c:pt>
                <c:pt idx="16042">
                  <c:v>44028</c:v>
                </c:pt>
                <c:pt idx="16043">
                  <c:v>44028</c:v>
                </c:pt>
                <c:pt idx="16044">
                  <c:v>44028</c:v>
                </c:pt>
                <c:pt idx="16045">
                  <c:v>44028</c:v>
                </c:pt>
                <c:pt idx="16046">
                  <c:v>44028</c:v>
                </c:pt>
                <c:pt idx="16047">
                  <c:v>44027</c:v>
                </c:pt>
                <c:pt idx="16048">
                  <c:v>44027</c:v>
                </c:pt>
                <c:pt idx="16049">
                  <c:v>44027</c:v>
                </c:pt>
                <c:pt idx="16050">
                  <c:v>44026</c:v>
                </c:pt>
                <c:pt idx="16051">
                  <c:v>44026</c:v>
                </c:pt>
                <c:pt idx="16052">
                  <c:v>44024</c:v>
                </c:pt>
                <c:pt idx="16053">
                  <c:v>44024</c:v>
                </c:pt>
                <c:pt idx="16054">
                  <c:v>44023</c:v>
                </c:pt>
                <c:pt idx="16055">
                  <c:v>44023</c:v>
                </c:pt>
                <c:pt idx="16056">
                  <c:v>44023</c:v>
                </c:pt>
                <c:pt idx="16057">
                  <c:v>44021</c:v>
                </c:pt>
                <c:pt idx="16058">
                  <c:v>44021</c:v>
                </c:pt>
                <c:pt idx="16059">
                  <c:v>44021</c:v>
                </c:pt>
                <c:pt idx="16060">
                  <c:v>44021</c:v>
                </c:pt>
                <c:pt idx="16061">
                  <c:v>44021</c:v>
                </c:pt>
                <c:pt idx="16062">
                  <c:v>44020</c:v>
                </c:pt>
                <c:pt idx="16063">
                  <c:v>44020</c:v>
                </c:pt>
                <c:pt idx="16064">
                  <c:v>44019</c:v>
                </c:pt>
                <c:pt idx="16065">
                  <c:v>44019</c:v>
                </c:pt>
                <c:pt idx="16066">
                  <c:v>44019</c:v>
                </c:pt>
                <c:pt idx="16067">
                  <c:v>44018</c:v>
                </c:pt>
                <c:pt idx="16068">
                  <c:v>44016</c:v>
                </c:pt>
                <c:pt idx="16069">
                  <c:v>44016</c:v>
                </c:pt>
                <c:pt idx="16070">
                  <c:v>44015</c:v>
                </c:pt>
                <c:pt idx="16071">
                  <c:v>44015</c:v>
                </c:pt>
                <c:pt idx="16072">
                  <c:v>44015</c:v>
                </c:pt>
                <c:pt idx="16073">
                  <c:v>44015</c:v>
                </c:pt>
                <c:pt idx="16074">
                  <c:v>44014</c:v>
                </c:pt>
                <c:pt idx="16075">
                  <c:v>44014</c:v>
                </c:pt>
                <c:pt idx="16076">
                  <c:v>44014</c:v>
                </c:pt>
                <c:pt idx="16077">
                  <c:v>44013</c:v>
                </c:pt>
                <c:pt idx="16078">
                  <c:v>44013</c:v>
                </c:pt>
                <c:pt idx="16079">
                  <c:v>44011</c:v>
                </c:pt>
                <c:pt idx="16080">
                  <c:v>44011</c:v>
                </c:pt>
                <c:pt idx="16081">
                  <c:v>44010</c:v>
                </c:pt>
                <c:pt idx="16082">
                  <c:v>44010</c:v>
                </c:pt>
                <c:pt idx="16083">
                  <c:v>44009</c:v>
                </c:pt>
                <c:pt idx="16084">
                  <c:v>44009</c:v>
                </c:pt>
                <c:pt idx="16085">
                  <c:v>44008</c:v>
                </c:pt>
                <c:pt idx="16086">
                  <c:v>44007</c:v>
                </c:pt>
                <c:pt idx="16087">
                  <c:v>44007</c:v>
                </c:pt>
                <c:pt idx="16088">
                  <c:v>44005</c:v>
                </c:pt>
                <c:pt idx="16089">
                  <c:v>44004</c:v>
                </c:pt>
                <c:pt idx="16090">
                  <c:v>44004</c:v>
                </c:pt>
                <c:pt idx="16091">
                  <c:v>44004</c:v>
                </c:pt>
                <c:pt idx="16092">
                  <c:v>44004</c:v>
                </c:pt>
                <c:pt idx="16093">
                  <c:v>44004</c:v>
                </c:pt>
                <c:pt idx="16094">
                  <c:v>44003</c:v>
                </c:pt>
                <c:pt idx="16095">
                  <c:v>44003</c:v>
                </c:pt>
                <c:pt idx="16096">
                  <c:v>44003</c:v>
                </c:pt>
                <c:pt idx="16097">
                  <c:v>44002</c:v>
                </c:pt>
                <c:pt idx="16098">
                  <c:v>44001</c:v>
                </c:pt>
                <c:pt idx="16099">
                  <c:v>44001</c:v>
                </c:pt>
                <c:pt idx="16100">
                  <c:v>44000</c:v>
                </c:pt>
                <c:pt idx="16101">
                  <c:v>44000</c:v>
                </c:pt>
                <c:pt idx="16102">
                  <c:v>44000</c:v>
                </c:pt>
                <c:pt idx="16103">
                  <c:v>43999</c:v>
                </c:pt>
                <c:pt idx="16104">
                  <c:v>43999</c:v>
                </c:pt>
                <c:pt idx="16105">
                  <c:v>43998</c:v>
                </c:pt>
                <c:pt idx="16106">
                  <c:v>43997</c:v>
                </c:pt>
                <c:pt idx="16107">
                  <c:v>43997</c:v>
                </c:pt>
                <c:pt idx="16108">
                  <c:v>43996</c:v>
                </c:pt>
                <c:pt idx="16109">
                  <c:v>43995</c:v>
                </c:pt>
                <c:pt idx="16110">
                  <c:v>43995</c:v>
                </c:pt>
                <c:pt idx="16111">
                  <c:v>43994</c:v>
                </c:pt>
                <c:pt idx="16112">
                  <c:v>43994</c:v>
                </c:pt>
                <c:pt idx="16113">
                  <c:v>43993</c:v>
                </c:pt>
                <c:pt idx="16114">
                  <c:v>43993</c:v>
                </c:pt>
                <c:pt idx="16115">
                  <c:v>43992</c:v>
                </c:pt>
                <c:pt idx="16116">
                  <c:v>43992</c:v>
                </c:pt>
                <c:pt idx="16117">
                  <c:v>43989</c:v>
                </c:pt>
                <c:pt idx="16118">
                  <c:v>43989</c:v>
                </c:pt>
                <c:pt idx="16119">
                  <c:v>43989</c:v>
                </c:pt>
                <c:pt idx="16120">
                  <c:v>43988</c:v>
                </c:pt>
                <c:pt idx="16121">
                  <c:v>43987</c:v>
                </c:pt>
                <c:pt idx="16122">
                  <c:v>43987</c:v>
                </c:pt>
                <c:pt idx="16123">
                  <c:v>43986</c:v>
                </c:pt>
                <c:pt idx="16124">
                  <c:v>43986</c:v>
                </c:pt>
                <c:pt idx="16125">
                  <c:v>43985</c:v>
                </c:pt>
                <c:pt idx="16126">
                  <c:v>43985</c:v>
                </c:pt>
                <c:pt idx="16127">
                  <c:v>43984</c:v>
                </c:pt>
                <c:pt idx="16128">
                  <c:v>43983</c:v>
                </c:pt>
                <c:pt idx="16129">
                  <c:v>43983</c:v>
                </c:pt>
                <c:pt idx="16130">
                  <c:v>43982</c:v>
                </c:pt>
                <c:pt idx="16131">
                  <c:v>43981</c:v>
                </c:pt>
                <c:pt idx="16132">
                  <c:v>43981</c:v>
                </c:pt>
                <c:pt idx="16133">
                  <c:v>43981</c:v>
                </c:pt>
                <c:pt idx="16134">
                  <c:v>43980</c:v>
                </c:pt>
                <c:pt idx="16135">
                  <c:v>43980</c:v>
                </c:pt>
                <c:pt idx="16136">
                  <c:v>43980</c:v>
                </c:pt>
                <c:pt idx="16137">
                  <c:v>43979</c:v>
                </c:pt>
                <c:pt idx="16138">
                  <c:v>43978</c:v>
                </c:pt>
                <c:pt idx="16139">
                  <c:v>43978</c:v>
                </c:pt>
                <c:pt idx="16140">
                  <c:v>43977</c:v>
                </c:pt>
                <c:pt idx="16141">
                  <c:v>43977</c:v>
                </c:pt>
                <c:pt idx="16142">
                  <c:v>43977</c:v>
                </c:pt>
                <c:pt idx="16143">
                  <c:v>43976</c:v>
                </c:pt>
                <c:pt idx="16144">
                  <c:v>43974</c:v>
                </c:pt>
                <c:pt idx="16145">
                  <c:v>43974</c:v>
                </c:pt>
                <c:pt idx="16146">
                  <c:v>43974</c:v>
                </c:pt>
                <c:pt idx="16147">
                  <c:v>43973</c:v>
                </c:pt>
                <c:pt idx="16148">
                  <c:v>43973</c:v>
                </c:pt>
                <c:pt idx="16149">
                  <c:v>43973</c:v>
                </c:pt>
                <c:pt idx="16150">
                  <c:v>43973</c:v>
                </c:pt>
                <c:pt idx="16151">
                  <c:v>43971</c:v>
                </c:pt>
                <c:pt idx="16152">
                  <c:v>43971</c:v>
                </c:pt>
                <c:pt idx="16153">
                  <c:v>43971</c:v>
                </c:pt>
                <c:pt idx="16154">
                  <c:v>43971</c:v>
                </c:pt>
                <c:pt idx="16155">
                  <c:v>43970</c:v>
                </c:pt>
                <c:pt idx="16156">
                  <c:v>43970</c:v>
                </c:pt>
                <c:pt idx="16157">
                  <c:v>43969</c:v>
                </c:pt>
                <c:pt idx="16158">
                  <c:v>43968</c:v>
                </c:pt>
                <c:pt idx="16159">
                  <c:v>43967</c:v>
                </c:pt>
                <c:pt idx="16160">
                  <c:v>43967</c:v>
                </c:pt>
                <c:pt idx="16161">
                  <c:v>43967</c:v>
                </c:pt>
                <c:pt idx="16162">
                  <c:v>43967</c:v>
                </c:pt>
                <c:pt idx="16163">
                  <c:v>43966</c:v>
                </c:pt>
                <c:pt idx="16164">
                  <c:v>43966</c:v>
                </c:pt>
                <c:pt idx="16165">
                  <c:v>43966</c:v>
                </c:pt>
                <c:pt idx="16166">
                  <c:v>43965</c:v>
                </c:pt>
                <c:pt idx="16167">
                  <c:v>43965</c:v>
                </c:pt>
                <c:pt idx="16168">
                  <c:v>43964</c:v>
                </c:pt>
                <c:pt idx="16169">
                  <c:v>43963</c:v>
                </c:pt>
                <c:pt idx="16170">
                  <c:v>43963</c:v>
                </c:pt>
                <c:pt idx="16171">
                  <c:v>43963</c:v>
                </c:pt>
                <c:pt idx="16172">
                  <c:v>43963</c:v>
                </c:pt>
                <c:pt idx="16173">
                  <c:v>43962</c:v>
                </c:pt>
                <c:pt idx="16174">
                  <c:v>43961</c:v>
                </c:pt>
                <c:pt idx="16175">
                  <c:v>43961</c:v>
                </c:pt>
                <c:pt idx="16176">
                  <c:v>43960</c:v>
                </c:pt>
                <c:pt idx="16177">
                  <c:v>43959</c:v>
                </c:pt>
                <c:pt idx="16178">
                  <c:v>43959</c:v>
                </c:pt>
                <c:pt idx="16179">
                  <c:v>43959</c:v>
                </c:pt>
                <c:pt idx="16180">
                  <c:v>43958</c:v>
                </c:pt>
                <c:pt idx="16181">
                  <c:v>43958</c:v>
                </c:pt>
                <c:pt idx="16182">
                  <c:v>43957</c:v>
                </c:pt>
                <c:pt idx="16183">
                  <c:v>43957</c:v>
                </c:pt>
                <c:pt idx="16184">
                  <c:v>43957</c:v>
                </c:pt>
                <c:pt idx="16185">
                  <c:v>43957</c:v>
                </c:pt>
                <c:pt idx="16186">
                  <c:v>43956</c:v>
                </c:pt>
                <c:pt idx="16187">
                  <c:v>43956</c:v>
                </c:pt>
                <c:pt idx="16188">
                  <c:v>43956</c:v>
                </c:pt>
                <c:pt idx="16189">
                  <c:v>43954</c:v>
                </c:pt>
                <c:pt idx="16190">
                  <c:v>43953</c:v>
                </c:pt>
                <c:pt idx="16191">
                  <c:v>43953</c:v>
                </c:pt>
                <c:pt idx="16192">
                  <c:v>43952</c:v>
                </c:pt>
                <c:pt idx="16193">
                  <c:v>43952</c:v>
                </c:pt>
                <c:pt idx="16194">
                  <c:v>43952</c:v>
                </c:pt>
                <c:pt idx="16195">
                  <c:v>43951</c:v>
                </c:pt>
                <c:pt idx="16196">
                  <c:v>43951</c:v>
                </c:pt>
                <c:pt idx="16197">
                  <c:v>43951</c:v>
                </c:pt>
                <c:pt idx="16198">
                  <c:v>43951</c:v>
                </c:pt>
                <c:pt idx="16199">
                  <c:v>43951</c:v>
                </c:pt>
                <c:pt idx="16200">
                  <c:v>43950</c:v>
                </c:pt>
                <c:pt idx="16201">
                  <c:v>43950</c:v>
                </c:pt>
                <c:pt idx="16202">
                  <c:v>43950</c:v>
                </c:pt>
                <c:pt idx="16203">
                  <c:v>43949</c:v>
                </c:pt>
                <c:pt idx="16204">
                  <c:v>43948</c:v>
                </c:pt>
                <c:pt idx="16205">
                  <c:v>43948</c:v>
                </c:pt>
                <c:pt idx="16206">
                  <c:v>43947</c:v>
                </c:pt>
                <c:pt idx="16207">
                  <c:v>43947</c:v>
                </c:pt>
                <c:pt idx="16208">
                  <c:v>43946</c:v>
                </c:pt>
                <c:pt idx="16209">
                  <c:v>43946</c:v>
                </c:pt>
                <c:pt idx="16210">
                  <c:v>43945</c:v>
                </c:pt>
                <c:pt idx="16211">
                  <c:v>43944</c:v>
                </c:pt>
                <c:pt idx="16212">
                  <c:v>43944</c:v>
                </c:pt>
                <c:pt idx="16213">
                  <c:v>43943</c:v>
                </c:pt>
                <c:pt idx="16214">
                  <c:v>43943</c:v>
                </c:pt>
                <c:pt idx="16215">
                  <c:v>43943</c:v>
                </c:pt>
                <c:pt idx="16216">
                  <c:v>43942</c:v>
                </c:pt>
                <c:pt idx="16217">
                  <c:v>43941</c:v>
                </c:pt>
                <c:pt idx="16218">
                  <c:v>43941</c:v>
                </c:pt>
                <c:pt idx="16219">
                  <c:v>43941</c:v>
                </c:pt>
                <c:pt idx="16220">
                  <c:v>43940</c:v>
                </c:pt>
                <c:pt idx="16221">
                  <c:v>43940</c:v>
                </c:pt>
                <c:pt idx="16222">
                  <c:v>43940</c:v>
                </c:pt>
                <c:pt idx="16223">
                  <c:v>43939</c:v>
                </c:pt>
                <c:pt idx="16224">
                  <c:v>43938</c:v>
                </c:pt>
                <c:pt idx="16225">
                  <c:v>43938</c:v>
                </c:pt>
                <c:pt idx="16226">
                  <c:v>43936</c:v>
                </c:pt>
                <c:pt idx="16227">
                  <c:v>43935</c:v>
                </c:pt>
                <c:pt idx="16228">
                  <c:v>43935</c:v>
                </c:pt>
                <c:pt idx="16229">
                  <c:v>43935</c:v>
                </c:pt>
                <c:pt idx="16230">
                  <c:v>43935</c:v>
                </c:pt>
                <c:pt idx="16231">
                  <c:v>43934</c:v>
                </c:pt>
                <c:pt idx="16232">
                  <c:v>43933</c:v>
                </c:pt>
                <c:pt idx="16233">
                  <c:v>43932</c:v>
                </c:pt>
                <c:pt idx="16234">
                  <c:v>43932</c:v>
                </c:pt>
                <c:pt idx="16235">
                  <c:v>43932</c:v>
                </c:pt>
                <c:pt idx="16236">
                  <c:v>43931</c:v>
                </c:pt>
                <c:pt idx="16237">
                  <c:v>43930</c:v>
                </c:pt>
                <c:pt idx="16238">
                  <c:v>43930</c:v>
                </c:pt>
                <c:pt idx="16239">
                  <c:v>43930</c:v>
                </c:pt>
                <c:pt idx="16240">
                  <c:v>43930</c:v>
                </c:pt>
                <c:pt idx="16241">
                  <c:v>43929</c:v>
                </c:pt>
                <c:pt idx="16242">
                  <c:v>43929</c:v>
                </c:pt>
                <c:pt idx="16243">
                  <c:v>43929</c:v>
                </c:pt>
                <c:pt idx="16244">
                  <c:v>43929</c:v>
                </c:pt>
                <c:pt idx="16245">
                  <c:v>43928</c:v>
                </c:pt>
                <c:pt idx="16246">
                  <c:v>43928</c:v>
                </c:pt>
                <c:pt idx="16247">
                  <c:v>43927</c:v>
                </c:pt>
                <c:pt idx="16248">
                  <c:v>43927</c:v>
                </c:pt>
                <c:pt idx="16249">
                  <c:v>43926</c:v>
                </c:pt>
                <c:pt idx="16250">
                  <c:v>43926</c:v>
                </c:pt>
                <c:pt idx="16251">
                  <c:v>43925</c:v>
                </c:pt>
                <c:pt idx="16252">
                  <c:v>43925</c:v>
                </c:pt>
                <c:pt idx="16253">
                  <c:v>43924</c:v>
                </c:pt>
                <c:pt idx="16254">
                  <c:v>43923</c:v>
                </c:pt>
                <c:pt idx="16255">
                  <c:v>43923</c:v>
                </c:pt>
                <c:pt idx="16256">
                  <c:v>43922</c:v>
                </c:pt>
                <c:pt idx="16257">
                  <c:v>43922</c:v>
                </c:pt>
                <c:pt idx="16258">
                  <c:v>43921</c:v>
                </c:pt>
                <c:pt idx="16259">
                  <c:v>43921</c:v>
                </c:pt>
                <c:pt idx="16260">
                  <c:v>43920</c:v>
                </c:pt>
                <c:pt idx="16261">
                  <c:v>43920</c:v>
                </c:pt>
                <c:pt idx="16262">
                  <c:v>43919</c:v>
                </c:pt>
                <c:pt idx="16263">
                  <c:v>43919</c:v>
                </c:pt>
                <c:pt idx="16264">
                  <c:v>43918</c:v>
                </c:pt>
                <c:pt idx="16265">
                  <c:v>43917</c:v>
                </c:pt>
                <c:pt idx="16266">
                  <c:v>43916</c:v>
                </c:pt>
                <c:pt idx="16267">
                  <c:v>43916</c:v>
                </c:pt>
                <c:pt idx="16268">
                  <c:v>43916</c:v>
                </c:pt>
                <c:pt idx="16269">
                  <c:v>43916</c:v>
                </c:pt>
                <c:pt idx="16270">
                  <c:v>43916</c:v>
                </c:pt>
                <c:pt idx="16271">
                  <c:v>43916</c:v>
                </c:pt>
                <c:pt idx="16272">
                  <c:v>43915</c:v>
                </c:pt>
                <c:pt idx="16273">
                  <c:v>43915</c:v>
                </c:pt>
                <c:pt idx="16274">
                  <c:v>43915</c:v>
                </c:pt>
                <c:pt idx="16275">
                  <c:v>43915</c:v>
                </c:pt>
                <c:pt idx="16276">
                  <c:v>43915</c:v>
                </c:pt>
                <c:pt idx="16277">
                  <c:v>43914</c:v>
                </c:pt>
                <c:pt idx="16278">
                  <c:v>43913</c:v>
                </c:pt>
                <c:pt idx="16279">
                  <c:v>43912</c:v>
                </c:pt>
                <c:pt idx="16280">
                  <c:v>43911</c:v>
                </c:pt>
                <c:pt idx="16281">
                  <c:v>43911</c:v>
                </c:pt>
                <c:pt idx="16282">
                  <c:v>43911</c:v>
                </c:pt>
                <c:pt idx="16283">
                  <c:v>43911</c:v>
                </c:pt>
                <c:pt idx="16284">
                  <c:v>43910</c:v>
                </c:pt>
                <c:pt idx="16285">
                  <c:v>43910</c:v>
                </c:pt>
                <c:pt idx="16286">
                  <c:v>43910</c:v>
                </c:pt>
                <c:pt idx="16287">
                  <c:v>43910</c:v>
                </c:pt>
                <c:pt idx="16288">
                  <c:v>43910</c:v>
                </c:pt>
                <c:pt idx="16289">
                  <c:v>43909</c:v>
                </c:pt>
                <c:pt idx="16290">
                  <c:v>43908</c:v>
                </c:pt>
                <c:pt idx="16291">
                  <c:v>43908</c:v>
                </c:pt>
                <c:pt idx="16292">
                  <c:v>43907</c:v>
                </c:pt>
                <c:pt idx="16293">
                  <c:v>43907</c:v>
                </c:pt>
                <c:pt idx="16294">
                  <c:v>43906</c:v>
                </c:pt>
                <c:pt idx="16295">
                  <c:v>43906</c:v>
                </c:pt>
                <c:pt idx="16296">
                  <c:v>43904</c:v>
                </c:pt>
                <c:pt idx="16297">
                  <c:v>43903</c:v>
                </c:pt>
                <c:pt idx="16298">
                  <c:v>43902</c:v>
                </c:pt>
                <c:pt idx="16299">
                  <c:v>43901</c:v>
                </c:pt>
                <c:pt idx="16300">
                  <c:v>43901</c:v>
                </c:pt>
                <c:pt idx="16301">
                  <c:v>43899</c:v>
                </c:pt>
                <c:pt idx="16302">
                  <c:v>43899</c:v>
                </c:pt>
                <c:pt idx="16303">
                  <c:v>43899</c:v>
                </c:pt>
                <c:pt idx="16304">
                  <c:v>43899</c:v>
                </c:pt>
                <c:pt idx="16305">
                  <c:v>43899</c:v>
                </c:pt>
                <c:pt idx="16306">
                  <c:v>43898</c:v>
                </c:pt>
                <c:pt idx="16307">
                  <c:v>43898</c:v>
                </c:pt>
                <c:pt idx="16308">
                  <c:v>43898</c:v>
                </c:pt>
                <c:pt idx="16309">
                  <c:v>43897</c:v>
                </c:pt>
                <c:pt idx="16310">
                  <c:v>43897</c:v>
                </c:pt>
                <c:pt idx="16311">
                  <c:v>43896</c:v>
                </c:pt>
                <c:pt idx="16312">
                  <c:v>43896</c:v>
                </c:pt>
                <c:pt idx="16313">
                  <c:v>43896</c:v>
                </c:pt>
                <c:pt idx="16314">
                  <c:v>43896</c:v>
                </c:pt>
                <c:pt idx="16315">
                  <c:v>43896</c:v>
                </c:pt>
                <c:pt idx="16316">
                  <c:v>43896</c:v>
                </c:pt>
                <c:pt idx="16317">
                  <c:v>43895</c:v>
                </c:pt>
                <c:pt idx="16318">
                  <c:v>43895</c:v>
                </c:pt>
                <c:pt idx="16319">
                  <c:v>43895</c:v>
                </c:pt>
                <c:pt idx="16320">
                  <c:v>43894</c:v>
                </c:pt>
                <c:pt idx="16321">
                  <c:v>43894</c:v>
                </c:pt>
                <c:pt idx="16322">
                  <c:v>43891</c:v>
                </c:pt>
                <c:pt idx="16323">
                  <c:v>43890</c:v>
                </c:pt>
                <c:pt idx="16324">
                  <c:v>43890</c:v>
                </c:pt>
                <c:pt idx="16325">
                  <c:v>43889</c:v>
                </c:pt>
                <c:pt idx="16326">
                  <c:v>43889</c:v>
                </c:pt>
                <c:pt idx="16327">
                  <c:v>43889</c:v>
                </c:pt>
                <c:pt idx="16328">
                  <c:v>43888</c:v>
                </c:pt>
                <c:pt idx="16329">
                  <c:v>43888</c:v>
                </c:pt>
                <c:pt idx="16330">
                  <c:v>43888</c:v>
                </c:pt>
                <c:pt idx="16331">
                  <c:v>43887</c:v>
                </c:pt>
                <c:pt idx="16332">
                  <c:v>43886</c:v>
                </c:pt>
                <c:pt idx="16333">
                  <c:v>43886</c:v>
                </c:pt>
                <c:pt idx="16334">
                  <c:v>43885</c:v>
                </c:pt>
                <c:pt idx="16335">
                  <c:v>43885</c:v>
                </c:pt>
                <c:pt idx="16336">
                  <c:v>43885</c:v>
                </c:pt>
                <c:pt idx="16337">
                  <c:v>43885</c:v>
                </c:pt>
                <c:pt idx="16338">
                  <c:v>43884</c:v>
                </c:pt>
                <c:pt idx="16339">
                  <c:v>43883</c:v>
                </c:pt>
                <c:pt idx="16340">
                  <c:v>43883</c:v>
                </c:pt>
                <c:pt idx="16341">
                  <c:v>43882</c:v>
                </c:pt>
                <c:pt idx="16342">
                  <c:v>43882</c:v>
                </c:pt>
                <c:pt idx="16343">
                  <c:v>43882</c:v>
                </c:pt>
                <c:pt idx="16344">
                  <c:v>43881</c:v>
                </c:pt>
                <c:pt idx="16345">
                  <c:v>43881</c:v>
                </c:pt>
                <c:pt idx="16346">
                  <c:v>43880</c:v>
                </c:pt>
                <c:pt idx="16347">
                  <c:v>43880</c:v>
                </c:pt>
                <c:pt idx="16348">
                  <c:v>43879</c:v>
                </c:pt>
                <c:pt idx="16349">
                  <c:v>43878</c:v>
                </c:pt>
                <c:pt idx="16350">
                  <c:v>43878</c:v>
                </c:pt>
                <c:pt idx="16351">
                  <c:v>43877</c:v>
                </c:pt>
                <c:pt idx="16352">
                  <c:v>43877</c:v>
                </c:pt>
                <c:pt idx="16353">
                  <c:v>43877</c:v>
                </c:pt>
                <c:pt idx="16354">
                  <c:v>43876</c:v>
                </c:pt>
                <c:pt idx="16355">
                  <c:v>43876</c:v>
                </c:pt>
                <c:pt idx="16356">
                  <c:v>43876</c:v>
                </c:pt>
                <c:pt idx="16357">
                  <c:v>43875</c:v>
                </c:pt>
                <c:pt idx="16358">
                  <c:v>43875</c:v>
                </c:pt>
                <c:pt idx="16359">
                  <c:v>43870</c:v>
                </c:pt>
                <c:pt idx="16360">
                  <c:v>43870</c:v>
                </c:pt>
                <c:pt idx="16361">
                  <c:v>43870</c:v>
                </c:pt>
                <c:pt idx="16362">
                  <c:v>43870</c:v>
                </c:pt>
                <c:pt idx="16363">
                  <c:v>43870</c:v>
                </c:pt>
                <c:pt idx="16364">
                  <c:v>43870</c:v>
                </c:pt>
                <c:pt idx="16365">
                  <c:v>43869</c:v>
                </c:pt>
                <c:pt idx="16366">
                  <c:v>43868</c:v>
                </c:pt>
                <c:pt idx="16367">
                  <c:v>43867</c:v>
                </c:pt>
                <c:pt idx="16368">
                  <c:v>43867</c:v>
                </c:pt>
                <c:pt idx="16369">
                  <c:v>43867</c:v>
                </c:pt>
                <c:pt idx="16370">
                  <c:v>43867</c:v>
                </c:pt>
                <c:pt idx="16371">
                  <c:v>43866</c:v>
                </c:pt>
                <c:pt idx="16372">
                  <c:v>43865</c:v>
                </c:pt>
                <c:pt idx="16373">
                  <c:v>43865</c:v>
                </c:pt>
                <c:pt idx="16374">
                  <c:v>43863</c:v>
                </c:pt>
                <c:pt idx="16375">
                  <c:v>43863</c:v>
                </c:pt>
                <c:pt idx="16376">
                  <c:v>43863</c:v>
                </c:pt>
                <c:pt idx="16377">
                  <c:v>43863</c:v>
                </c:pt>
                <c:pt idx="16378">
                  <c:v>43863</c:v>
                </c:pt>
                <c:pt idx="16379">
                  <c:v>43862</c:v>
                </c:pt>
                <c:pt idx="16380">
                  <c:v>43862</c:v>
                </c:pt>
                <c:pt idx="16381">
                  <c:v>43861</c:v>
                </c:pt>
                <c:pt idx="16382">
                  <c:v>43861</c:v>
                </c:pt>
                <c:pt idx="16383">
                  <c:v>43860</c:v>
                </c:pt>
                <c:pt idx="16384">
                  <c:v>43860</c:v>
                </c:pt>
                <c:pt idx="16385">
                  <c:v>43859</c:v>
                </c:pt>
                <c:pt idx="16386">
                  <c:v>43859</c:v>
                </c:pt>
                <c:pt idx="16387">
                  <c:v>43859</c:v>
                </c:pt>
                <c:pt idx="16388">
                  <c:v>43858</c:v>
                </c:pt>
                <c:pt idx="16389">
                  <c:v>43858</c:v>
                </c:pt>
                <c:pt idx="16390">
                  <c:v>43857</c:v>
                </c:pt>
                <c:pt idx="16391">
                  <c:v>43857</c:v>
                </c:pt>
                <c:pt idx="16392">
                  <c:v>43857</c:v>
                </c:pt>
                <c:pt idx="16393">
                  <c:v>43857</c:v>
                </c:pt>
                <c:pt idx="16394">
                  <c:v>43856</c:v>
                </c:pt>
                <c:pt idx="16395">
                  <c:v>43856</c:v>
                </c:pt>
                <c:pt idx="16396">
                  <c:v>43856</c:v>
                </c:pt>
                <c:pt idx="16397">
                  <c:v>43854</c:v>
                </c:pt>
                <c:pt idx="16398">
                  <c:v>43854</c:v>
                </c:pt>
                <c:pt idx="16399">
                  <c:v>43853</c:v>
                </c:pt>
                <c:pt idx="16400">
                  <c:v>43853</c:v>
                </c:pt>
                <c:pt idx="16401">
                  <c:v>43853</c:v>
                </c:pt>
                <c:pt idx="16402">
                  <c:v>43851</c:v>
                </c:pt>
                <c:pt idx="16403">
                  <c:v>43851</c:v>
                </c:pt>
                <c:pt idx="16404">
                  <c:v>43851</c:v>
                </c:pt>
                <c:pt idx="16405">
                  <c:v>43849</c:v>
                </c:pt>
                <c:pt idx="16406">
                  <c:v>43849</c:v>
                </c:pt>
                <c:pt idx="16407">
                  <c:v>43848</c:v>
                </c:pt>
                <c:pt idx="16408">
                  <c:v>43847</c:v>
                </c:pt>
                <c:pt idx="16409">
                  <c:v>43847</c:v>
                </c:pt>
                <c:pt idx="16410">
                  <c:v>43846</c:v>
                </c:pt>
                <c:pt idx="16411">
                  <c:v>43846</c:v>
                </c:pt>
                <c:pt idx="16412">
                  <c:v>43846</c:v>
                </c:pt>
                <c:pt idx="16413">
                  <c:v>43844</c:v>
                </c:pt>
                <c:pt idx="16414">
                  <c:v>43844</c:v>
                </c:pt>
                <c:pt idx="16415">
                  <c:v>43843</c:v>
                </c:pt>
                <c:pt idx="16416">
                  <c:v>43843</c:v>
                </c:pt>
                <c:pt idx="16417">
                  <c:v>43843</c:v>
                </c:pt>
                <c:pt idx="16418">
                  <c:v>43843</c:v>
                </c:pt>
                <c:pt idx="16419">
                  <c:v>43842</c:v>
                </c:pt>
                <c:pt idx="16420">
                  <c:v>43842</c:v>
                </c:pt>
                <c:pt idx="16421">
                  <c:v>43842</c:v>
                </c:pt>
                <c:pt idx="16422">
                  <c:v>43842</c:v>
                </c:pt>
                <c:pt idx="16423">
                  <c:v>43841</c:v>
                </c:pt>
                <c:pt idx="16424">
                  <c:v>43839</c:v>
                </c:pt>
                <c:pt idx="16425">
                  <c:v>43839</c:v>
                </c:pt>
                <c:pt idx="16426">
                  <c:v>43838</c:v>
                </c:pt>
                <c:pt idx="16427">
                  <c:v>43838</c:v>
                </c:pt>
                <c:pt idx="16428">
                  <c:v>43837</c:v>
                </c:pt>
                <c:pt idx="16429">
                  <c:v>43837</c:v>
                </c:pt>
                <c:pt idx="16430">
                  <c:v>43837</c:v>
                </c:pt>
                <c:pt idx="16431">
                  <c:v>43837</c:v>
                </c:pt>
                <c:pt idx="16432">
                  <c:v>43836</c:v>
                </c:pt>
                <c:pt idx="16433">
                  <c:v>43835</c:v>
                </c:pt>
                <c:pt idx="16434">
                  <c:v>43834</c:v>
                </c:pt>
                <c:pt idx="16435">
                  <c:v>43834</c:v>
                </c:pt>
                <c:pt idx="16436">
                  <c:v>43834</c:v>
                </c:pt>
                <c:pt idx="16437">
                  <c:v>43833</c:v>
                </c:pt>
                <c:pt idx="16438">
                  <c:v>43832</c:v>
                </c:pt>
                <c:pt idx="16439">
                  <c:v>43831</c:v>
                </c:pt>
                <c:pt idx="16440">
                  <c:v>43830</c:v>
                </c:pt>
                <c:pt idx="16441">
                  <c:v>43830</c:v>
                </c:pt>
                <c:pt idx="16442">
                  <c:v>43830</c:v>
                </c:pt>
                <c:pt idx="16443">
                  <c:v>43829</c:v>
                </c:pt>
                <c:pt idx="16444">
                  <c:v>43828</c:v>
                </c:pt>
                <c:pt idx="16445">
                  <c:v>43827</c:v>
                </c:pt>
                <c:pt idx="16446">
                  <c:v>43827</c:v>
                </c:pt>
                <c:pt idx="16447">
                  <c:v>43827</c:v>
                </c:pt>
                <c:pt idx="16448">
                  <c:v>43826</c:v>
                </c:pt>
                <c:pt idx="16449">
                  <c:v>43826</c:v>
                </c:pt>
                <c:pt idx="16450">
                  <c:v>43825</c:v>
                </c:pt>
                <c:pt idx="16451">
                  <c:v>43825</c:v>
                </c:pt>
                <c:pt idx="16452">
                  <c:v>43824</c:v>
                </c:pt>
                <c:pt idx="16453">
                  <c:v>43823</c:v>
                </c:pt>
                <c:pt idx="16454">
                  <c:v>43822</c:v>
                </c:pt>
                <c:pt idx="16455">
                  <c:v>43821</c:v>
                </c:pt>
                <c:pt idx="16456">
                  <c:v>43820</c:v>
                </c:pt>
                <c:pt idx="16457">
                  <c:v>43820</c:v>
                </c:pt>
                <c:pt idx="16458">
                  <c:v>43820</c:v>
                </c:pt>
                <c:pt idx="16459">
                  <c:v>43819</c:v>
                </c:pt>
                <c:pt idx="16460">
                  <c:v>43819</c:v>
                </c:pt>
                <c:pt idx="16461">
                  <c:v>43819</c:v>
                </c:pt>
                <c:pt idx="16462">
                  <c:v>43819</c:v>
                </c:pt>
                <c:pt idx="16463">
                  <c:v>43818</c:v>
                </c:pt>
                <c:pt idx="16464">
                  <c:v>43817</c:v>
                </c:pt>
                <c:pt idx="16465">
                  <c:v>43816</c:v>
                </c:pt>
                <c:pt idx="16466">
                  <c:v>43815</c:v>
                </c:pt>
                <c:pt idx="16467">
                  <c:v>43815</c:v>
                </c:pt>
                <c:pt idx="16468">
                  <c:v>43814</c:v>
                </c:pt>
                <c:pt idx="16469">
                  <c:v>43814</c:v>
                </c:pt>
                <c:pt idx="16470">
                  <c:v>43812</c:v>
                </c:pt>
                <c:pt idx="16471">
                  <c:v>43811</c:v>
                </c:pt>
                <c:pt idx="16472">
                  <c:v>43811</c:v>
                </c:pt>
                <c:pt idx="16473">
                  <c:v>43811</c:v>
                </c:pt>
                <c:pt idx="16474">
                  <c:v>43811</c:v>
                </c:pt>
                <c:pt idx="16475">
                  <c:v>43810</c:v>
                </c:pt>
                <c:pt idx="16476">
                  <c:v>43810</c:v>
                </c:pt>
                <c:pt idx="16477">
                  <c:v>43809</c:v>
                </c:pt>
                <c:pt idx="16478">
                  <c:v>43808</c:v>
                </c:pt>
                <c:pt idx="16479">
                  <c:v>43808</c:v>
                </c:pt>
                <c:pt idx="16480">
                  <c:v>43808</c:v>
                </c:pt>
                <c:pt idx="16481">
                  <c:v>43808</c:v>
                </c:pt>
                <c:pt idx="16482">
                  <c:v>43807</c:v>
                </c:pt>
                <c:pt idx="16483">
                  <c:v>43806</c:v>
                </c:pt>
                <c:pt idx="16484">
                  <c:v>43805</c:v>
                </c:pt>
                <c:pt idx="16485">
                  <c:v>43805</c:v>
                </c:pt>
                <c:pt idx="16486">
                  <c:v>43804</c:v>
                </c:pt>
                <c:pt idx="16487">
                  <c:v>43804</c:v>
                </c:pt>
                <c:pt idx="16488">
                  <c:v>43803</c:v>
                </c:pt>
                <c:pt idx="16489">
                  <c:v>43803</c:v>
                </c:pt>
                <c:pt idx="16490">
                  <c:v>43802</c:v>
                </c:pt>
                <c:pt idx="16491">
                  <c:v>43801</c:v>
                </c:pt>
                <c:pt idx="16492">
                  <c:v>43801</c:v>
                </c:pt>
                <c:pt idx="16493">
                  <c:v>43801</c:v>
                </c:pt>
                <c:pt idx="16494">
                  <c:v>43800</c:v>
                </c:pt>
                <c:pt idx="16495">
                  <c:v>43800</c:v>
                </c:pt>
                <c:pt idx="16496">
                  <c:v>43800</c:v>
                </c:pt>
                <c:pt idx="16497">
                  <c:v>43800</c:v>
                </c:pt>
                <c:pt idx="16498">
                  <c:v>43800</c:v>
                </c:pt>
                <c:pt idx="16499">
                  <c:v>43800</c:v>
                </c:pt>
                <c:pt idx="16500">
                  <c:v>43799</c:v>
                </c:pt>
                <c:pt idx="16501">
                  <c:v>43798</c:v>
                </c:pt>
                <c:pt idx="16502">
                  <c:v>43798</c:v>
                </c:pt>
                <c:pt idx="16503">
                  <c:v>43797</c:v>
                </c:pt>
                <c:pt idx="16504">
                  <c:v>43796</c:v>
                </c:pt>
                <c:pt idx="16505">
                  <c:v>43796</c:v>
                </c:pt>
                <c:pt idx="16506">
                  <c:v>43796</c:v>
                </c:pt>
                <c:pt idx="16507">
                  <c:v>43795</c:v>
                </c:pt>
                <c:pt idx="16508">
                  <c:v>43795</c:v>
                </c:pt>
                <c:pt idx="16509">
                  <c:v>43795</c:v>
                </c:pt>
                <c:pt idx="16510">
                  <c:v>43794</c:v>
                </c:pt>
                <c:pt idx="16511">
                  <c:v>43793</c:v>
                </c:pt>
                <c:pt idx="16512">
                  <c:v>43793</c:v>
                </c:pt>
                <c:pt idx="16513">
                  <c:v>43792</c:v>
                </c:pt>
                <c:pt idx="16514">
                  <c:v>43792</c:v>
                </c:pt>
                <c:pt idx="16515">
                  <c:v>43792</c:v>
                </c:pt>
                <c:pt idx="16516">
                  <c:v>43791</c:v>
                </c:pt>
                <c:pt idx="16517">
                  <c:v>43790</c:v>
                </c:pt>
                <c:pt idx="16518">
                  <c:v>43790</c:v>
                </c:pt>
                <c:pt idx="16519">
                  <c:v>43789</c:v>
                </c:pt>
                <c:pt idx="16520">
                  <c:v>43789</c:v>
                </c:pt>
                <c:pt idx="16521">
                  <c:v>43789</c:v>
                </c:pt>
                <c:pt idx="16522">
                  <c:v>43789</c:v>
                </c:pt>
                <c:pt idx="16523">
                  <c:v>43788</c:v>
                </c:pt>
                <c:pt idx="16524">
                  <c:v>43787</c:v>
                </c:pt>
                <c:pt idx="16525">
                  <c:v>43787</c:v>
                </c:pt>
                <c:pt idx="16526">
                  <c:v>43787</c:v>
                </c:pt>
                <c:pt idx="16527">
                  <c:v>43787</c:v>
                </c:pt>
                <c:pt idx="16528">
                  <c:v>43787</c:v>
                </c:pt>
                <c:pt idx="16529">
                  <c:v>43787</c:v>
                </c:pt>
                <c:pt idx="16530">
                  <c:v>43786</c:v>
                </c:pt>
                <c:pt idx="16531">
                  <c:v>43785</c:v>
                </c:pt>
                <c:pt idx="16532">
                  <c:v>43785</c:v>
                </c:pt>
                <c:pt idx="16533">
                  <c:v>43784</c:v>
                </c:pt>
                <c:pt idx="16534">
                  <c:v>43784</c:v>
                </c:pt>
                <c:pt idx="16535">
                  <c:v>43784</c:v>
                </c:pt>
                <c:pt idx="16536">
                  <c:v>43783</c:v>
                </c:pt>
                <c:pt idx="16537">
                  <c:v>43783</c:v>
                </c:pt>
                <c:pt idx="16538">
                  <c:v>43783</c:v>
                </c:pt>
                <c:pt idx="16539">
                  <c:v>43781</c:v>
                </c:pt>
                <c:pt idx="16540">
                  <c:v>43781</c:v>
                </c:pt>
                <c:pt idx="16541">
                  <c:v>43781</c:v>
                </c:pt>
                <c:pt idx="16542">
                  <c:v>43781</c:v>
                </c:pt>
                <c:pt idx="16543">
                  <c:v>43780</c:v>
                </c:pt>
                <c:pt idx="16544">
                  <c:v>43780</c:v>
                </c:pt>
                <c:pt idx="16545">
                  <c:v>43779</c:v>
                </c:pt>
                <c:pt idx="16546">
                  <c:v>43779</c:v>
                </c:pt>
                <c:pt idx="16547">
                  <c:v>43779</c:v>
                </c:pt>
                <c:pt idx="16548">
                  <c:v>43778</c:v>
                </c:pt>
                <c:pt idx="16549">
                  <c:v>43777</c:v>
                </c:pt>
                <c:pt idx="16550">
                  <c:v>43777</c:v>
                </c:pt>
                <c:pt idx="16551">
                  <c:v>43777</c:v>
                </c:pt>
                <c:pt idx="16552">
                  <c:v>43777</c:v>
                </c:pt>
                <c:pt idx="16553">
                  <c:v>43777</c:v>
                </c:pt>
                <c:pt idx="16554">
                  <c:v>43776</c:v>
                </c:pt>
                <c:pt idx="16555">
                  <c:v>43775</c:v>
                </c:pt>
                <c:pt idx="16556">
                  <c:v>43774</c:v>
                </c:pt>
                <c:pt idx="16557">
                  <c:v>43774</c:v>
                </c:pt>
                <c:pt idx="16558">
                  <c:v>43773</c:v>
                </c:pt>
                <c:pt idx="16559">
                  <c:v>43773</c:v>
                </c:pt>
                <c:pt idx="16560">
                  <c:v>43772</c:v>
                </c:pt>
                <c:pt idx="16561">
                  <c:v>43772</c:v>
                </c:pt>
                <c:pt idx="16562">
                  <c:v>43770</c:v>
                </c:pt>
                <c:pt idx="16563">
                  <c:v>43770</c:v>
                </c:pt>
                <c:pt idx="16564">
                  <c:v>43770</c:v>
                </c:pt>
                <c:pt idx="16565">
                  <c:v>43769</c:v>
                </c:pt>
                <c:pt idx="16566">
                  <c:v>43769</c:v>
                </c:pt>
                <c:pt idx="16567">
                  <c:v>43769</c:v>
                </c:pt>
                <c:pt idx="16568">
                  <c:v>43769</c:v>
                </c:pt>
                <c:pt idx="16569">
                  <c:v>43768</c:v>
                </c:pt>
                <c:pt idx="16570">
                  <c:v>43768</c:v>
                </c:pt>
                <c:pt idx="16571">
                  <c:v>43767</c:v>
                </c:pt>
                <c:pt idx="16572">
                  <c:v>43767</c:v>
                </c:pt>
                <c:pt idx="16573">
                  <c:v>43767</c:v>
                </c:pt>
                <c:pt idx="16574">
                  <c:v>43766</c:v>
                </c:pt>
                <c:pt idx="16575">
                  <c:v>43765</c:v>
                </c:pt>
                <c:pt idx="16576">
                  <c:v>43764</c:v>
                </c:pt>
                <c:pt idx="16577">
                  <c:v>43764</c:v>
                </c:pt>
                <c:pt idx="16578">
                  <c:v>43762</c:v>
                </c:pt>
                <c:pt idx="16579">
                  <c:v>43761</c:v>
                </c:pt>
                <c:pt idx="16580">
                  <c:v>43760</c:v>
                </c:pt>
                <c:pt idx="16581">
                  <c:v>43760</c:v>
                </c:pt>
                <c:pt idx="16582">
                  <c:v>43759</c:v>
                </c:pt>
                <c:pt idx="16583">
                  <c:v>43757</c:v>
                </c:pt>
                <c:pt idx="16584">
                  <c:v>43755</c:v>
                </c:pt>
                <c:pt idx="16585">
                  <c:v>43755</c:v>
                </c:pt>
                <c:pt idx="16586">
                  <c:v>43755</c:v>
                </c:pt>
                <c:pt idx="16587">
                  <c:v>43753</c:v>
                </c:pt>
                <c:pt idx="16588">
                  <c:v>43753</c:v>
                </c:pt>
                <c:pt idx="16589">
                  <c:v>43753</c:v>
                </c:pt>
                <c:pt idx="16590">
                  <c:v>43753</c:v>
                </c:pt>
                <c:pt idx="16591">
                  <c:v>43752</c:v>
                </c:pt>
                <c:pt idx="16592">
                  <c:v>43751</c:v>
                </c:pt>
                <c:pt idx="16593">
                  <c:v>43751</c:v>
                </c:pt>
                <c:pt idx="16594">
                  <c:v>43750</c:v>
                </c:pt>
                <c:pt idx="16595">
                  <c:v>43749</c:v>
                </c:pt>
                <c:pt idx="16596">
                  <c:v>43748</c:v>
                </c:pt>
                <c:pt idx="16597">
                  <c:v>43748</c:v>
                </c:pt>
                <c:pt idx="16598">
                  <c:v>43746</c:v>
                </c:pt>
                <c:pt idx="16599">
                  <c:v>43746</c:v>
                </c:pt>
                <c:pt idx="16600">
                  <c:v>43746</c:v>
                </c:pt>
                <c:pt idx="16601">
                  <c:v>43745</c:v>
                </c:pt>
                <c:pt idx="16602">
                  <c:v>43744</c:v>
                </c:pt>
                <c:pt idx="16603">
                  <c:v>43743</c:v>
                </c:pt>
                <c:pt idx="16604">
                  <c:v>43743</c:v>
                </c:pt>
                <c:pt idx="16605">
                  <c:v>43743</c:v>
                </c:pt>
                <c:pt idx="16606">
                  <c:v>43742</c:v>
                </c:pt>
                <c:pt idx="16607">
                  <c:v>43742</c:v>
                </c:pt>
                <c:pt idx="16608">
                  <c:v>43742</c:v>
                </c:pt>
                <c:pt idx="16609">
                  <c:v>43742</c:v>
                </c:pt>
                <c:pt idx="16610">
                  <c:v>43741</c:v>
                </c:pt>
                <c:pt idx="16611">
                  <c:v>43740</c:v>
                </c:pt>
                <c:pt idx="16612">
                  <c:v>43739</c:v>
                </c:pt>
                <c:pt idx="16613">
                  <c:v>43739</c:v>
                </c:pt>
                <c:pt idx="16614">
                  <c:v>43738</c:v>
                </c:pt>
                <c:pt idx="16615">
                  <c:v>43738</c:v>
                </c:pt>
                <c:pt idx="16616">
                  <c:v>43737</c:v>
                </c:pt>
                <c:pt idx="16617">
                  <c:v>43737</c:v>
                </c:pt>
                <c:pt idx="16618">
                  <c:v>43737</c:v>
                </c:pt>
                <c:pt idx="16619">
                  <c:v>43737</c:v>
                </c:pt>
                <c:pt idx="16620">
                  <c:v>43737</c:v>
                </c:pt>
                <c:pt idx="16621">
                  <c:v>43737</c:v>
                </c:pt>
                <c:pt idx="16622">
                  <c:v>43737</c:v>
                </c:pt>
                <c:pt idx="16623">
                  <c:v>43737</c:v>
                </c:pt>
                <c:pt idx="16624">
                  <c:v>43736</c:v>
                </c:pt>
                <c:pt idx="16625">
                  <c:v>43736</c:v>
                </c:pt>
                <c:pt idx="16626">
                  <c:v>43735</c:v>
                </c:pt>
                <c:pt idx="16627">
                  <c:v>43734</c:v>
                </c:pt>
                <c:pt idx="16628">
                  <c:v>43734</c:v>
                </c:pt>
                <c:pt idx="16629">
                  <c:v>43734</c:v>
                </c:pt>
                <c:pt idx="16630">
                  <c:v>43733</c:v>
                </c:pt>
                <c:pt idx="16631">
                  <c:v>43733</c:v>
                </c:pt>
                <c:pt idx="16632">
                  <c:v>43732</c:v>
                </c:pt>
                <c:pt idx="16633">
                  <c:v>43732</c:v>
                </c:pt>
                <c:pt idx="16634">
                  <c:v>43731</c:v>
                </c:pt>
                <c:pt idx="16635">
                  <c:v>43731</c:v>
                </c:pt>
                <c:pt idx="16636">
                  <c:v>43729</c:v>
                </c:pt>
                <c:pt idx="16637">
                  <c:v>43729</c:v>
                </c:pt>
                <c:pt idx="16638">
                  <c:v>43728</c:v>
                </c:pt>
                <c:pt idx="16639">
                  <c:v>43728</c:v>
                </c:pt>
                <c:pt idx="16640">
                  <c:v>43727</c:v>
                </c:pt>
                <c:pt idx="16641">
                  <c:v>43726</c:v>
                </c:pt>
                <c:pt idx="16642">
                  <c:v>43726</c:v>
                </c:pt>
                <c:pt idx="16643">
                  <c:v>43726</c:v>
                </c:pt>
                <c:pt idx="16644">
                  <c:v>43725</c:v>
                </c:pt>
                <c:pt idx="16645">
                  <c:v>43725</c:v>
                </c:pt>
                <c:pt idx="16646">
                  <c:v>43724</c:v>
                </c:pt>
                <c:pt idx="16647">
                  <c:v>43724</c:v>
                </c:pt>
                <c:pt idx="16648">
                  <c:v>43723</c:v>
                </c:pt>
                <c:pt idx="16649">
                  <c:v>43719</c:v>
                </c:pt>
                <c:pt idx="16650">
                  <c:v>43719</c:v>
                </c:pt>
                <c:pt idx="16651">
                  <c:v>43719</c:v>
                </c:pt>
                <c:pt idx="16652">
                  <c:v>43719</c:v>
                </c:pt>
                <c:pt idx="16653">
                  <c:v>43719</c:v>
                </c:pt>
                <c:pt idx="16654">
                  <c:v>43719</c:v>
                </c:pt>
                <c:pt idx="16655">
                  <c:v>43718</c:v>
                </c:pt>
                <c:pt idx="16656">
                  <c:v>43718</c:v>
                </c:pt>
                <c:pt idx="16657">
                  <c:v>43718</c:v>
                </c:pt>
                <c:pt idx="16658">
                  <c:v>43717</c:v>
                </c:pt>
                <c:pt idx="16659">
                  <c:v>43717</c:v>
                </c:pt>
                <c:pt idx="16660">
                  <c:v>43717</c:v>
                </c:pt>
                <c:pt idx="16661">
                  <c:v>43717</c:v>
                </c:pt>
                <c:pt idx="16662">
                  <c:v>43716</c:v>
                </c:pt>
                <c:pt idx="16663">
                  <c:v>43716</c:v>
                </c:pt>
                <c:pt idx="16664">
                  <c:v>43715</c:v>
                </c:pt>
                <c:pt idx="16665">
                  <c:v>43715</c:v>
                </c:pt>
                <c:pt idx="16666">
                  <c:v>43714</c:v>
                </c:pt>
                <c:pt idx="16667">
                  <c:v>43714</c:v>
                </c:pt>
                <c:pt idx="16668">
                  <c:v>43713</c:v>
                </c:pt>
                <c:pt idx="16669">
                  <c:v>43712</c:v>
                </c:pt>
                <c:pt idx="16670">
                  <c:v>43712</c:v>
                </c:pt>
                <c:pt idx="16671">
                  <c:v>43712</c:v>
                </c:pt>
                <c:pt idx="16672">
                  <c:v>43711</c:v>
                </c:pt>
                <c:pt idx="16673">
                  <c:v>43711</c:v>
                </c:pt>
                <c:pt idx="16674">
                  <c:v>43711</c:v>
                </c:pt>
                <c:pt idx="16675">
                  <c:v>43711</c:v>
                </c:pt>
                <c:pt idx="16676">
                  <c:v>43710</c:v>
                </c:pt>
                <c:pt idx="16677">
                  <c:v>43710</c:v>
                </c:pt>
                <c:pt idx="16678">
                  <c:v>43708</c:v>
                </c:pt>
                <c:pt idx="16679">
                  <c:v>43708</c:v>
                </c:pt>
                <c:pt idx="16680">
                  <c:v>43708</c:v>
                </c:pt>
                <c:pt idx="16681">
                  <c:v>43707</c:v>
                </c:pt>
                <c:pt idx="16682">
                  <c:v>43707</c:v>
                </c:pt>
                <c:pt idx="16683">
                  <c:v>43706</c:v>
                </c:pt>
                <c:pt idx="16684">
                  <c:v>43705</c:v>
                </c:pt>
                <c:pt idx="16685">
                  <c:v>43705</c:v>
                </c:pt>
                <c:pt idx="16686">
                  <c:v>43705</c:v>
                </c:pt>
                <c:pt idx="16687">
                  <c:v>43703</c:v>
                </c:pt>
                <c:pt idx="16688">
                  <c:v>43703</c:v>
                </c:pt>
                <c:pt idx="16689">
                  <c:v>43702</c:v>
                </c:pt>
                <c:pt idx="16690">
                  <c:v>43702</c:v>
                </c:pt>
                <c:pt idx="16691">
                  <c:v>43701</c:v>
                </c:pt>
                <c:pt idx="16692">
                  <c:v>43701</c:v>
                </c:pt>
                <c:pt idx="16693">
                  <c:v>43701</c:v>
                </c:pt>
                <c:pt idx="16694">
                  <c:v>43700</c:v>
                </c:pt>
                <c:pt idx="16695">
                  <c:v>43700</c:v>
                </c:pt>
                <c:pt idx="16696">
                  <c:v>43700</c:v>
                </c:pt>
                <c:pt idx="16697">
                  <c:v>43700</c:v>
                </c:pt>
                <c:pt idx="16698">
                  <c:v>43700</c:v>
                </c:pt>
                <c:pt idx="16699">
                  <c:v>43699</c:v>
                </c:pt>
                <c:pt idx="16700">
                  <c:v>43698</c:v>
                </c:pt>
                <c:pt idx="16701">
                  <c:v>43697</c:v>
                </c:pt>
                <c:pt idx="16702">
                  <c:v>43697</c:v>
                </c:pt>
                <c:pt idx="16703">
                  <c:v>43697</c:v>
                </c:pt>
                <c:pt idx="16704">
                  <c:v>43697</c:v>
                </c:pt>
                <c:pt idx="16705">
                  <c:v>43697</c:v>
                </c:pt>
                <c:pt idx="16706">
                  <c:v>43695</c:v>
                </c:pt>
                <c:pt idx="16707">
                  <c:v>43695</c:v>
                </c:pt>
                <c:pt idx="16708">
                  <c:v>43695</c:v>
                </c:pt>
                <c:pt idx="16709">
                  <c:v>43695</c:v>
                </c:pt>
                <c:pt idx="16710">
                  <c:v>43694</c:v>
                </c:pt>
                <c:pt idx="16711">
                  <c:v>43692</c:v>
                </c:pt>
                <c:pt idx="16712">
                  <c:v>43691</c:v>
                </c:pt>
                <c:pt idx="16713">
                  <c:v>43691</c:v>
                </c:pt>
                <c:pt idx="16714">
                  <c:v>43690</c:v>
                </c:pt>
                <c:pt idx="16715">
                  <c:v>43690</c:v>
                </c:pt>
                <c:pt idx="16716">
                  <c:v>43689</c:v>
                </c:pt>
                <c:pt idx="16717">
                  <c:v>43689</c:v>
                </c:pt>
                <c:pt idx="16718">
                  <c:v>43688</c:v>
                </c:pt>
                <c:pt idx="16719">
                  <c:v>43688</c:v>
                </c:pt>
                <c:pt idx="16720">
                  <c:v>43688</c:v>
                </c:pt>
                <c:pt idx="16721">
                  <c:v>43687</c:v>
                </c:pt>
                <c:pt idx="16722">
                  <c:v>43686</c:v>
                </c:pt>
                <c:pt idx="16723">
                  <c:v>43686</c:v>
                </c:pt>
                <c:pt idx="16724">
                  <c:v>43685</c:v>
                </c:pt>
                <c:pt idx="16725">
                  <c:v>43684</c:v>
                </c:pt>
                <c:pt idx="16726">
                  <c:v>43684</c:v>
                </c:pt>
                <c:pt idx="16727">
                  <c:v>43684</c:v>
                </c:pt>
                <c:pt idx="16728">
                  <c:v>43683</c:v>
                </c:pt>
                <c:pt idx="16729">
                  <c:v>43683</c:v>
                </c:pt>
                <c:pt idx="16730">
                  <c:v>43683</c:v>
                </c:pt>
                <c:pt idx="16731">
                  <c:v>43682</c:v>
                </c:pt>
                <c:pt idx="16732">
                  <c:v>43682</c:v>
                </c:pt>
                <c:pt idx="16733">
                  <c:v>43680</c:v>
                </c:pt>
                <c:pt idx="16734">
                  <c:v>43680</c:v>
                </c:pt>
                <c:pt idx="16735">
                  <c:v>43678</c:v>
                </c:pt>
                <c:pt idx="16736">
                  <c:v>43678</c:v>
                </c:pt>
                <c:pt idx="16737">
                  <c:v>43677</c:v>
                </c:pt>
                <c:pt idx="16738">
                  <c:v>43677</c:v>
                </c:pt>
                <c:pt idx="16739">
                  <c:v>43677</c:v>
                </c:pt>
                <c:pt idx="16740">
                  <c:v>43677</c:v>
                </c:pt>
                <c:pt idx="16741">
                  <c:v>43675</c:v>
                </c:pt>
                <c:pt idx="16742">
                  <c:v>43675</c:v>
                </c:pt>
                <c:pt idx="16743">
                  <c:v>43673</c:v>
                </c:pt>
                <c:pt idx="16744">
                  <c:v>43672</c:v>
                </c:pt>
                <c:pt idx="16745">
                  <c:v>43671</c:v>
                </c:pt>
                <c:pt idx="16746">
                  <c:v>43671</c:v>
                </c:pt>
                <c:pt idx="16747">
                  <c:v>43670</c:v>
                </c:pt>
                <c:pt idx="16748">
                  <c:v>43669</c:v>
                </c:pt>
                <c:pt idx="16749">
                  <c:v>43668</c:v>
                </c:pt>
                <c:pt idx="16750">
                  <c:v>43668</c:v>
                </c:pt>
                <c:pt idx="16751">
                  <c:v>43667</c:v>
                </c:pt>
                <c:pt idx="16752">
                  <c:v>43666</c:v>
                </c:pt>
                <c:pt idx="16753">
                  <c:v>43666</c:v>
                </c:pt>
                <c:pt idx="16754">
                  <c:v>43664</c:v>
                </c:pt>
                <c:pt idx="16755">
                  <c:v>43664</c:v>
                </c:pt>
                <c:pt idx="16756">
                  <c:v>43663</c:v>
                </c:pt>
                <c:pt idx="16757">
                  <c:v>43662</c:v>
                </c:pt>
                <c:pt idx="16758">
                  <c:v>43662</c:v>
                </c:pt>
                <c:pt idx="16759">
                  <c:v>43661</c:v>
                </c:pt>
                <c:pt idx="16760">
                  <c:v>43661</c:v>
                </c:pt>
                <c:pt idx="16761">
                  <c:v>43661</c:v>
                </c:pt>
                <c:pt idx="16762">
                  <c:v>43660</c:v>
                </c:pt>
                <c:pt idx="16763">
                  <c:v>43660</c:v>
                </c:pt>
                <c:pt idx="16764">
                  <c:v>43660</c:v>
                </c:pt>
                <c:pt idx="16765">
                  <c:v>43659</c:v>
                </c:pt>
                <c:pt idx="16766">
                  <c:v>43659</c:v>
                </c:pt>
                <c:pt idx="16767">
                  <c:v>43658</c:v>
                </c:pt>
                <c:pt idx="16768">
                  <c:v>43657</c:v>
                </c:pt>
                <c:pt idx="16769">
                  <c:v>43657</c:v>
                </c:pt>
                <c:pt idx="16770">
                  <c:v>43656</c:v>
                </c:pt>
                <c:pt idx="16771">
                  <c:v>43654</c:v>
                </c:pt>
                <c:pt idx="16772">
                  <c:v>43653</c:v>
                </c:pt>
                <c:pt idx="16773">
                  <c:v>43653</c:v>
                </c:pt>
                <c:pt idx="16774">
                  <c:v>43653</c:v>
                </c:pt>
                <c:pt idx="16775">
                  <c:v>43652</c:v>
                </c:pt>
                <c:pt idx="16776">
                  <c:v>43651</c:v>
                </c:pt>
                <c:pt idx="16777">
                  <c:v>43651</c:v>
                </c:pt>
                <c:pt idx="16778">
                  <c:v>43651</c:v>
                </c:pt>
                <c:pt idx="16779">
                  <c:v>43650</c:v>
                </c:pt>
                <c:pt idx="16780">
                  <c:v>43649</c:v>
                </c:pt>
                <c:pt idx="16781">
                  <c:v>43649</c:v>
                </c:pt>
                <c:pt idx="16782">
                  <c:v>43649</c:v>
                </c:pt>
                <c:pt idx="16783">
                  <c:v>43648</c:v>
                </c:pt>
                <c:pt idx="16784">
                  <c:v>43648</c:v>
                </c:pt>
                <c:pt idx="16785">
                  <c:v>43648</c:v>
                </c:pt>
                <c:pt idx="16786">
                  <c:v>43648</c:v>
                </c:pt>
                <c:pt idx="16787">
                  <c:v>43645</c:v>
                </c:pt>
                <c:pt idx="16788">
                  <c:v>43644</c:v>
                </c:pt>
                <c:pt idx="16789">
                  <c:v>43643</c:v>
                </c:pt>
                <c:pt idx="16790">
                  <c:v>43642</c:v>
                </c:pt>
                <c:pt idx="16791">
                  <c:v>43641</c:v>
                </c:pt>
                <c:pt idx="16792">
                  <c:v>43641</c:v>
                </c:pt>
                <c:pt idx="16793">
                  <c:v>43639</c:v>
                </c:pt>
                <c:pt idx="16794">
                  <c:v>43638</c:v>
                </c:pt>
                <c:pt idx="16795">
                  <c:v>43637</c:v>
                </c:pt>
                <c:pt idx="16796">
                  <c:v>43637</c:v>
                </c:pt>
                <c:pt idx="16797">
                  <c:v>43636</c:v>
                </c:pt>
                <c:pt idx="16798">
                  <c:v>43636</c:v>
                </c:pt>
                <c:pt idx="16799">
                  <c:v>43636</c:v>
                </c:pt>
                <c:pt idx="16800">
                  <c:v>43636</c:v>
                </c:pt>
                <c:pt idx="16801">
                  <c:v>43636</c:v>
                </c:pt>
                <c:pt idx="16802">
                  <c:v>43635</c:v>
                </c:pt>
                <c:pt idx="16803">
                  <c:v>43635</c:v>
                </c:pt>
                <c:pt idx="16804">
                  <c:v>43634</c:v>
                </c:pt>
                <c:pt idx="16805">
                  <c:v>43634</c:v>
                </c:pt>
                <c:pt idx="16806">
                  <c:v>43634</c:v>
                </c:pt>
                <c:pt idx="16807">
                  <c:v>43633</c:v>
                </c:pt>
                <c:pt idx="16808">
                  <c:v>43633</c:v>
                </c:pt>
                <c:pt idx="16809">
                  <c:v>43633</c:v>
                </c:pt>
                <c:pt idx="16810">
                  <c:v>43633</c:v>
                </c:pt>
                <c:pt idx="16811">
                  <c:v>43632</c:v>
                </c:pt>
                <c:pt idx="16812">
                  <c:v>43632</c:v>
                </c:pt>
                <c:pt idx="16813">
                  <c:v>43632</c:v>
                </c:pt>
                <c:pt idx="16814">
                  <c:v>43631</c:v>
                </c:pt>
                <c:pt idx="16815">
                  <c:v>43631</c:v>
                </c:pt>
                <c:pt idx="16816">
                  <c:v>43631</c:v>
                </c:pt>
                <c:pt idx="16817">
                  <c:v>43630</c:v>
                </c:pt>
                <c:pt idx="16818">
                  <c:v>43629</c:v>
                </c:pt>
                <c:pt idx="16819">
                  <c:v>43629</c:v>
                </c:pt>
                <c:pt idx="16820">
                  <c:v>43629</c:v>
                </c:pt>
                <c:pt idx="16821">
                  <c:v>43629</c:v>
                </c:pt>
                <c:pt idx="16822">
                  <c:v>43629</c:v>
                </c:pt>
                <c:pt idx="16823">
                  <c:v>43628</c:v>
                </c:pt>
                <c:pt idx="16824">
                  <c:v>43627</c:v>
                </c:pt>
                <c:pt idx="16825">
                  <c:v>43627</c:v>
                </c:pt>
                <c:pt idx="16826">
                  <c:v>43627</c:v>
                </c:pt>
                <c:pt idx="16827">
                  <c:v>43627</c:v>
                </c:pt>
                <c:pt idx="16828">
                  <c:v>43626</c:v>
                </c:pt>
                <c:pt idx="16829">
                  <c:v>43624</c:v>
                </c:pt>
                <c:pt idx="16830">
                  <c:v>43624</c:v>
                </c:pt>
                <c:pt idx="16831">
                  <c:v>43624</c:v>
                </c:pt>
                <c:pt idx="16832">
                  <c:v>43623</c:v>
                </c:pt>
                <c:pt idx="16833">
                  <c:v>43622</c:v>
                </c:pt>
                <c:pt idx="16834">
                  <c:v>43622</c:v>
                </c:pt>
                <c:pt idx="16835">
                  <c:v>43622</c:v>
                </c:pt>
                <c:pt idx="16836">
                  <c:v>43621</c:v>
                </c:pt>
                <c:pt idx="16837">
                  <c:v>43619</c:v>
                </c:pt>
                <c:pt idx="16838">
                  <c:v>43619</c:v>
                </c:pt>
                <c:pt idx="16839">
                  <c:v>43618</c:v>
                </c:pt>
                <c:pt idx="16840">
                  <c:v>43618</c:v>
                </c:pt>
                <c:pt idx="16841">
                  <c:v>43617</c:v>
                </c:pt>
                <c:pt idx="16842">
                  <c:v>43616</c:v>
                </c:pt>
                <c:pt idx="16843">
                  <c:v>43616</c:v>
                </c:pt>
                <c:pt idx="16844">
                  <c:v>43614</c:v>
                </c:pt>
                <c:pt idx="16845">
                  <c:v>43613</c:v>
                </c:pt>
                <c:pt idx="16846">
                  <c:v>43611</c:v>
                </c:pt>
                <c:pt idx="16847">
                  <c:v>43611</c:v>
                </c:pt>
                <c:pt idx="16848">
                  <c:v>43611</c:v>
                </c:pt>
                <c:pt idx="16849">
                  <c:v>43611</c:v>
                </c:pt>
                <c:pt idx="16850">
                  <c:v>43610</c:v>
                </c:pt>
                <c:pt idx="16851">
                  <c:v>43610</c:v>
                </c:pt>
                <c:pt idx="16852">
                  <c:v>43607</c:v>
                </c:pt>
                <c:pt idx="16853">
                  <c:v>43605</c:v>
                </c:pt>
                <c:pt idx="16854">
                  <c:v>43604</c:v>
                </c:pt>
                <c:pt idx="16855">
                  <c:v>43603</c:v>
                </c:pt>
                <c:pt idx="16856">
                  <c:v>43602</c:v>
                </c:pt>
                <c:pt idx="16857">
                  <c:v>43602</c:v>
                </c:pt>
                <c:pt idx="16858">
                  <c:v>43601</c:v>
                </c:pt>
                <c:pt idx="16859">
                  <c:v>43601</c:v>
                </c:pt>
                <c:pt idx="16860">
                  <c:v>43600</c:v>
                </c:pt>
                <c:pt idx="16861">
                  <c:v>43600</c:v>
                </c:pt>
                <c:pt idx="16862">
                  <c:v>43600</c:v>
                </c:pt>
                <c:pt idx="16863">
                  <c:v>43600</c:v>
                </c:pt>
                <c:pt idx="16864">
                  <c:v>43596</c:v>
                </c:pt>
                <c:pt idx="16865">
                  <c:v>43596</c:v>
                </c:pt>
                <c:pt idx="16866">
                  <c:v>43596</c:v>
                </c:pt>
                <c:pt idx="16867">
                  <c:v>43596</c:v>
                </c:pt>
                <c:pt idx="16868">
                  <c:v>43595</c:v>
                </c:pt>
                <c:pt idx="16869">
                  <c:v>43595</c:v>
                </c:pt>
                <c:pt idx="16870">
                  <c:v>43593</c:v>
                </c:pt>
                <c:pt idx="16871">
                  <c:v>43593</c:v>
                </c:pt>
                <c:pt idx="16872">
                  <c:v>43592</c:v>
                </c:pt>
                <c:pt idx="16873">
                  <c:v>43592</c:v>
                </c:pt>
                <c:pt idx="16874">
                  <c:v>43591</c:v>
                </c:pt>
                <c:pt idx="16875">
                  <c:v>43590</c:v>
                </c:pt>
                <c:pt idx="16876">
                  <c:v>43589</c:v>
                </c:pt>
                <c:pt idx="16877">
                  <c:v>43589</c:v>
                </c:pt>
                <c:pt idx="16878">
                  <c:v>43588</c:v>
                </c:pt>
                <c:pt idx="16879">
                  <c:v>43588</c:v>
                </c:pt>
                <c:pt idx="16880">
                  <c:v>43587</c:v>
                </c:pt>
                <c:pt idx="16881">
                  <c:v>43586</c:v>
                </c:pt>
                <c:pt idx="16882">
                  <c:v>43585</c:v>
                </c:pt>
                <c:pt idx="16883">
                  <c:v>43585</c:v>
                </c:pt>
                <c:pt idx="16884">
                  <c:v>43584</c:v>
                </c:pt>
                <c:pt idx="16885">
                  <c:v>43584</c:v>
                </c:pt>
                <c:pt idx="16886">
                  <c:v>43583</c:v>
                </c:pt>
                <c:pt idx="16887">
                  <c:v>43583</c:v>
                </c:pt>
                <c:pt idx="16888">
                  <c:v>43583</c:v>
                </c:pt>
                <c:pt idx="16889">
                  <c:v>43583</c:v>
                </c:pt>
                <c:pt idx="16890">
                  <c:v>43583</c:v>
                </c:pt>
                <c:pt idx="16891">
                  <c:v>43582</c:v>
                </c:pt>
                <c:pt idx="16892">
                  <c:v>43582</c:v>
                </c:pt>
                <c:pt idx="16893">
                  <c:v>43582</c:v>
                </c:pt>
                <c:pt idx="16894">
                  <c:v>43581</c:v>
                </c:pt>
                <c:pt idx="16895">
                  <c:v>43580</c:v>
                </c:pt>
                <c:pt idx="16896">
                  <c:v>43579</c:v>
                </c:pt>
                <c:pt idx="16897">
                  <c:v>43579</c:v>
                </c:pt>
                <c:pt idx="16898">
                  <c:v>43579</c:v>
                </c:pt>
                <c:pt idx="16899">
                  <c:v>43578</c:v>
                </c:pt>
                <c:pt idx="16900">
                  <c:v>43576</c:v>
                </c:pt>
                <c:pt idx="16901">
                  <c:v>43576</c:v>
                </c:pt>
                <c:pt idx="16902">
                  <c:v>43575</c:v>
                </c:pt>
                <c:pt idx="16903">
                  <c:v>43575</c:v>
                </c:pt>
                <c:pt idx="16904">
                  <c:v>43574</c:v>
                </c:pt>
                <c:pt idx="16905">
                  <c:v>43573</c:v>
                </c:pt>
                <c:pt idx="16906">
                  <c:v>43573</c:v>
                </c:pt>
                <c:pt idx="16907">
                  <c:v>43573</c:v>
                </c:pt>
                <c:pt idx="16908">
                  <c:v>43573</c:v>
                </c:pt>
                <c:pt idx="16909">
                  <c:v>43572</c:v>
                </c:pt>
                <c:pt idx="16910">
                  <c:v>43572</c:v>
                </c:pt>
                <c:pt idx="16911">
                  <c:v>43570</c:v>
                </c:pt>
                <c:pt idx="16912">
                  <c:v>43570</c:v>
                </c:pt>
                <c:pt idx="16913">
                  <c:v>43570</c:v>
                </c:pt>
                <c:pt idx="16914">
                  <c:v>43570</c:v>
                </c:pt>
                <c:pt idx="16915">
                  <c:v>43568</c:v>
                </c:pt>
                <c:pt idx="16916">
                  <c:v>43567</c:v>
                </c:pt>
                <c:pt idx="16917">
                  <c:v>43566</c:v>
                </c:pt>
                <c:pt idx="16918">
                  <c:v>43565</c:v>
                </c:pt>
                <c:pt idx="16919">
                  <c:v>43565</c:v>
                </c:pt>
                <c:pt idx="16920">
                  <c:v>43562</c:v>
                </c:pt>
                <c:pt idx="16921">
                  <c:v>43562</c:v>
                </c:pt>
                <c:pt idx="16922">
                  <c:v>43562</c:v>
                </c:pt>
                <c:pt idx="16923">
                  <c:v>43560</c:v>
                </c:pt>
                <c:pt idx="16924">
                  <c:v>43560</c:v>
                </c:pt>
                <c:pt idx="16925">
                  <c:v>43560</c:v>
                </c:pt>
                <c:pt idx="16926">
                  <c:v>43558</c:v>
                </c:pt>
                <c:pt idx="16927">
                  <c:v>43557</c:v>
                </c:pt>
                <c:pt idx="16928">
                  <c:v>43556</c:v>
                </c:pt>
                <c:pt idx="16929">
                  <c:v>43556</c:v>
                </c:pt>
                <c:pt idx="16930">
                  <c:v>43556</c:v>
                </c:pt>
                <c:pt idx="16931">
                  <c:v>43556</c:v>
                </c:pt>
                <c:pt idx="16932">
                  <c:v>43555</c:v>
                </c:pt>
                <c:pt idx="16933">
                  <c:v>43555</c:v>
                </c:pt>
                <c:pt idx="16934">
                  <c:v>43555</c:v>
                </c:pt>
                <c:pt idx="16935">
                  <c:v>43554</c:v>
                </c:pt>
                <c:pt idx="16936">
                  <c:v>43554</c:v>
                </c:pt>
                <c:pt idx="16937">
                  <c:v>43553</c:v>
                </c:pt>
                <c:pt idx="16938">
                  <c:v>43553</c:v>
                </c:pt>
                <c:pt idx="16939">
                  <c:v>43552</c:v>
                </c:pt>
                <c:pt idx="16940">
                  <c:v>43551</c:v>
                </c:pt>
                <c:pt idx="16941">
                  <c:v>43548</c:v>
                </c:pt>
                <c:pt idx="16942">
                  <c:v>43547</c:v>
                </c:pt>
                <c:pt idx="16943">
                  <c:v>43547</c:v>
                </c:pt>
                <c:pt idx="16944">
                  <c:v>43547</c:v>
                </c:pt>
                <c:pt idx="16945">
                  <c:v>43546</c:v>
                </c:pt>
                <c:pt idx="16946">
                  <c:v>43546</c:v>
                </c:pt>
                <c:pt idx="16947">
                  <c:v>43546</c:v>
                </c:pt>
                <c:pt idx="16948">
                  <c:v>43546</c:v>
                </c:pt>
                <c:pt idx="16949">
                  <c:v>43546</c:v>
                </c:pt>
                <c:pt idx="16950">
                  <c:v>43545</c:v>
                </c:pt>
                <c:pt idx="16951">
                  <c:v>43544</c:v>
                </c:pt>
                <c:pt idx="16952">
                  <c:v>43544</c:v>
                </c:pt>
                <c:pt idx="16953">
                  <c:v>43543</c:v>
                </c:pt>
                <c:pt idx="16954">
                  <c:v>43543</c:v>
                </c:pt>
                <c:pt idx="16955">
                  <c:v>43543</c:v>
                </c:pt>
                <c:pt idx="16956">
                  <c:v>43543</c:v>
                </c:pt>
                <c:pt idx="16957">
                  <c:v>43542</c:v>
                </c:pt>
                <c:pt idx="16958">
                  <c:v>43541</c:v>
                </c:pt>
                <c:pt idx="16959">
                  <c:v>43540</c:v>
                </c:pt>
                <c:pt idx="16960">
                  <c:v>43538</c:v>
                </c:pt>
                <c:pt idx="16961">
                  <c:v>43538</c:v>
                </c:pt>
                <c:pt idx="16962">
                  <c:v>43538</c:v>
                </c:pt>
                <c:pt idx="16963">
                  <c:v>43536</c:v>
                </c:pt>
                <c:pt idx="16964">
                  <c:v>43536</c:v>
                </c:pt>
                <c:pt idx="16965">
                  <c:v>43536</c:v>
                </c:pt>
                <c:pt idx="16966">
                  <c:v>43535</c:v>
                </c:pt>
                <c:pt idx="16967">
                  <c:v>43534</c:v>
                </c:pt>
                <c:pt idx="16968">
                  <c:v>43534</c:v>
                </c:pt>
                <c:pt idx="16969">
                  <c:v>43534</c:v>
                </c:pt>
                <c:pt idx="16970">
                  <c:v>43534</c:v>
                </c:pt>
                <c:pt idx="16971">
                  <c:v>43533</c:v>
                </c:pt>
                <c:pt idx="16972">
                  <c:v>43533</c:v>
                </c:pt>
                <c:pt idx="16973">
                  <c:v>43532</c:v>
                </c:pt>
                <c:pt idx="16974">
                  <c:v>43532</c:v>
                </c:pt>
                <c:pt idx="16975">
                  <c:v>43532</c:v>
                </c:pt>
                <c:pt idx="16976">
                  <c:v>43531</c:v>
                </c:pt>
                <c:pt idx="16977">
                  <c:v>43530</c:v>
                </c:pt>
                <c:pt idx="16978">
                  <c:v>43530</c:v>
                </c:pt>
                <c:pt idx="16979">
                  <c:v>43530</c:v>
                </c:pt>
                <c:pt idx="16980">
                  <c:v>43529</c:v>
                </c:pt>
                <c:pt idx="16981">
                  <c:v>43528</c:v>
                </c:pt>
                <c:pt idx="16982">
                  <c:v>43527</c:v>
                </c:pt>
                <c:pt idx="16983">
                  <c:v>43527</c:v>
                </c:pt>
                <c:pt idx="16984">
                  <c:v>43527</c:v>
                </c:pt>
                <c:pt idx="16985">
                  <c:v>43526</c:v>
                </c:pt>
                <c:pt idx="16986">
                  <c:v>43526</c:v>
                </c:pt>
                <c:pt idx="16987">
                  <c:v>43525</c:v>
                </c:pt>
                <c:pt idx="16988">
                  <c:v>43525</c:v>
                </c:pt>
                <c:pt idx="16989">
                  <c:v>43525</c:v>
                </c:pt>
                <c:pt idx="16990">
                  <c:v>43524</c:v>
                </c:pt>
                <c:pt idx="16991">
                  <c:v>43524</c:v>
                </c:pt>
                <c:pt idx="16992">
                  <c:v>43523</c:v>
                </c:pt>
                <c:pt idx="16993">
                  <c:v>43522</c:v>
                </c:pt>
                <c:pt idx="16994">
                  <c:v>43522</c:v>
                </c:pt>
                <c:pt idx="16995">
                  <c:v>43520</c:v>
                </c:pt>
                <c:pt idx="16996">
                  <c:v>43520</c:v>
                </c:pt>
                <c:pt idx="16997">
                  <c:v>43520</c:v>
                </c:pt>
                <c:pt idx="16998">
                  <c:v>43519</c:v>
                </c:pt>
                <c:pt idx="16999">
                  <c:v>43518</c:v>
                </c:pt>
                <c:pt idx="17000">
                  <c:v>43518</c:v>
                </c:pt>
                <c:pt idx="17001">
                  <c:v>43518</c:v>
                </c:pt>
                <c:pt idx="17002">
                  <c:v>43517</c:v>
                </c:pt>
                <c:pt idx="17003">
                  <c:v>43516</c:v>
                </c:pt>
                <c:pt idx="17004">
                  <c:v>43515</c:v>
                </c:pt>
                <c:pt idx="17005">
                  <c:v>43515</c:v>
                </c:pt>
                <c:pt idx="17006">
                  <c:v>43513</c:v>
                </c:pt>
                <c:pt idx="17007">
                  <c:v>43512</c:v>
                </c:pt>
                <c:pt idx="17008">
                  <c:v>43511</c:v>
                </c:pt>
                <c:pt idx="17009">
                  <c:v>43511</c:v>
                </c:pt>
                <c:pt idx="17010">
                  <c:v>43511</c:v>
                </c:pt>
                <c:pt idx="17011">
                  <c:v>43510</c:v>
                </c:pt>
                <c:pt idx="17012">
                  <c:v>43510</c:v>
                </c:pt>
                <c:pt idx="17013">
                  <c:v>43509</c:v>
                </c:pt>
                <c:pt idx="17014">
                  <c:v>43509</c:v>
                </c:pt>
                <c:pt idx="17015">
                  <c:v>43508</c:v>
                </c:pt>
                <c:pt idx="17016">
                  <c:v>43508</c:v>
                </c:pt>
                <c:pt idx="17017">
                  <c:v>43507</c:v>
                </c:pt>
                <c:pt idx="17018">
                  <c:v>43507</c:v>
                </c:pt>
                <c:pt idx="17019">
                  <c:v>43507</c:v>
                </c:pt>
                <c:pt idx="17020">
                  <c:v>43507</c:v>
                </c:pt>
                <c:pt idx="17021">
                  <c:v>43506</c:v>
                </c:pt>
                <c:pt idx="17022">
                  <c:v>43506</c:v>
                </c:pt>
                <c:pt idx="17023">
                  <c:v>43505</c:v>
                </c:pt>
                <c:pt idx="17024">
                  <c:v>43505</c:v>
                </c:pt>
                <c:pt idx="17025">
                  <c:v>43505</c:v>
                </c:pt>
                <c:pt idx="17026">
                  <c:v>43503</c:v>
                </c:pt>
                <c:pt idx="17027">
                  <c:v>43501</c:v>
                </c:pt>
                <c:pt idx="17028">
                  <c:v>43500</c:v>
                </c:pt>
                <c:pt idx="17029">
                  <c:v>43500</c:v>
                </c:pt>
                <c:pt idx="17030">
                  <c:v>43500</c:v>
                </c:pt>
                <c:pt idx="17031">
                  <c:v>43499</c:v>
                </c:pt>
                <c:pt idx="17032">
                  <c:v>43499</c:v>
                </c:pt>
                <c:pt idx="17033">
                  <c:v>43495</c:v>
                </c:pt>
                <c:pt idx="17034">
                  <c:v>43494</c:v>
                </c:pt>
                <c:pt idx="17035">
                  <c:v>43493</c:v>
                </c:pt>
                <c:pt idx="17036">
                  <c:v>43493</c:v>
                </c:pt>
                <c:pt idx="17037">
                  <c:v>43493</c:v>
                </c:pt>
                <c:pt idx="17038">
                  <c:v>43492</c:v>
                </c:pt>
                <c:pt idx="17039">
                  <c:v>43489</c:v>
                </c:pt>
                <c:pt idx="17040">
                  <c:v>43488</c:v>
                </c:pt>
                <c:pt idx="17041">
                  <c:v>43487</c:v>
                </c:pt>
                <c:pt idx="17042">
                  <c:v>43486</c:v>
                </c:pt>
                <c:pt idx="17043">
                  <c:v>43486</c:v>
                </c:pt>
                <c:pt idx="17044">
                  <c:v>43486</c:v>
                </c:pt>
                <c:pt idx="17045">
                  <c:v>43485</c:v>
                </c:pt>
                <c:pt idx="17046">
                  <c:v>43485</c:v>
                </c:pt>
                <c:pt idx="17047">
                  <c:v>43484</c:v>
                </c:pt>
                <c:pt idx="17048">
                  <c:v>43482</c:v>
                </c:pt>
                <c:pt idx="17049">
                  <c:v>43482</c:v>
                </c:pt>
                <c:pt idx="17050">
                  <c:v>43482</c:v>
                </c:pt>
                <c:pt idx="17051">
                  <c:v>43482</c:v>
                </c:pt>
                <c:pt idx="17052">
                  <c:v>43481</c:v>
                </c:pt>
                <c:pt idx="17053">
                  <c:v>43479</c:v>
                </c:pt>
                <c:pt idx="17054">
                  <c:v>43479</c:v>
                </c:pt>
                <c:pt idx="17055">
                  <c:v>43478</c:v>
                </c:pt>
                <c:pt idx="17056">
                  <c:v>43477</c:v>
                </c:pt>
                <c:pt idx="17057">
                  <c:v>43477</c:v>
                </c:pt>
                <c:pt idx="17058">
                  <c:v>43476</c:v>
                </c:pt>
                <c:pt idx="17059">
                  <c:v>43476</c:v>
                </c:pt>
                <c:pt idx="17060">
                  <c:v>43476</c:v>
                </c:pt>
                <c:pt idx="17061">
                  <c:v>43475</c:v>
                </c:pt>
                <c:pt idx="17062">
                  <c:v>43475</c:v>
                </c:pt>
                <c:pt idx="17063">
                  <c:v>43474</c:v>
                </c:pt>
                <c:pt idx="17064">
                  <c:v>43473</c:v>
                </c:pt>
                <c:pt idx="17065">
                  <c:v>43471</c:v>
                </c:pt>
                <c:pt idx="17066">
                  <c:v>43471</c:v>
                </c:pt>
                <c:pt idx="17067">
                  <c:v>43471</c:v>
                </c:pt>
                <c:pt idx="17068">
                  <c:v>43469</c:v>
                </c:pt>
                <c:pt idx="17069">
                  <c:v>43469</c:v>
                </c:pt>
                <c:pt idx="17070">
                  <c:v>43467</c:v>
                </c:pt>
                <c:pt idx="17071">
                  <c:v>43466</c:v>
                </c:pt>
                <c:pt idx="17072">
                  <c:v>43466</c:v>
                </c:pt>
                <c:pt idx="17073">
                  <c:v>43466</c:v>
                </c:pt>
                <c:pt idx="17074">
                  <c:v>43466</c:v>
                </c:pt>
                <c:pt idx="17075">
                  <c:v>43466</c:v>
                </c:pt>
                <c:pt idx="17076">
                  <c:v>43465</c:v>
                </c:pt>
                <c:pt idx="17077">
                  <c:v>43465</c:v>
                </c:pt>
                <c:pt idx="17078">
                  <c:v>43465</c:v>
                </c:pt>
                <c:pt idx="17079">
                  <c:v>43464</c:v>
                </c:pt>
                <c:pt idx="17080">
                  <c:v>43464</c:v>
                </c:pt>
                <c:pt idx="17081">
                  <c:v>43463</c:v>
                </c:pt>
                <c:pt idx="17082">
                  <c:v>43462</c:v>
                </c:pt>
                <c:pt idx="17083">
                  <c:v>43462</c:v>
                </c:pt>
                <c:pt idx="17084">
                  <c:v>43461</c:v>
                </c:pt>
                <c:pt idx="17085">
                  <c:v>43460</c:v>
                </c:pt>
                <c:pt idx="17086">
                  <c:v>43459</c:v>
                </c:pt>
                <c:pt idx="17087">
                  <c:v>43459</c:v>
                </c:pt>
                <c:pt idx="17088">
                  <c:v>43459</c:v>
                </c:pt>
                <c:pt idx="17089">
                  <c:v>43458</c:v>
                </c:pt>
                <c:pt idx="17090">
                  <c:v>43458</c:v>
                </c:pt>
                <c:pt idx="17091">
                  <c:v>43458</c:v>
                </c:pt>
                <c:pt idx="17092">
                  <c:v>43458</c:v>
                </c:pt>
                <c:pt idx="17093">
                  <c:v>43457</c:v>
                </c:pt>
                <c:pt idx="17094">
                  <c:v>43457</c:v>
                </c:pt>
                <c:pt idx="17095">
                  <c:v>43457</c:v>
                </c:pt>
                <c:pt idx="17096">
                  <c:v>43457</c:v>
                </c:pt>
                <c:pt idx="17097">
                  <c:v>43457</c:v>
                </c:pt>
                <c:pt idx="17098">
                  <c:v>43456</c:v>
                </c:pt>
                <c:pt idx="17099">
                  <c:v>43456</c:v>
                </c:pt>
                <c:pt idx="17100">
                  <c:v>43455</c:v>
                </c:pt>
                <c:pt idx="17101">
                  <c:v>43455</c:v>
                </c:pt>
                <c:pt idx="17102">
                  <c:v>43454</c:v>
                </c:pt>
                <c:pt idx="17103">
                  <c:v>43453</c:v>
                </c:pt>
                <c:pt idx="17104">
                  <c:v>43453</c:v>
                </c:pt>
                <c:pt idx="17105">
                  <c:v>43453</c:v>
                </c:pt>
                <c:pt idx="17106">
                  <c:v>43452</c:v>
                </c:pt>
                <c:pt idx="17107">
                  <c:v>43452</c:v>
                </c:pt>
                <c:pt idx="17108">
                  <c:v>43451</c:v>
                </c:pt>
                <c:pt idx="17109">
                  <c:v>43451</c:v>
                </c:pt>
                <c:pt idx="17110">
                  <c:v>43450</c:v>
                </c:pt>
                <c:pt idx="17111">
                  <c:v>43450</c:v>
                </c:pt>
                <c:pt idx="17112">
                  <c:v>43449</c:v>
                </c:pt>
                <c:pt idx="17113">
                  <c:v>43448</c:v>
                </c:pt>
                <c:pt idx="17114">
                  <c:v>43448</c:v>
                </c:pt>
                <c:pt idx="17115">
                  <c:v>43448</c:v>
                </c:pt>
                <c:pt idx="17116">
                  <c:v>43448</c:v>
                </c:pt>
                <c:pt idx="17117">
                  <c:v>43448</c:v>
                </c:pt>
                <c:pt idx="17118">
                  <c:v>43447</c:v>
                </c:pt>
                <c:pt idx="17119">
                  <c:v>43446</c:v>
                </c:pt>
                <c:pt idx="17120">
                  <c:v>43446</c:v>
                </c:pt>
                <c:pt idx="17121">
                  <c:v>43445</c:v>
                </c:pt>
                <c:pt idx="17122">
                  <c:v>43445</c:v>
                </c:pt>
                <c:pt idx="17123">
                  <c:v>43445</c:v>
                </c:pt>
                <c:pt idx="17124">
                  <c:v>43443</c:v>
                </c:pt>
                <c:pt idx="17125">
                  <c:v>43443</c:v>
                </c:pt>
                <c:pt idx="17126">
                  <c:v>43442</c:v>
                </c:pt>
                <c:pt idx="17127">
                  <c:v>43441</c:v>
                </c:pt>
                <c:pt idx="17128">
                  <c:v>43440</c:v>
                </c:pt>
                <c:pt idx="17129">
                  <c:v>43440</c:v>
                </c:pt>
                <c:pt idx="17130">
                  <c:v>43440</c:v>
                </c:pt>
                <c:pt idx="17131">
                  <c:v>43440</c:v>
                </c:pt>
                <c:pt idx="17132">
                  <c:v>43440</c:v>
                </c:pt>
                <c:pt idx="17133">
                  <c:v>43439</c:v>
                </c:pt>
                <c:pt idx="17134">
                  <c:v>43439</c:v>
                </c:pt>
                <c:pt idx="17135">
                  <c:v>43439</c:v>
                </c:pt>
                <c:pt idx="17136">
                  <c:v>43439</c:v>
                </c:pt>
                <c:pt idx="17137">
                  <c:v>43438</c:v>
                </c:pt>
                <c:pt idx="17138">
                  <c:v>43437</c:v>
                </c:pt>
                <c:pt idx="17139">
                  <c:v>43435</c:v>
                </c:pt>
                <c:pt idx="17140">
                  <c:v>43434</c:v>
                </c:pt>
                <c:pt idx="17141">
                  <c:v>43434</c:v>
                </c:pt>
                <c:pt idx="17142">
                  <c:v>43434</c:v>
                </c:pt>
                <c:pt idx="17143">
                  <c:v>43434</c:v>
                </c:pt>
                <c:pt idx="17144">
                  <c:v>43433</c:v>
                </c:pt>
                <c:pt idx="17145">
                  <c:v>43433</c:v>
                </c:pt>
                <c:pt idx="17146">
                  <c:v>43433</c:v>
                </c:pt>
                <c:pt idx="17147">
                  <c:v>43432</c:v>
                </c:pt>
                <c:pt idx="17148">
                  <c:v>43432</c:v>
                </c:pt>
                <c:pt idx="17149">
                  <c:v>43431</c:v>
                </c:pt>
                <c:pt idx="17150">
                  <c:v>43431</c:v>
                </c:pt>
                <c:pt idx="17151">
                  <c:v>43430</c:v>
                </c:pt>
                <c:pt idx="17152">
                  <c:v>43430</c:v>
                </c:pt>
                <c:pt idx="17153">
                  <c:v>43430</c:v>
                </c:pt>
                <c:pt idx="17154">
                  <c:v>43429</c:v>
                </c:pt>
                <c:pt idx="17155">
                  <c:v>43429</c:v>
                </c:pt>
                <c:pt idx="17156">
                  <c:v>43427</c:v>
                </c:pt>
                <c:pt idx="17157">
                  <c:v>43427</c:v>
                </c:pt>
                <c:pt idx="17158">
                  <c:v>43427</c:v>
                </c:pt>
                <c:pt idx="17159">
                  <c:v>43426</c:v>
                </c:pt>
                <c:pt idx="17160">
                  <c:v>43426</c:v>
                </c:pt>
                <c:pt idx="17161">
                  <c:v>43425</c:v>
                </c:pt>
                <c:pt idx="17162">
                  <c:v>43425</c:v>
                </c:pt>
                <c:pt idx="17163">
                  <c:v>43424</c:v>
                </c:pt>
                <c:pt idx="17164">
                  <c:v>43424</c:v>
                </c:pt>
                <c:pt idx="17165">
                  <c:v>43422</c:v>
                </c:pt>
                <c:pt idx="17166">
                  <c:v>43422</c:v>
                </c:pt>
                <c:pt idx="17167">
                  <c:v>43422</c:v>
                </c:pt>
                <c:pt idx="17168">
                  <c:v>43420</c:v>
                </c:pt>
                <c:pt idx="17169">
                  <c:v>43420</c:v>
                </c:pt>
                <c:pt idx="17170">
                  <c:v>43419</c:v>
                </c:pt>
                <c:pt idx="17171">
                  <c:v>43419</c:v>
                </c:pt>
                <c:pt idx="17172">
                  <c:v>43419</c:v>
                </c:pt>
                <c:pt idx="17173">
                  <c:v>43419</c:v>
                </c:pt>
                <c:pt idx="17174">
                  <c:v>43418</c:v>
                </c:pt>
                <c:pt idx="17175">
                  <c:v>43418</c:v>
                </c:pt>
                <c:pt idx="17176">
                  <c:v>43418</c:v>
                </c:pt>
                <c:pt idx="17177">
                  <c:v>43417</c:v>
                </c:pt>
                <c:pt idx="17178">
                  <c:v>43417</c:v>
                </c:pt>
                <c:pt idx="17179">
                  <c:v>43417</c:v>
                </c:pt>
                <c:pt idx="17180">
                  <c:v>43416</c:v>
                </c:pt>
                <c:pt idx="17181">
                  <c:v>43415</c:v>
                </c:pt>
                <c:pt idx="17182">
                  <c:v>43415</c:v>
                </c:pt>
                <c:pt idx="17183">
                  <c:v>43415</c:v>
                </c:pt>
                <c:pt idx="17184">
                  <c:v>43413</c:v>
                </c:pt>
                <c:pt idx="17185">
                  <c:v>43413</c:v>
                </c:pt>
                <c:pt idx="17186">
                  <c:v>43412</c:v>
                </c:pt>
                <c:pt idx="17187">
                  <c:v>43412</c:v>
                </c:pt>
                <c:pt idx="17188">
                  <c:v>43412</c:v>
                </c:pt>
                <c:pt idx="17189">
                  <c:v>43412</c:v>
                </c:pt>
                <c:pt idx="17190">
                  <c:v>43411</c:v>
                </c:pt>
                <c:pt idx="17191">
                  <c:v>43411</c:v>
                </c:pt>
                <c:pt idx="17192">
                  <c:v>43411</c:v>
                </c:pt>
                <c:pt idx="17193">
                  <c:v>43407</c:v>
                </c:pt>
                <c:pt idx="17194">
                  <c:v>43407</c:v>
                </c:pt>
                <c:pt idx="17195">
                  <c:v>43406</c:v>
                </c:pt>
                <c:pt idx="17196">
                  <c:v>43404</c:v>
                </c:pt>
                <c:pt idx="17197">
                  <c:v>43403</c:v>
                </c:pt>
                <c:pt idx="17198">
                  <c:v>43403</c:v>
                </c:pt>
                <c:pt idx="17199">
                  <c:v>43402</c:v>
                </c:pt>
                <c:pt idx="17200">
                  <c:v>43402</c:v>
                </c:pt>
                <c:pt idx="17201">
                  <c:v>43401</c:v>
                </c:pt>
                <c:pt idx="17202">
                  <c:v>43401</c:v>
                </c:pt>
                <c:pt idx="17203">
                  <c:v>43400</c:v>
                </c:pt>
                <c:pt idx="17204">
                  <c:v>43400</c:v>
                </c:pt>
                <c:pt idx="17205">
                  <c:v>43399</c:v>
                </c:pt>
                <c:pt idx="17206">
                  <c:v>43398</c:v>
                </c:pt>
                <c:pt idx="17207">
                  <c:v>43397</c:v>
                </c:pt>
                <c:pt idx="17208">
                  <c:v>43397</c:v>
                </c:pt>
                <c:pt idx="17209">
                  <c:v>43395</c:v>
                </c:pt>
                <c:pt idx="17210">
                  <c:v>43393</c:v>
                </c:pt>
                <c:pt idx="17211">
                  <c:v>43393</c:v>
                </c:pt>
                <c:pt idx="17212">
                  <c:v>43393</c:v>
                </c:pt>
                <c:pt idx="17213">
                  <c:v>43393</c:v>
                </c:pt>
                <c:pt idx="17214">
                  <c:v>43392</c:v>
                </c:pt>
                <c:pt idx="17215">
                  <c:v>43392</c:v>
                </c:pt>
                <c:pt idx="17216">
                  <c:v>43391</c:v>
                </c:pt>
                <c:pt idx="17217">
                  <c:v>43390</c:v>
                </c:pt>
                <c:pt idx="17218">
                  <c:v>43390</c:v>
                </c:pt>
                <c:pt idx="17219">
                  <c:v>43390</c:v>
                </c:pt>
                <c:pt idx="17220">
                  <c:v>43390</c:v>
                </c:pt>
                <c:pt idx="17221">
                  <c:v>43389</c:v>
                </c:pt>
                <c:pt idx="17222">
                  <c:v>43389</c:v>
                </c:pt>
                <c:pt idx="17223">
                  <c:v>43388</c:v>
                </c:pt>
                <c:pt idx="17224">
                  <c:v>43388</c:v>
                </c:pt>
                <c:pt idx="17225">
                  <c:v>43387</c:v>
                </c:pt>
                <c:pt idx="17226">
                  <c:v>43387</c:v>
                </c:pt>
                <c:pt idx="17227">
                  <c:v>43386</c:v>
                </c:pt>
                <c:pt idx="17228">
                  <c:v>43386</c:v>
                </c:pt>
                <c:pt idx="17229">
                  <c:v>43386</c:v>
                </c:pt>
                <c:pt idx="17230">
                  <c:v>43385</c:v>
                </c:pt>
                <c:pt idx="17231">
                  <c:v>43385</c:v>
                </c:pt>
                <c:pt idx="17232">
                  <c:v>43385</c:v>
                </c:pt>
                <c:pt idx="17233">
                  <c:v>43385</c:v>
                </c:pt>
                <c:pt idx="17234">
                  <c:v>43385</c:v>
                </c:pt>
                <c:pt idx="17235">
                  <c:v>43385</c:v>
                </c:pt>
                <c:pt idx="17236">
                  <c:v>43384</c:v>
                </c:pt>
                <c:pt idx="17237">
                  <c:v>43384</c:v>
                </c:pt>
                <c:pt idx="17238">
                  <c:v>43384</c:v>
                </c:pt>
                <c:pt idx="17239">
                  <c:v>43383</c:v>
                </c:pt>
                <c:pt idx="17240">
                  <c:v>43383</c:v>
                </c:pt>
                <c:pt idx="17241">
                  <c:v>43383</c:v>
                </c:pt>
                <c:pt idx="17242">
                  <c:v>43382</c:v>
                </c:pt>
                <c:pt idx="17243">
                  <c:v>43382</c:v>
                </c:pt>
                <c:pt idx="17244">
                  <c:v>43382</c:v>
                </c:pt>
                <c:pt idx="17245">
                  <c:v>43382</c:v>
                </c:pt>
                <c:pt idx="17246">
                  <c:v>43381</c:v>
                </c:pt>
                <c:pt idx="17247">
                  <c:v>43380</c:v>
                </c:pt>
                <c:pt idx="17248">
                  <c:v>43380</c:v>
                </c:pt>
                <c:pt idx="17249">
                  <c:v>43380</c:v>
                </c:pt>
                <c:pt idx="17250">
                  <c:v>43379</c:v>
                </c:pt>
                <c:pt idx="17251">
                  <c:v>43379</c:v>
                </c:pt>
                <c:pt idx="17252">
                  <c:v>43379</c:v>
                </c:pt>
                <c:pt idx="17253">
                  <c:v>43379</c:v>
                </c:pt>
                <c:pt idx="17254">
                  <c:v>43378</c:v>
                </c:pt>
                <c:pt idx="17255">
                  <c:v>43378</c:v>
                </c:pt>
                <c:pt idx="17256">
                  <c:v>43378</c:v>
                </c:pt>
                <c:pt idx="17257">
                  <c:v>43376</c:v>
                </c:pt>
                <c:pt idx="17258">
                  <c:v>43376</c:v>
                </c:pt>
                <c:pt idx="17259">
                  <c:v>43376</c:v>
                </c:pt>
                <c:pt idx="17260">
                  <c:v>43373</c:v>
                </c:pt>
                <c:pt idx="17261">
                  <c:v>43373</c:v>
                </c:pt>
                <c:pt idx="17262">
                  <c:v>43372</c:v>
                </c:pt>
                <c:pt idx="17263">
                  <c:v>43370</c:v>
                </c:pt>
                <c:pt idx="17264">
                  <c:v>43370</c:v>
                </c:pt>
                <c:pt idx="17265">
                  <c:v>43368</c:v>
                </c:pt>
                <c:pt idx="17266">
                  <c:v>43366</c:v>
                </c:pt>
                <c:pt idx="17267">
                  <c:v>43366</c:v>
                </c:pt>
                <c:pt idx="17268">
                  <c:v>43365</c:v>
                </c:pt>
                <c:pt idx="17269">
                  <c:v>43364</c:v>
                </c:pt>
                <c:pt idx="17270">
                  <c:v>43362</c:v>
                </c:pt>
                <c:pt idx="17271">
                  <c:v>43361</c:v>
                </c:pt>
                <c:pt idx="17272">
                  <c:v>43360</c:v>
                </c:pt>
                <c:pt idx="17273">
                  <c:v>43360</c:v>
                </c:pt>
                <c:pt idx="17274">
                  <c:v>43359</c:v>
                </c:pt>
                <c:pt idx="17275">
                  <c:v>43357</c:v>
                </c:pt>
                <c:pt idx="17276">
                  <c:v>43357</c:v>
                </c:pt>
                <c:pt idx="17277">
                  <c:v>43357</c:v>
                </c:pt>
                <c:pt idx="17278">
                  <c:v>43357</c:v>
                </c:pt>
                <c:pt idx="17279">
                  <c:v>43355</c:v>
                </c:pt>
                <c:pt idx="17280">
                  <c:v>43355</c:v>
                </c:pt>
                <c:pt idx="17281">
                  <c:v>43353</c:v>
                </c:pt>
                <c:pt idx="17282">
                  <c:v>43353</c:v>
                </c:pt>
                <c:pt idx="17283">
                  <c:v>43352</c:v>
                </c:pt>
                <c:pt idx="17284">
                  <c:v>43351</c:v>
                </c:pt>
                <c:pt idx="17285">
                  <c:v>43351</c:v>
                </c:pt>
                <c:pt idx="17286">
                  <c:v>43349</c:v>
                </c:pt>
                <c:pt idx="17287">
                  <c:v>43349</c:v>
                </c:pt>
                <c:pt idx="17288">
                  <c:v>43349</c:v>
                </c:pt>
                <c:pt idx="17289">
                  <c:v>43348</c:v>
                </c:pt>
                <c:pt idx="17290">
                  <c:v>43348</c:v>
                </c:pt>
                <c:pt idx="17291">
                  <c:v>43347</c:v>
                </c:pt>
                <c:pt idx="17292">
                  <c:v>43347</c:v>
                </c:pt>
                <c:pt idx="17293">
                  <c:v>43345</c:v>
                </c:pt>
                <c:pt idx="17294">
                  <c:v>43345</c:v>
                </c:pt>
                <c:pt idx="17295">
                  <c:v>43345</c:v>
                </c:pt>
                <c:pt idx="17296">
                  <c:v>43344</c:v>
                </c:pt>
                <c:pt idx="17297">
                  <c:v>43344</c:v>
                </c:pt>
                <c:pt idx="17298">
                  <c:v>43344</c:v>
                </c:pt>
                <c:pt idx="17299">
                  <c:v>43343</c:v>
                </c:pt>
                <c:pt idx="17300">
                  <c:v>43343</c:v>
                </c:pt>
                <c:pt idx="17301">
                  <c:v>43342</c:v>
                </c:pt>
                <c:pt idx="17302">
                  <c:v>43342</c:v>
                </c:pt>
                <c:pt idx="17303">
                  <c:v>43340</c:v>
                </c:pt>
                <c:pt idx="17304">
                  <c:v>43340</c:v>
                </c:pt>
                <c:pt idx="17305">
                  <c:v>43340</c:v>
                </c:pt>
                <c:pt idx="17306">
                  <c:v>43339</c:v>
                </c:pt>
                <c:pt idx="17307">
                  <c:v>43339</c:v>
                </c:pt>
                <c:pt idx="17308">
                  <c:v>43338</c:v>
                </c:pt>
                <c:pt idx="17309">
                  <c:v>43338</c:v>
                </c:pt>
                <c:pt idx="17310">
                  <c:v>43337</c:v>
                </c:pt>
                <c:pt idx="17311">
                  <c:v>43337</c:v>
                </c:pt>
                <c:pt idx="17312">
                  <c:v>43336</c:v>
                </c:pt>
                <c:pt idx="17313">
                  <c:v>43336</c:v>
                </c:pt>
                <c:pt idx="17314">
                  <c:v>43334</c:v>
                </c:pt>
                <c:pt idx="17315">
                  <c:v>43333</c:v>
                </c:pt>
                <c:pt idx="17316">
                  <c:v>43332</c:v>
                </c:pt>
                <c:pt idx="17317">
                  <c:v>43332</c:v>
                </c:pt>
                <c:pt idx="17318">
                  <c:v>43332</c:v>
                </c:pt>
                <c:pt idx="17319">
                  <c:v>43331</c:v>
                </c:pt>
                <c:pt idx="17320">
                  <c:v>43331</c:v>
                </c:pt>
                <c:pt idx="17321">
                  <c:v>43330</c:v>
                </c:pt>
                <c:pt idx="17322">
                  <c:v>43330</c:v>
                </c:pt>
                <c:pt idx="17323">
                  <c:v>43330</c:v>
                </c:pt>
                <c:pt idx="17324">
                  <c:v>43328</c:v>
                </c:pt>
                <c:pt idx="17325">
                  <c:v>43328</c:v>
                </c:pt>
                <c:pt idx="17326">
                  <c:v>43327</c:v>
                </c:pt>
                <c:pt idx="17327">
                  <c:v>43327</c:v>
                </c:pt>
                <c:pt idx="17328">
                  <c:v>43327</c:v>
                </c:pt>
                <c:pt idx="17329">
                  <c:v>43327</c:v>
                </c:pt>
                <c:pt idx="17330">
                  <c:v>43325</c:v>
                </c:pt>
                <c:pt idx="17331">
                  <c:v>43323</c:v>
                </c:pt>
                <c:pt idx="17332">
                  <c:v>43322</c:v>
                </c:pt>
                <c:pt idx="17333">
                  <c:v>43322</c:v>
                </c:pt>
                <c:pt idx="17334">
                  <c:v>43322</c:v>
                </c:pt>
                <c:pt idx="17335">
                  <c:v>43322</c:v>
                </c:pt>
                <c:pt idx="17336">
                  <c:v>43322</c:v>
                </c:pt>
                <c:pt idx="17337">
                  <c:v>43322</c:v>
                </c:pt>
                <c:pt idx="17338">
                  <c:v>43321</c:v>
                </c:pt>
                <c:pt idx="17339">
                  <c:v>43320</c:v>
                </c:pt>
                <c:pt idx="17340">
                  <c:v>43320</c:v>
                </c:pt>
                <c:pt idx="17341">
                  <c:v>43320</c:v>
                </c:pt>
                <c:pt idx="17342">
                  <c:v>43320</c:v>
                </c:pt>
                <c:pt idx="17343">
                  <c:v>43319</c:v>
                </c:pt>
                <c:pt idx="17344">
                  <c:v>43318</c:v>
                </c:pt>
                <c:pt idx="17345">
                  <c:v>43318</c:v>
                </c:pt>
                <c:pt idx="17346">
                  <c:v>43318</c:v>
                </c:pt>
                <c:pt idx="17347">
                  <c:v>43317</c:v>
                </c:pt>
                <c:pt idx="17348">
                  <c:v>43317</c:v>
                </c:pt>
                <c:pt idx="17349">
                  <c:v>43316</c:v>
                </c:pt>
                <c:pt idx="17350">
                  <c:v>43316</c:v>
                </c:pt>
                <c:pt idx="17351">
                  <c:v>43316</c:v>
                </c:pt>
                <c:pt idx="17352">
                  <c:v>43315</c:v>
                </c:pt>
                <c:pt idx="17353">
                  <c:v>43314</c:v>
                </c:pt>
                <c:pt idx="17354">
                  <c:v>43314</c:v>
                </c:pt>
                <c:pt idx="17355">
                  <c:v>43314</c:v>
                </c:pt>
                <c:pt idx="17356">
                  <c:v>43314</c:v>
                </c:pt>
                <c:pt idx="17357">
                  <c:v>43313</c:v>
                </c:pt>
                <c:pt idx="17358">
                  <c:v>43313</c:v>
                </c:pt>
                <c:pt idx="17359">
                  <c:v>43310</c:v>
                </c:pt>
                <c:pt idx="17360">
                  <c:v>43309</c:v>
                </c:pt>
                <c:pt idx="17361">
                  <c:v>43309</c:v>
                </c:pt>
                <c:pt idx="17362">
                  <c:v>43309</c:v>
                </c:pt>
                <c:pt idx="17363">
                  <c:v>43307</c:v>
                </c:pt>
                <c:pt idx="17364">
                  <c:v>43306</c:v>
                </c:pt>
                <c:pt idx="17365">
                  <c:v>43306</c:v>
                </c:pt>
                <c:pt idx="17366">
                  <c:v>43305</c:v>
                </c:pt>
                <c:pt idx="17367">
                  <c:v>43305</c:v>
                </c:pt>
                <c:pt idx="17368">
                  <c:v>43305</c:v>
                </c:pt>
                <c:pt idx="17369">
                  <c:v>43305</c:v>
                </c:pt>
                <c:pt idx="17370">
                  <c:v>43304</c:v>
                </c:pt>
                <c:pt idx="17371">
                  <c:v>43304</c:v>
                </c:pt>
                <c:pt idx="17372">
                  <c:v>43304</c:v>
                </c:pt>
                <c:pt idx="17373">
                  <c:v>43303</c:v>
                </c:pt>
                <c:pt idx="17374">
                  <c:v>43302</c:v>
                </c:pt>
                <c:pt idx="17375">
                  <c:v>43302</c:v>
                </c:pt>
                <c:pt idx="17376">
                  <c:v>43301</c:v>
                </c:pt>
                <c:pt idx="17377">
                  <c:v>43300</c:v>
                </c:pt>
                <c:pt idx="17378">
                  <c:v>43299</c:v>
                </c:pt>
                <c:pt idx="17379">
                  <c:v>43299</c:v>
                </c:pt>
                <c:pt idx="17380">
                  <c:v>43299</c:v>
                </c:pt>
                <c:pt idx="17381">
                  <c:v>43299</c:v>
                </c:pt>
                <c:pt idx="17382">
                  <c:v>43297</c:v>
                </c:pt>
                <c:pt idx="17383">
                  <c:v>43296</c:v>
                </c:pt>
                <c:pt idx="17384">
                  <c:v>43296</c:v>
                </c:pt>
                <c:pt idx="17385">
                  <c:v>43295</c:v>
                </c:pt>
                <c:pt idx="17386">
                  <c:v>43295</c:v>
                </c:pt>
                <c:pt idx="17387">
                  <c:v>43295</c:v>
                </c:pt>
                <c:pt idx="17388">
                  <c:v>43294</c:v>
                </c:pt>
                <c:pt idx="17389">
                  <c:v>43294</c:v>
                </c:pt>
                <c:pt idx="17390">
                  <c:v>43293</c:v>
                </c:pt>
                <c:pt idx="17391">
                  <c:v>43292</c:v>
                </c:pt>
                <c:pt idx="17392">
                  <c:v>43292</c:v>
                </c:pt>
                <c:pt idx="17393">
                  <c:v>43291</c:v>
                </c:pt>
                <c:pt idx="17394">
                  <c:v>43290</c:v>
                </c:pt>
                <c:pt idx="17395">
                  <c:v>43289</c:v>
                </c:pt>
                <c:pt idx="17396">
                  <c:v>43288</c:v>
                </c:pt>
                <c:pt idx="17397">
                  <c:v>43288</c:v>
                </c:pt>
                <c:pt idx="17398">
                  <c:v>43288</c:v>
                </c:pt>
                <c:pt idx="17399">
                  <c:v>43286</c:v>
                </c:pt>
                <c:pt idx="17400">
                  <c:v>43284</c:v>
                </c:pt>
                <c:pt idx="17401">
                  <c:v>43284</c:v>
                </c:pt>
                <c:pt idx="17402">
                  <c:v>43283</c:v>
                </c:pt>
                <c:pt idx="17403">
                  <c:v>43282</c:v>
                </c:pt>
                <c:pt idx="17404">
                  <c:v>43281</c:v>
                </c:pt>
                <c:pt idx="17405">
                  <c:v>43281</c:v>
                </c:pt>
                <c:pt idx="17406">
                  <c:v>43280</c:v>
                </c:pt>
                <c:pt idx="17407">
                  <c:v>43279</c:v>
                </c:pt>
                <c:pt idx="17408">
                  <c:v>43279</c:v>
                </c:pt>
                <c:pt idx="17409">
                  <c:v>43278</c:v>
                </c:pt>
                <c:pt idx="17410">
                  <c:v>43277</c:v>
                </c:pt>
                <c:pt idx="17411">
                  <c:v>43277</c:v>
                </c:pt>
                <c:pt idx="17412">
                  <c:v>43276</c:v>
                </c:pt>
                <c:pt idx="17413">
                  <c:v>43275</c:v>
                </c:pt>
                <c:pt idx="17414">
                  <c:v>43274</c:v>
                </c:pt>
                <c:pt idx="17415">
                  <c:v>43273</c:v>
                </c:pt>
                <c:pt idx="17416">
                  <c:v>43272</c:v>
                </c:pt>
                <c:pt idx="17417">
                  <c:v>43270</c:v>
                </c:pt>
                <c:pt idx="17418">
                  <c:v>43270</c:v>
                </c:pt>
                <c:pt idx="17419">
                  <c:v>43269</c:v>
                </c:pt>
                <c:pt idx="17420">
                  <c:v>43268</c:v>
                </c:pt>
                <c:pt idx="17421">
                  <c:v>43268</c:v>
                </c:pt>
                <c:pt idx="17422">
                  <c:v>43267</c:v>
                </c:pt>
                <c:pt idx="17423">
                  <c:v>43266</c:v>
                </c:pt>
                <c:pt idx="17424">
                  <c:v>43266</c:v>
                </c:pt>
                <c:pt idx="17425">
                  <c:v>43265</c:v>
                </c:pt>
                <c:pt idx="17426">
                  <c:v>43265</c:v>
                </c:pt>
                <c:pt idx="17427">
                  <c:v>43265</c:v>
                </c:pt>
                <c:pt idx="17428">
                  <c:v>43264</c:v>
                </c:pt>
                <c:pt idx="17429">
                  <c:v>43263</c:v>
                </c:pt>
                <c:pt idx="17430">
                  <c:v>43262</c:v>
                </c:pt>
                <c:pt idx="17431">
                  <c:v>43261</c:v>
                </c:pt>
                <c:pt idx="17432">
                  <c:v>43260</c:v>
                </c:pt>
                <c:pt idx="17433">
                  <c:v>43260</c:v>
                </c:pt>
                <c:pt idx="17434">
                  <c:v>43260</c:v>
                </c:pt>
                <c:pt idx="17435">
                  <c:v>43259</c:v>
                </c:pt>
                <c:pt idx="17436">
                  <c:v>43259</c:v>
                </c:pt>
                <c:pt idx="17437">
                  <c:v>43259</c:v>
                </c:pt>
                <c:pt idx="17438">
                  <c:v>43259</c:v>
                </c:pt>
                <c:pt idx="17439">
                  <c:v>43259</c:v>
                </c:pt>
                <c:pt idx="17440">
                  <c:v>43259</c:v>
                </c:pt>
                <c:pt idx="17441">
                  <c:v>43258</c:v>
                </c:pt>
                <c:pt idx="17442">
                  <c:v>43257</c:v>
                </c:pt>
                <c:pt idx="17443">
                  <c:v>43257</c:v>
                </c:pt>
                <c:pt idx="17444">
                  <c:v>43256</c:v>
                </c:pt>
                <c:pt idx="17445">
                  <c:v>43256</c:v>
                </c:pt>
                <c:pt idx="17446">
                  <c:v>43255</c:v>
                </c:pt>
                <c:pt idx="17447">
                  <c:v>43253</c:v>
                </c:pt>
                <c:pt idx="17448">
                  <c:v>43251</c:v>
                </c:pt>
                <c:pt idx="17449">
                  <c:v>43250</c:v>
                </c:pt>
                <c:pt idx="17450">
                  <c:v>43249</c:v>
                </c:pt>
                <c:pt idx="17451">
                  <c:v>43249</c:v>
                </c:pt>
                <c:pt idx="17452">
                  <c:v>43249</c:v>
                </c:pt>
                <c:pt idx="17453">
                  <c:v>43249</c:v>
                </c:pt>
                <c:pt idx="17454">
                  <c:v>43249</c:v>
                </c:pt>
                <c:pt idx="17455">
                  <c:v>43249</c:v>
                </c:pt>
                <c:pt idx="17456">
                  <c:v>43248</c:v>
                </c:pt>
                <c:pt idx="17457">
                  <c:v>43247</c:v>
                </c:pt>
                <c:pt idx="17458">
                  <c:v>43247</c:v>
                </c:pt>
                <c:pt idx="17459">
                  <c:v>43246</c:v>
                </c:pt>
                <c:pt idx="17460">
                  <c:v>43245</c:v>
                </c:pt>
                <c:pt idx="17461">
                  <c:v>43245</c:v>
                </c:pt>
                <c:pt idx="17462">
                  <c:v>43244</c:v>
                </c:pt>
                <c:pt idx="17463">
                  <c:v>43244</c:v>
                </c:pt>
                <c:pt idx="17464">
                  <c:v>43244</c:v>
                </c:pt>
                <c:pt idx="17465">
                  <c:v>43244</c:v>
                </c:pt>
                <c:pt idx="17466">
                  <c:v>43243</c:v>
                </c:pt>
                <c:pt idx="17467">
                  <c:v>43243</c:v>
                </c:pt>
                <c:pt idx="17468">
                  <c:v>43243</c:v>
                </c:pt>
                <c:pt idx="17469">
                  <c:v>43242</c:v>
                </c:pt>
                <c:pt idx="17470">
                  <c:v>43242</c:v>
                </c:pt>
                <c:pt idx="17471">
                  <c:v>43242</c:v>
                </c:pt>
                <c:pt idx="17472">
                  <c:v>43240</c:v>
                </c:pt>
                <c:pt idx="17473">
                  <c:v>43239</c:v>
                </c:pt>
                <c:pt idx="17474">
                  <c:v>43239</c:v>
                </c:pt>
                <c:pt idx="17475">
                  <c:v>43239</c:v>
                </c:pt>
                <c:pt idx="17476">
                  <c:v>43237</c:v>
                </c:pt>
                <c:pt idx="17477">
                  <c:v>43237</c:v>
                </c:pt>
                <c:pt idx="17478">
                  <c:v>43235</c:v>
                </c:pt>
                <c:pt idx="17479">
                  <c:v>43235</c:v>
                </c:pt>
                <c:pt idx="17480">
                  <c:v>43234</c:v>
                </c:pt>
                <c:pt idx="17481">
                  <c:v>43233</c:v>
                </c:pt>
                <c:pt idx="17482">
                  <c:v>43233</c:v>
                </c:pt>
                <c:pt idx="17483">
                  <c:v>43231</c:v>
                </c:pt>
                <c:pt idx="17484">
                  <c:v>43229</c:v>
                </c:pt>
                <c:pt idx="17485">
                  <c:v>43228</c:v>
                </c:pt>
                <c:pt idx="17486">
                  <c:v>43228</c:v>
                </c:pt>
                <c:pt idx="17487">
                  <c:v>43228</c:v>
                </c:pt>
                <c:pt idx="17488">
                  <c:v>43228</c:v>
                </c:pt>
                <c:pt idx="17489">
                  <c:v>43227</c:v>
                </c:pt>
                <c:pt idx="17490">
                  <c:v>43226</c:v>
                </c:pt>
                <c:pt idx="17491">
                  <c:v>43225</c:v>
                </c:pt>
                <c:pt idx="17492">
                  <c:v>43224</c:v>
                </c:pt>
                <c:pt idx="17493">
                  <c:v>43224</c:v>
                </c:pt>
                <c:pt idx="17494">
                  <c:v>43223</c:v>
                </c:pt>
                <c:pt idx="17495">
                  <c:v>43222</c:v>
                </c:pt>
                <c:pt idx="17496">
                  <c:v>43222</c:v>
                </c:pt>
                <c:pt idx="17497">
                  <c:v>43221</c:v>
                </c:pt>
                <c:pt idx="17498">
                  <c:v>43221</c:v>
                </c:pt>
                <c:pt idx="17499">
                  <c:v>43220</c:v>
                </c:pt>
                <c:pt idx="17500">
                  <c:v>43220</c:v>
                </c:pt>
                <c:pt idx="17501">
                  <c:v>43220</c:v>
                </c:pt>
                <c:pt idx="17502">
                  <c:v>43220</c:v>
                </c:pt>
                <c:pt idx="17503">
                  <c:v>43220</c:v>
                </c:pt>
                <c:pt idx="17504">
                  <c:v>43218</c:v>
                </c:pt>
                <c:pt idx="17505">
                  <c:v>43218</c:v>
                </c:pt>
                <c:pt idx="17506">
                  <c:v>43217</c:v>
                </c:pt>
                <c:pt idx="17507">
                  <c:v>43217</c:v>
                </c:pt>
                <c:pt idx="17508">
                  <c:v>43217</c:v>
                </c:pt>
                <c:pt idx="17509">
                  <c:v>43217</c:v>
                </c:pt>
                <c:pt idx="17510">
                  <c:v>43217</c:v>
                </c:pt>
                <c:pt idx="17511">
                  <c:v>43216</c:v>
                </c:pt>
                <c:pt idx="17512">
                  <c:v>43216</c:v>
                </c:pt>
                <c:pt idx="17513">
                  <c:v>43216</c:v>
                </c:pt>
                <c:pt idx="17514">
                  <c:v>43216</c:v>
                </c:pt>
                <c:pt idx="17515">
                  <c:v>43216</c:v>
                </c:pt>
                <c:pt idx="17516">
                  <c:v>43216</c:v>
                </c:pt>
                <c:pt idx="17517">
                  <c:v>43216</c:v>
                </c:pt>
                <c:pt idx="17518">
                  <c:v>43215</c:v>
                </c:pt>
                <c:pt idx="17519">
                  <c:v>43215</c:v>
                </c:pt>
                <c:pt idx="17520">
                  <c:v>43213</c:v>
                </c:pt>
                <c:pt idx="17521">
                  <c:v>43213</c:v>
                </c:pt>
                <c:pt idx="17522">
                  <c:v>43213</c:v>
                </c:pt>
                <c:pt idx="17523">
                  <c:v>43212</c:v>
                </c:pt>
                <c:pt idx="17524">
                  <c:v>43212</c:v>
                </c:pt>
                <c:pt idx="17525">
                  <c:v>43210</c:v>
                </c:pt>
                <c:pt idx="17526">
                  <c:v>43210</c:v>
                </c:pt>
                <c:pt idx="17527">
                  <c:v>43209</c:v>
                </c:pt>
                <c:pt idx="17528">
                  <c:v>43208</c:v>
                </c:pt>
                <c:pt idx="17529">
                  <c:v>43208</c:v>
                </c:pt>
                <c:pt idx="17530">
                  <c:v>43208</c:v>
                </c:pt>
                <c:pt idx="17531">
                  <c:v>43207</c:v>
                </c:pt>
                <c:pt idx="17532">
                  <c:v>43207</c:v>
                </c:pt>
                <c:pt idx="17533">
                  <c:v>43206</c:v>
                </c:pt>
                <c:pt idx="17534">
                  <c:v>43206</c:v>
                </c:pt>
                <c:pt idx="17535">
                  <c:v>43206</c:v>
                </c:pt>
                <c:pt idx="17536">
                  <c:v>43205</c:v>
                </c:pt>
                <c:pt idx="17537">
                  <c:v>43204</c:v>
                </c:pt>
                <c:pt idx="17538">
                  <c:v>43203</c:v>
                </c:pt>
                <c:pt idx="17539">
                  <c:v>43203</c:v>
                </c:pt>
                <c:pt idx="17540">
                  <c:v>43203</c:v>
                </c:pt>
                <c:pt idx="17541">
                  <c:v>43202</c:v>
                </c:pt>
                <c:pt idx="17542">
                  <c:v>43201</c:v>
                </c:pt>
                <c:pt idx="17543">
                  <c:v>43201</c:v>
                </c:pt>
                <c:pt idx="17544">
                  <c:v>43200</c:v>
                </c:pt>
                <c:pt idx="17545">
                  <c:v>43200</c:v>
                </c:pt>
                <c:pt idx="17546">
                  <c:v>43199</c:v>
                </c:pt>
                <c:pt idx="17547">
                  <c:v>43199</c:v>
                </c:pt>
                <c:pt idx="17548">
                  <c:v>43199</c:v>
                </c:pt>
                <c:pt idx="17549">
                  <c:v>43198</c:v>
                </c:pt>
                <c:pt idx="17550">
                  <c:v>43198</c:v>
                </c:pt>
                <c:pt idx="17551">
                  <c:v>43198</c:v>
                </c:pt>
                <c:pt idx="17552">
                  <c:v>43196</c:v>
                </c:pt>
                <c:pt idx="17553">
                  <c:v>43194</c:v>
                </c:pt>
                <c:pt idx="17554">
                  <c:v>43193</c:v>
                </c:pt>
                <c:pt idx="17555">
                  <c:v>43192</c:v>
                </c:pt>
                <c:pt idx="17556">
                  <c:v>43192</c:v>
                </c:pt>
                <c:pt idx="17557">
                  <c:v>43191</c:v>
                </c:pt>
                <c:pt idx="17558">
                  <c:v>43191</c:v>
                </c:pt>
                <c:pt idx="17559">
                  <c:v>43191</c:v>
                </c:pt>
                <c:pt idx="17560">
                  <c:v>43191</c:v>
                </c:pt>
                <c:pt idx="17561">
                  <c:v>43190</c:v>
                </c:pt>
                <c:pt idx="17562">
                  <c:v>43190</c:v>
                </c:pt>
                <c:pt idx="17563">
                  <c:v>43189</c:v>
                </c:pt>
                <c:pt idx="17564">
                  <c:v>43189</c:v>
                </c:pt>
                <c:pt idx="17565">
                  <c:v>43188</c:v>
                </c:pt>
                <c:pt idx="17566">
                  <c:v>43187</c:v>
                </c:pt>
                <c:pt idx="17567">
                  <c:v>43186</c:v>
                </c:pt>
                <c:pt idx="17568">
                  <c:v>43186</c:v>
                </c:pt>
                <c:pt idx="17569">
                  <c:v>43186</c:v>
                </c:pt>
                <c:pt idx="17570">
                  <c:v>43185</c:v>
                </c:pt>
                <c:pt idx="17571">
                  <c:v>43184</c:v>
                </c:pt>
                <c:pt idx="17572">
                  <c:v>43183</c:v>
                </c:pt>
                <c:pt idx="17573">
                  <c:v>43183</c:v>
                </c:pt>
                <c:pt idx="17574">
                  <c:v>43182</c:v>
                </c:pt>
                <c:pt idx="17575">
                  <c:v>43181</c:v>
                </c:pt>
                <c:pt idx="17576">
                  <c:v>43179</c:v>
                </c:pt>
                <c:pt idx="17577">
                  <c:v>43178</c:v>
                </c:pt>
                <c:pt idx="17578">
                  <c:v>43177</c:v>
                </c:pt>
                <c:pt idx="17579">
                  <c:v>43177</c:v>
                </c:pt>
                <c:pt idx="17580">
                  <c:v>43177</c:v>
                </c:pt>
                <c:pt idx="17581">
                  <c:v>43177</c:v>
                </c:pt>
                <c:pt idx="17582">
                  <c:v>43175</c:v>
                </c:pt>
                <c:pt idx="17583">
                  <c:v>43175</c:v>
                </c:pt>
                <c:pt idx="17584">
                  <c:v>43174</c:v>
                </c:pt>
                <c:pt idx="17585">
                  <c:v>43174</c:v>
                </c:pt>
                <c:pt idx="17586">
                  <c:v>43173</c:v>
                </c:pt>
                <c:pt idx="17587">
                  <c:v>43170</c:v>
                </c:pt>
                <c:pt idx="17588">
                  <c:v>43170</c:v>
                </c:pt>
                <c:pt idx="17589">
                  <c:v>43169</c:v>
                </c:pt>
                <c:pt idx="17590">
                  <c:v>43169</c:v>
                </c:pt>
                <c:pt idx="17591">
                  <c:v>43169</c:v>
                </c:pt>
                <c:pt idx="17592">
                  <c:v>43168</c:v>
                </c:pt>
                <c:pt idx="17593">
                  <c:v>43167</c:v>
                </c:pt>
                <c:pt idx="17594">
                  <c:v>43167</c:v>
                </c:pt>
                <c:pt idx="17595">
                  <c:v>43167</c:v>
                </c:pt>
                <c:pt idx="17596">
                  <c:v>43166</c:v>
                </c:pt>
                <c:pt idx="17597">
                  <c:v>43166</c:v>
                </c:pt>
                <c:pt idx="17598">
                  <c:v>43166</c:v>
                </c:pt>
                <c:pt idx="17599">
                  <c:v>43165</c:v>
                </c:pt>
                <c:pt idx="17600">
                  <c:v>43165</c:v>
                </c:pt>
                <c:pt idx="17601">
                  <c:v>43165</c:v>
                </c:pt>
                <c:pt idx="17602">
                  <c:v>43164</c:v>
                </c:pt>
                <c:pt idx="17603">
                  <c:v>43164</c:v>
                </c:pt>
                <c:pt idx="17604">
                  <c:v>43164</c:v>
                </c:pt>
                <c:pt idx="17605">
                  <c:v>43164</c:v>
                </c:pt>
                <c:pt idx="17606">
                  <c:v>43163</c:v>
                </c:pt>
                <c:pt idx="17607">
                  <c:v>43163</c:v>
                </c:pt>
                <c:pt idx="17608">
                  <c:v>43162</c:v>
                </c:pt>
                <c:pt idx="17609">
                  <c:v>43162</c:v>
                </c:pt>
                <c:pt idx="17610">
                  <c:v>43162</c:v>
                </c:pt>
                <c:pt idx="17611">
                  <c:v>43160</c:v>
                </c:pt>
                <c:pt idx="17612">
                  <c:v>43160</c:v>
                </c:pt>
                <c:pt idx="17613">
                  <c:v>43159</c:v>
                </c:pt>
                <c:pt idx="17614">
                  <c:v>43157</c:v>
                </c:pt>
                <c:pt idx="17615">
                  <c:v>43157</c:v>
                </c:pt>
                <c:pt idx="17616">
                  <c:v>43157</c:v>
                </c:pt>
                <c:pt idx="17617">
                  <c:v>43157</c:v>
                </c:pt>
                <c:pt idx="17618">
                  <c:v>43155</c:v>
                </c:pt>
                <c:pt idx="17619">
                  <c:v>43155</c:v>
                </c:pt>
                <c:pt idx="17620">
                  <c:v>43155</c:v>
                </c:pt>
                <c:pt idx="17621">
                  <c:v>43154</c:v>
                </c:pt>
                <c:pt idx="17622">
                  <c:v>43154</c:v>
                </c:pt>
                <c:pt idx="17623">
                  <c:v>43153</c:v>
                </c:pt>
                <c:pt idx="17624">
                  <c:v>43153</c:v>
                </c:pt>
                <c:pt idx="17625">
                  <c:v>43152</c:v>
                </c:pt>
                <c:pt idx="17626">
                  <c:v>43152</c:v>
                </c:pt>
                <c:pt idx="17627">
                  <c:v>43151</c:v>
                </c:pt>
                <c:pt idx="17628">
                  <c:v>43150</c:v>
                </c:pt>
                <c:pt idx="17629">
                  <c:v>43150</c:v>
                </c:pt>
                <c:pt idx="17630">
                  <c:v>43150</c:v>
                </c:pt>
                <c:pt idx="17631">
                  <c:v>43149</c:v>
                </c:pt>
                <c:pt idx="17632">
                  <c:v>43148</c:v>
                </c:pt>
                <c:pt idx="17633">
                  <c:v>43147</c:v>
                </c:pt>
                <c:pt idx="17634">
                  <c:v>43147</c:v>
                </c:pt>
                <c:pt idx="17635">
                  <c:v>43147</c:v>
                </c:pt>
                <c:pt idx="17636">
                  <c:v>43147</c:v>
                </c:pt>
                <c:pt idx="17637">
                  <c:v>43146</c:v>
                </c:pt>
                <c:pt idx="17638">
                  <c:v>43145</c:v>
                </c:pt>
                <c:pt idx="17639">
                  <c:v>43145</c:v>
                </c:pt>
                <c:pt idx="17640">
                  <c:v>43144</c:v>
                </c:pt>
                <c:pt idx="17641">
                  <c:v>43144</c:v>
                </c:pt>
                <c:pt idx="17642">
                  <c:v>43144</c:v>
                </c:pt>
                <c:pt idx="17643">
                  <c:v>43143</c:v>
                </c:pt>
                <c:pt idx="17644">
                  <c:v>43143</c:v>
                </c:pt>
                <c:pt idx="17645">
                  <c:v>43142</c:v>
                </c:pt>
                <c:pt idx="17646">
                  <c:v>43142</c:v>
                </c:pt>
                <c:pt idx="17647">
                  <c:v>43141</c:v>
                </c:pt>
                <c:pt idx="17648">
                  <c:v>43141</c:v>
                </c:pt>
                <c:pt idx="17649">
                  <c:v>43141</c:v>
                </c:pt>
                <c:pt idx="17650">
                  <c:v>43139</c:v>
                </c:pt>
                <c:pt idx="17651">
                  <c:v>43138</c:v>
                </c:pt>
                <c:pt idx="17652">
                  <c:v>43137</c:v>
                </c:pt>
                <c:pt idx="17653">
                  <c:v>43137</c:v>
                </c:pt>
                <c:pt idx="17654">
                  <c:v>43136</c:v>
                </c:pt>
                <c:pt idx="17655">
                  <c:v>43135</c:v>
                </c:pt>
                <c:pt idx="17656">
                  <c:v>43135</c:v>
                </c:pt>
                <c:pt idx="17657">
                  <c:v>43135</c:v>
                </c:pt>
                <c:pt idx="17658">
                  <c:v>43134</c:v>
                </c:pt>
                <c:pt idx="17659">
                  <c:v>43133</c:v>
                </c:pt>
                <c:pt idx="17660">
                  <c:v>43133</c:v>
                </c:pt>
                <c:pt idx="17661">
                  <c:v>43132</c:v>
                </c:pt>
                <c:pt idx="17662">
                  <c:v>43131</c:v>
                </c:pt>
                <c:pt idx="17663">
                  <c:v>43131</c:v>
                </c:pt>
                <c:pt idx="17664">
                  <c:v>43131</c:v>
                </c:pt>
                <c:pt idx="17665">
                  <c:v>43130</c:v>
                </c:pt>
                <c:pt idx="17666">
                  <c:v>43128</c:v>
                </c:pt>
                <c:pt idx="17667">
                  <c:v>43128</c:v>
                </c:pt>
                <c:pt idx="17668">
                  <c:v>43128</c:v>
                </c:pt>
                <c:pt idx="17669">
                  <c:v>43128</c:v>
                </c:pt>
                <c:pt idx="17670">
                  <c:v>43128</c:v>
                </c:pt>
                <c:pt idx="17671">
                  <c:v>43128</c:v>
                </c:pt>
                <c:pt idx="17672">
                  <c:v>43127</c:v>
                </c:pt>
                <c:pt idx="17673">
                  <c:v>43127</c:v>
                </c:pt>
                <c:pt idx="17674">
                  <c:v>43127</c:v>
                </c:pt>
                <c:pt idx="17675">
                  <c:v>43127</c:v>
                </c:pt>
                <c:pt idx="17676">
                  <c:v>43125</c:v>
                </c:pt>
                <c:pt idx="17677">
                  <c:v>43125</c:v>
                </c:pt>
                <c:pt idx="17678">
                  <c:v>43124</c:v>
                </c:pt>
                <c:pt idx="17679">
                  <c:v>43124</c:v>
                </c:pt>
                <c:pt idx="17680">
                  <c:v>43124</c:v>
                </c:pt>
                <c:pt idx="17681">
                  <c:v>43123</c:v>
                </c:pt>
                <c:pt idx="17682">
                  <c:v>43121</c:v>
                </c:pt>
                <c:pt idx="17683">
                  <c:v>43121</c:v>
                </c:pt>
                <c:pt idx="17684">
                  <c:v>43121</c:v>
                </c:pt>
                <c:pt idx="17685">
                  <c:v>43118</c:v>
                </c:pt>
                <c:pt idx="17686">
                  <c:v>43118</c:v>
                </c:pt>
                <c:pt idx="17687">
                  <c:v>43117</c:v>
                </c:pt>
                <c:pt idx="17688">
                  <c:v>43116</c:v>
                </c:pt>
                <c:pt idx="17689">
                  <c:v>43116</c:v>
                </c:pt>
                <c:pt idx="17690">
                  <c:v>43116</c:v>
                </c:pt>
                <c:pt idx="17691">
                  <c:v>43115</c:v>
                </c:pt>
                <c:pt idx="17692">
                  <c:v>43115</c:v>
                </c:pt>
                <c:pt idx="17693">
                  <c:v>43114</c:v>
                </c:pt>
                <c:pt idx="17694">
                  <c:v>43114</c:v>
                </c:pt>
                <c:pt idx="17695">
                  <c:v>43113</c:v>
                </c:pt>
                <c:pt idx="17696">
                  <c:v>43113</c:v>
                </c:pt>
                <c:pt idx="17697">
                  <c:v>43112</c:v>
                </c:pt>
                <c:pt idx="17698">
                  <c:v>43112</c:v>
                </c:pt>
                <c:pt idx="17699">
                  <c:v>43111</c:v>
                </c:pt>
                <c:pt idx="17700">
                  <c:v>43111</c:v>
                </c:pt>
                <c:pt idx="17701">
                  <c:v>43110</c:v>
                </c:pt>
                <c:pt idx="17702">
                  <c:v>43110</c:v>
                </c:pt>
                <c:pt idx="17703">
                  <c:v>43110</c:v>
                </c:pt>
                <c:pt idx="17704">
                  <c:v>43110</c:v>
                </c:pt>
                <c:pt idx="17705">
                  <c:v>43109</c:v>
                </c:pt>
                <c:pt idx="17706">
                  <c:v>43108</c:v>
                </c:pt>
                <c:pt idx="17707">
                  <c:v>43106</c:v>
                </c:pt>
                <c:pt idx="17708">
                  <c:v>43106</c:v>
                </c:pt>
                <c:pt idx="17709">
                  <c:v>43105</c:v>
                </c:pt>
                <c:pt idx="17710">
                  <c:v>43105</c:v>
                </c:pt>
                <c:pt idx="17711">
                  <c:v>43104</c:v>
                </c:pt>
                <c:pt idx="17712">
                  <c:v>43103</c:v>
                </c:pt>
                <c:pt idx="17713">
                  <c:v>43102</c:v>
                </c:pt>
                <c:pt idx="17714">
                  <c:v>43102</c:v>
                </c:pt>
                <c:pt idx="17715">
                  <c:v>43102</c:v>
                </c:pt>
                <c:pt idx="17716">
                  <c:v>43102</c:v>
                </c:pt>
                <c:pt idx="17717">
                  <c:v>43101</c:v>
                </c:pt>
                <c:pt idx="17718">
                  <c:v>43100</c:v>
                </c:pt>
                <c:pt idx="17719">
                  <c:v>43100</c:v>
                </c:pt>
                <c:pt idx="17720">
                  <c:v>43100</c:v>
                </c:pt>
                <c:pt idx="17721">
                  <c:v>43100</c:v>
                </c:pt>
                <c:pt idx="17722">
                  <c:v>43100</c:v>
                </c:pt>
                <c:pt idx="17723">
                  <c:v>43099</c:v>
                </c:pt>
                <c:pt idx="17724">
                  <c:v>43097</c:v>
                </c:pt>
                <c:pt idx="17725">
                  <c:v>43097</c:v>
                </c:pt>
                <c:pt idx="17726">
                  <c:v>43097</c:v>
                </c:pt>
                <c:pt idx="17727">
                  <c:v>43097</c:v>
                </c:pt>
                <c:pt idx="17728">
                  <c:v>43097</c:v>
                </c:pt>
                <c:pt idx="17729">
                  <c:v>43096</c:v>
                </c:pt>
                <c:pt idx="17730">
                  <c:v>43096</c:v>
                </c:pt>
                <c:pt idx="17731">
                  <c:v>43096</c:v>
                </c:pt>
                <c:pt idx="17732">
                  <c:v>43095</c:v>
                </c:pt>
                <c:pt idx="17733">
                  <c:v>43095</c:v>
                </c:pt>
                <c:pt idx="17734">
                  <c:v>43094</c:v>
                </c:pt>
                <c:pt idx="17735">
                  <c:v>43094</c:v>
                </c:pt>
                <c:pt idx="17736">
                  <c:v>43094</c:v>
                </c:pt>
                <c:pt idx="17737">
                  <c:v>43093</c:v>
                </c:pt>
                <c:pt idx="17738">
                  <c:v>43092</c:v>
                </c:pt>
                <c:pt idx="17739">
                  <c:v>43092</c:v>
                </c:pt>
                <c:pt idx="17740">
                  <c:v>43092</c:v>
                </c:pt>
                <c:pt idx="17741">
                  <c:v>43090</c:v>
                </c:pt>
                <c:pt idx="17742">
                  <c:v>43090</c:v>
                </c:pt>
                <c:pt idx="17743">
                  <c:v>43090</c:v>
                </c:pt>
                <c:pt idx="17744">
                  <c:v>43090</c:v>
                </c:pt>
                <c:pt idx="17745">
                  <c:v>43090</c:v>
                </c:pt>
                <c:pt idx="17746">
                  <c:v>43090</c:v>
                </c:pt>
                <c:pt idx="17747">
                  <c:v>43089</c:v>
                </c:pt>
                <c:pt idx="17748">
                  <c:v>43088</c:v>
                </c:pt>
                <c:pt idx="17749">
                  <c:v>43087</c:v>
                </c:pt>
                <c:pt idx="17750">
                  <c:v>43087</c:v>
                </c:pt>
                <c:pt idx="17751">
                  <c:v>43086</c:v>
                </c:pt>
                <c:pt idx="17752">
                  <c:v>43086</c:v>
                </c:pt>
                <c:pt idx="17753">
                  <c:v>43086</c:v>
                </c:pt>
                <c:pt idx="17754">
                  <c:v>43086</c:v>
                </c:pt>
                <c:pt idx="17755">
                  <c:v>43084</c:v>
                </c:pt>
                <c:pt idx="17756">
                  <c:v>43084</c:v>
                </c:pt>
                <c:pt idx="17757">
                  <c:v>43083</c:v>
                </c:pt>
                <c:pt idx="17758">
                  <c:v>43083</c:v>
                </c:pt>
                <c:pt idx="17759">
                  <c:v>43082</c:v>
                </c:pt>
                <c:pt idx="17760">
                  <c:v>43082</c:v>
                </c:pt>
                <c:pt idx="17761">
                  <c:v>43081</c:v>
                </c:pt>
                <c:pt idx="17762">
                  <c:v>43080</c:v>
                </c:pt>
                <c:pt idx="17763">
                  <c:v>43080</c:v>
                </c:pt>
                <c:pt idx="17764">
                  <c:v>43080</c:v>
                </c:pt>
                <c:pt idx="17765">
                  <c:v>43079</c:v>
                </c:pt>
                <c:pt idx="17766">
                  <c:v>43079</c:v>
                </c:pt>
                <c:pt idx="17767">
                  <c:v>43078</c:v>
                </c:pt>
                <c:pt idx="17768">
                  <c:v>43077</c:v>
                </c:pt>
                <c:pt idx="17769">
                  <c:v>43077</c:v>
                </c:pt>
                <c:pt idx="17770">
                  <c:v>43076</c:v>
                </c:pt>
                <c:pt idx="17771">
                  <c:v>43075</c:v>
                </c:pt>
                <c:pt idx="17772">
                  <c:v>43075</c:v>
                </c:pt>
                <c:pt idx="17773">
                  <c:v>43074</c:v>
                </c:pt>
                <c:pt idx="17774">
                  <c:v>43074</c:v>
                </c:pt>
                <c:pt idx="17775">
                  <c:v>43074</c:v>
                </c:pt>
                <c:pt idx="17776">
                  <c:v>43073</c:v>
                </c:pt>
                <c:pt idx="17777">
                  <c:v>43071</c:v>
                </c:pt>
                <c:pt idx="17778">
                  <c:v>43070</c:v>
                </c:pt>
                <c:pt idx="17779">
                  <c:v>43070</c:v>
                </c:pt>
                <c:pt idx="17780">
                  <c:v>43070</c:v>
                </c:pt>
                <c:pt idx="17781">
                  <c:v>43069</c:v>
                </c:pt>
                <c:pt idx="17782">
                  <c:v>43069</c:v>
                </c:pt>
                <c:pt idx="17783">
                  <c:v>43069</c:v>
                </c:pt>
                <c:pt idx="17784">
                  <c:v>43069</c:v>
                </c:pt>
                <c:pt idx="17785">
                  <c:v>43068</c:v>
                </c:pt>
                <c:pt idx="17786">
                  <c:v>43067</c:v>
                </c:pt>
                <c:pt idx="17787">
                  <c:v>43066</c:v>
                </c:pt>
                <c:pt idx="17788">
                  <c:v>43066</c:v>
                </c:pt>
                <c:pt idx="17789">
                  <c:v>43065</c:v>
                </c:pt>
                <c:pt idx="17790">
                  <c:v>43064</c:v>
                </c:pt>
                <c:pt idx="17791">
                  <c:v>43064</c:v>
                </c:pt>
                <c:pt idx="17792">
                  <c:v>43063</c:v>
                </c:pt>
                <c:pt idx="17793">
                  <c:v>43062</c:v>
                </c:pt>
                <c:pt idx="17794">
                  <c:v>43062</c:v>
                </c:pt>
                <c:pt idx="17795">
                  <c:v>43061</c:v>
                </c:pt>
                <c:pt idx="17796">
                  <c:v>43061</c:v>
                </c:pt>
                <c:pt idx="17797">
                  <c:v>43060</c:v>
                </c:pt>
                <c:pt idx="17798">
                  <c:v>43060</c:v>
                </c:pt>
                <c:pt idx="17799">
                  <c:v>43059</c:v>
                </c:pt>
                <c:pt idx="17800">
                  <c:v>43058</c:v>
                </c:pt>
                <c:pt idx="17801">
                  <c:v>43057</c:v>
                </c:pt>
                <c:pt idx="17802">
                  <c:v>43056</c:v>
                </c:pt>
                <c:pt idx="17803">
                  <c:v>43055</c:v>
                </c:pt>
                <c:pt idx="17804">
                  <c:v>43055</c:v>
                </c:pt>
                <c:pt idx="17805">
                  <c:v>43055</c:v>
                </c:pt>
                <c:pt idx="17806">
                  <c:v>43054</c:v>
                </c:pt>
                <c:pt idx="17807">
                  <c:v>43054</c:v>
                </c:pt>
                <c:pt idx="17808">
                  <c:v>43053</c:v>
                </c:pt>
                <c:pt idx="17809">
                  <c:v>43053</c:v>
                </c:pt>
                <c:pt idx="17810">
                  <c:v>43052</c:v>
                </c:pt>
                <c:pt idx="17811">
                  <c:v>43051</c:v>
                </c:pt>
                <c:pt idx="17812">
                  <c:v>43050</c:v>
                </c:pt>
                <c:pt idx="17813">
                  <c:v>43048</c:v>
                </c:pt>
                <c:pt idx="17814">
                  <c:v>43048</c:v>
                </c:pt>
                <c:pt idx="17815">
                  <c:v>43047</c:v>
                </c:pt>
                <c:pt idx="17816">
                  <c:v>43047</c:v>
                </c:pt>
                <c:pt idx="17817">
                  <c:v>43046</c:v>
                </c:pt>
                <c:pt idx="17818">
                  <c:v>43045</c:v>
                </c:pt>
                <c:pt idx="17819">
                  <c:v>43044</c:v>
                </c:pt>
                <c:pt idx="17820">
                  <c:v>43044</c:v>
                </c:pt>
                <c:pt idx="17821">
                  <c:v>43043</c:v>
                </c:pt>
                <c:pt idx="17822">
                  <c:v>43042</c:v>
                </c:pt>
                <c:pt idx="17823">
                  <c:v>43041</c:v>
                </c:pt>
                <c:pt idx="17824">
                  <c:v>43041</c:v>
                </c:pt>
                <c:pt idx="17825">
                  <c:v>43040</c:v>
                </c:pt>
                <c:pt idx="17826">
                  <c:v>43040</c:v>
                </c:pt>
                <c:pt idx="17827">
                  <c:v>43040</c:v>
                </c:pt>
                <c:pt idx="17828">
                  <c:v>43038</c:v>
                </c:pt>
                <c:pt idx="17829">
                  <c:v>43038</c:v>
                </c:pt>
                <c:pt idx="17830">
                  <c:v>43038</c:v>
                </c:pt>
                <c:pt idx="17831">
                  <c:v>43037</c:v>
                </c:pt>
                <c:pt idx="17832">
                  <c:v>43036</c:v>
                </c:pt>
                <c:pt idx="17833">
                  <c:v>43036</c:v>
                </c:pt>
                <c:pt idx="17834">
                  <c:v>43036</c:v>
                </c:pt>
                <c:pt idx="17835">
                  <c:v>43036</c:v>
                </c:pt>
                <c:pt idx="17836">
                  <c:v>43034</c:v>
                </c:pt>
                <c:pt idx="17837">
                  <c:v>43034</c:v>
                </c:pt>
                <c:pt idx="17838">
                  <c:v>43033</c:v>
                </c:pt>
                <c:pt idx="17839">
                  <c:v>43032</c:v>
                </c:pt>
                <c:pt idx="17840">
                  <c:v>43032</c:v>
                </c:pt>
                <c:pt idx="17841">
                  <c:v>43032</c:v>
                </c:pt>
                <c:pt idx="17842">
                  <c:v>43032</c:v>
                </c:pt>
                <c:pt idx="17843">
                  <c:v>43031</c:v>
                </c:pt>
                <c:pt idx="17844">
                  <c:v>43030</c:v>
                </c:pt>
                <c:pt idx="17845">
                  <c:v>43030</c:v>
                </c:pt>
                <c:pt idx="17846">
                  <c:v>43030</c:v>
                </c:pt>
                <c:pt idx="17847">
                  <c:v>43029</c:v>
                </c:pt>
                <c:pt idx="17848">
                  <c:v>43029</c:v>
                </c:pt>
                <c:pt idx="17849">
                  <c:v>43028</c:v>
                </c:pt>
                <c:pt idx="17850">
                  <c:v>43027</c:v>
                </c:pt>
                <c:pt idx="17851">
                  <c:v>43026</c:v>
                </c:pt>
                <c:pt idx="17852">
                  <c:v>43026</c:v>
                </c:pt>
                <c:pt idx="17853">
                  <c:v>43026</c:v>
                </c:pt>
                <c:pt idx="17854">
                  <c:v>43025</c:v>
                </c:pt>
                <c:pt idx="17855">
                  <c:v>43025</c:v>
                </c:pt>
                <c:pt idx="17856">
                  <c:v>43024</c:v>
                </c:pt>
                <c:pt idx="17857">
                  <c:v>43024</c:v>
                </c:pt>
                <c:pt idx="17858">
                  <c:v>43023</c:v>
                </c:pt>
                <c:pt idx="17859">
                  <c:v>43022</c:v>
                </c:pt>
                <c:pt idx="17860">
                  <c:v>43021</c:v>
                </c:pt>
                <c:pt idx="17861">
                  <c:v>43021</c:v>
                </c:pt>
                <c:pt idx="17862">
                  <c:v>43020</c:v>
                </c:pt>
                <c:pt idx="17863">
                  <c:v>43020</c:v>
                </c:pt>
                <c:pt idx="17864">
                  <c:v>43020</c:v>
                </c:pt>
                <c:pt idx="17865">
                  <c:v>43019</c:v>
                </c:pt>
                <c:pt idx="17866">
                  <c:v>43018</c:v>
                </c:pt>
                <c:pt idx="17867">
                  <c:v>43017</c:v>
                </c:pt>
                <c:pt idx="17868">
                  <c:v>43016</c:v>
                </c:pt>
                <c:pt idx="17869">
                  <c:v>43015</c:v>
                </c:pt>
                <c:pt idx="17870">
                  <c:v>43015</c:v>
                </c:pt>
                <c:pt idx="17871">
                  <c:v>43015</c:v>
                </c:pt>
                <c:pt idx="17872">
                  <c:v>43014</c:v>
                </c:pt>
                <c:pt idx="17873">
                  <c:v>43014</c:v>
                </c:pt>
                <c:pt idx="17874">
                  <c:v>43012</c:v>
                </c:pt>
                <c:pt idx="17875">
                  <c:v>43012</c:v>
                </c:pt>
                <c:pt idx="17876">
                  <c:v>43011</c:v>
                </c:pt>
                <c:pt idx="17877">
                  <c:v>43007</c:v>
                </c:pt>
                <c:pt idx="17878">
                  <c:v>43007</c:v>
                </c:pt>
                <c:pt idx="17879">
                  <c:v>43006</c:v>
                </c:pt>
                <c:pt idx="17880">
                  <c:v>43006</c:v>
                </c:pt>
                <c:pt idx="17881">
                  <c:v>43005</c:v>
                </c:pt>
                <c:pt idx="17882">
                  <c:v>43004</c:v>
                </c:pt>
                <c:pt idx="17883">
                  <c:v>43003</c:v>
                </c:pt>
                <c:pt idx="17884">
                  <c:v>43002</c:v>
                </c:pt>
                <c:pt idx="17885">
                  <c:v>43002</c:v>
                </c:pt>
                <c:pt idx="17886">
                  <c:v>43001</c:v>
                </c:pt>
                <c:pt idx="17887">
                  <c:v>43000</c:v>
                </c:pt>
                <c:pt idx="17888">
                  <c:v>43000</c:v>
                </c:pt>
                <c:pt idx="17889">
                  <c:v>42999</c:v>
                </c:pt>
                <c:pt idx="17890">
                  <c:v>42999</c:v>
                </c:pt>
                <c:pt idx="17891">
                  <c:v>42999</c:v>
                </c:pt>
                <c:pt idx="17892">
                  <c:v>42998</c:v>
                </c:pt>
                <c:pt idx="17893">
                  <c:v>42998</c:v>
                </c:pt>
                <c:pt idx="17894">
                  <c:v>42997</c:v>
                </c:pt>
                <c:pt idx="17895">
                  <c:v>42996</c:v>
                </c:pt>
                <c:pt idx="17896">
                  <c:v>42995</c:v>
                </c:pt>
                <c:pt idx="17897">
                  <c:v>42994</c:v>
                </c:pt>
                <c:pt idx="17898">
                  <c:v>42994</c:v>
                </c:pt>
                <c:pt idx="17899">
                  <c:v>42993</c:v>
                </c:pt>
                <c:pt idx="17900">
                  <c:v>42992</c:v>
                </c:pt>
                <c:pt idx="17901">
                  <c:v>42992</c:v>
                </c:pt>
                <c:pt idx="17902">
                  <c:v>42991</c:v>
                </c:pt>
                <c:pt idx="17903">
                  <c:v>42991</c:v>
                </c:pt>
                <c:pt idx="17904">
                  <c:v>42990</c:v>
                </c:pt>
                <c:pt idx="17905">
                  <c:v>42990</c:v>
                </c:pt>
                <c:pt idx="17906">
                  <c:v>42990</c:v>
                </c:pt>
                <c:pt idx="17907">
                  <c:v>42990</c:v>
                </c:pt>
                <c:pt idx="17908">
                  <c:v>42989</c:v>
                </c:pt>
                <c:pt idx="17909">
                  <c:v>42987</c:v>
                </c:pt>
                <c:pt idx="17910">
                  <c:v>42987</c:v>
                </c:pt>
                <c:pt idx="17911">
                  <c:v>42987</c:v>
                </c:pt>
                <c:pt idx="17912">
                  <c:v>42987</c:v>
                </c:pt>
                <c:pt idx="17913">
                  <c:v>42985</c:v>
                </c:pt>
                <c:pt idx="17914">
                  <c:v>42985</c:v>
                </c:pt>
                <c:pt idx="17915">
                  <c:v>42984</c:v>
                </c:pt>
                <c:pt idx="17916">
                  <c:v>42984</c:v>
                </c:pt>
                <c:pt idx="17917">
                  <c:v>42984</c:v>
                </c:pt>
                <c:pt idx="17918">
                  <c:v>42983</c:v>
                </c:pt>
                <c:pt idx="17919">
                  <c:v>42983</c:v>
                </c:pt>
                <c:pt idx="17920">
                  <c:v>42983</c:v>
                </c:pt>
                <c:pt idx="17921">
                  <c:v>42983</c:v>
                </c:pt>
                <c:pt idx="17922">
                  <c:v>42983</c:v>
                </c:pt>
                <c:pt idx="17923">
                  <c:v>42982</c:v>
                </c:pt>
                <c:pt idx="17924">
                  <c:v>42982</c:v>
                </c:pt>
                <c:pt idx="17925">
                  <c:v>42982</c:v>
                </c:pt>
                <c:pt idx="17926">
                  <c:v>42980</c:v>
                </c:pt>
                <c:pt idx="17927">
                  <c:v>42979</c:v>
                </c:pt>
                <c:pt idx="17928">
                  <c:v>42979</c:v>
                </c:pt>
                <c:pt idx="17929">
                  <c:v>42978</c:v>
                </c:pt>
                <c:pt idx="17930">
                  <c:v>42977</c:v>
                </c:pt>
                <c:pt idx="17931">
                  <c:v>42977</c:v>
                </c:pt>
                <c:pt idx="17932">
                  <c:v>42976</c:v>
                </c:pt>
                <c:pt idx="17933">
                  <c:v>42975</c:v>
                </c:pt>
                <c:pt idx="17934">
                  <c:v>42974</c:v>
                </c:pt>
                <c:pt idx="17935">
                  <c:v>42974</c:v>
                </c:pt>
                <c:pt idx="17936">
                  <c:v>42974</c:v>
                </c:pt>
                <c:pt idx="17937">
                  <c:v>42974</c:v>
                </c:pt>
                <c:pt idx="17938">
                  <c:v>42974</c:v>
                </c:pt>
                <c:pt idx="17939">
                  <c:v>42973</c:v>
                </c:pt>
                <c:pt idx="17940">
                  <c:v>42971</c:v>
                </c:pt>
                <c:pt idx="17941">
                  <c:v>42970</c:v>
                </c:pt>
                <c:pt idx="17942">
                  <c:v>42970</c:v>
                </c:pt>
                <c:pt idx="17943">
                  <c:v>42969</c:v>
                </c:pt>
                <c:pt idx="17944">
                  <c:v>42968</c:v>
                </c:pt>
                <c:pt idx="17945">
                  <c:v>42967</c:v>
                </c:pt>
                <c:pt idx="17946">
                  <c:v>42967</c:v>
                </c:pt>
                <c:pt idx="17947">
                  <c:v>42966</c:v>
                </c:pt>
                <c:pt idx="17948">
                  <c:v>42966</c:v>
                </c:pt>
                <c:pt idx="17949">
                  <c:v>42965</c:v>
                </c:pt>
                <c:pt idx="17950">
                  <c:v>42965</c:v>
                </c:pt>
                <c:pt idx="17951">
                  <c:v>42963</c:v>
                </c:pt>
                <c:pt idx="17952">
                  <c:v>42962</c:v>
                </c:pt>
                <c:pt idx="17953">
                  <c:v>42961</c:v>
                </c:pt>
                <c:pt idx="17954">
                  <c:v>42961</c:v>
                </c:pt>
                <c:pt idx="17955">
                  <c:v>42960</c:v>
                </c:pt>
                <c:pt idx="17956">
                  <c:v>42959</c:v>
                </c:pt>
                <c:pt idx="17957">
                  <c:v>42959</c:v>
                </c:pt>
                <c:pt idx="17958">
                  <c:v>42959</c:v>
                </c:pt>
                <c:pt idx="17959">
                  <c:v>42958</c:v>
                </c:pt>
                <c:pt idx="17960">
                  <c:v>42957</c:v>
                </c:pt>
                <c:pt idx="17961">
                  <c:v>42957</c:v>
                </c:pt>
                <c:pt idx="17962">
                  <c:v>42956</c:v>
                </c:pt>
                <c:pt idx="17963">
                  <c:v>42956</c:v>
                </c:pt>
                <c:pt idx="17964">
                  <c:v>42955</c:v>
                </c:pt>
                <c:pt idx="17965">
                  <c:v>42954</c:v>
                </c:pt>
                <c:pt idx="17966">
                  <c:v>42954</c:v>
                </c:pt>
                <c:pt idx="17967">
                  <c:v>42954</c:v>
                </c:pt>
                <c:pt idx="17968">
                  <c:v>42954</c:v>
                </c:pt>
                <c:pt idx="17969">
                  <c:v>42953</c:v>
                </c:pt>
                <c:pt idx="17970">
                  <c:v>42952</c:v>
                </c:pt>
                <c:pt idx="17971">
                  <c:v>42950</c:v>
                </c:pt>
                <c:pt idx="17972">
                  <c:v>42950</c:v>
                </c:pt>
                <c:pt idx="17973">
                  <c:v>42950</c:v>
                </c:pt>
                <c:pt idx="17974">
                  <c:v>42949</c:v>
                </c:pt>
                <c:pt idx="17975">
                  <c:v>42948</c:v>
                </c:pt>
                <c:pt idx="17976">
                  <c:v>42948</c:v>
                </c:pt>
                <c:pt idx="17977">
                  <c:v>42947</c:v>
                </c:pt>
                <c:pt idx="17978">
                  <c:v>42947</c:v>
                </c:pt>
                <c:pt idx="17979">
                  <c:v>42946</c:v>
                </c:pt>
                <c:pt idx="17980">
                  <c:v>42946</c:v>
                </c:pt>
                <c:pt idx="17981">
                  <c:v>42946</c:v>
                </c:pt>
                <c:pt idx="17982">
                  <c:v>42945</c:v>
                </c:pt>
                <c:pt idx="17983">
                  <c:v>42945</c:v>
                </c:pt>
                <c:pt idx="17984">
                  <c:v>42944</c:v>
                </c:pt>
                <c:pt idx="17985">
                  <c:v>42944</c:v>
                </c:pt>
                <c:pt idx="17986">
                  <c:v>42943</c:v>
                </c:pt>
                <c:pt idx="17987">
                  <c:v>42943</c:v>
                </c:pt>
                <c:pt idx="17988">
                  <c:v>42942</c:v>
                </c:pt>
                <c:pt idx="17989">
                  <c:v>42941</c:v>
                </c:pt>
                <c:pt idx="17990">
                  <c:v>42941</c:v>
                </c:pt>
                <c:pt idx="17991">
                  <c:v>42940</c:v>
                </c:pt>
                <c:pt idx="17992">
                  <c:v>42940</c:v>
                </c:pt>
                <c:pt idx="17993">
                  <c:v>42940</c:v>
                </c:pt>
                <c:pt idx="17994">
                  <c:v>42940</c:v>
                </c:pt>
                <c:pt idx="17995">
                  <c:v>42939</c:v>
                </c:pt>
                <c:pt idx="17996">
                  <c:v>42939</c:v>
                </c:pt>
                <c:pt idx="17997">
                  <c:v>42939</c:v>
                </c:pt>
                <c:pt idx="17998">
                  <c:v>42938</c:v>
                </c:pt>
                <c:pt idx="17999">
                  <c:v>42938</c:v>
                </c:pt>
                <c:pt idx="18000">
                  <c:v>42936</c:v>
                </c:pt>
                <c:pt idx="18001">
                  <c:v>42936</c:v>
                </c:pt>
                <c:pt idx="18002">
                  <c:v>42936</c:v>
                </c:pt>
                <c:pt idx="18003">
                  <c:v>42936</c:v>
                </c:pt>
                <c:pt idx="18004">
                  <c:v>42935</c:v>
                </c:pt>
                <c:pt idx="18005">
                  <c:v>42935</c:v>
                </c:pt>
                <c:pt idx="18006">
                  <c:v>42935</c:v>
                </c:pt>
                <c:pt idx="18007">
                  <c:v>42935</c:v>
                </c:pt>
                <c:pt idx="18008">
                  <c:v>42934</c:v>
                </c:pt>
                <c:pt idx="18009">
                  <c:v>42934</c:v>
                </c:pt>
                <c:pt idx="18010">
                  <c:v>42934</c:v>
                </c:pt>
                <c:pt idx="18011">
                  <c:v>42933</c:v>
                </c:pt>
                <c:pt idx="18012">
                  <c:v>42933</c:v>
                </c:pt>
                <c:pt idx="18013">
                  <c:v>42932</c:v>
                </c:pt>
                <c:pt idx="18014">
                  <c:v>42932</c:v>
                </c:pt>
                <c:pt idx="18015">
                  <c:v>42932</c:v>
                </c:pt>
                <c:pt idx="18016">
                  <c:v>42931</c:v>
                </c:pt>
                <c:pt idx="18017">
                  <c:v>42931</c:v>
                </c:pt>
                <c:pt idx="18018">
                  <c:v>42931</c:v>
                </c:pt>
                <c:pt idx="18019">
                  <c:v>42931</c:v>
                </c:pt>
                <c:pt idx="18020">
                  <c:v>42930</c:v>
                </c:pt>
                <c:pt idx="18021">
                  <c:v>42930</c:v>
                </c:pt>
                <c:pt idx="18022">
                  <c:v>42928</c:v>
                </c:pt>
                <c:pt idx="18023">
                  <c:v>42927</c:v>
                </c:pt>
                <c:pt idx="18024">
                  <c:v>42927</c:v>
                </c:pt>
                <c:pt idx="18025">
                  <c:v>42926</c:v>
                </c:pt>
                <c:pt idx="18026">
                  <c:v>42926</c:v>
                </c:pt>
                <c:pt idx="18027">
                  <c:v>42925</c:v>
                </c:pt>
                <c:pt idx="18028">
                  <c:v>42925</c:v>
                </c:pt>
                <c:pt idx="18029">
                  <c:v>42924</c:v>
                </c:pt>
                <c:pt idx="18030">
                  <c:v>42922</c:v>
                </c:pt>
                <c:pt idx="18031">
                  <c:v>42922</c:v>
                </c:pt>
                <c:pt idx="18032">
                  <c:v>42921</c:v>
                </c:pt>
                <c:pt idx="18033">
                  <c:v>42920</c:v>
                </c:pt>
                <c:pt idx="18034">
                  <c:v>42919</c:v>
                </c:pt>
                <c:pt idx="18035">
                  <c:v>42919</c:v>
                </c:pt>
                <c:pt idx="18036">
                  <c:v>42918</c:v>
                </c:pt>
                <c:pt idx="18037">
                  <c:v>42917</c:v>
                </c:pt>
                <c:pt idx="18038">
                  <c:v>42917</c:v>
                </c:pt>
                <c:pt idx="18039">
                  <c:v>42916</c:v>
                </c:pt>
                <c:pt idx="18040">
                  <c:v>42916</c:v>
                </c:pt>
                <c:pt idx="18041">
                  <c:v>42916</c:v>
                </c:pt>
                <c:pt idx="18042">
                  <c:v>42915</c:v>
                </c:pt>
                <c:pt idx="18043">
                  <c:v>42915</c:v>
                </c:pt>
                <c:pt idx="18044">
                  <c:v>42914</c:v>
                </c:pt>
                <c:pt idx="18045">
                  <c:v>42914</c:v>
                </c:pt>
                <c:pt idx="18046">
                  <c:v>42914</c:v>
                </c:pt>
                <c:pt idx="18047">
                  <c:v>42913</c:v>
                </c:pt>
                <c:pt idx="18048">
                  <c:v>42913</c:v>
                </c:pt>
                <c:pt idx="18049">
                  <c:v>42913</c:v>
                </c:pt>
                <c:pt idx="18050">
                  <c:v>42913</c:v>
                </c:pt>
                <c:pt idx="18051">
                  <c:v>42912</c:v>
                </c:pt>
                <c:pt idx="18052">
                  <c:v>42912</c:v>
                </c:pt>
                <c:pt idx="18053">
                  <c:v>42911</c:v>
                </c:pt>
                <c:pt idx="18054">
                  <c:v>42910</c:v>
                </c:pt>
                <c:pt idx="18055">
                  <c:v>42910</c:v>
                </c:pt>
                <c:pt idx="18056">
                  <c:v>42910</c:v>
                </c:pt>
                <c:pt idx="18057">
                  <c:v>42908</c:v>
                </c:pt>
                <c:pt idx="18058">
                  <c:v>42908</c:v>
                </c:pt>
                <c:pt idx="18059">
                  <c:v>42908</c:v>
                </c:pt>
                <c:pt idx="18060">
                  <c:v>42908</c:v>
                </c:pt>
                <c:pt idx="18061">
                  <c:v>42907</c:v>
                </c:pt>
                <c:pt idx="18062">
                  <c:v>42906</c:v>
                </c:pt>
                <c:pt idx="18063">
                  <c:v>42904</c:v>
                </c:pt>
                <c:pt idx="18064">
                  <c:v>42903</c:v>
                </c:pt>
                <c:pt idx="18065">
                  <c:v>42903</c:v>
                </c:pt>
                <c:pt idx="18066">
                  <c:v>42900</c:v>
                </c:pt>
                <c:pt idx="18067">
                  <c:v>42900</c:v>
                </c:pt>
                <c:pt idx="18068">
                  <c:v>42900</c:v>
                </c:pt>
                <c:pt idx="18069">
                  <c:v>42900</c:v>
                </c:pt>
                <c:pt idx="18070">
                  <c:v>42900</c:v>
                </c:pt>
                <c:pt idx="18071">
                  <c:v>42899</c:v>
                </c:pt>
                <c:pt idx="18072">
                  <c:v>42899</c:v>
                </c:pt>
                <c:pt idx="18073">
                  <c:v>42899</c:v>
                </c:pt>
                <c:pt idx="18074">
                  <c:v>42898</c:v>
                </c:pt>
                <c:pt idx="18075">
                  <c:v>42898</c:v>
                </c:pt>
                <c:pt idx="18076">
                  <c:v>42897</c:v>
                </c:pt>
                <c:pt idx="18077">
                  <c:v>42897</c:v>
                </c:pt>
                <c:pt idx="18078">
                  <c:v>42897</c:v>
                </c:pt>
                <c:pt idx="18079">
                  <c:v>42897</c:v>
                </c:pt>
                <c:pt idx="18080">
                  <c:v>42897</c:v>
                </c:pt>
                <c:pt idx="18081">
                  <c:v>42896</c:v>
                </c:pt>
                <c:pt idx="18082">
                  <c:v>42895</c:v>
                </c:pt>
                <c:pt idx="18083">
                  <c:v>42895</c:v>
                </c:pt>
                <c:pt idx="18084">
                  <c:v>42893</c:v>
                </c:pt>
                <c:pt idx="18085">
                  <c:v>42893</c:v>
                </c:pt>
                <c:pt idx="18086">
                  <c:v>42893</c:v>
                </c:pt>
                <c:pt idx="18087">
                  <c:v>42892</c:v>
                </c:pt>
                <c:pt idx="18088">
                  <c:v>42892</c:v>
                </c:pt>
                <c:pt idx="18089">
                  <c:v>42891</c:v>
                </c:pt>
                <c:pt idx="18090">
                  <c:v>42891</c:v>
                </c:pt>
                <c:pt idx="18091">
                  <c:v>42890</c:v>
                </c:pt>
                <c:pt idx="18092">
                  <c:v>42889</c:v>
                </c:pt>
                <c:pt idx="18093">
                  <c:v>42888</c:v>
                </c:pt>
                <c:pt idx="18094">
                  <c:v>42887</c:v>
                </c:pt>
                <c:pt idx="18095">
                  <c:v>42887</c:v>
                </c:pt>
                <c:pt idx="18096">
                  <c:v>42886</c:v>
                </c:pt>
                <c:pt idx="18097">
                  <c:v>42886</c:v>
                </c:pt>
                <c:pt idx="18098">
                  <c:v>42886</c:v>
                </c:pt>
                <c:pt idx="18099">
                  <c:v>42885</c:v>
                </c:pt>
                <c:pt idx="18100">
                  <c:v>42883</c:v>
                </c:pt>
                <c:pt idx="18101">
                  <c:v>42881</c:v>
                </c:pt>
                <c:pt idx="18102">
                  <c:v>42880</c:v>
                </c:pt>
                <c:pt idx="18103">
                  <c:v>42880</c:v>
                </c:pt>
                <c:pt idx="18104">
                  <c:v>42879</c:v>
                </c:pt>
                <c:pt idx="18105">
                  <c:v>42879</c:v>
                </c:pt>
                <c:pt idx="18106">
                  <c:v>42879</c:v>
                </c:pt>
                <c:pt idx="18107">
                  <c:v>42879</c:v>
                </c:pt>
                <c:pt idx="18108">
                  <c:v>42878</c:v>
                </c:pt>
                <c:pt idx="18109">
                  <c:v>42878</c:v>
                </c:pt>
                <c:pt idx="18110">
                  <c:v>42877</c:v>
                </c:pt>
                <c:pt idx="18111">
                  <c:v>42876</c:v>
                </c:pt>
                <c:pt idx="18112">
                  <c:v>42876</c:v>
                </c:pt>
                <c:pt idx="18113">
                  <c:v>42876</c:v>
                </c:pt>
                <c:pt idx="18114">
                  <c:v>42875</c:v>
                </c:pt>
                <c:pt idx="18115">
                  <c:v>42875</c:v>
                </c:pt>
                <c:pt idx="18116">
                  <c:v>42873</c:v>
                </c:pt>
                <c:pt idx="18117">
                  <c:v>42873</c:v>
                </c:pt>
                <c:pt idx="18118">
                  <c:v>42873</c:v>
                </c:pt>
                <c:pt idx="18119">
                  <c:v>42871</c:v>
                </c:pt>
                <c:pt idx="18120">
                  <c:v>42871</c:v>
                </c:pt>
                <c:pt idx="18121">
                  <c:v>42871</c:v>
                </c:pt>
                <c:pt idx="18122">
                  <c:v>42870</c:v>
                </c:pt>
                <c:pt idx="18123">
                  <c:v>42869</c:v>
                </c:pt>
                <c:pt idx="18124">
                  <c:v>42867</c:v>
                </c:pt>
                <c:pt idx="18125">
                  <c:v>42867</c:v>
                </c:pt>
                <c:pt idx="18126">
                  <c:v>42867</c:v>
                </c:pt>
                <c:pt idx="18127">
                  <c:v>42867</c:v>
                </c:pt>
                <c:pt idx="18128">
                  <c:v>42867</c:v>
                </c:pt>
                <c:pt idx="18129">
                  <c:v>42866</c:v>
                </c:pt>
                <c:pt idx="18130">
                  <c:v>42865</c:v>
                </c:pt>
                <c:pt idx="18131">
                  <c:v>42865</c:v>
                </c:pt>
                <c:pt idx="18132">
                  <c:v>42865</c:v>
                </c:pt>
                <c:pt idx="18133">
                  <c:v>42862</c:v>
                </c:pt>
                <c:pt idx="18134">
                  <c:v>42862</c:v>
                </c:pt>
                <c:pt idx="18135">
                  <c:v>42862</c:v>
                </c:pt>
                <c:pt idx="18136">
                  <c:v>42861</c:v>
                </c:pt>
                <c:pt idx="18137">
                  <c:v>42861</c:v>
                </c:pt>
                <c:pt idx="18138">
                  <c:v>42861</c:v>
                </c:pt>
                <c:pt idx="18139">
                  <c:v>42860</c:v>
                </c:pt>
                <c:pt idx="18140">
                  <c:v>42859</c:v>
                </c:pt>
                <c:pt idx="18141">
                  <c:v>42858</c:v>
                </c:pt>
                <c:pt idx="18142">
                  <c:v>42858</c:v>
                </c:pt>
                <c:pt idx="18143">
                  <c:v>42857</c:v>
                </c:pt>
                <c:pt idx="18144">
                  <c:v>42857</c:v>
                </c:pt>
                <c:pt idx="18145">
                  <c:v>42857</c:v>
                </c:pt>
                <c:pt idx="18146">
                  <c:v>42855</c:v>
                </c:pt>
                <c:pt idx="18147">
                  <c:v>42855</c:v>
                </c:pt>
                <c:pt idx="18148">
                  <c:v>42854</c:v>
                </c:pt>
                <c:pt idx="18149">
                  <c:v>42853</c:v>
                </c:pt>
                <c:pt idx="18150">
                  <c:v>42852</c:v>
                </c:pt>
                <c:pt idx="18151">
                  <c:v>42851</c:v>
                </c:pt>
                <c:pt idx="18152">
                  <c:v>42851</c:v>
                </c:pt>
                <c:pt idx="18153">
                  <c:v>42850</c:v>
                </c:pt>
                <c:pt idx="18154">
                  <c:v>42850</c:v>
                </c:pt>
                <c:pt idx="18155">
                  <c:v>42850</c:v>
                </c:pt>
                <c:pt idx="18156">
                  <c:v>42849</c:v>
                </c:pt>
                <c:pt idx="18157">
                  <c:v>42847</c:v>
                </c:pt>
                <c:pt idx="18158">
                  <c:v>42847</c:v>
                </c:pt>
                <c:pt idx="18159">
                  <c:v>42845</c:v>
                </c:pt>
                <c:pt idx="18160">
                  <c:v>42845</c:v>
                </c:pt>
                <c:pt idx="18161">
                  <c:v>42844</c:v>
                </c:pt>
                <c:pt idx="18162">
                  <c:v>42844</c:v>
                </c:pt>
                <c:pt idx="18163">
                  <c:v>42843</c:v>
                </c:pt>
                <c:pt idx="18164">
                  <c:v>42843</c:v>
                </c:pt>
                <c:pt idx="18165">
                  <c:v>42843</c:v>
                </c:pt>
                <c:pt idx="18166">
                  <c:v>42842</c:v>
                </c:pt>
                <c:pt idx="18167">
                  <c:v>42842</c:v>
                </c:pt>
                <c:pt idx="18168">
                  <c:v>42842</c:v>
                </c:pt>
                <c:pt idx="18169">
                  <c:v>42841</c:v>
                </c:pt>
                <c:pt idx="18170">
                  <c:v>42840</c:v>
                </c:pt>
                <c:pt idx="18171">
                  <c:v>42839</c:v>
                </c:pt>
                <c:pt idx="18172">
                  <c:v>42838</c:v>
                </c:pt>
                <c:pt idx="18173">
                  <c:v>42838</c:v>
                </c:pt>
                <c:pt idx="18174">
                  <c:v>42837</c:v>
                </c:pt>
                <c:pt idx="18175">
                  <c:v>42837</c:v>
                </c:pt>
                <c:pt idx="18176">
                  <c:v>42836</c:v>
                </c:pt>
                <c:pt idx="18177">
                  <c:v>42834</c:v>
                </c:pt>
                <c:pt idx="18178">
                  <c:v>42834</c:v>
                </c:pt>
                <c:pt idx="18179">
                  <c:v>42833</c:v>
                </c:pt>
                <c:pt idx="18180">
                  <c:v>42833</c:v>
                </c:pt>
                <c:pt idx="18181">
                  <c:v>42833</c:v>
                </c:pt>
                <c:pt idx="18182">
                  <c:v>42833</c:v>
                </c:pt>
                <c:pt idx="18183">
                  <c:v>42832</c:v>
                </c:pt>
                <c:pt idx="18184">
                  <c:v>42832</c:v>
                </c:pt>
                <c:pt idx="18185">
                  <c:v>42831</c:v>
                </c:pt>
                <c:pt idx="18186">
                  <c:v>42831</c:v>
                </c:pt>
                <c:pt idx="18187">
                  <c:v>42830</c:v>
                </c:pt>
                <c:pt idx="18188">
                  <c:v>42830</c:v>
                </c:pt>
                <c:pt idx="18189">
                  <c:v>42830</c:v>
                </c:pt>
                <c:pt idx="18190">
                  <c:v>42830</c:v>
                </c:pt>
                <c:pt idx="18191">
                  <c:v>42829</c:v>
                </c:pt>
                <c:pt idx="18192">
                  <c:v>42829</c:v>
                </c:pt>
                <c:pt idx="18193">
                  <c:v>42829</c:v>
                </c:pt>
                <c:pt idx="18194">
                  <c:v>42829</c:v>
                </c:pt>
                <c:pt idx="18195">
                  <c:v>42829</c:v>
                </c:pt>
                <c:pt idx="18196">
                  <c:v>42828</c:v>
                </c:pt>
                <c:pt idx="18197">
                  <c:v>42828</c:v>
                </c:pt>
                <c:pt idx="18198">
                  <c:v>42827</c:v>
                </c:pt>
                <c:pt idx="18199">
                  <c:v>42826</c:v>
                </c:pt>
                <c:pt idx="18200">
                  <c:v>42825</c:v>
                </c:pt>
                <c:pt idx="18201">
                  <c:v>42825</c:v>
                </c:pt>
                <c:pt idx="18202">
                  <c:v>42824</c:v>
                </c:pt>
                <c:pt idx="18203">
                  <c:v>42823</c:v>
                </c:pt>
                <c:pt idx="18204">
                  <c:v>42823</c:v>
                </c:pt>
                <c:pt idx="18205">
                  <c:v>42822</c:v>
                </c:pt>
                <c:pt idx="18206">
                  <c:v>42822</c:v>
                </c:pt>
                <c:pt idx="18207">
                  <c:v>42822</c:v>
                </c:pt>
                <c:pt idx="18208">
                  <c:v>42822</c:v>
                </c:pt>
                <c:pt idx="18209">
                  <c:v>42821</c:v>
                </c:pt>
                <c:pt idx="18210">
                  <c:v>42821</c:v>
                </c:pt>
                <c:pt idx="18211">
                  <c:v>42821</c:v>
                </c:pt>
                <c:pt idx="18212">
                  <c:v>42821</c:v>
                </c:pt>
                <c:pt idx="18213">
                  <c:v>42821</c:v>
                </c:pt>
                <c:pt idx="18214">
                  <c:v>42820</c:v>
                </c:pt>
                <c:pt idx="18215">
                  <c:v>42820</c:v>
                </c:pt>
                <c:pt idx="18216">
                  <c:v>42820</c:v>
                </c:pt>
                <c:pt idx="18217">
                  <c:v>42820</c:v>
                </c:pt>
                <c:pt idx="18218">
                  <c:v>42819</c:v>
                </c:pt>
                <c:pt idx="18219">
                  <c:v>42819</c:v>
                </c:pt>
                <c:pt idx="18220">
                  <c:v>42819</c:v>
                </c:pt>
                <c:pt idx="18221">
                  <c:v>42819</c:v>
                </c:pt>
                <c:pt idx="18222">
                  <c:v>42819</c:v>
                </c:pt>
                <c:pt idx="18223">
                  <c:v>42819</c:v>
                </c:pt>
                <c:pt idx="18224">
                  <c:v>42818</c:v>
                </c:pt>
                <c:pt idx="18225">
                  <c:v>42815</c:v>
                </c:pt>
                <c:pt idx="18226">
                  <c:v>42815</c:v>
                </c:pt>
                <c:pt idx="18227">
                  <c:v>42814</c:v>
                </c:pt>
                <c:pt idx="18228">
                  <c:v>42814</c:v>
                </c:pt>
                <c:pt idx="18229">
                  <c:v>42814</c:v>
                </c:pt>
                <c:pt idx="18230">
                  <c:v>42814</c:v>
                </c:pt>
                <c:pt idx="18231">
                  <c:v>42813</c:v>
                </c:pt>
                <c:pt idx="18232">
                  <c:v>42812</c:v>
                </c:pt>
                <c:pt idx="18233">
                  <c:v>42812</c:v>
                </c:pt>
                <c:pt idx="18234">
                  <c:v>42811</c:v>
                </c:pt>
                <c:pt idx="18235">
                  <c:v>42809</c:v>
                </c:pt>
                <c:pt idx="18236">
                  <c:v>42807</c:v>
                </c:pt>
                <c:pt idx="18237">
                  <c:v>42806</c:v>
                </c:pt>
                <c:pt idx="18238">
                  <c:v>42806</c:v>
                </c:pt>
                <c:pt idx="18239">
                  <c:v>42805</c:v>
                </c:pt>
                <c:pt idx="18240">
                  <c:v>42804</c:v>
                </c:pt>
                <c:pt idx="18241">
                  <c:v>42803</c:v>
                </c:pt>
                <c:pt idx="18242">
                  <c:v>42801</c:v>
                </c:pt>
                <c:pt idx="18243">
                  <c:v>42801</c:v>
                </c:pt>
                <c:pt idx="18244">
                  <c:v>42801</c:v>
                </c:pt>
                <c:pt idx="18245">
                  <c:v>42801</c:v>
                </c:pt>
                <c:pt idx="18246">
                  <c:v>42800</c:v>
                </c:pt>
                <c:pt idx="18247">
                  <c:v>42799</c:v>
                </c:pt>
                <c:pt idx="18248">
                  <c:v>42797</c:v>
                </c:pt>
                <c:pt idx="18249">
                  <c:v>42796</c:v>
                </c:pt>
                <c:pt idx="18250">
                  <c:v>42796</c:v>
                </c:pt>
                <c:pt idx="18251">
                  <c:v>42796</c:v>
                </c:pt>
                <c:pt idx="18252">
                  <c:v>42795</c:v>
                </c:pt>
                <c:pt idx="18253">
                  <c:v>42794</c:v>
                </c:pt>
                <c:pt idx="18254">
                  <c:v>42793</c:v>
                </c:pt>
                <c:pt idx="18255">
                  <c:v>42793</c:v>
                </c:pt>
                <c:pt idx="18256">
                  <c:v>42793</c:v>
                </c:pt>
                <c:pt idx="18257">
                  <c:v>42793</c:v>
                </c:pt>
                <c:pt idx="18258">
                  <c:v>42792</c:v>
                </c:pt>
                <c:pt idx="18259">
                  <c:v>42792</c:v>
                </c:pt>
                <c:pt idx="18260">
                  <c:v>42791</c:v>
                </c:pt>
                <c:pt idx="18261">
                  <c:v>42790</c:v>
                </c:pt>
                <c:pt idx="18262">
                  <c:v>42790</c:v>
                </c:pt>
                <c:pt idx="18263">
                  <c:v>42790</c:v>
                </c:pt>
                <c:pt idx="18264">
                  <c:v>42789</c:v>
                </c:pt>
                <c:pt idx="18265">
                  <c:v>42789</c:v>
                </c:pt>
                <c:pt idx="18266">
                  <c:v>42788</c:v>
                </c:pt>
                <c:pt idx="18267">
                  <c:v>42788</c:v>
                </c:pt>
                <c:pt idx="18268">
                  <c:v>42787</c:v>
                </c:pt>
                <c:pt idx="18269">
                  <c:v>42786</c:v>
                </c:pt>
                <c:pt idx="18270">
                  <c:v>42785</c:v>
                </c:pt>
                <c:pt idx="18271">
                  <c:v>42785</c:v>
                </c:pt>
                <c:pt idx="18272">
                  <c:v>42785</c:v>
                </c:pt>
                <c:pt idx="18273">
                  <c:v>42785</c:v>
                </c:pt>
                <c:pt idx="18274">
                  <c:v>42784</c:v>
                </c:pt>
                <c:pt idx="18275">
                  <c:v>42784</c:v>
                </c:pt>
                <c:pt idx="18276">
                  <c:v>42783</c:v>
                </c:pt>
                <c:pt idx="18277">
                  <c:v>42782</c:v>
                </c:pt>
                <c:pt idx="18278">
                  <c:v>42782</c:v>
                </c:pt>
                <c:pt idx="18279">
                  <c:v>42781</c:v>
                </c:pt>
                <c:pt idx="18280">
                  <c:v>42780</c:v>
                </c:pt>
                <c:pt idx="18281">
                  <c:v>42778</c:v>
                </c:pt>
                <c:pt idx="18282">
                  <c:v>42778</c:v>
                </c:pt>
                <c:pt idx="18283">
                  <c:v>42778</c:v>
                </c:pt>
                <c:pt idx="18284">
                  <c:v>42777</c:v>
                </c:pt>
                <c:pt idx="18285">
                  <c:v>42776</c:v>
                </c:pt>
                <c:pt idx="18286">
                  <c:v>42776</c:v>
                </c:pt>
                <c:pt idx="18287">
                  <c:v>42776</c:v>
                </c:pt>
                <c:pt idx="18288">
                  <c:v>42775</c:v>
                </c:pt>
                <c:pt idx="18289">
                  <c:v>42775</c:v>
                </c:pt>
                <c:pt idx="18290">
                  <c:v>42775</c:v>
                </c:pt>
                <c:pt idx="18291">
                  <c:v>42775</c:v>
                </c:pt>
                <c:pt idx="18292">
                  <c:v>42775</c:v>
                </c:pt>
                <c:pt idx="18293">
                  <c:v>42774</c:v>
                </c:pt>
                <c:pt idx="18294">
                  <c:v>42774</c:v>
                </c:pt>
                <c:pt idx="18295">
                  <c:v>42774</c:v>
                </c:pt>
                <c:pt idx="18296">
                  <c:v>42774</c:v>
                </c:pt>
                <c:pt idx="18297">
                  <c:v>42773</c:v>
                </c:pt>
                <c:pt idx="18298">
                  <c:v>42772</c:v>
                </c:pt>
                <c:pt idx="18299">
                  <c:v>42772</c:v>
                </c:pt>
                <c:pt idx="18300">
                  <c:v>42772</c:v>
                </c:pt>
                <c:pt idx="18301">
                  <c:v>42772</c:v>
                </c:pt>
                <c:pt idx="18302">
                  <c:v>42771</c:v>
                </c:pt>
                <c:pt idx="18303">
                  <c:v>42768</c:v>
                </c:pt>
                <c:pt idx="18304">
                  <c:v>42768</c:v>
                </c:pt>
                <c:pt idx="18305">
                  <c:v>42768</c:v>
                </c:pt>
                <c:pt idx="18306">
                  <c:v>42768</c:v>
                </c:pt>
                <c:pt idx="18307">
                  <c:v>42768</c:v>
                </c:pt>
                <c:pt idx="18308">
                  <c:v>42767</c:v>
                </c:pt>
                <c:pt idx="18309">
                  <c:v>42767</c:v>
                </c:pt>
                <c:pt idx="18310">
                  <c:v>42766</c:v>
                </c:pt>
                <c:pt idx="18311">
                  <c:v>42764</c:v>
                </c:pt>
                <c:pt idx="18312">
                  <c:v>42763</c:v>
                </c:pt>
                <c:pt idx="18313">
                  <c:v>42763</c:v>
                </c:pt>
                <c:pt idx="18314">
                  <c:v>42763</c:v>
                </c:pt>
                <c:pt idx="18315">
                  <c:v>42762</c:v>
                </c:pt>
                <c:pt idx="18316">
                  <c:v>42761</c:v>
                </c:pt>
                <c:pt idx="18317">
                  <c:v>42759</c:v>
                </c:pt>
                <c:pt idx="18318">
                  <c:v>42759</c:v>
                </c:pt>
                <c:pt idx="18319">
                  <c:v>42758</c:v>
                </c:pt>
                <c:pt idx="18320">
                  <c:v>42758</c:v>
                </c:pt>
                <c:pt idx="18321">
                  <c:v>42756</c:v>
                </c:pt>
                <c:pt idx="18322">
                  <c:v>42756</c:v>
                </c:pt>
                <c:pt idx="18323">
                  <c:v>42755</c:v>
                </c:pt>
                <c:pt idx="18324">
                  <c:v>42755</c:v>
                </c:pt>
                <c:pt idx="18325">
                  <c:v>42753</c:v>
                </c:pt>
                <c:pt idx="18326">
                  <c:v>42752</c:v>
                </c:pt>
                <c:pt idx="18327">
                  <c:v>42750</c:v>
                </c:pt>
                <c:pt idx="18328">
                  <c:v>42750</c:v>
                </c:pt>
                <c:pt idx="18329">
                  <c:v>42750</c:v>
                </c:pt>
                <c:pt idx="18330">
                  <c:v>42750</c:v>
                </c:pt>
                <c:pt idx="18331">
                  <c:v>42749</c:v>
                </c:pt>
                <c:pt idx="18332">
                  <c:v>42749</c:v>
                </c:pt>
                <c:pt idx="18333">
                  <c:v>42747</c:v>
                </c:pt>
                <c:pt idx="18334">
                  <c:v>42747</c:v>
                </c:pt>
                <c:pt idx="18335">
                  <c:v>42746</c:v>
                </c:pt>
                <c:pt idx="18336">
                  <c:v>42746</c:v>
                </c:pt>
                <c:pt idx="18337">
                  <c:v>42745</c:v>
                </c:pt>
                <c:pt idx="18338">
                  <c:v>42745</c:v>
                </c:pt>
                <c:pt idx="18339">
                  <c:v>42744</c:v>
                </c:pt>
                <c:pt idx="18340">
                  <c:v>42742</c:v>
                </c:pt>
                <c:pt idx="18341">
                  <c:v>42741</c:v>
                </c:pt>
                <c:pt idx="18342">
                  <c:v>42741</c:v>
                </c:pt>
                <c:pt idx="18343">
                  <c:v>42741</c:v>
                </c:pt>
                <c:pt idx="18344">
                  <c:v>42740</c:v>
                </c:pt>
                <c:pt idx="18345">
                  <c:v>42740</c:v>
                </c:pt>
                <c:pt idx="18346">
                  <c:v>42740</c:v>
                </c:pt>
                <c:pt idx="18347">
                  <c:v>42740</c:v>
                </c:pt>
                <c:pt idx="18348">
                  <c:v>42739</c:v>
                </c:pt>
                <c:pt idx="18349">
                  <c:v>42738</c:v>
                </c:pt>
                <c:pt idx="18350">
                  <c:v>42738</c:v>
                </c:pt>
                <c:pt idx="18351">
                  <c:v>42737</c:v>
                </c:pt>
                <c:pt idx="18352">
                  <c:v>42737</c:v>
                </c:pt>
                <c:pt idx="18353">
                  <c:v>42737</c:v>
                </c:pt>
                <c:pt idx="18354">
                  <c:v>42736</c:v>
                </c:pt>
                <c:pt idx="18355">
                  <c:v>42734</c:v>
                </c:pt>
                <c:pt idx="18356">
                  <c:v>42733</c:v>
                </c:pt>
                <c:pt idx="18357">
                  <c:v>42733</c:v>
                </c:pt>
                <c:pt idx="18358">
                  <c:v>42733</c:v>
                </c:pt>
                <c:pt idx="18359">
                  <c:v>42733</c:v>
                </c:pt>
                <c:pt idx="18360">
                  <c:v>42732</c:v>
                </c:pt>
                <c:pt idx="18361">
                  <c:v>42732</c:v>
                </c:pt>
                <c:pt idx="18362">
                  <c:v>42731</c:v>
                </c:pt>
                <c:pt idx="18363">
                  <c:v>42731</c:v>
                </c:pt>
                <c:pt idx="18364">
                  <c:v>42730</c:v>
                </c:pt>
                <c:pt idx="18365">
                  <c:v>42730</c:v>
                </c:pt>
                <c:pt idx="18366">
                  <c:v>42729</c:v>
                </c:pt>
                <c:pt idx="18367">
                  <c:v>42728</c:v>
                </c:pt>
                <c:pt idx="18368">
                  <c:v>42728</c:v>
                </c:pt>
                <c:pt idx="18369">
                  <c:v>42727</c:v>
                </c:pt>
                <c:pt idx="18370">
                  <c:v>42726</c:v>
                </c:pt>
                <c:pt idx="18371">
                  <c:v>42724</c:v>
                </c:pt>
                <c:pt idx="18372">
                  <c:v>42723</c:v>
                </c:pt>
                <c:pt idx="18373">
                  <c:v>42721</c:v>
                </c:pt>
                <c:pt idx="18374">
                  <c:v>42721</c:v>
                </c:pt>
                <c:pt idx="18375">
                  <c:v>42719</c:v>
                </c:pt>
                <c:pt idx="18376">
                  <c:v>42718</c:v>
                </c:pt>
                <c:pt idx="18377">
                  <c:v>42717</c:v>
                </c:pt>
                <c:pt idx="18378">
                  <c:v>42716</c:v>
                </c:pt>
                <c:pt idx="18379">
                  <c:v>42715</c:v>
                </c:pt>
                <c:pt idx="18380">
                  <c:v>42715</c:v>
                </c:pt>
                <c:pt idx="18381">
                  <c:v>42714</c:v>
                </c:pt>
                <c:pt idx="18382">
                  <c:v>42714</c:v>
                </c:pt>
                <c:pt idx="18383">
                  <c:v>42713</c:v>
                </c:pt>
                <c:pt idx="18384">
                  <c:v>42712</c:v>
                </c:pt>
                <c:pt idx="18385">
                  <c:v>42711</c:v>
                </c:pt>
                <c:pt idx="18386">
                  <c:v>42710</c:v>
                </c:pt>
                <c:pt idx="18387">
                  <c:v>42709</c:v>
                </c:pt>
                <c:pt idx="18388">
                  <c:v>42709</c:v>
                </c:pt>
                <c:pt idx="18389">
                  <c:v>42709</c:v>
                </c:pt>
                <c:pt idx="18390">
                  <c:v>42708</c:v>
                </c:pt>
                <c:pt idx="18391">
                  <c:v>42707</c:v>
                </c:pt>
                <c:pt idx="18392">
                  <c:v>42707</c:v>
                </c:pt>
                <c:pt idx="18393">
                  <c:v>42706</c:v>
                </c:pt>
                <c:pt idx="18394">
                  <c:v>42706</c:v>
                </c:pt>
                <c:pt idx="18395">
                  <c:v>42705</c:v>
                </c:pt>
                <c:pt idx="18396">
                  <c:v>42703</c:v>
                </c:pt>
                <c:pt idx="18397">
                  <c:v>42702</c:v>
                </c:pt>
                <c:pt idx="18398">
                  <c:v>42701</c:v>
                </c:pt>
                <c:pt idx="18399">
                  <c:v>42701</c:v>
                </c:pt>
                <c:pt idx="18400">
                  <c:v>42701</c:v>
                </c:pt>
                <c:pt idx="18401">
                  <c:v>42701</c:v>
                </c:pt>
                <c:pt idx="18402">
                  <c:v>42701</c:v>
                </c:pt>
                <c:pt idx="18403">
                  <c:v>42700</c:v>
                </c:pt>
                <c:pt idx="18404">
                  <c:v>42700</c:v>
                </c:pt>
                <c:pt idx="18405">
                  <c:v>42699</c:v>
                </c:pt>
                <c:pt idx="18406">
                  <c:v>42699</c:v>
                </c:pt>
                <c:pt idx="18407">
                  <c:v>42698</c:v>
                </c:pt>
                <c:pt idx="18408">
                  <c:v>42698</c:v>
                </c:pt>
                <c:pt idx="18409">
                  <c:v>42697</c:v>
                </c:pt>
                <c:pt idx="18410">
                  <c:v>42697</c:v>
                </c:pt>
                <c:pt idx="18411">
                  <c:v>42697</c:v>
                </c:pt>
                <c:pt idx="18412">
                  <c:v>42696</c:v>
                </c:pt>
                <c:pt idx="18413">
                  <c:v>42694</c:v>
                </c:pt>
                <c:pt idx="18414">
                  <c:v>42692</c:v>
                </c:pt>
                <c:pt idx="18415">
                  <c:v>42691</c:v>
                </c:pt>
                <c:pt idx="18416">
                  <c:v>42691</c:v>
                </c:pt>
                <c:pt idx="18417">
                  <c:v>42690</c:v>
                </c:pt>
                <c:pt idx="18418">
                  <c:v>42688</c:v>
                </c:pt>
                <c:pt idx="18419">
                  <c:v>42688</c:v>
                </c:pt>
                <c:pt idx="18420">
                  <c:v>42688</c:v>
                </c:pt>
                <c:pt idx="18421">
                  <c:v>42688</c:v>
                </c:pt>
                <c:pt idx="18422">
                  <c:v>42687</c:v>
                </c:pt>
                <c:pt idx="18423">
                  <c:v>42687</c:v>
                </c:pt>
                <c:pt idx="18424">
                  <c:v>42686</c:v>
                </c:pt>
                <c:pt idx="18425">
                  <c:v>42686</c:v>
                </c:pt>
                <c:pt idx="18426">
                  <c:v>42686</c:v>
                </c:pt>
                <c:pt idx="18427">
                  <c:v>42686</c:v>
                </c:pt>
                <c:pt idx="18428">
                  <c:v>42682</c:v>
                </c:pt>
                <c:pt idx="18429">
                  <c:v>42680</c:v>
                </c:pt>
                <c:pt idx="18430">
                  <c:v>42680</c:v>
                </c:pt>
                <c:pt idx="18431">
                  <c:v>42680</c:v>
                </c:pt>
                <c:pt idx="18432">
                  <c:v>42680</c:v>
                </c:pt>
                <c:pt idx="18433">
                  <c:v>42679</c:v>
                </c:pt>
                <c:pt idx="18434">
                  <c:v>42679</c:v>
                </c:pt>
                <c:pt idx="18435">
                  <c:v>42679</c:v>
                </c:pt>
                <c:pt idx="18436">
                  <c:v>42678</c:v>
                </c:pt>
                <c:pt idx="18437">
                  <c:v>42678</c:v>
                </c:pt>
                <c:pt idx="18438">
                  <c:v>42677</c:v>
                </c:pt>
                <c:pt idx="18439">
                  <c:v>42675</c:v>
                </c:pt>
                <c:pt idx="18440">
                  <c:v>42674</c:v>
                </c:pt>
                <c:pt idx="18441">
                  <c:v>42673</c:v>
                </c:pt>
                <c:pt idx="18442">
                  <c:v>42672</c:v>
                </c:pt>
                <c:pt idx="18443">
                  <c:v>42672</c:v>
                </c:pt>
                <c:pt idx="18444">
                  <c:v>42671</c:v>
                </c:pt>
                <c:pt idx="18445">
                  <c:v>42669</c:v>
                </c:pt>
                <c:pt idx="18446">
                  <c:v>42669</c:v>
                </c:pt>
                <c:pt idx="18447">
                  <c:v>42669</c:v>
                </c:pt>
                <c:pt idx="18448">
                  <c:v>42668</c:v>
                </c:pt>
                <c:pt idx="18449">
                  <c:v>42668</c:v>
                </c:pt>
                <c:pt idx="18450">
                  <c:v>42667</c:v>
                </c:pt>
                <c:pt idx="18451">
                  <c:v>42666</c:v>
                </c:pt>
                <c:pt idx="18452">
                  <c:v>42663</c:v>
                </c:pt>
                <c:pt idx="18453">
                  <c:v>42661</c:v>
                </c:pt>
                <c:pt idx="18454">
                  <c:v>42661</c:v>
                </c:pt>
                <c:pt idx="18455">
                  <c:v>42660</c:v>
                </c:pt>
                <c:pt idx="18456">
                  <c:v>42660</c:v>
                </c:pt>
                <c:pt idx="18457">
                  <c:v>42660</c:v>
                </c:pt>
                <c:pt idx="18458">
                  <c:v>42659</c:v>
                </c:pt>
                <c:pt idx="18459">
                  <c:v>42659</c:v>
                </c:pt>
                <c:pt idx="18460">
                  <c:v>42656</c:v>
                </c:pt>
                <c:pt idx="18461">
                  <c:v>42656</c:v>
                </c:pt>
                <c:pt idx="18462">
                  <c:v>42655</c:v>
                </c:pt>
                <c:pt idx="18463">
                  <c:v>42653</c:v>
                </c:pt>
                <c:pt idx="18464">
                  <c:v>42653</c:v>
                </c:pt>
                <c:pt idx="18465">
                  <c:v>42653</c:v>
                </c:pt>
                <c:pt idx="18466">
                  <c:v>42652</c:v>
                </c:pt>
                <c:pt idx="18467">
                  <c:v>42652</c:v>
                </c:pt>
                <c:pt idx="18468">
                  <c:v>42651</c:v>
                </c:pt>
                <c:pt idx="18469">
                  <c:v>42651</c:v>
                </c:pt>
                <c:pt idx="18470">
                  <c:v>42647</c:v>
                </c:pt>
                <c:pt idx="18471">
                  <c:v>42647</c:v>
                </c:pt>
                <c:pt idx="18472">
                  <c:v>42646</c:v>
                </c:pt>
                <c:pt idx="18473">
                  <c:v>42646</c:v>
                </c:pt>
                <c:pt idx="18474">
                  <c:v>42645</c:v>
                </c:pt>
                <c:pt idx="18475">
                  <c:v>42644</c:v>
                </c:pt>
                <c:pt idx="18476">
                  <c:v>42644</c:v>
                </c:pt>
                <c:pt idx="18477">
                  <c:v>42643</c:v>
                </c:pt>
                <c:pt idx="18478">
                  <c:v>42643</c:v>
                </c:pt>
                <c:pt idx="18479">
                  <c:v>42641</c:v>
                </c:pt>
                <c:pt idx="18480">
                  <c:v>42640</c:v>
                </c:pt>
                <c:pt idx="18481">
                  <c:v>42640</c:v>
                </c:pt>
                <c:pt idx="18482">
                  <c:v>42640</c:v>
                </c:pt>
                <c:pt idx="18483">
                  <c:v>42639</c:v>
                </c:pt>
                <c:pt idx="18484">
                  <c:v>42638</c:v>
                </c:pt>
                <c:pt idx="18485">
                  <c:v>42638</c:v>
                </c:pt>
                <c:pt idx="18486">
                  <c:v>42637</c:v>
                </c:pt>
                <c:pt idx="18487">
                  <c:v>42636</c:v>
                </c:pt>
                <c:pt idx="18488">
                  <c:v>42636</c:v>
                </c:pt>
                <c:pt idx="18489">
                  <c:v>42635</c:v>
                </c:pt>
                <c:pt idx="18490">
                  <c:v>42635</c:v>
                </c:pt>
                <c:pt idx="18491">
                  <c:v>42635</c:v>
                </c:pt>
                <c:pt idx="18492">
                  <c:v>42635</c:v>
                </c:pt>
                <c:pt idx="18493">
                  <c:v>42634</c:v>
                </c:pt>
                <c:pt idx="18494">
                  <c:v>42634</c:v>
                </c:pt>
                <c:pt idx="18495">
                  <c:v>42634</c:v>
                </c:pt>
                <c:pt idx="18496">
                  <c:v>42634</c:v>
                </c:pt>
                <c:pt idx="18497">
                  <c:v>42631</c:v>
                </c:pt>
                <c:pt idx="18498">
                  <c:v>42631</c:v>
                </c:pt>
                <c:pt idx="18499">
                  <c:v>42630</c:v>
                </c:pt>
                <c:pt idx="18500">
                  <c:v>42630</c:v>
                </c:pt>
                <c:pt idx="18501">
                  <c:v>42629</c:v>
                </c:pt>
                <c:pt idx="18502">
                  <c:v>42629</c:v>
                </c:pt>
                <c:pt idx="18503">
                  <c:v>42629</c:v>
                </c:pt>
                <c:pt idx="18504">
                  <c:v>42629</c:v>
                </c:pt>
                <c:pt idx="18505">
                  <c:v>42628</c:v>
                </c:pt>
                <c:pt idx="18506">
                  <c:v>42628</c:v>
                </c:pt>
                <c:pt idx="18507">
                  <c:v>42627</c:v>
                </c:pt>
                <c:pt idx="18508">
                  <c:v>42627</c:v>
                </c:pt>
                <c:pt idx="18509">
                  <c:v>42626</c:v>
                </c:pt>
                <c:pt idx="18510">
                  <c:v>42625</c:v>
                </c:pt>
                <c:pt idx="18511">
                  <c:v>42623</c:v>
                </c:pt>
                <c:pt idx="18512">
                  <c:v>42623</c:v>
                </c:pt>
                <c:pt idx="18513">
                  <c:v>42621</c:v>
                </c:pt>
                <c:pt idx="18514">
                  <c:v>42620</c:v>
                </c:pt>
                <c:pt idx="18515">
                  <c:v>42619</c:v>
                </c:pt>
                <c:pt idx="18516">
                  <c:v>42618</c:v>
                </c:pt>
                <c:pt idx="18517">
                  <c:v>42617</c:v>
                </c:pt>
                <c:pt idx="18518">
                  <c:v>42617</c:v>
                </c:pt>
                <c:pt idx="18519">
                  <c:v>42615</c:v>
                </c:pt>
                <c:pt idx="18520">
                  <c:v>42614</c:v>
                </c:pt>
                <c:pt idx="18521">
                  <c:v>42614</c:v>
                </c:pt>
                <c:pt idx="18522">
                  <c:v>42613</c:v>
                </c:pt>
                <c:pt idx="18523">
                  <c:v>42612</c:v>
                </c:pt>
                <c:pt idx="18524">
                  <c:v>42611</c:v>
                </c:pt>
                <c:pt idx="18525">
                  <c:v>42610</c:v>
                </c:pt>
                <c:pt idx="18526">
                  <c:v>42609</c:v>
                </c:pt>
                <c:pt idx="18527">
                  <c:v>42609</c:v>
                </c:pt>
                <c:pt idx="18528">
                  <c:v>42609</c:v>
                </c:pt>
                <c:pt idx="18529">
                  <c:v>42607</c:v>
                </c:pt>
                <c:pt idx="18530">
                  <c:v>42607</c:v>
                </c:pt>
                <c:pt idx="18531">
                  <c:v>42607</c:v>
                </c:pt>
                <c:pt idx="18532">
                  <c:v>42606</c:v>
                </c:pt>
                <c:pt idx="18533">
                  <c:v>42605</c:v>
                </c:pt>
                <c:pt idx="18534">
                  <c:v>42605</c:v>
                </c:pt>
                <c:pt idx="18535">
                  <c:v>42605</c:v>
                </c:pt>
                <c:pt idx="18536">
                  <c:v>42604</c:v>
                </c:pt>
                <c:pt idx="18537">
                  <c:v>42604</c:v>
                </c:pt>
                <c:pt idx="18538">
                  <c:v>42604</c:v>
                </c:pt>
                <c:pt idx="18539">
                  <c:v>42604</c:v>
                </c:pt>
                <c:pt idx="18540">
                  <c:v>42603</c:v>
                </c:pt>
                <c:pt idx="18541">
                  <c:v>42601</c:v>
                </c:pt>
                <c:pt idx="18542">
                  <c:v>42599</c:v>
                </c:pt>
                <c:pt idx="18543">
                  <c:v>42599</c:v>
                </c:pt>
                <c:pt idx="18544">
                  <c:v>42596</c:v>
                </c:pt>
                <c:pt idx="18545">
                  <c:v>42596</c:v>
                </c:pt>
                <c:pt idx="18546">
                  <c:v>42596</c:v>
                </c:pt>
                <c:pt idx="18547">
                  <c:v>42596</c:v>
                </c:pt>
                <c:pt idx="18548">
                  <c:v>42595</c:v>
                </c:pt>
                <c:pt idx="18549">
                  <c:v>42595</c:v>
                </c:pt>
                <c:pt idx="18550">
                  <c:v>42595</c:v>
                </c:pt>
                <c:pt idx="18551">
                  <c:v>42594</c:v>
                </c:pt>
                <c:pt idx="18552">
                  <c:v>42594</c:v>
                </c:pt>
                <c:pt idx="18553">
                  <c:v>42593</c:v>
                </c:pt>
                <c:pt idx="18554">
                  <c:v>42592</c:v>
                </c:pt>
                <c:pt idx="18555">
                  <c:v>42592</c:v>
                </c:pt>
                <c:pt idx="18556">
                  <c:v>42592</c:v>
                </c:pt>
                <c:pt idx="18557">
                  <c:v>42591</c:v>
                </c:pt>
                <c:pt idx="18558">
                  <c:v>42590</c:v>
                </c:pt>
                <c:pt idx="18559">
                  <c:v>42590</c:v>
                </c:pt>
                <c:pt idx="18560">
                  <c:v>42589</c:v>
                </c:pt>
                <c:pt idx="18561">
                  <c:v>42589</c:v>
                </c:pt>
                <c:pt idx="18562">
                  <c:v>42588</c:v>
                </c:pt>
                <c:pt idx="18563">
                  <c:v>42588</c:v>
                </c:pt>
                <c:pt idx="18564">
                  <c:v>42588</c:v>
                </c:pt>
                <c:pt idx="18565">
                  <c:v>42588</c:v>
                </c:pt>
                <c:pt idx="18566">
                  <c:v>42585</c:v>
                </c:pt>
                <c:pt idx="18567">
                  <c:v>42584</c:v>
                </c:pt>
                <c:pt idx="18568">
                  <c:v>42584</c:v>
                </c:pt>
                <c:pt idx="18569">
                  <c:v>42584</c:v>
                </c:pt>
                <c:pt idx="18570">
                  <c:v>42583</c:v>
                </c:pt>
                <c:pt idx="18571">
                  <c:v>42582</c:v>
                </c:pt>
                <c:pt idx="18572">
                  <c:v>42582</c:v>
                </c:pt>
                <c:pt idx="18573">
                  <c:v>42581</c:v>
                </c:pt>
                <c:pt idx="18574">
                  <c:v>42581</c:v>
                </c:pt>
                <c:pt idx="18575">
                  <c:v>42580</c:v>
                </c:pt>
                <c:pt idx="18576">
                  <c:v>42579</c:v>
                </c:pt>
                <c:pt idx="18577">
                  <c:v>42579</c:v>
                </c:pt>
                <c:pt idx="18578">
                  <c:v>42578</c:v>
                </c:pt>
                <c:pt idx="18579">
                  <c:v>42576</c:v>
                </c:pt>
                <c:pt idx="18580">
                  <c:v>42575</c:v>
                </c:pt>
                <c:pt idx="18581">
                  <c:v>42574</c:v>
                </c:pt>
                <c:pt idx="18582">
                  <c:v>42573</c:v>
                </c:pt>
                <c:pt idx="18583">
                  <c:v>42572</c:v>
                </c:pt>
                <c:pt idx="18584">
                  <c:v>42572</c:v>
                </c:pt>
                <c:pt idx="18585">
                  <c:v>42572</c:v>
                </c:pt>
                <c:pt idx="18586">
                  <c:v>42572</c:v>
                </c:pt>
                <c:pt idx="18587">
                  <c:v>42572</c:v>
                </c:pt>
                <c:pt idx="18588">
                  <c:v>42572</c:v>
                </c:pt>
                <c:pt idx="18589">
                  <c:v>42571</c:v>
                </c:pt>
                <c:pt idx="18590">
                  <c:v>42571</c:v>
                </c:pt>
                <c:pt idx="18591">
                  <c:v>42570</c:v>
                </c:pt>
                <c:pt idx="18592">
                  <c:v>42570</c:v>
                </c:pt>
                <c:pt idx="18593">
                  <c:v>42570</c:v>
                </c:pt>
                <c:pt idx="18594">
                  <c:v>42570</c:v>
                </c:pt>
                <c:pt idx="18595">
                  <c:v>42569</c:v>
                </c:pt>
                <c:pt idx="18596">
                  <c:v>42569</c:v>
                </c:pt>
                <c:pt idx="18597">
                  <c:v>42569</c:v>
                </c:pt>
                <c:pt idx="18598">
                  <c:v>42568</c:v>
                </c:pt>
                <c:pt idx="18599">
                  <c:v>42567</c:v>
                </c:pt>
                <c:pt idx="18600">
                  <c:v>42566</c:v>
                </c:pt>
                <c:pt idx="18601">
                  <c:v>42566</c:v>
                </c:pt>
                <c:pt idx="18602">
                  <c:v>42565</c:v>
                </c:pt>
                <c:pt idx="18603">
                  <c:v>42564</c:v>
                </c:pt>
                <c:pt idx="18604">
                  <c:v>42563</c:v>
                </c:pt>
                <c:pt idx="18605">
                  <c:v>42563</c:v>
                </c:pt>
                <c:pt idx="18606">
                  <c:v>42563</c:v>
                </c:pt>
                <c:pt idx="18607">
                  <c:v>42562</c:v>
                </c:pt>
                <c:pt idx="18608">
                  <c:v>42562</c:v>
                </c:pt>
                <c:pt idx="18609">
                  <c:v>42561</c:v>
                </c:pt>
                <c:pt idx="18610">
                  <c:v>42560</c:v>
                </c:pt>
                <c:pt idx="18611">
                  <c:v>42558</c:v>
                </c:pt>
                <c:pt idx="18612">
                  <c:v>42556</c:v>
                </c:pt>
                <c:pt idx="18613">
                  <c:v>42556</c:v>
                </c:pt>
                <c:pt idx="18614">
                  <c:v>42556</c:v>
                </c:pt>
                <c:pt idx="18615">
                  <c:v>42555</c:v>
                </c:pt>
                <c:pt idx="18616">
                  <c:v>42555</c:v>
                </c:pt>
                <c:pt idx="18617">
                  <c:v>42554</c:v>
                </c:pt>
                <c:pt idx="18618">
                  <c:v>42553</c:v>
                </c:pt>
                <c:pt idx="18619">
                  <c:v>42552</c:v>
                </c:pt>
                <c:pt idx="18620">
                  <c:v>42550</c:v>
                </c:pt>
                <c:pt idx="18621">
                  <c:v>42549</c:v>
                </c:pt>
                <c:pt idx="18622">
                  <c:v>42547</c:v>
                </c:pt>
                <c:pt idx="18623">
                  <c:v>42547</c:v>
                </c:pt>
                <c:pt idx="18624">
                  <c:v>42547</c:v>
                </c:pt>
                <c:pt idx="18625">
                  <c:v>42546</c:v>
                </c:pt>
                <c:pt idx="18626">
                  <c:v>42546</c:v>
                </c:pt>
                <c:pt idx="18627">
                  <c:v>42544</c:v>
                </c:pt>
                <c:pt idx="18628">
                  <c:v>42543</c:v>
                </c:pt>
                <c:pt idx="18629">
                  <c:v>42542</c:v>
                </c:pt>
                <c:pt idx="18630">
                  <c:v>42541</c:v>
                </c:pt>
                <c:pt idx="18631">
                  <c:v>42540</c:v>
                </c:pt>
                <c:pt idx="18632">
                  <c:v>42539</c:v>
                </c:pt>
                <c:pt idx="18633">
                  <c:v>42536</c:v>
                </c:pt>
                <c:pt idx="18634">
                  <c:v>42536</c:v>
                </c:pt>
                <c:pt idx="18635">
                  <c:v>42536</c:v>
                </c:pt>
                <c:pt idx="18636">
                  <c:v>42536</c:v>
                </c:pt>
                <c:pt idx="18637">
                  <c:v>42535</c:v>
                </c:pt>
                <c:pt idx="18638">
                  <c:v>42535</c:v>
                </c:pt>
                <c:pt idx="18639">
                  <c:v>42535</c:v>
                </c:pt>
                <c:pt idx="18640">
                  <c:v>42533</c:v>
                </c:pt>
                <c:pt idx="18641">
                  <c:v>42533</c:v>
                </c:pt>
                <c:pt idx="18642">
                  <c:v>42532</c:v>
                </c:pt>
                <c:pt idx="18643">
                  <c:v>42531</c:v>
                </c:pt>
                <c:pt idx="18644">
                  <c:v>42531</c:v>
                </c:pt>
                <c:pt idx="18645">
                  <c:v>42530</c:v>
                </c:pt>
                <c:pt idx="18646">
                  <c:v>42530</c:v>
                </c:pt>
                <c:pt idx="18647">
                  <c:v>42528</c:v>
                </c:pt>
                <c:pt idx="18648">
                  <c:v>42528</c:v>
                </c:pt>
                <c:pt idx="18649">
                  <c:v>42528</c:v>
                </c:pt>
                <c:pt idx="18650">
                  <c:v>42527</c:v>
                </c:pt>
                <c:pt idx="18651">
                  <c:v>42527</c:v>
                </c:pt>
                <c:pt idx="18652">
                  <c:v>42527</c:v>
                </c:pt>
                <c:pt idx="18653">
                  <c:v>42526</c:v>
                </c:pt>
                <c:pt idx="18654">
                  <c:v>42526</c:v>
                </c:pt>
                <c:pt idx="18655">
                  <c:v>42524</c:v>
                </c:pt>
                <c:pt idx="18656">
                  <c:v>42523</c:v>
                </c:pt>
                <c:pt idx="18657">
                  <c:v>42523</c:v>
                </c:pt>
                <c:pt idx="18658">
                  <c:v>42522</c:v>
                </c:pt>
                <c:pt idx="18659">
                  <c:v>42522</c:v>
                </c:pt>
                <c:pt idx="18660">
                  <c:v>42521</c:v>
                </c:pt>
                <c:pt idx="18661">
                  <c:v>42521</c:v>
                </c:pt>
                <c:pt idx="18662">
                  <c:v>42520</c:v>
                </c:pt>
                <c:pt idx="18663">
                  <c:v>42520</c:v>
                </c:pt>
                <c:pt idx="18664">
                  <c:v>42519</c:v>
                </c:pt>
                <c:pt idx="18665">
                  <c:v>42519</c:v>
                </c:pt>
                <c:pt idx="18666">
                  <c:v>42518</c:v>
                </c:pt>
                <c:pt idx="18667">
                  <c:v>42518</c:v>
                </c:pt>
                <c:pt idx="18668">
                  <c:v>42517</c:v>
                </c:pt>
                <c:pt idx="18669">
                  <c:v>42515</c:v>
                </c:pt>
                <c:pt idx="18670">
                  <c:v>42515</c:v>
                </c:pt>
                <c:pt idx="18671">
                  <c:v>42513</c:v>
                </c:pt>
                <c:pt idx="18672">
                  <c:v>42513</c:v>
                </c:pt>
                <c:pt idx="18673">
                  <c:v>42513</c:v>
                </c:pt>
                <c:pt idx="18674">
                  <c:v>42512</c:v>
                </c:pt>
                <c:pt idx="18675">
                  <c:v>42512</c:v>
                </c:pt>
                <c:pt idx="18676">
                  <c:v>42512</c:v>
                </c:pt>
                <c:pt idx="18677">
                  <c:v>42512</c:v>
                </c:pt>
                <c:pt idx="18678">
                  <c:v>42511</c:v>
                </c:pt>
                <c:pt idx="18679">
                  <c:v>42510</c:v>
                </c:pt>
                <c:pt idx="18680">
                  <c:v>42509</c:v>
                </c:pt>
                <c:pt idx="18681">
                  <c:v>42507</c:v>
                </c:pt>
                <c:pt idx="18682">
                  <c:v>42506</c:v>
                </c:pt>
                <c:pt idx="18683">
                  <c:v>42506</c:v>
                </c:pt>
                <c:pt idx="18684">
                  <c:v>42505</c:v>
                </c:pt>
                <c:pt idx="18685">
                  <c:v>42504</c:v>
                </c:pt>
                <c:pt idx="18686">
                  <c:v>42504</c:v>
                </c:pt>
                <c:pt idx="18687">
                  <c:v>42503</c:v>
                </c:pt>
                <c:pt idx="18688">
                  <c:v>42503</c:v>
                </c:pt>
                <c:pt idx="18689">
                  <c:v>42503</c:v>
                </c:pt>
                <c:pt idx="18690">
                  <c:v>42503</c:v>
                </c:pt>
                <c:pt idx="18691">
                  <c:v>42502</c:v>
                </c:pt>
                <c:pt idx="18692">
                  <c:v>42501</c:v>
                </c:pt>
                <c:pt idx="18693">
                  <c:v>42499</c:v>
                </c:pt>
                <c:pt idx="18694">
                  <c:v>42499</c:v>
                </c:pt>
                <c:pt idx="18695">
                  <c:v>42498</c:v>
                </c:pt>
                <c:pt idx="18696">
                  <c:v>42498</c:v>
                </c:pt>
                <c:pt idx="18697">
                  <c:v>42498</c:v>
                </c:pt>
                <c:pt idx="18698">
                  <c:v>42497</c:v>
                </c:pt>
                <c:pt idx="18699">
                  <c:v>42497</c:v>
                </c:pt>
                <c:pt idx="18700">
                  <c:v>42496</c:v>
                </c:pt>
                <c:pt idx="18701">
                  <c:v>42496</c:v>
                </c:pt>
                <c:pt idx="18702">
                  <c:v>42496</c:v>
                </c:pt>
                <c:pt idx="18703">
                  <c:v>42495</c:v>
                </c:pt>
                <c:pt idx="18704">
                  <c:v>42495</c:v>
                </c:pt>
                <c:pt idx="18705">
                  <c:v>42492</c:v>
                </c:pt>
                <c:pt idx="18706">
                  <c:v>42491</c:v>
                </c:pt>
                <c:pt idx="18707">
                  <c:v>42489</c:v>
                </c:pt>
                <c:pt idx="18708">
                  <c:v>42489</c:v>
                </c:pt>
                <c:pt idx="18709">
                  <c:v>42489</c:v>
                </c:pt>
                <c:pt idx="18710">
                  <c:v>42488</c:v>
                </c:pt>
                <c:pt idx="18711">
                  <c:v>42487</c:v>
                </c:pt>
                <c:pt idx="18712">
                  <c:v>42487</c:v>
                </c:pt>
                <c:pt idx="18713">
                  <c:v>42486</c:v>
                </c:pt>
                <c:pt idx="18714">
                  <c:v>42486</c:v>
                </c:pt>
                <c:pt idx="18715">
                  <c:v>42481</c:v>
                </c:pt>
                <c:pt idx="18716">
                  <c:v>42481</c:v>
                </c:pt>
                <c:pt idx="18717">
                  <c:v>42481</c:v>
                </c:pt>
                <c:pt idx="18718">
                  <c:v>42481</c:v>
                </c:pt>
                <c:pt idx="18719">
                  <c:v>42474</c:v>
                </c:pt>
                <c:pt idx="18720">
                  <c:v>42473</c:v>
                </c:pt>
                <c:pt idx="18721">
                  <c:v>42473</c:v>
                </c:pt>
                <c:pt idx="18722">
                  <c:v>42472</c:v>
                </c:pt>
                <c:pt idx="18723">
                  <c:v>42472</c:v>
                </c:pt>
                <c:pt idx="18724">
                  <c:v>42472</c:v>
                </c:pt>
                <c:pt idx="18725">
                  <c:v>42472</c:v>
                </c:pt>
                <c:pt idx="18726">
                  <c:v>42471</c:v>
                </c:pt>
                <c:pt idx="18727">
                  <c:v>42470</c:v>
                </c:pt>
                <c:pt idx="18728">
                  <c:v>42470</c:v>
                </c:pt>
                <c:pt idx="18729">
                  <c:v>42470</c:v>
                </c:pt>
                <c:pt idx="18730">
                  <c:v>42470</c:v>
                </c:pt>
                <c:pt idx="18731">
                  <c:v>42469</c:v>
                </c:pt>
                <c:pt idx="18732">
                  <c:v>42465</c:v>
                </c:pt>
                <c:pt idx="18733">
                  <c:v>42465</c:v>
                </c:pt>
                <c:pt idx="18734">
                  <c:v>42465</c:v>
                </c:pt>
                <c:pt idx="18735">
                  <c:v>42464</c:v>
                </c:pt>
                <c:pt idx="18736">
                  <c:v>42464</c:v>
                </c:pt>
                <c:pt idx="18737">
                  <c:v>42464</c:v>
                </c:pt>
                <c:pt idx="18738">
                  <c:v>42464</c:v>
                </c:pt>
                <c:pt idx="18739">
                  <c:v>42463</c:v>
                </c:pt>
                <c:pt idx="18740">
                  <c:v>42462</c:v>
                </c:pt>
                <c:pt idx="18741">
                  <c:v>42462</c:v>
                </c:pt>
                <c:pt idx="18742">
                  <c:v>42461</c:v>
                </c:pt>
                <c:pt idx="18743">
                  <c:v>42461</c:v>
                </c:pt>
                <c:pt idx="18744">
                  <c:v>42461</c:v>
                </c:pt>
                <c:pt idx="18745">
                  <c:v>42461</c:v>
                </c:pt>
                <c:pt idx="18746">
                  <c:v>42460</c:v>
                </c:pt>
                <c:pt idx="18747">
                  <c:v>42460</c:v>
                </c:pt>
                <c:pt idx="18748">
                  <c:v>42459</c:v>
                </c:pt>
                <c:pt idx="18749">
                  <c:v>42459</c:v>
                </c:pt>
                <c:pt idx="18750">
                  <c:v>42456</c:v>
                </c:pt>
                <c:pt idx="18751">
                  <c:v>42455</c:v>
                </c:pt>
                <c:pt idx="18752">
                  <c:v>42455</c:v>
                </c:pt>
                <c:pt idx="18753">
                  <c:v>42455</c:v>
                </c:pt>
                <c:pt idx="18754">
                  <c:v>42455</c:v>
                </c:pt>
                <c:pt idx="18755">
                  <c:v>42455</c:v>
                </c:pt>
                <c:pt idx="18756">
                  <c:v>42454</c:v>
                </c:pt>
                <c:pt idx="18757">
                  <c:v>42452</c:v>
                </c:pt>
                <c:pt idx="18758">
                  <c:v>42451</c:v>
                </c:pt>
                <c:pt idx="18759">
                  <c:v>42450</c:v>
                </c:pt>
                <c:pt idx="18760">
                  <c:v>42450</c:v>
                </c:pt>
                <c:pt idx="18761">
                  <c:v>42450</c:v>
                </c:pt>
                <c:pt idx="18762">
                  <c:v>42450</c:v>
                </c:pt>
                <c:pt idx="18763">
                  <c:v>42449</c:v>
                </c:pt>
                <c:pt idx="18764">
                  <c:v>42448</c:v>
                </c:pt>
                <c:pt idx="18765">
                  <c:v>42447</c:v>
                </c:pt>
                <c:pt idx="18766">
                  <c:v>42447</c:v>
                </c:pt>
                <c:pt idx="18767">
                  <c:v>42443</c:v>
                </c:pt>
                <c:pt idx="18768">
                  <c:v>42442</c:v>
                </c:pt>
                <c:pt idx="18769">
                  <c:v>42442</c:v>
                </c:pt>
                <c:pt idx="18770">
                  <c:v>42441</c:v>
                </c:pt>
                <c:pt idx="18771">
                  <c:v>42439</c:v>
                </c:pt>
                <c:pt idx="18772">
                  <c:v>42438</c:v>
                </c:pt>
                <c:pt idx="18773">
                  <c:v>42438</c:v>
                </c:pt>
                <c:pt idx="18774">
                  <c:v>42437</c:v>
                </c:pt>
                <c:pt idx="18775">
                  <c:v>42437</c:v>
                </c:pt>
                <c:pt idx="18776">
                  <c:v>42435</c:v>
                </c:pt>
                <c:pt idx="18777">
                  <c:v>42435</c:v>
                </c:pt>
                <c:pt idx="18778">
                  <c:v>42434</c:v>
                </c:pt>
                <c:pt idx="18779">
                  <c:v>42433</c:v>
                </c:pt>
                <c:pt idx="18780">
                  <c:v>42433</c:v>
                </c:pt>
                <c:pt idx="18781">
                  <c:v>42431</c:v>
                </c:pt>
                <c:pt idx="18782">
                  <c:v>42431</c:v>
                </c:pt>
                <c:pt idx="18783">
                  <c:v>42431</c:v>
                </c:pt>
                <c:pt idx="18784">
                  <c:v>42430</c:v>
                </c:pt>
                <c:pt idx="18785">
                  <c:v>42430</c:v>
                </c:pt>
                <c:pt idx="18786">
                  <c:v>42430</c:v>
                </c:pt>
                <c:pt idx="18787">
                  <c:v>42430</c:v>
                </c:pt>
                <c:pt idx="18788">
                  <c:v>42430</c:v>
                </c:pt>
                <c:pt idx="18789">
                  <c:v>42429</c:v>
                </c:pt>
                <c:pt idx="18790">
                  <c:v>42429</c:v>
                </c:pt>
                <c:pt idx="18791">
                  <c:v>42429</c:v>
                </c:pt>
                <c:pt idx="18792">
                  <c:v>42428</c:v>
                </c:pt>
                <c:pt idx="18793">
                  <c:v>42426</c:v>
                </c:pt>
                <c:pt idx="18794">
                  <c:v>42426</c:v>
                </c:pt>
                <c:pt idx="18795">
                  <c:v>42426</c:v>
                </c:pt>
                <c:pt idx="18796">
                  <c:v>42425</c:v>
                </c:pt>
                <c:pt idx="18797">
                  <c:v>42425</c:v>
                </c:pt>
                <c:pt idx="18798">
                  <c:v>42425</c:v>
                </c:pt>
                <c:pt idx="18799">
                  <c:v>42425</c:v>
                </c:pt>
                <c:pt idx="18800">
                  <c:v>42424</c:v>
                </c:pt>
                <c:pt idx="18801">
                  <c:v>42423</c:v>
                </c:pt>
                <c:pt idx="18802">
                  <c:v>42423</c:v>
                </c:pt>
                <c:pt idx="18803">
                  <c:v>42423</c:v>
                </c:pt>
                <c:pt idx="18804">
                  <c:v>42422</c:v>
                </c:pt>
                <c:pt idx="18805">
                  <c:v>42422</c:v>
                </c:pt>
                <c:pt idx="18806">
                  <c:v>42421</c:v>
                </c:pt>
                <c:pt idx="18807">
                  <c:v>42419</c:v>
                </c:pt>
                <c:pt idx="18808">
                  <c:v>42419</c:v>
                </c:pt>
                <c:pt idx="18809">
                  <c:v>42419</c:v>
                </c:pt>
                <c:pt idx="18810">
                  <c:v>42417</c:v>
                </c:pt>
                <c:pt idx="18811">
                  <c:v>42417</c:v>
                </c:pt>
                <c:pt idx="18812">
                  <c:v>42416</c:v>
                </c:pt>
                <c:pt idx="18813">
                  <c:v>42416</c:v>
                </c:pt>
                <c:pt idx="18814">
                  <c:v>42412</c:v>
                </c:pt>
                <c:pt idx="18815">
                  <c:v>42412</c:v>
                </c:pt>
                <c:pt idx="18816">
                  <c:v>42411</c:v>
                </c:pt>
                <c:pt idx="18817">
                  <c:v>42408</c:v>
                </c:pt>
                <c:pt idx="18818">
                  <c:v>42408</c:v>
                </c:pt>
                <c:pt idx="18819">
                  <c:v>42407</c:v>
                </c:pt>
                <c:pt idx="18820">
                  <c:v>42406</c:v>
                </c:pt>
                <c:pt idx="18821">
                  <c:v>42406</c:v>
                </c:pt>
                <c:pt idx="18822">
                  <c:v>42406</c:v>
                </c:pt>
                <c:pt idx="18823">
                  <c:v>42406</c:v>
                </c:pt>
                <c:pt idx="18824">
                  <c:v>42406</c:v>
                </c:pt>
                <c:pt idx="18825">
                  <c:v>42405</c:v>
                </c:pt>
                <c:pt idx="18826">
                  <c:v>42404</c:v>
                </c:pt>
                <c:pt idx="18827">
                  <c:v>42403</c:v>
                </c:pt>
                <c:pt idx="18828">
                  <c:v>42403</c:v>
                </c:pt>
                <c:pt idx="18829">
                  <c:v>42400</c:v>
                </c:pt>
                <c:pt idx="18830">
                  <c:v>42400</c:v>
                </c:pt>
                <c:pt idx="18831">
                  <c:v>42400</c:v>
                </c:pt>
                <c:pt idx="18832">
                  <c:v>42399</c:v>
                </c:pt>
                <c:pt idx="18833">
                  <c:v>42399</c:v>
                </c:pt>
                <c:pt idx="18834">
                  <c:v>42398</c:v>
                </c:pt>
                <c:pt idx="18835">
                  <c:v>42397</c:v>
                </c:pt>
                <c:pt idx="18836">
                  <c:v>42396</c:v>
                </c:pt>
                <c:pt idx="18837">
                  <c:v>42396</c:v>
                </c:pt>
                <c:pt idx="18838">
                  <c:v>42395</c:v>
                </c:pt>
                <c:pt idx="18839">
                  <c:v>42394</c:v>
                </c:pt>
                <c:pt idx="18840">
                  <c:v>42392</c:v>
                </c:pt>
                <c:pt idx="18841">
                  <c:v>42391</c:v>
                </c:pt>
                <c:pt idx="18842">
                  <c:v>42391</c:v>
                </c:pt>
                <c:pt idx="18843">
                  <c:v>42391</c:v>
                </c:pt>
                <c:pt idx="18844">
                  <c:v>42391</c:v>
                </c:pt>
                <c:pt idx="18845">
                  <c:v>42391</c:v>
                </c:pt>
                <c:pt idx="18846">
                  <c:v>42390</c:v>
                </c:pt>
                <c:pt idx="18847">
                  <c:v>42390</c:v>
                </c:pt>
                <c:pt idx="18848">
                  <c:v>42390</c:v>
                </c:pt>
                <c:pt idx="18849">
                  <c:v>42389</c:v>
                </c:pt>
                <c:pt idx="18850">
                  <c:v>42388</c:v>
                </c:pt>
                <c:pt idx="18851">
                  <c:v>42388</c:v>
                </c:pt>
                <c:pt idx="18852">
                  <c:v>42386</c:v>
                </c:pt>
                <c:pt idx="18853">
                  <c:v>42385</c:v>
                </c:pt>
                <c:pt idx="18854">
                  <c:v>42384</c:v>
                </c:pt>
                <c:pt idx="18855">
                  <c:v>42383</c:v>
                </c:pt>
                <c:pt idx="18856">
                  <c:v>42383</c:v>
                </c:pt>
                <c:pt idx="18857">
                  <c:v>42382</c:v>
                </c:pt>
                <c:pt idx="18858">
                  <c:v>42382</c:v>
                </c:pt>
                <c:pt idx="18859">
                  <c:v>42381</c:v>
                </c:pt>
                <c:pt idx="18860">
                  <c:v>42380</c:v>
                </c:pt>
                <c:pt idx="18861">
                  <c:v>42380</c:v>
                </c:pt>
                <c:pt idx="18862">
                  <c:v>42379</c:v>
                </c:pt>
                <c:pt idx="18863">
                  <c:v>42378</c:v>
                </c:pt>
                <c:pt idx="18864">
                  <c:v>42378</c:v>
                </c:pt>
                <c:pt idx="18865">
                  <c:v>42377</c:v>
                </c:pt>
                <c:pt idx="18866">
                  <c:v>42377</c:v>
                </c:pt>
                <c:pt idx="18867">
                  <c:v>42376</c:v>
                </c:pt>
                <c:pt idx="18868">
                  <c:v>42376</c:v>
                </c:pt>
                <c:pt idx="18869">
                  <c:v>42374</c:v>
                </c:pt>
                <c:pt idx="18870">
                  <c:v>42372</c:v>
                </c:pt>
                <c:pt idx="18871">
                  <c:v>42372</c:v>
                </c:pt>
                <c:pt idx="18872">
                  <c:v>42369</c:v>
                </c:pt>
                <c:pt idx="18873">
                  <c:v>42369</c:v>
                </c:pt>
                <c:pt idx="18874">
                  <c:v>42369</c:v>
                </c:pt>
                <c:pt idx="18875">
                  <c:v>42369</c:v>
                </c:pt>
                <c:pt idx="18876">
                  <c:v>42368</c:v>
                </c:pt>
                <c:pt idx="18877">
                  <c:v>42367</c:v>
                </c:pt>
                <c:pt idx="18878">
                  <c:v>42367</c:v>
                </c:pt>
                <c:pt idx="18879">
                  <c:v>42365</c:v>
                </c:pt>
                <c:pt idx="18880">
                  <c:v>42365</c:v>
                </c:pt>
                <c:pt idx="18881">
                  <c:v>42364</c:v>
                </c:pt>
                <c:pt idx="18882">
                  <c:v>42364</c:v>
                </c:pt>
                <c:pt idx="18883">
                  <c:v>42364</c:v>
                </c:pt>
                <c:pt idx="18884">
                  <c:v>42363</c:v>
                </c:pt>
                <c:pt idx="18885">
                  <c:v>42362</c:v>
                </c:pt>
                <c:pt idx="18886">
                  <c:v>42361</c:v>
                </c:pt>
                <c:pt idx="18887">
                  <c:v>42360</c:v>
                </c:pt>
                <c:pt idx="18888">
                  <c:v>42360</c:v>
                </c:pt>
                <c:pt idx="18889">
                  <c:v>42360</c:v>
                </c:pt>
                <c:pt idx="18890">
                  <c:v>42358</c:v>
                </c:pt>
                <c:pt idx="18891">
                  <c:v>42357</c:v>
                </c:pt>
                <c:pt idx="18892">
                  <c:v>42355</c:v>
                </c:pt>
                <c:pt idx="18893">
                  <c:v>42355</c:v>
                </c:pt>
                <c:pt idx="18894">
                  <c:v>42353</c:v>
                </c:pt>
                <c:pt idx="18895">
                  <c:v>42353</c:v>
                </c:pt>
                <c:pt idx="18896">
                  <c:v>42353</c:v>
                </c:pt>
                <c:pt idx="18897">
                  <c:v>42352</c:v>
                </c:pt>
                <c:pt idx="18898">
                  <c:v>42351</c:v>
                </c:pt>
                <c:pt idx="18899">
                  <c:v>42351</c:v>
                </c:pt>
                <c:pt idx="18900">
                  <c:v>42351</c:v>
                </c:pt>
                <c:pt idx="18901">
                  <c:v>42350</c:v>
                </c:pt>
                <c:pt idx="18902">
                  <c:v>42349</c:v>
                </c:pt>
                <c:pt idx="18903">
                  <c:v>42349</c:v>
                </c:pt>
                <c:pt idx="18904">
                  <c:v>42346</c:v>
                </c:pt>
                <c:pt idx="18905">
                  <c:v>42346</c:v>
                </c:pt>
                <c:pt idx="18906">
                  <c:v>42345</c:v>
                </c:pt>
                <c:pt idx="18907">
                  <c:v>42344</c:v>
                </c:pt>
                <c:pt idx="18908">
                  <c:v>42344</c:v>
                </c:pt>
                <c:pt idx="18909">
                  <c:v>42343</c:v>
                </c:pt>
                <c:pt idx="18910">
                  <c:v>42342</c:v>
                </c:pt>
                <c:pt idx="18911">
                  <c:v>42341</c:v>
                </c:pt>
                <c:pt idx="18912">
                  <c:v>42341</c:v>
                </c:pt>
                <c:pt idx="18913">
                  <c:v>42341</c:v>
                </c:pt>
                <c:pt idx="18914">
                  <c:v>42340</c:v>
                </c:pt>
                <c:pt idx="18915">
                  <c:v>42339</c:v>
                </c:pt>
                <c:pt idx="18916">
                  <c:v>42339</c:v>
                </c:pt>
                <c:pt idx="18917">
                  <c:v>42338</c:v>
                </c:pt>
                <c:pt idx="18918">
                  <c:v>42335</c:v>
                </c:pt>
                <c:pt idx="18919">
                  <c:v>42333</c:v>
                </c:pt>
                <c:pt idx="18920">
                  <c:v>42333</c:v>
                </c:pt>
                <c:pt idx="18921">
                  <c:v>42333</c:v>
                </c:pt>
                <c:pt idx="18922">
                  <c:v>42332</c:v>
                </c:pt>
                <c:pt idx="18923">
                  <c:v>42332</c:v>
                </c:pt>
                <c:pt idx="18924">
                  <c:v>42332</c:v>
                </c:pt>
                <c:pt idx="18925">
                  <c:v>42329</c:v>
                </c:pt>
                <c:pt idx="18926">
                  <c:v>42328</c:v>
                </c:pt>
                <c:pt idx="18927">
                  <c:v>42328</c:v>
                </c:pt>
                <c:pt idx="18928">
                  <c:v>42328</c:v>
                </c:pt>
                <c:pt idx="18929">
                  <c:v>42328</c:v>
                </c:pt>
                <c:pt idx="18930">
                  <c:v>42326</c:v>
                </c:pt>
                <c:pt idx="18931">
                  <c:v>42326</c:v>
                </c:pt>
                <c:pt idx="18932">
                  <c:v>42326</c:v>
                </c:pt>
                <c:pt idx="18933">
                  <c:v>42326</c:v>
                </c:pt>
                <c:pt idx="18934">
                  <c:v>42325</c:v>
                </c:pt>
                <c:pt idx="18935">
                  <c:v>42325</c:v>
                </c:pt>
                <c:pt idx="18936">
                  <c:v>42325</c:v>
                </c:pt>
                <c:pt idx="18937">
                  <c:v>42325</c:v>
                </c:pt>
                <c:pt idx="18938">
                  <c:v>42325</c:v>
                </c:pt>
                <c:pt idx="18939">
                  <c:v>42324</c:v>
                </c:pt>
                <c:pt idx="18940">
                  <c:v>42324</c:v>
                </c:pt>
                <c:pt idx="18941">
                  <c:v>42323</c:v>
                </c:pt>
                <c:pt idx="18942">
                  <c:v>42322</c:v>
                </c:pt>
                <c:pt idx="18943">
                  <c:v>42322</c:v>
                </c:pt>
                <c:pt idx="18944">
                  <c:v>42322</c:v>
                </c:pt>
                <c:pt idx="18945">
                  <c:v>42321</c:v>
                </c:pt>
                <c:pt idx="18946">
                  <c:v>42321</c:v>
                </c:pt>
                <c:pt idx="18947">
                  <c:v>42319</c:v>
                </c:pt>
                <c:pt idx="18948">
                  <c:v>42318</c:v>
                </c:pt>
                <c:pt idx="18949">
                  <c:v>42317</c:v>
                </c:pt>
                <c:pt idx="18950">
                  <c:v>42317</c:v>
                </c:pt>
                <c:pt idx="18951">
                  <c:v>42317</c:v>
                </c:pt>
                <c:pt idx="18952">
                  <c:v>42314</c:v>
                </c:pt>
                <c:pt idx="18953">
                  <c:v>42314</c:v>
                </c:pt>
                <c:pt idx="18954">
                  <c:v>42311</c:v>
                </c:pt>
                <c:pt idx="18955">
                  <c:v>42311</c:v>
                </c:pt>
                <c:pt idx="18956">
                  <c:v>42311</c:v>
                </c:pt>
                <c:pt idx="18957">
                  <c:v>42311</c:v>
                </c:pt>
                <c:pt idx="18958">
                  <c:v>42310</c:v>
                </c:pt>
                <c:pt idx="18959">
                  <c:v>42310</c:v>
                </c:pt>
                <c:pt idx="18960">
                  <c:v>42310</c:v>
                </c:pt>
                <c:pt idx="18961">
                  <c:v>42309</c:v>
                </c:pt>
                <c:pt idx="18962">
                  <c:v>42308</c:v>
                </c:pt>
                <c:pt idx="18963">
                  <c:v>42308</c:v>
                </c:pt>
                <c:pt idx="18964">
                  <c:v>42308</c:v>
                </c:pt>
                <c:pt idx="18965">
                  <c:v>42308</c:v>
                </c:pt>
                <c:pt idx="18966">
                  <c:v>42308</c:v>
                </c:pt>
                <c:pt idx="18967">
                  <c:v>42307</c:v>
                </c:pt>
                <c:pt idx="18968">
                  <c:v>42307</c:v>
                </c:pt>
                <c:pt idx="18969">
                  <c:v>42307</c:v>
                </c:pt>
                <c:pt idx="18970">
                  <c:v>42306</c:v>
                </c:pt>
                <c:pt idx="18971">
                  <c:v>42306</c:v>
                </c:pt>
                <c:pt idx="18972">
                  <c:v>42304</c:v>
                </c:pt>
                <c:pt idx="18973">
                  <c:v>42303</c:v>
                </c:pt>
                <c:pt idx="18974">
                  <c:v>42303</c:v>
                </c:pt>
                <c:pt idx="18975">
                  <c:v>42302</c:v>
                </c:pt>
                <c:pt idx="18976">
                  <c:v>42302</c:v>
                </c:pt>
                <c:pt idx="18977">
                  <c:v>42301</c:v>
                </c:pt>
                <c:pt idx="18978">
                  <c:v>42300</c:v>
                </c:pt>
                <c:pt idx="18979">
                  <c:v>42299</c:v>
                </c:pt>
                <c:pt idx="18980">
                  <c:v>42299</c:v>
                </c:pt>
                <c:pt idx="18981">
                  <c:v>42299</c:v>
                </c:pt>
                <c:pt idx="18982">
                  <c:v>42296</c:v>
                </c:pt>
                <c:pt idx="18983">
                  <c:v>42296</c:v>
                </c:pt>
                <c:pt idx="18984">
                  <c:v>42295</c:v>
                </c:pt>
                <c:pt idx="18985">
                  <c:v>42295</c:v>
                </c:pt>
                <c:pt idx="18986">
                  <c:v>42293</c:v>
                </c:pt>
                <c:pt idx="18987">
                  <c:v>42292</c:v>
                </c:pt>
                <c:pt idx="18988">
                  <c:v>42292</c:v>
                </c:pt>
                <c:pt idx="18989">
                  <c:v>42291</c:v>
                </c:pt>
                <c:pt idx="18990">
                  <c:v>42290</c:v>
                </c:pt>
                <c:pt idx="18991">
                  <c:v>42289</c:v>
                </c:pt>
                <c:pt idx="18992">
                  <c:v>42289</c:v>
                </c:pt>
                <c:pt idx="18993">
                  <c:v>42288</c:v>
                </c:pt>
                <c:pt idx="18994">
                  <c:v>42288</c:v>
                </c:pt>
                <c:pt idx="18995">
                  <c:v>42287</c:v>
                </c:pt>
                <c:pt idx="18996">
                  <c:v>42287</c:v>
                </c:pt>
                <c:pt idx="18997">
                  <c:v>42287</c:v>
                </c:pt>
                <c:pt idx="18998">
                  <c:v>42286</c:v>
                </c:pt>
                <c:pt idx="18999">
                  <c:v>42286</c:v>
                </c:pt>
                <c:pt idx="19000">
                  <c:v>42286</c:v>
                </c:pt>
                <c:pt idx="19001">
                  <c:v>42285</c:v>
                </c:pt>
                <c:pt idx="19002">
                  <c:v>42285</c:v>
                </c:pt>
                <c:pt idx="19003">
                  <c:v>42283</c:v>
                </c:pt>
                <c:pt idx="19004">
                  <c:v>42282</c:v>
                </c:pt>
                <c:pt idx="19005">
                  <c:v>42282</c:v>
                </c:pt>
                <c:pt idx="19006">
                  <c:v>42282</c:v>
                </c:pt>
                <c:pt idx="19007">
                  <c:v>42281</c:v>
                </c:pt>
                <c:pt idx="19008">
                  <c:v>42280</c:v>
                </c:pt>
                <c:pt idx="19009">
                  <c:v>42280</c:v>
                </c:pt>
                <c:pt idx="19010">
                  <c:v>42280</c:v>
                </c:pt>
                <c:pt idx="19011">
                  <c:v>42280</c:v>
                </c:pt>
                <c:pt idx="19012">
                  <c:v>42280</c:v>
                </c:pt>
                <c:pt idx="19013">
                  <c:v>42280</c:v>
                </c:pt>
                <c:pt idx="19014">
                  <c:v>42280</c:v>
                </c:pt>
                <c:pt idx="19015">
                  <c:v>42279</c:v>
                </c:pt>
                <c:pt idx="19016">
                  <c:v>42277</c:v>
                </c:pt>
                <c:pt idx="19017">
                  <c:v>42277</c:v>
                </c:pt>
                <c:pt idx="19018">
                  <c:v>42275</c:v>
                </c:pt>
                <c:pt idx="19019">
                  <c:v>42274</c:v>
                </c:pt>
                <c:pt idx="19020">
                  <c:v>42274</c:v>
                </c:pt>
                <c:pt idx="19021">
                  <c:v>42273</c:v>
                </c:pt>
                <c:pt idx="19022">
                  <c:v>42271</c:v>
                </c:pt>
                <c:pt idx="19023">
                  <c:v>42269</c:v>
                </c:pt>
                <c:pt idx="19024">
                  <c:v>42269</c:v>
                </c:pt>
                <c:pt idx="19025">
                  <c:v>42268</c:v>
                </c:pt>
                <c:pt idx="19026">
                  <c:v>42268</c:v>
                </c:pt>
                <c:pt idx="19027">
                  <c:v>42268</c:v>
                </c:pt>
                <c:pt idx="19028">
                  <c:v>42267</c:v>
                </c:pt>
                <c:pt idx="19029">
                  <c:v>42267</c:v>
                </c:pt>
                <c:pt idx="19030">
                  <c:v>42267</c:v>
                </c:pt>
                <c:pt idx="19031">
                  <c:v>42264</c:v>
                </c:pt>
                <c:pt idx="19032">
                  <c:v>42262</c:v>
                </c:pt>
                <c:pt idx="19033">
                  <c:v>42261</c:v>
                </c:pt>
                <c:pt idx="19034">
                  <c:v>42261</c:v>
                </c:pt>
                <c:pt idx="19035">
                  <c:v>42260</c:v>
                </c:pt>
                <c:pt idx="19036">
                  <c:v>42259</c:v>
                </c:pt>
                <c:pt idx="19037">
                  <c:v>42258</c:v>
                </c:pt>
                <c:pt idx="19038">
                  <c:v>42258</c:v>
                </c:pt>
                <c:pt idx="19039">
                  <c:v>42257</c:v>
                </c:pt>
                <c:pt idx="19040">
                  <c:v>42256</c:v>
                </c:pt>
                <c:pt idx="19041">
                  <c:v>42256</c:v>
                </c:pt>
                <c:pt idx="19042">
                  <c:v>42256</c:v>
                </c:pt>
                <c:pt idx="19043">
                  <c:v>42255</c:v>
                </c:pt>
                <c:pt idx="19044">
                  <c:v>42255</c:v>
                </c:pt>
                <c:pt idx="19045">
                  <c:v>42253</c:v>
                </c:pt>
                <c:pt idx="19046">
                  <c:v>42250</c:v>
                </c:pt>
                <c:pt idx="19047">
                  <c:v>42250</c:v>
                </c:pt>
                <c:pt idx="19048">
                  <c:v>42250</c:v>
                </c:pt>
                <c:pt idx="19049">
                  <c:v>42248</c:v>
                </c:pt>
                <c:pt idx="19050">
                  <c:v>42248</c:v>
                </c:pt>
                <c:pt idx="19051">
                  <c:v>42247</c:v>
                </c:pt>
                <c:pt idx="19052">
                  <c:v>42247</c:v>
                </c:pt>
                <c:pt idx="19053">
                  <c:v>42246</c:v>
                </c:pt>
                <c:pt idx="19054">
                  <c:v>42246</c:v>
                </c:pt>
                <c:pt idx="19055">
                  <c:v>42246</c:v>
                </c:pt>
                <c:pt idx="19056">
                  <c:v>42245</c:v>
                </c:pt>
                <c:pt idx="19057">
                  <c:v>42245</c:v>
                </c:pt>
                <c:pt idx="19058">
                  <c:v>42245</c:v>
                </c:pt>
                <c:pt idx="19059">
                  <c:v>42245</c:v>
                </c:pt>
                <c:pt idx="19060">
                  <c:v>42244</c:v>
                </c:pt>
                <c:pt idx="19061">
                  <c:v>42244</c:v>
                </c:pt>
                <c:pt idx="19062">
                  <c:v>42243</c:v>
                </c:pt>
                <c:pt idx="19063">
                  <c:v>42243</c:v>
                </c:pt>
                <c:pt idx="19064">
                  <c:v>42241</c:v>
                </c:pt>
                <c:pt idx="19065">
                  <c:v>42241</c:v>
                </c:pt>
                <c:pt idx="19066">
                  <c:v>42240</c:v>
                </c:pt>
                <c:pt idx="19067">
                  <c:v>42239</c:v>
                </c:pt>
                <c:pt idx="19068">
                  <c:v>42238</c:v>
                </c:pt>
                <c:pt idx="19069">
                  <c:v>42238</c:v>
                </c:pt>
                <c:pt idx="19070">
                  <c:v>42237</c:v>
                </c:pt>
                <c:pt idx="19071">
                  <c:v>42237</c:v>
                </c:pt>
                <c:pt idx="19072">
                  <c:v>42236</c:v>
                </c:pt>
                <c:pt idx="19073">
                  <c:v>42236</c:v>
                </c:pt>
                <c:pt idx="19074">
                  <c:v>42236</c:v>
                </c:pt>
                <c:pt idx="19075">
                  <c:v>42236</c:v>
                </c:pt>
                <c:pt idx="19076">
                  <c:v>42235</c:v>
                </c:pt>
                <c:pt idx="19077">
                  <c:v>42235</c:v>
                </c:pt>
                <c:pt idx="19078">
                  <c:v>42235</c:v>
                </c:pt>
                <c:pt idx="19079">
                  <c:v>42234</c:v>
                </c:pt>
                <c:pt idx="19080">
                  <c:v>42234</c:v>
                </c:pt>
                <c:pt idx="19081">
                  <c:v>42234</c:v>
                </c:pt>
                <c:pt idx="19082">
                  <c:v>42232</c:v>
                </c:pt>
                <c:pt idx="19083">
                  <c:v>42232</c:v>
                </c:pt>
                <c:pt idx="19084">
                  <c:v>42231</c:v>
                </c:pt>
                <c:pt idx="19085">
                  <c:v>42230</c:v>
                </c:pt>
                <c:pt idx="19086">
                  <c:v>42230</c:v>
                </c:pt>
                <c:pt idx="19087">
                  <c:v>42230</c:v>
                </c:pt>
                <c:pt idx="19088">
                  <c:v>42230</c:v>
                </c:pt>
                <c:pt idx="19089">
                  <c:v>42229</c:v>
                </c:pt>
                <c:pt idx="19090">
                  <c:v>42228</c:v>
                </c:pt>
                <c:pt idx="19091">
                  <c:v>42228</c:v>
                </c:pt>
                <c:pt idx="19092">
                  <c:v>42227</c:v>
                </c:pt>
                <c:pt idx="19093">
                  <c:v>42226</c:v>
                </c:pt>
                <c:pt idx="19094">
                  <c:v>42225</c:v>
                </c:pt>
                <c:pt idx="19095">
                  <c:v>42224</c:v>
                </c:pt>
                <c:pt idx="19096">
                  <c:v>42224</c:v>
                </c:pt>
                <c:pt idx="19097">
                  <c:v>42223</c:v>
                </c:pt>
                <c:pt idx="19098">
                  <c:v>42223</c:v>
                </c:pt>
                <c:pt idx="19099">
                  <c:v>42222</c:v>
                </c:pt>
                <c:pt idx="19100">
                  <c:v>42222</c:v>
                </c:pt>
                <c:pt idx="19101">
                  <c:v>42222</c:v>
                </c:pt>
                <c:pt idx="19102">
                  <c:v>42221</c:v>
                </c:pt>
                <c:pt idx="19103">
                  <c:v>42221</c:v>
                </c:pt>
                <c:pt idx="19104">
                  <c:v>42220</c:v>
                </c:pt>
                <c:pt idx="19105">
                  <c:v>42219</c:v>
                </c:pt>
                <c:pt idx="19106">
                  <c:v>42219</c:v>
                </c:pt>
                <c:pt idx="19107">
                  <c:v>42218</c:v>
                </c:pt>
                <c:pt idx="19108">
                  <c:v>42217</c:v>
                </c:pt>
                <c:pt idx="19109">
                  <c:v>42216</c:v>
                </c:pt>
                <c:pt idx="19110">
                  <c:v>42216</c:v>
                </c:pt>
                <c:pt idx="19111">
                  <c:v>42215</c:v>
                </c:pt>
                <c:pt idx="19112">
                  <c:v>42214</c:v>
                </c:pt>
                <c:pt idx="19113">
                  <c:v>42214</c:v>
                </c:pt>
                <c:pt idx="19114">
                  <c:v>42214</c:v>
                </c:pt>
                <c:pt idx="19115">
                  <c:v>42212</c:v>
                </c:pt>
                <c:pt idx="19116">
                  <c:v>42211</c:v>
                </c:pt>
                <c:pt idx="19117">
                  <c:v>42209</c:v>
                </c:pt>
                <c:pt idx="19118">
                  <c:v>42209</c:v>
                </c:pt>
                <c:pt idx="19119">
                  <c:v>42209</c:v>
                </c:pt>
                <c:pt idx="19120">
                  <c:v>42208</c:v>
                </c:pt>
                <c:pt idx="19121">
                  <c:v>42208</c:v>
                </c:pt>
                <c:pt idx="19122">
                  <c:v>42207</c:v>
                </c:pt>
                <c:pt idx="19123">
                  <c:v>42206</c:v>
                </c:pt>
                <c:pt idx="19124">
                  <c:v>42205</c:v>
                </c:pt>
                <c:pt idx="19125">
                  <c:v>42205</c:v>
                </c:pt>
                <c:pt idx="19126">
                  <c:v>42204</c:v>
                </c:pt>
                <c:pt idx="19127">
                  <c:v>42204</c:v>
                </c:pt>
                <c:pt idx="19128">
                  <c:v>42203</c:v>
                </c:pt>
                <c:pt idx="19129">
                  <c:v>42203</c:v>
                </c:pt>
                <c:pt idx="19130">
                  <c:v>42202</c:v>
                </c:pt>
                <c:pt idx="19131">
                  <c:v>42202</c:v>
                </c:pt>
                <c:pt idx="19132">
                  <c:v>42201</c:v>
                </c:pt>
                <c:pt idx="19133">
                  <c:v>42200</c:v>
                </c:pt>
                <c:pt idx="19134">
                  <c:v>42199</c:v>
                </c:pt>
                <c:pt idx="19135">
                  <c:v>42198</c:v>
                </c:pt>
                <c:pt idx="19136">
                  <c:v>42198</c:v>
                </c:pt>
                <c:pt idx="19137">
                  <c:v>42198</c:v>
                </c:pt>
                <c:pt idx="19138">
                  <c:v>42198</c:v>
                </c:pt>
                <c:pt idx="19139">
                  <c:v>42197</c:v>
                </c:pt>
                <c:pt idx="19140">
                  <c:v>42197</c:v>
                </c:pt>
                <c:pt idx="19141">
                  <c:v>42197</c:v>
                </c:pt>
                <c:pt idx="19142">
                  <c:v>42197</c:v>
                </c:pt>
                <c:pt idx="19143">
                  <c:v>42196</c:v>
                </c:pt>
                <c:pt idx="19144">
                  <c:v>42196</c:v>
                </c:pt>
                <c:pt idx="19145">
                  <c:v>42196</c:v>
                </c:pt>
                <c:pt idx="19146">
                  <c:v>42196</c:v>
                </c:pt>
                <c:pt idx="19147">
                  <c:v>42195</c:v>
                </c:pt>
                <c:pt idx="19148">
                  <c:v>42195</c:v>
                </c:pt>
                <c:pt idx="19149">
                  <c:v>42193</c:v>
                </c:pt>
                <c:pt idx="19150">
                  <c:v>42193</c:v>
                </c:pt>
                <c:pt idx="19151">
                  <c:v>42193</c:v>
                </c:pt>
                <c:pt idx="19152">
                  <c:v>42192</c:v>
                </c:pt>
                <c:pt idx="19153">
                  <c:v>42191</c:v>
                </c:pt>
                <c:pt idx="19154">
                  <c:v>42191</c:v>
                </c:pt>
                <c:pt idx="19155">
                  <c:v>42189</c:v>
                </c:pt>
                <c:pt idx="19156">
                  <c:v>42188</c:v>
                </c:pt>
                <c:pt idx="19157">
                  <c:v>42188</c:v>
                </c:pt>
                <c:pt idx="19158">
                  <c:v>42188</c:v>
                </c:pt>
                <c:pt idx="19159">
                  <c:v>42188</c:v>
                </c:pt>
                <c:pt idx="19160">
                  <c:v>42188</c:v>
                </c:pt>
                <c:pt idx="19161">
                  <c:v>42185</c:v>
                </c:pt>
                <c:pt idx="19162">
                  <c:v>42185</c:v>
                </c:pt>
                <c:pt idx="19163">
                  <c:v>42185</c:v>
                </c:pt>
                <c:pt idx="19164">
                  <c:v>42184</c:v>
                </c:pt>
                <c:pt idx="19165">
                  <c:v>42184</c:v>
                </c:pt>
                <c:pt idx="19166">
                  <c:v>42184</c:v>
                </c:pt>
                <c:pt idx="19167">
                  <c:v>42183</c:v>
                </c:pt>
                <c:pt idx="19168">
                  <c:v>42182</c:v>
                </c:pt>
                <c:pt idx="19169">
                  <c:v>42182</c:v>
                </c:pt>
                <c:pt idx="19170">
                  <c:v>42181</c:v>
                </c:pt>
                <c:pt idx="19171">
                  <c:v>42181</c:v>
                </c:pt>
                <c:pt idx="19172">
                  <c:v>42180</c:v>
                </c:pt>
                <c:pt idx="19173">
                  <c:v>42180</c:v>
                </c:pt>
                <c:pt idx="19174">
                  <c:v>42179</c:v>
                </c:pt>
                <c:pt idx="19175">
                  <c:v>42179</c:v>
                </c:pt>
                <c:pt idx="19176">
                  <c:v>42178</c:v>
                </c:pt>
                <c:pt idx="19177">
                  <c:v>42176</c:v>
                </c:pt>
                <c:pt idx="19178">
                  <c:v>42176</c:v>
                </c:pt>
                <c:pt idx="19179">
                  <c:v>42176</c:v>
                </c:pt>
                <c:pt idx="19180">
                  <c:v>42175</c:v>
                </c:pt>
                <c:pt idx="19181">
                  <c:v>42172</c:v>
                </c:pt>
                <c:pt idx="19182">
                  <c:v>42172</c:v>
                </c:pt>
                <c:pt idx="19183">
                  <c:v>42171</c:v>
                </c:pt>
                <c:pt idx="19184">
                  <c:v>42171</c:v>
                </c:pt>
                <c:pt idx="19185">
                  <c:v>42171</c:v>
                </c:pt>
                <c:pt idx="19186">
                  <c:v>42171</c:v>
                </c:pt>
                <c:pt idx="19187">
                  <c:v>42170</c:v>
                </c:pt>
                <c:pt idx="19188">
                  <c:v>42170</c:v>
                </c:pt>
                <c:pt idx="19189">
                  <c:v>42169</c:v>
                </c:pt>
                <c:pt idx="19190">
                  <c:v>42168</c:v>
                </c:pt>
                <c:pt idx="19191">
                  <c:v>42167</c:v>
                </c:pt>
                <c:pt idx="19192">
                  <c:v>42167</c:v>
                </c:pt>
                <c:pt idx="19193">
                  <c:v>42167</c:v>
                </c:pt>
                <c:pt idx="19194">
                  <c:v>42164</c:v>
                </c:pt>
                <c:pt idx="19195">
                  <c:v>42164</c:v>
                </c:pt>
                <c:pt idx="19196">
                  <c:v>42163</c:v>
                </c:pt>
                <c:pt idx="19197">
                  <c:v>42162</c:v>
                </c:pt>
                <c:pt idx="19198">
                  <c:v>42162</c:v>
                </c:pt>
                <c:pt idx="19199">
                  <c:v>42161</c:v>
                </c:pt>
                <c:pt idx="19200">
                  <c:v>42160</c:v>
                </c:pt>
                <c:pt idx="19201">
                  <c:v>42159</c:v>
                </c:pt>
                <c:pt idx="19202">
                  <c:v>42159</c:v>
                </c:pt>
                <c:pt idx="19203">
                  <c:v>42159</c:v>
                </c:pt>
                <c:pt idx="19204">
                  <c:v>42158</c:v>
                </c:pt>
                <c:pt idx="19205">
                  <c:v>42158</c:v>
                </c:pt>
                <c:pt idx="19206">
                  <c:v>42158</c:v>
                </c:pt>
                <c:pt idx="19207">
                  <c:v>42157</c:v>
                </c:pt>
                <c:pt idx="19208">
                  <c:v>42156</c:v>
                </c:pt>
                <c:pt idx="19209">
                  <c:v>42156</c:v>
                </c:pt>
                <c:pt idx="19210">
                  <c:v>42155</c:v>
                </c:pt>
                <c:pt idx="19211">
                  <c:v>42155</c:v>
                </c:pt>
                <c:pt idx="19212">
                  <c:v>42154</c:v>
                </c:pt>
                <c:pt idx="19213">
                  <c:v>42153</c:v>
                </c:pt>
                <c:pt idx="19214">
                  <c:v>42152</c:v>
                </c:pt>
                <c:pt idx="19215">
                  <c:v>42152</c:v>
                </c:pt>
                <c:pt idx="19216">
                  <c:v>42151</c:v>
                </c:pt>
                <c:pt idx="19217">
                  <c:v>42151</c:v>
                </c:pt>
                <c:pt idx="19218">
                  <c:v>42150</c:v>
                </c:pt>
                <c:pt idx="19219">
                  <c:v>42150</c:v>
                </c:pt>
                <c:pt idx="19220">
                  <c:v>42150</c:v>
                </c:pt>
                <c:pt idx="19221">
                  <c:v>42149</c:v>
                </c:pt>
                <c:pt idx="19222">
                  <c:v>42149</c:v>
                </c:pt>
                <c:pt idx="19223">
                  <c:v>42149</c:v>
                </c:pt>
                <c:pt idx="19224">
                  <c:v>42148</c:v>
                </c:pt>
                <c:pt idx="19225">
                  <c:v>42147</c:v>
                </c:pt>
                <c:pt idx="19226">
                  <c:v>42146</c:v>
                </c:pt>
                <c:pt idx="19227">
                  <c:v>42146</c:v>
                </c:pt>
                <c:pt idx="19228">
                  <c:v>42146</c:v>
                </c:pt>
                <c:pt idx="19229">
                  <c:v>42145</c:v>
                </c:pt>
                <c:pt idx="19230">
                  <c:v>42144</c:v>
                </c:pt>
                <c:pt idx="19231">
                  <c:v>42143</c:v>
                </c:pt>
                <c:pt idx="19232">
                  <c:v>42143</c:v>
                </c:pt>
                <c:pt idx="19233">
                  <c:v>42143</c:v>
                </c:pt>
                <c:pt idx="19234">
                  <c:v>42142</c:v>
                </c:pt>
                <c:pt idx="19235">
                  <c:v>42139</c:v>
                </c:pt>
                <c:pt idx="19236">
                  <c:v>42138</c:v>
                </c:pt>
                <c:pt idx="19237">
                  <c:v>42138</c:v>
                </c:pt>
                <c:pt idx="19238">
                  <c:v>42137</c:v>
                </c:pt>
                <c:pt idx="19239">
                  <c:v>42136</c:v>
                </c:pt>
                <c:pt idx="19240">
                  <c:v>42136</c:v>
                </c:pt>
                <c:pt idx="19241">
                  <c:v>42136</c:v>
                </c:pt>
                <c:pt idx="19242">
                  <c:v>42136</c:v>
                </c:pt>
                <c:pt idx="19243">
                  <c:v>42136</c:v>
                </c:pt>
                <c:pt idx="19244">
                  <c:v>42135</c:v>
                </c:pt>
                <c:pt idx="19245">
                  <c:v>42135</c:v>
                </c:pt>
                <c:pt idx="19246">
                  <c:v>42133</c:v>
                </c:pt>
                <c:pt idx="19247">
                  <c:v>42133</c:v>
                </c:pt>
                <c:pt idx="19248">
                  <c:v>42132</c:v>
                </c:pt>
                <c:pt idx="19249">
                  <c:v>42132</c:v>
                </c:pt>
                <c:pt idx="19250">
                  <c:v>42132</c:v>
                </c:pt>
                <c:pt idx="19251">
                  <c:v>42131</c:v>
                </c:pt>
                <c:pt idx="19252">
                  <c:v>42130</c:v>
                </c:pt>
                <c:pt idx="19253">
                  <c:v>42130</c:v>
                </c:pt>
                <c:pt idx="19254">
                  <c:v>42129</c:v>
                </c:pt>
                <c:pt idx="19255">
                  <c:v>42129</c:v>
                </c:pt>
                <c:pt idx="19256">
                  <c:v>42129</c:v>
                </c:pt>
                <c:pt idx="19257">
                  <c:v>42129</c:v>
                </c:pt>
                <c:pt idx="19258">
                  <c:v>42128</c:v>
                </c:pt>
                <c:pt idx="19259">
                  <c:v>42128</c:v>
                </c:pt>
                <c:pt idx="19260">
                  <c:v>42128</c:v>
                </c:pt>
                <c:pt idx="19261">
                  <c:v>42128</c:v>
                </c:pt>
                <c:pt idx="19262">
                  <c:v>42127</c:v>
                </c:pt>
                <c:pt idx="19263">
                  <c:v>42127</c:v>
                </c:pt>
                <c:pt idx="19264">
                  <c:v>42126</c:v>
                </c:pt>
                <c:pt idx="19265">
                  <c:v>42126</c:v>
                </c:pt>
                <c:pt idx="19266">
                  <c:v>42126</c:v>
                </c:pt>
                <c:pt idx="19267">
                  <c:v>42126</c:v>
                </c:pt>
                <c:pt idx="19268">
                  <c:v>42125</c:v>
                </c:pt>
                <c:pt idx="19269">
                  <c:v>42125</c:v>
                </c:pt>
                <c:pt idx="19270">
                  <c:v>42125</c:v>
                </c:pt>
                <c:pt idx="19271">
                  <c:v>42125</c:v>
                </c:pt>
                <c:pt idx="19272">
                  <c:v>42124</c:v>
                </c:pt>
                <c:pt idx="19273">
                  <c:v>42123</c:v>
                </c:pt>
                <c:pt idx="19274">
                  <c:v>42121</c:v>
                </c:pt>
                <c:pt idx="19275">
                  <c:v>42119</c:v>
                </c:pt>
                <c:pt idx="19276">
                  <c:v>42118</c:v>
                </c:pt>
                <c:pt idx="19277">
                  <c:v>42117</c:v>
                </c:pt>
                <c:pt idx="19278">
                  <c:v>42116</c:v>
                </c:pt>
                <c:pt idx="19279">
                  <c:v>42116</c:v>
                </c:pt>
                <c:pt idx="19280">
                  <c:v>42116</c:v>
                </c:pt>
                <c:pt idx="19281">
                  <c:v>42115</c:v>
                </c:pt>
                <c:pt idx="19282">
                  <c:v>42115</c:v>
                </c:pt>
                <c:pt idx="19283">
                  <c:v>42115</c:v>
                </c:pt>
                <c:pt idx="19284">
                  <c:v>42114</c:v>
                </c:pt>
                <c:pt idx="19285">
                  <c:v>42113</c:v>
                </c:pt>
                <c:pt idx="19286">
                  <c:v>42112</c:v>
                </c:pt>
                <c:pt idx="19287">
                  <c:v>42111</c:v>
                </c:pt>
                <c:pt idx="19288">
                  <c:v>42110</c:v>
                </c:pt>
                <c:pt idx="19289">
                  <c:v>42109</c:v>
                </c:pt>
                <c:pt idx="19290">
                  <c:v>42108</c:v>
                </c:pt>
                <c:pt idx="19291">
                  <c:v>42108</c:v>
                </c:pt>
                <c:pt idx="19292">
                  <c:v>42108</c:v>
                </c:pt>
                <c:pt idx="19293">
                  <c:v>42108</c:v>
                </c:pt>
                <c:pt idx="19294">
                  <c:v>42108</c:v>
                </c:pt>
                <c:pt idx="19295">
                  <c:v>42107</c:v>
                </c:pt>
                <c:pt idx="19296">
                  <c:v>42107</c:v>
                </c:pt>
                <c:pt idx="19297">
                  <c:v>42107</c:v>
                </c:pt>
                <c:pt idx="19298">
                  <c:v>42107</c:v>
                </c:pt>
                <c:pt idx="19299">
                  <c:v>42105</c:v>
                </c:pt>
                <c:pt idx="19300">
                  <c:v>42105</c:v>
                </c:pt>
                <c:pt idx="19301">
                  <c:v>42104</c:v>
                </c:pt>
                <c:pt idx="19302">
                  <c:v>42104</c:v>
                </c:pt>
                <c:pt idx="19303">
                  <c:v>42102</c:v>
                </c:pt>
                <c:pt idx="19304">
                  <c:v>42102</c:v>
                </c:pt>
                <c:pt idx="19305">
                  <c:v>42101</c:v>
                </c:pt>
                <c:pt idx="19306">
                  <c:v>42100</c:v>
                </c:pt>
                <c:pt idx="19307">
                  <c:v>42099</c:v>
                </c:pt>
                <c:pt idx="19308">
                  <c:v>42099</c:v>
                </c:pt>
                <c:pt idx="19309">
                  <c:v>42098</c:v>
                </c:pt>
                <c:pt idx="19310">
                  <c:v>42096</c:v>
                </c:pt>
                <c:pt idx="19311">
                  <c:v>42096</c:v>
                </c:pt>
                <c:pt idx="19312">
                  <c:v>42094</c:v>
                </c:pt>
                <c:pt idx="19313">
                  <c:v>42094</c:v>
                </c:pt>
                <c:pt idx="19314">
                  <c:v>42093</c:v>
                </c:pt>
                <c:pt idx="19315">
                  <c:v>42092</c:v>
                </c:pt>
                <c:pt idx="19316">
                  <c:v>42091</c:v>
                </c:pt>
                <c:pt idx="19317">
                  <c:v>42090</c:v>
                </c:pt>
                <c:pt idx="19318">
                  <c:v>42089</c:v>
                </c:pt>
                <c:pt idx="19319">
                  <c:v>42089</c:v>
                </c:pt>
                <c:pt idx="19320">
                  <c:v>42087</c:v>
                </c:pt>
                <c:pt idx="19321">
                  <c:v>42086</c:v>
                </c:pt>
                <c:pt idx="19322">
                  <c:v>42086</c:v>
                </c:pt>
                <c:pt idx="19323">
                  <c:v>42086</c:v>
                </c:pt>
                <c:pt idx="19324">
                  <c:v>42086</c:v>
                </c:pt>
                <c:pt idx="19325">
                  <c:v>42085</c:v>
                </c:pt>
                <c:pt idx="19326">
                  <c:v>42085</c:v>
                </c:pt>
                <c:pt idx="19327">
                  <c:v>42085</c:v>
                </c:pt>
                <c:pt idx="19328">
                  <c:v>42085</c:v>
                </c:pt>
                <c:pt idx="19329">
                  <c:v>42083</c:v>
                </c:pt>
                <c:pt idx="19330">
                  <c:v>42083</c:v>
                </c:pt>
                <c:pt idx="19331">
                  <c:v>42082</c:v>
                </c:pt>
                <c:pt idx="19332">
                  <c:v>42081</c:v>
                </c:pt>
                <c:pt idx="19333">
                  <c:v>42081</c:v>
                </c:pt>
                <c:pt idx="19334">
                  <c:v>42081</c:v>
                </c:pt>
                <c:pt idx="19335">
                  <c:v>42081</c:v>
                </c:pt>
                <c:pt idx="19336">
                  <c:v>42080</c:v>
                </c:pt>
                <c:pt idx="19337">
                  <c:v>42080</c:v>
                </c:pt>
                <c:pt idx="19338">
                  <c:v>42080</c:v>
                </c:pt>
                <c:pt idx="19339">
                  <c:v>42078</c:v>
                </c:pt>
                <c:pt idx="19340">
                  <c:v>42078</c:v>
                </c:pt>
                <c:pt idx="19341">
                  <c:v>42077</c:v>
                </c:pt>
                <c:pt idx="19342">
                  <c:v>42076</c:v>
                </c:pt>
                <c:pt idx="19343">
                  <c:v>42076</c:v>
                </c:pt>
                <c:pt idx="19344">
                  <c:v>42076</c:v>
                </c:pt>
                <c:pt idx="19345">
                  <c:v>42075</c:v>
                </c:pt>
                <c:pt idx="19346">
                  <c:v>42074</c:v>
                </c:pt>
                <c:pt idx="19347">
                  <c:v>42074</c:v>
                </c:pt>
                <c:pt idx="19348">
                  <c:v>42072</c:v>
                </c:pt>
                <c:pt idx="19349">
                  <c:v>42070</c:v>
                </c:pt>
                <c:pt idx="19350">
                  <c:v>42070</c:v>
                </c:pt>
                <c:pt idx="19351">
                  <c:v>42068</c:v>
                </c:pt>
                <c:pt idx="19352">
                  <c:v>42068</c:v>
                </c:pt>
                <c:pt idx="19353">
                  <c:v>42068</c:v>
                </c:pt>
                <c:pt idx="19354">
                  <c:v>42067</c:v>
                </c:pt>
                <c:pt idx="19355">
                  <c:v>42067</c:v>
                </c:pt>
                <c:pt idx="19356">
                  <c:v>42065</c:v>
                </c:pt>
                <c:pt idx="19357">
                  <c:v>42065</c:v>
                </c:pt>
                <c:pt idx="19358">
                  <c:v>42063</c:v>
                </c:pt>
                <c:pt idx="19359">
                  <c:v>42063</c:v>
                </c:pt>
                <c:pt idx="19360">
                  <c:v>42063</c:v>
                </c:pt>
                <c:pt idx="19361">
                  <c:v>42062</c:v>
                </c:pt>
                <c:pt idx="19362">
                  <c:v>42062</c:v>
                </c:pt>
                <c:pt idx="19363">
                  <c:v>42062</c:v>
                </c:pt>
                <c:pt idx="19364">
                  <c:v>42061</c:v>
                </c:pt>
                <c:pt idx="19365">
                  <c:v>42061</c:v>
                </c:pt>
                <c:pt idx="19366">
                  <c:v>42061</c:v>
                </c:pt>
                <c:pt idx="19367">
                  <c:v>42061</c:v>
                </c:pt>
                <c:pt idx="19368">
                  <c:v>42059</c:v>
                </c:pt>
                <c:pt idx="19369">
                  <c:v>42057</c:v>
                </c:pt>
                <c:pt idx="19370">
                  <c:v>42056</c:v>
                </c:pt>
                <c:pt idx="19371">
                  <c:v>42055</c:v>
                </c:pt>
                <c:pt idx="19372">
                  <c:v>42054</c:v>
                </c:pt>
                <c:pt idx="19373">
                  <c:v>42054</c:v>
                </c:pt>
                <c:pt idx="19374">
                  <c:v>42052</c:v>
                </c:pt>
                <c:pt idx="19375">
                  <c:v>42052</c:v>
                </c:pt>
                <c:pt idx="19376">
                  <c:v>42051</c:v>
                </c:pt>
                <c:pt idx="19377">
                  <c:v>42051</c:v>
                </c:pt>
                <c:pt idx="19378">
                  <c:v>42051</c:v>
                </c:pt>
                <c:pt idx="19379">
                  <c:v>42048</c:v>
                </c:pt>
                <c:pt idx="19380">
                  <c:v>42048</c:v>
                </c:pt>
                <c:pt idx="19381">
                  <c:v>42047</c:v>
                </c:pt>
                <c:pt idx="19382">
                  <c:v>42047</c:v>
                </c:pt>
                <c:pt idx="19383">
                  <c:v>42046</c:v>
                </c:pt>
                <c:pt idx="19384">
                  <c:v>42046</c:v>
                </c:pt>
                <c:pt idx="19385">
                  <c:v>42046</c:v>
                </c:pt>
                <c:pt idx="19386">
                  <c:v>42046</c:v>
                </c:pt>
                <c:pt idx="19387">
                  <c:v>42045</c:v>
                </c:pt>
                <c:pt idx="19388">
                  <c:v>42045</c:v>
                </c:pt>
                <c:pt idx="19389">
                  <c:v>42045</c:v>
                </c:pt>
                <c:pt idx="19390">
                  <c:v>42045</c:v>
                </c:pt>
                <c:pt idx="19391">
                  <c:v>42044</c:v>
                </c:pt>
                <c:pt idx="19392">
                  <c:v>42044</c:v>
                </c:pt>
                <c:pt idx="19393">
                  <c:v>42043</c:v>
                </c:pt>
                <c:pt idx="19394">
                  <c:v>42043</c:v>
                </c:pt>
                <c:pt idx="19395">
                  <c:v>42043</c:v>
                </c:pt>
                <c:pt idx="19396">
                  <c:v>42042</c:v>
                </c:pt>
                <c:pt idx="19397">
                  <c:v>42042</c:v>
                </c:pt>
                <c:pt idx="19398">
                  <c:v>42041</c:v>
                </c:pt>
                <c:pt idx="19399">
                  <c:v>42040</c:v>
                </c:pt>
                <c:pt idx="19400">
                  <c:v>42039</c:v>
                </c:pt>
                <c:pt idx="19401">
                  <c:v>42038</c:v>
                </c:pt>
                <c:pt idx="19402">
                  <c:v>42037</c:v>
                </c:pt>
                <c:pt idx="19403">
                  <c:v>42036</c:v>
                </c:pt>
                <c:pt idx="19404">
                  <c:v>42035</c:v>
                </c:pt>
                <c:pt idx="19405">
                  <c:v>42034</c:v>
                </c:pt>
                <c:pt idx="19406">
                  <c:v>42034</c:v>
                </c:pt>
                <c:pt idx="19407">
                  <c:v>42034</c:v>
                </c:pt>
                <c:pt idx="19408">
                  <c:v>42033</c:v>
                </c:pt>
                <c:pt idx="19409">
                  <c:v>42033</c:v>
                </c:pt>
                <c:pt idx="19410">
                  <c:v>42033</c:v>
                </c:pt>
                <c:pt idx="19411">
                  <c:v>42033</c:v>
                </c:pt>
                <c:pt idx="19412">
                  <c:v>42033</c:v>
                </c:pt>
                <c:pt idx="19413">
                  <c:v>42032</c:v>
                </c:pt>
                <c:pt idx="19414">
                  <c:v>42032</c:v>
                </c:pt>
                <c:pt idx="19415">
                  <c:v>42031</c:v>
                </c:pt>
                <c:pt idx="19416">
                  <c:v>42030</c:v>
                </c:pt>
                <c:pt idx="19417">
                  <c:v>42029</c:v>
                </c:pt>
                <c:pt idx="19418">
                  <c:v>42029</c:v>
                </c:pt>
                <c:pt idx="19419">
                  <c:v>42028</c:v>
                </c:pt>
                <c:pt idx="19420">
                  <c:v>42027</c:v>
                </c:pt>
                <c:pt idx="19421">
                  <c:v>42027</c:v>
                </c:pt>
                <c:pt idx="19422">
                  <c:v>42025</c:v>
                </c:pt>
                <c:pt idx="19423">
                  <c:v>42024</c:v>
                </c:pt>
                <c:pt idx="19424">
                  <c:v>42024</c:v>
                </c:pt>
                <c:pt idx="19425">
                  <c:v>42023</c:v>
                </c:pt>
                <c:pt idx="19426">
                  <c:v>42020</c:v>
                </c:pt>
                <c:pt idx="19427">
                  <c:v>42020</c:v>
                </c:pt>
                <c:pt idx="19428">
                  <c:v>42020</c:v>
                </c:pt>
                <c:pt idx="19429">
                  <c:v>42018</c:v>
                </c:pt>
                <c:pt idx="19430">
                  <c:v>42018</c:v>
                </c:pt>
                <c:pt idx="19431">
                  <c:v>42017</c:v>
                </c:pt>
                <c:pt idx="19432">
                  <c:v>42016</c:v>
                </c:pt>
                <c:pt idx="19433">
                  <c:v>42015</c:v>
                </c:pt>
                <c:pt idx="19434">
                  <c:v>42015</c:v>
                </c:pt>
                <c:pt idx="19435">
                  <c:v>42014</c:v>
                </c:pt>
                <c:pt idx="19436">
                  <c:v>42014</c:v>
                </c:pt>
                <c:pt idx="19437">
                  <c:v>42012</c:v>
                </c:pt>
                <c:pt idx="19438">
                  <c:v>42012</c:v>
                </c:pt>
                <c:pt idx="19439">
                  <c:v>42011</c:v>
                </c:pt>
                <c:pt idx="19440">
                  <c:v>42011</c:v>
                </c:pt>
                <c:pt idx="19441">
                  <c:v>42010</c:v>
                </c:pt>
                <c:pt idx="19442">
                  <c:v>42010</c:v>
                </c:pt>
                <c:pt idx="19443">
                  <c:v>42010</c:v>
                </c:pt>
                <c:pt idx="19444">
                  <c:v>42010</c:v>
                </c:pt>
                <c:pt idx="19445">
                  <c:v>42010</c:v>
                </c:pt>
                <c:pt idx="19446">
                  <c:v>42009</c:v>
                </c:pt>
                <c:pt idx="19447">
                  <c:v>42009</c:v>
                </c:pt>
                <c:pt idx="19448">
                  <c:v>42008</c:v>
                </c:pt>
                <c:pt idx="19449">
                  <c:v>42007</c:v>
                </c:pt>
                <c:pt idx="19450">
                  <c:v>42006</c:v>
                </c:pt>
                <c:pt idx="19451">
                  <c:v>42006</c:v>
                </c:pt>
                <c:pt idx="19452">
                  <c:v>42004</c:v>
                </c:pt>
                <c:pt idx="19453">
                  <c:v>42000</c:v>
                </c:pt>
                <c:pt idx="19454">
                  <c:v>41999</c:v>
                </c:pt>
                <c:pt idx="19455">
                  <c:v>41997</c:v>
                </c:pt>
                <c:pt idx="19456">
                  <c:v>41997</c:v>
                </c:pt>
                <c:pt idx="19457">
                  <c:v>41997</c:v>
                </c:pt>
                <c:pt idx="19458">
                  <c:v>41996</c:v>
                </c:pt>
                <c:pt idx="19459">
                  <c:v>41994</c:v>
                </c:pt>
                <c:pt idx="19460">
                  <c:v>41994</c:v>
                </c:pt>
                <c:pt idx="19461">
                  <c:v>41994</c:v>
                </c:pt>
                <c:pt idx="19462">
                  <c:v>41993</c:v>
                </c:pt>
                <c:pt idx="19463">
                  <c:v>41993</c:v>
                </c:pt>
                <c:pt idx="19464">
                  <c:v>41992</c:v>
                </c:pt>
                <c:pt idx="19465">
                  <c:v>41992</c:v>
                </c:pt>
                <c:pt idx="19466">
                  <c:v>41991</c:v>
                </c:pt>
                <c:pt idx="19467">
                  <c:v>41990</c:v>
                </c:pt>
                <c:pt idx="19468">
                  <c:v>41988</c:v>
                </c:pt>
                <c:pt idx="19469">
                  <c:v>41988</c:v>
                </c:pt>
                <c:pt idx="19470">
                  <c:v>41988</c:v>
                </c:pt>
                <c:pt idx="19471">
                  <c:v>41988</c:v>
                </c:pt>
                <c:pt idx="19472">
                  <c:v>41987</c:v>
                </c:pt>
                <c:pt idx="19473">
                  <c:v>41986</c:v>
                </c:pt>
                <c:pt idx="19474">
                  <c:v>41985</c:v>
                </c:pt>
                <c:pt idx="19475">
                  <c:v>41985</c:v>
                </c:pt>
                <c:pt idx="19476">
                  <c:v>41985</c:v>
                </c:pt>
                <c:pt idx="19477">
                  <c:v>41984</c:v>
                </c:pt>
                <c:pt idx="19478">
                  <c:v>41984</c:v>
                </c:pt>
                <c:pt idx="19479">
                  <c:v>41983</c:v>
                </c:pt>
                <c:pt idx="19480">
                  <c:v>41981</c:v>
                </c:pt>
                <c:pt idx="19481">
                  <c:v>41980</c:v>
                </c:pt>
                <c:pt idx="19482">
                  <c:v>41980</c:v>
                </c:pt>
                <c:pt idx="19483">
                  <c:v>41980</c:v>
                </c:pt>
                <c:pt idx="19484">
                  <c:v>41978</c:v>
                </c:pt>
                <c:pt idx="19485">
                  <c:v>41976</c:v>
                </c:pt>
                <c:pt idx="19486">
                  <c:v>41975</c:v>
                </c:pt>
                <c:pt idx="19487">
                  <c:v>41974</c:v>
                </c:pt>
                <c:pt idx="19488">
                  <c:v>41974</c:v>
                </c:pt>
                <c:pt idx="19489">
                  <c:v>41974</c:v>
                </c:pt>
                <c:pt idx="19490">
                  <c:v>41973</c:v>
                </c:pt>
                <c:pt idx="19491">
                  <c:v>41971</c:v>
                </c:pt>
                <c:pt idx="19492">
                  <c:v>41971</c:v>
                </c:pt>
                <c:pt idx="19493">
                  <c:v>41971</c:v>
                </c:pt>
                <c:pt idx="19494">
                  <c:v>41970</c:v>
                </c:pt>
                <c:pt idx="19495">
                  <c:v>41970</c:v>
                </c:pt>
                <c:pt idx="19496">
                  <c:v>41969</c:v>
                </c:pt>
                <c:pt idx="19497">
                  <c:v>41968</c:v>
                </c:pt>
                <c:pt idx="19498">
                  <c:v>41967</c:v>
                </c:pt>
                <c:pt idx="19499">
                  <c:v>41966</c:v>
                </c:pt>
                <c:pt idx="19500">
                  <c:v>41964</c:v>
                </c:pt>
                <c:pt idx="19501">
                  <c:v>41962</c:v>
                </c:pt>
                <c:pt idx="19502">
                  <c:v>41961</c:v>
                </c:pt>
                <c:pt idx="19503">
                  <c:v>41960</c:v>
                </c:pt>
                <c:pt idx="19504">
                  <c:v>41960</c:v>
                </c:pt>
                <c:pt idx="19505">
                  <c:v>41959</c:v>
                </c:pt>
                <c:pt idx="19506">
                  <c:v>41959</c:v>
                </c:pt>
                <c:pt idx="19507">
                  <c:v>41959</c:v>
                </c:pt>
                <c:pt idx="19508">
                  <c:v>41958</c:v>
                </c:pt>
                <c:pt idx="19509">
                  <c:v>41958</c:v>
                </c:pt>
                <c:pt idx="19510">
                  <c:v>41958</c:v>
                </c:pt>
                <c:pt idx="19511">
                  <c:v>41958</c:v>
                </c:pt>
                <c:pt idx="19512">
                  <c:v>41957</c:v>
                </c:pt>
                <c:pt idx="19513">
                  <c:v>41956</c:v>
                </c:pt>
                <c:pt idx="19514">
                  <c:v>41953</c:v>
                </c:pt>
                <c:pt idx="19515">
                  <c:v>41953</c:v>
                </c:pt>
                <c:pt idx="19516">
                  <c:v>41953</c:v>
                </c:pt>
                <c:pt idx="19517">
                  <c:v>41952</c:v>
                </c:pt>
                <c:pt idx="19518">
                  <c:v>41951</c:v>
                </c:pt>
                <c:pt idx="19519">
                  <c:v>41950</c:v>
                </c:pt>
                <c:pt idx="19520">
                  <c:v>41949</c:v>
                </c:pt>
                <c:pt idx="19521">
                  <c:v>41948</c:v>
                </c:pt>
                <c:pt idx="19522">
                  <c:v>41947</c:v>
                </c:pt>
                <c:pt idx="19523">
                  <c:v>41947</c:v>
                </c:pt>
                <c:pt idx="19524">
                  <c:v>41946</c:v>
                </c:pt>
                <c:pt idx="19525">
                  <c:v>41946</c:v>
                </c:pt>
                <c:pt idx="19526">
                  <c:v>41946</c:v>
                </c:pt>
                <c:pt idx="19527">
                  <c:v>41946</c:v>
                </c:pt>
                <c:pt idx="19528">
                  <c:v>41945</c:v>
                </c:pt>
                <c:pt idx="19529">
                  <c:v>41944</c:v>
                </c:pt>
                <c:pt idx="19530">
                  <c:v>41944</c:v>
                </c:pt>
                <c:pt idx="19531">
                  <c:v>41942</c:v>
                </c:pt>
                <c:pt idx="19532">
                  <c:v>41940</c:v>
                </c:pt>
                <c:pt idx="19533">
                  <c:v>41940</c:v>
                </c:pt>
                <c:pt idx="19534">
                  <c:v>41940</c:v>
                </c:pt>
                <c:pt idx="19535">
                  <c:v>41939</c:v>
                </c:pt>
                <c:pt idx="19536">
                  <c:v>41939</c:v>
                </c:pt>
                <c:pt idx="19537">
                  <c:v>41938</c:v>
                </c:pt>
                <c:pt idx="19538">
                  <c:v>41937</c:v>
                </c:pt>
                <c:pt idx="19539">
                  <c:v>41936</c:v>
                </c:pt>
                <c:pt idx="19540">
                  <c:v>41936</c:v>
                </c:pt>
                <c:pt idx="19541">
                  <c:v>41935</c:v>
                </c:pt>
                <c:pt idx="19542">
                  <c:v>41934</c:v>
                </c:pt>
                <c:pt idx="19543">
                  <c:v>41934</c:v>
                </c:pt>
                <c:pt idx="19544">
                  <c:v>41934</c:v>
                </c:pt>
                <c:pt idx="19545">
                  <c:v>41933</c:v>
                </c:pt>
                <c:pt idx="19546">
                  <c:v>41933</c:v>
                </c:pt>
                <c:pt idx="19547">
                  <c:v>41933</c:v>
                </c:pt>
                <c:pt idx="19548">
                  <c:v>41933</c:v>
                </c:pt>
                <c:pt idx="19549">
                  <c:v>41933</c:v>
                </c:pt>
                <c:pt idx="19550">
                  <c:v>41932</c:v>
                </c:pt>
                <c:pt idx="19551">
                  <c:v>41931</c:v>
                </c:pt>
                <c:pt idx="19552">
                  <c:v>41931</c:v>
                </c:pt>
                <c:pt idx="19553">
                  <c:v>41931</c:v>
                </c:pt>
                <c:pt idx="19554">
                  <c:v>41931</c:v>
                </c:pt>
                <c:pt idx="19555">
                  <c:v>41930</c:v>
                </c:pt>
                <c:pt idx="19556">
                  <c:v>41930</c:v>
                </c:pt>
                <c:pt idx="19557">
                  <c:v>41930</c:v>
                </c:pt>
                <c:pt idx="19558">
                  <c:v>41929</c:v>
                </c:pt>
                <c:pt idx="19559">
                  <c:v>41929</c:v>
                </c:pt>
                <c:pt idx="19560">
                  <c:v>41928</c:v>
                </c:pt>
                <c:pt idx="19561">
                  <c:v>41928</c:v>
                </c:pt>
                <c:pt idx="19562">
                  <c:v>41928</c:v>
                </c:pt>
                <c:pt idx="19563">
                  <c:v>41927</c:v>
                </c:pt>
                <c:pt idx="19564">
                  <c:v>41926</c:v>
                </c:pt>
                <c:pt idx="19565">
                  <c:v>41926</c:v>
                </c:pt>
                <c:pt idx="19566">
                  <c:v>41924</c:v>
                </c:pt>
                <c:pt idx="19567">
                  <c:v>41923</c:v>
                </c:pt>
                <c:pt idx="19568">
                  <c:v>41923</c:v>
                </c:pt>
                <c:pt idx="19569">
                  <c:v>41922</c:v>
                </c:pt>
                <c:pt idx="19570">
                  <c:v>41921</c:v>
                </c:pt>
                <c:pt idx="19571">
                  <c:v>41921</c:v>
                </c:pt>
                <c:pt idx="19572">
                  <c:v>41921</c:v>
                </c:pt>
                <c:pt idx="19573">
                  <c:v>41920</c:v>
                </c:pt>
                <c:pt idx="19574">
                  <c:v>41920</c:v>
                </c:pt>
                <c:pt idx="19575">
                  <c:v>41920</c:v>
                </c:pt>
                <c:pt idx="19576">
                  <c:v>41919</c:v>
                </c:pt>
                <c:pt idx="19577">
                  <c:v>41918</c:v>
                </c:pt>
                <c:pt idx="19578">
                  <c:v>41917</c:v>
                </c:pt>
                <c:pt idx="19579">
                  <c:v>41915</c:v>
                </c:pt>
                <c:pt idx="19580">
                  <c:v>41915</c:v>
                </c:pt>
                <c:pt idx="19581">
                  <c:v>41914</c:v>
                </c:pt>
                <c:pt idx="19582">
                  <c:v>41913</c:v>
                </c:pt>
                <c:pt idx="19583">
                  <c:v>41912</c:v>
                </c:pt>
                <c:pt idx="19584">
                  <c:v>41911</c:v>
                </c:pt>
                <c:pt idx="19585">
                  <c:v>41910</c:v>
                </c:pt>
                <c:pt idx="19586">
                  <c:v>41910</c:v>
                </c:pt>
                <c:pt idx="19587">
                  <c:v>41910</c:v>
                </c:pt>
                <c:pt idx="19588">
                  <c:v>41909</c:v>
                </c:pt>
                <c:pt idx="19589">
                  <c:v>41909</c:v>
                </c:pt>
                <c:pt idx="19590">
                  <c:v>41908</c:v>
                </c:pt>
                <c:pt idx="19591">
                  <c:v>41908</c:v>
                </c:pt>
                <c:pt idx="19592">
                  <c:v>41906</c:v>
                </c:pt>
                <c:pt idx="19593">
                  <c:v>41905</c:v>
                </c:pt>
                <c:pt idx="19594">
                  <c:v>41904</c:v>
                </c:pt>
                <c:pt idx="19595">
                  <c:v>41904</c:v>
                </c:pt>
                <c:pt idx="19596">
                  <c:v>41903</c:v>
                </c:pt>
                <c:pt idx="19597">
                  <c:v>41902</c:v>
                </c:pt>
                <c:pt idx="19598">
                  <c:v>41901</c:v>
                </c:pt>
                <c:pt idx="19599">
                  <c:v>41901</c:v>
                </c:pt>
                <c:pt idx="19600">
                  <c:v>41900</c:v>
                </c:pt>
                <c:pt idx="19601">
                  <c:v>41900</c:v>
                </c:pt>
                <c:pt idx="19602">
                  <c:v>41900</c:v>
                </c:pt>
                <c:pt idx="19603">
                  <c:v>41898</c:v>
                </c:pt>
                <c:pt idx="19604">
                  <c:v>41897</c:v>
                </c:pt>
                <c:pt idx="19605">
                  <c:v>41897</c:v>
                </c:pt>
                <c:pt idx="19606">
                  <c:v>41896</c:v>
                </c:pt>
                <c:pt idx="19607">
                  <c:v>41895</c:v>
                </c:pt>
                <c:pt idx="19608">
                  <c:v>41894</c:v>
                </c:pt>
                <c:pt idx="19609">
                  <c:v>41894</c:v>
                </c:pt>
                <c:pt idx="19610">
                  <c:v>41894</c:v>
                </c:pt>
                <c:pt idx="19611">
                  <c:v>41893</c:v>
                </c:pt>
                <c:pt idx="19612">
                  <c:v>41893</c:v>
                </c:pt>
                <c:pt idx="19613">
                  <c:v>41893</c:v>
                </c:pt>
                <c:pt idx="19614">
                  <c:v>41893</c:v>
                </c:pt>
                <c:pt idx="19615">
                  <c:v>41893</c:v>
                </c:pt>
                <c:pt idx="19616">
                  <c:v>41893</c:v>
                </c:pt>
                <c:pt idx="19617">
                  <c:v>41892</c:v>
                </c:pt>
                <c:pt idx="19618">
                  <c:v>41892</c:v>
                </c:pt>
                <c:pt idx="19619">
                  <c:v>41892</c:v>
                </c:pt>
                <c:pt idx="19620">
                  <c:v>41891</c:v>
                </c:pt>
                <c:pt idx="19621">
                  <c:v>41891</c:v>
                </c:pt>
                <c:pt idx="19622">
                  <c:v>41891</c:v>
                </c:pt>
                <c:pt idx="19623">
                  <c:v>41890</c:v>
                </c:pt>
                <c:pt idx="19624">
                  <c:v>41890</c:v>
                </c:pt>
                <c:pt idx="19625">
                  <c:v>41889</c:v>
                </c:pt>
                <c:pt idx="19626">
                  <c:v>41889</c:v>
                </c:pt>
                <c:pt idx="19627">
                  <c:v>41887</c:v>
                </c:pt>
                <c:pt idx="19628">
                  <c:v>41887</c:v>
                </c:pt>
                <c:pt idx="19629">
                  <c:v>41885</c:v>
                </c:pt>
                <c:pt idx="19630">
                  <c:v>41885</c:v>
                </c:pt>
                <c:pt idx="19631">
                  <c:v>41884</c:v>
                </c:pt>
                <c:pt idx="19632">
                  <c:v>41883</c:v>
                </c:pt>
                <c:pt idx="19633">
                  <c:v>41883</c:v>
                </c:pt>
                <c:pt idx="19634">
                  <c:v>41882</c:v>
                </c:pt>
                <c:pt idx="19635">
                  <c:v>41882</c:v>
                </c:pt>
                <c:pt idx="19636">
                  <c:v>41881</c:v>
                </c:pt>
                <c:pt idx="19637">
                  <c:v>41881</c:v>
                </c:pt>
                <c:pt idx="19638">
                  <c:v>41881</c:v>
                </c:pt>
                <c:pt idx="19639">
                  <c:v>41881</c:v>
                </c:pt>
                <c:pt idx="19640">
                  <c:v>41879</c:v>
                </c:pt>
                <c:pt idx="19641">
                  <c:v>41878</c:v>
                </c:pt>
                <c:pt idx="19642">
                  <c:v>41878</c:v>
                </c:pt>
                <c:pt idx="19643">
                  <c:v>41877</c:v>
                </c:pt>
                <c:pt idx="19644">
                  <c:v>41876</c:v>
                </c:pt>
                <c:pt idx="19645">
                  <c:v>41876</c:v>
                </c:pt>
                <c:pt idx="19646">
                  <c:v>41876</c:v>
                </c:pt>
                <c:pt idx="19647">
                  <c:v>41874</c:v>
                </c:pt>
                <c:pt idx="19648">
                  <c:v>41873</c:v>
                </c:pt>
                <c:pt idx="19649">
                  <c:v>41872</c:v>
                </c:pt>
                <c:pt idx="19650">
                  <c:v>41872</c:v>
                </c:pt>
                <c:pt idx="19651">
                  <c:v>41871</c:v>
                </c:pt>
                <c:pt idx="19652">
                  <c:v>41871</c:v>
                </c:pt>
                <c:pt idx="19653">
                  <c:v>41869</c:v>
                </c:pt>
                <c:pt idx="19654">
                  <c:v>41868</c:v>
                </c:pt>
                <c:pt idx="19655">
                  <c:v>41867</c:v>
                </c:pt>
                <c:pt idx="19656">
                  <c:v>41866</c:v>
                </c:pt>
                <c:pt idx="19657">
                  <c:v>41866</c:v>
                </c:pt>
                <c:pt idx="19658">
                  <c:v>41865</c:v>
                </c:pt>
                <c:pt idx="19659">
                  <c:v>41865</c:v>
                </c:pt>
                <c:pt idx="19660">
                  <c:v>41865</c:v>
                </c:pt>
                <c:pt idx="19661">
                  <c:v>41863</c:v>
                </c:pt>
                <c:pt idx="19662">
                  <c:v>41862</c:v>
                </c:pt>
                <c:pt idx="19663">
                  <c:v>41862</c:v>
                </c:pt>
                <c:pt idx="19664">
                  <c:v>41860</c:v>
                </c:pt>
                <c:pt idx="19665">
                  <c:v>41859</c:v>
                </c:pt>
                <c:pt idx="19666">
                  <c:v>41859</c:v>
                </c:pt>
                <c:pt idx="19667">
                  <c:v>41859</c:v>
                </c:pt>
                <c:pt idx="19668">
                  <c:v>41859</c:v>
                </c:pt>
                <c:pt idx="19669">
                  <c:v>41858</c:v>
                </c:pt>
                <c:pt idx="19670">
                  <c:v>41857</c:v>
                </c:pt>
                <c:pt idx="19671">
                  <c:v>41856</c:v>
                </c:pt>
                <c:pt idx="19672">
                  <c:v>41856</c:v>
                </c:pt>
                <c:pt idx="19673">
                  <c:v>41855</c:v>
                </c:pt>
                <c:pt idx="19674">
                  <c:v>41855</c:v>
                </c:pt>
                <c:pt idx="19675">
                  <c:v>41854</c:v>
                </c:pt>
                <c:pt idx="19676">
                  <c:v>41853</c:v>
                </c:pt>
                <c:pt idx="19677">
                  <c:v>41852</c:v>
                </c:pt>
                <c:pt idx="19678">
                  <c:v>41852</c:v>
                </c:pt>
                <c:pt idx="19679">
                  <c:v>41851</c:v>
                </c:pt>
                <c:pt idx="19680">
                  <c:v>41851</c:v>
                </c:pt>
                <c:pt idx="19681">
                  <c:v>41851</c:v>
                </c:pt>
                <c:pt idx="19682">
                  <c:v>41849</c:v>
                </c:pt>
                <c:pt idx="19683">
                  <c:v>41849</c:v>
                </c:pt>
                <c:pt idx="19684">
                  <c:v>41847</c:v>
                </c:pt>
                <c:pt idx="19685">
                  <c:v>41846</c:v>
                </c:pt>
                <c:pt idx="19686">
                  <c:v>41845</c:v>
                </c:pt>
                <c:pt idx="19687">
                  <c:v>41844</c:v>
                </c:pt>
                <c:pt idx="19688">
                  <c:v>41844</c:v>
                </c:pt>
                <c:pt idx="19689">
                  <c:v>41844</c:v>
                </c:pt>
                <c:pt idx="19690">
                  <c:v>41843</c:v>
                </c:pt>
                <c:pt idx="19691">
                  <c:v>41842</c:v>
                </c:pt>
                <c:pt idx="19692">
                  <c:v>41842</c:v>
                </c:pt>
                <c:pt idx="19693">
                  <c:v>41842</c:v>
                </c:pt>
                <c:pt idx="19694">
                  <c:v>41841</c:v>
                </c:pt>
                <c:pt idx="19695">
                  <c:v>41840</c:v>
                </c:pt>
                <c:pt idx="19696">
                  <c:v>41839</c:v>
                </c:pt>
                <c:pt idx="19697">
                  <c:v>41839</c:v>
                </c:pt>
                <c:pt idx="19698">
                  <c:v>41839</c:v>
                </c:pt>
                <c:pt idx="19699">
                  <c:v>41838</c:v>
                </c:pt>
                <c:pt idx="19700">
                  <c:v>41838</c:v>
                </c:pt>
                <c:pt idx="19701">
                  <c:v>41837</c:v>
                </c:pt>
                <c:pt idx="19702">
                  <c:v>41836</c:v>
                </c:pt>
                <c:pt idx="19703">
                  <c:v>41836</c:v>
                </c:pt>
                <c:pt idx="19704">
                  <c:v>41835</c:v>
                </c:pt>
                <c:pt idx="19705">
                  <c:v>41835</c:v>
                </c:pt>
                <c:pt idx="19706">
                  <c:v>41834</c:v>
                </c:pt>
                <c:pt idx="19707">
                  <c:v>41834</c:v>
                </c:pt>
                <c:pt idx="19708">
                  <c:v>41834</c:v>
                </c:pt>
                <c:pt idx="19709">
                  <c:v>41833</c:v>
                </c:pt>
                <c:pt idx="19710">
                  <c:v>41832</c:v>
                </c:pt>
                <c:pt idx="19711">
                  <c:v>41831</c:v>
                </c:pt>
                <c:pt idx="19712">
                  <c:v>41830</c:v>
                </c:pt>
                <c:pt idx="19713">
                  <c:v>41829</c:v>
                </c:pt>
                <c:pt idx="19714">
                  <c:v>41828</c:v>
                </c:pt>
                <c:pt idx="19715">
                  <c:v>41828</c:v>
                </c:pt>
                <c:pt idx="19716">
                  <c:v>41828</c:v>
                </c:pt>
                <c:pt idx="19717">
                  <c:v>41827</c:v>
                </c:pt>
                <c:pt idx="19718">
                  <c:v>41827</c:v>
                </c:pt>
                <c:pt idx="19719">
                  <c:v>41826</c:v>
                </c:pt>
                <c:pt idx="19720">
                  <c:v>41826</c:v>
                </c:pt>
                <c:pt idx="19721">
                  <c:v>41826</c:v>
                </c:pt>
                <c:pt idx="19722">
                  <c:v>41825</c:v>
                </c:pt>
                <c:pt idx="19723">
                  <c:v>41825</c:v>
                </c:pt>
                <c:pt idx="19724">
                  <c:v>41823</c:v>
                </c:pt>
                <c:pt idx="19725">
                  <c:v>41821</c:v>
                </c:pt>
                <c:pt idx="19726">
                  <c:v>41821</c:v>
                </c:pt>
                <c:pt idx="19727">
                  <c:v>41820</c:v>
                </c:pt>
                <c:pt idx="19728">
                  <c:v>41820</c:v>
                </c:pt>
                <c:pt idx="19729">
                  <c:v>41820</c:v>
                </c:pt>
                <c:pt idx="19730">
                  <c:v>41819</c:v>
                </c:pt>
                <c:pt idx="19731">
                  <c:v>41816</c:v>
                </c:pt>
                <c:pt idx="19732">
                  <c:v>41816</c:v>
                </c:pt>
                <c:pt idx="19733">
                  <c:v>41815</c:v>
                </c:pt>
                <c:pt idx="19734">
                  <c:v>41815</c:v>
                </c:pt>
                <c:pt idx="19735">
                  <c:v>41814</c:v>
                </c:pt>
                <c:pt idx="19736">
                  <c:v>41814</c:v>
                </c:pt>
                <c:pt idx="19737">
                  <c:v>41812</c:v>
                </c:pt>
                <c:pt idx="19738">
                  <c:v>41811</c:v>
                </c:pt>
                <c:pt idx="19739">
                  <c:v>41811</c:v>
                </c:pt>
                <c:pt idx="19740">
                  <c:v>41811</c:v>
                </c:pt>
                <c:pt idx="19741">
                  <c:v>41810</c:v>
                </c:pt>
                <c:pt idx="19742">
                  <c:v>41807</c:v>
                </c:pt>
                <c:pt idx="19743">
                  <c:v>41807</c:v>
                </c:pt>
                <c:pt idx="19744">
                  <c:v>41807</c:v>
                </c:pt>
                <c:pt idx="19745">
                  <c:v>41806</c:v>
                </c:pt>
                <c:pt idx="19746">
                  <c:v>41806</c:v>
                </c:pt>
                <c:pt idx="19747">
                  <c:v>41806</c:v>
                </c:pt>
                <c:pt idx="19748">
                  <c:v>41805</c:v>
                </c:pt>
                <c:pt idx="19749">
                  <c:v>41805</c:v>
                </c:pt>
                <c:pt idx="19750">
                  <c:v>41805</c:v>
                </c:pt>
                <c:pt idx="19751">
                  <c:v>41805</c:v>
                </c:pt>
                <c:pt idx="19752">
                  <c:v>41804</c:v>
                </c:pt>
                <c:pt idx="19753">
                  <c:v>41802</c:v>
                </c:pt>
                <c:pt idx="19754">
                  <c:v>41802</c:v>
                </c:pt>
                <c:pt idx="19755">
                  <c:v>41802</c:v>
                </c:pt>
                <c:pt idx="19756">
                  <c:v>41800</c:v>
                </c:pt>
                <c:pt idx="19757">
                  <c:v>41799</c:v>
                </c:pt>
                <c:pt idx="19758">
                  <c:v>41799</c:v>
                </c:pt>
                <c:pt idx="19759">
                  <c:v>41798</c:v>
                </c:pt>
                <c:pt idx="19760">
                  <c:v>41798</c:v>
                </c:pt>
                <c:pt idx="19761">
                  <c:v>41798</c:v>
                </c:pt>
                <c:pt idx="19762">
                  <c:v>41797</c:v>
                </c:pt>
                <c:pt idx="19763">
                  <c:v>41797</c:v>
                </c:pt>
                <c:pt idx="19764">
                  <c:v>41796</c:v>
                </c:pt>
                <c:pt idx="19765">
                  <c:v>41795</c:v>
                </c:pt>
                <c:pt idx="19766">
                  <c:v>41793</c:v>
                </c:pt>
                <c:pt idx="19767">
                  <c:v>41792</c:v>
                </c:pt>
                <c:pt idx="19768">
                  <c:v>41791</c:v>
                </c:pt>
                <c:pt idx="19769">
                  <c:v>41789</c:v>
                </c:pt>
                <c:pt idx="19770">
                  <c:v>41789</c:v>
                </c:pt>
                <c:pt idx="19771">
                  <c:v>41788</c:v>
                </c:pt>
                <c:pt idx="19772">
                  <c:v>41788</c:v>
                </c:pt>
                <c:pt idx="19773">
                  <c:v>41786</c:v>
                </c:pt>
                <c:pt idx="19774">
                  <c:v>41786</c:v>
                </c:pt>
                <c:pt idx="19775">
                  <c:v>41786</c:v>
                </c:pt>
                <c:pt idx="19776">
                  <c:v>41786</c:v>
                </c:pt>
                <c:pt idx="19777">
                  <c:v>41784</c:v>
                </c:pt>
                <c:pt idx="19778">
                  <c:v>41784</c:v>
                </c:pt>
                <c:pt idx="19779">
                  <c:v>41783</c:v>
                </c:pt>
                <c:pt idx="19780">
                  <c:v>41783</c:v>
                </c:pt>
                <c:pt idx="19781">
                  <c:v>41782</c:v>
                </c:pt>
                <c:pt idx="19782">
                  <c:v>41781</c:v>
                </c:pt>
                <c:pt idx="19783">
                  <c:v>41781</c:v>
                </c:pt>
                <c:pt idx="19784">
                  <c:v>41781</c:v>
                </c:pt>
                <c:pt idx="19785">
                  <c:v>41780</c:v>
                </c:pt>
                <c:pt idx="19786">
                  <c:v>41780</c:v>
                </c:pt>
                <c:pt idx="19787">
                  <c:v>41779</c:v>
                </c:pt>
                <c:pt idx="19788">
                  <c:v>41779</c:v>
                </c:pt>
                <c:pt idx="19789">
                  <c:v>41778</c:v>
                </c:pt>
                <c:pt idx="19790">
                  <c:v>41777</c:v>
                </c:pt>
                <c:pt idx="19791">
                  <c:v>41776</c:v>
                </c:pt>
                <c:pt idx="19792">
                  <c:v>41776</c:v>
                </c:pt>
                <c:pt idx="19793">
                  <c:v>41775</c:v>
                </c:pt>
                <c:pt idx="19794">
                  <c:v>41774</c:v>
                </c:pt>
                <c:pt idx="19795">
                  <c:v>41774</c:v>
                </c:pt>
                <c:pt idx="19796">
                  <c:v>41773</c:v>
                </c:pt>
                <c:pt idx="19797">
                  <c:v>41772</c:v>
                </c:pt>
                <c:pt idx="19798">
                  <c:v>41772</c:v>
                </c:pt>
                <c:pt idx="19799">
                  <c:v>41771</c:v>
                </c:pt>
                <c:pt idx="19800">
                  <c:v>41770</c:v>
                </c:pt>
                <c:pt idx="19801">
                  <c:v>41769</c:v>
                </c:pt>
                <c:pt idx="19802">
                  <c:v>41768</c:v>
                </c:pt>
                <c:pt idx="19803">
                  <c:v>41768</c:v>
                </c:pt>
                <c:pt idx="19804">
                  <c:v>41768</c:v>
                </c:pt>
                <c:pt idx="19805">
                  <c:v>41767</c:v>
                </c:pt>
                <c:pt idx="19806">
                  <c:v>41767</c:v>
                </c:pt>
                <c:pt idx="19807">
                  <c:v>41766</c:v>
                </c:pt>
                <c:pt idx="19808">
                  <c:v>41765</c:v>
                </c:pt>
                <c:pt idx="19809">
                  <c:v>41765</c:v>
                </c:pt>
                <c:pt idx="19810">
                  <c:v>41764</c:v>
                </c:pt>
                <c:pt idx="19811">
                  <c:v>41763</c:v>
                </c:pt>
                <c:pt idx="19812">
                  <c:v>41762</c:v>
                </c:pt>
                <c:pt idx="19813">
                  <c:v>41761</c:v>
                </c:pt>
                <c:pt idx="19814">
                  <c:v>41761</c:v>
                </c:pt>
                <c:pt idx="19815">
                  <c:v>41761</c:v>
                </c:pt>
                <c:pt idx="19816">
                  <c:v>41760</c:v>
                </c:pt>
                <c:pt idx="19817">
                  <c:v>41759</c:v>
                </c:pt>
                <c:pt idx="19818">
                  <c:v>41759</c:v>
                </c:pt>
                <c:pt idx="19819">
                  <c:v>41758</c:v>
                </c:pt>
                <c:pt idx="19820">
                  <c:v>41757</c:v>
                </c:pt>
                <c:pt idx="19821">
                  <c:v>41757</c:v>
                </c:pt>
                <c:pt idx="19822">
                  <c:v>41757</c:v>
                </c:pt>
                <c:pt idx="19823">
                  <c:v>41757</c:v>
                </c:pt>
                <c:pt idx="19824">
                  <c:v>41754</c:v>
                </c:pt>
                <c:pt idx="19825">
                  <c:v>41754</c:v>
                </c:pt>
                <c:pt idx="19826">
                  <c:v>41754</c:v>
                </c:pt>
                <c:pt idx="19827">
                  <c:v>41754</c:v>
                </c:pt>
                <c:pt idx="19828">
                  <c:v>41752</c:v>
                </c:pt>
                <c:pt idx="19829">
                  <c:v>41752</c:v>
                </c:pt>
                <c:pt idx="19830">
                  <c:v>41752</c:v>
                </c:pt>
                <c:pt idx="19831">
                  <c:v>41752</c:v>
                </c:pt>
                <c:pt idx="19832">
                  <c:v>41751</c:v>
                </c:pt>
                <c:pt idx="19833">
                  <c:v>41750</c:v>
                </c:pt>
                <c:pt idx="19834">
                  <c:v>41750</c:v>
                </c:pt>
                <c:pt idx="19835">
                  <c:v>41749</c:v>
                </c:pt>
                <c:pt idx="19836">
                  <c:v>41745</c:v>
                </c:pt>
                <c:pt idx="19837">
                  <c:v>41745</c:v>
                </c:pt>
                <c:pt idx="19838">
                  <c:v>41745</c:v>
                </c:pt>
                <c:pt idx="19839">
                  <c:v>41745</c:v>
                </c:pt>
                <c:pt idx="19840">
                  <c:v>41745</c:v>
                </c:pt>
                <c:pt idx="19841">
                  <c:v>41744</c:v>
                </c:pt>
                <c:pt idx="19842">
                  <c:v>41742</c:v>
                </c:pt>
                <c:pt idx="19843">
                  <c:v>41740</c:v>
                </c:pt>
                <c:pt idx="19844">
                  <c:v>41740</c:v>
                </c:pt>
                <c:pt idx="19845">
                  <c:v>41740</c:v>
                </c:pt>
                <c:pt idx="19846">
                  <c:v>41740</c:v>
                </c:pt>
                <c:pt idx="19847">
                  <c:v>41739</c:v>
                </c:pt>
                <c:pt idx="19848">
                  <c:v>41738</c:v>
                </c:pt>
                <c:pt idx="19849">
                  <c:v>41737</c:v>
                </c:pt>
                <c:pt idx="19850">
                  <c:v>41737</c:v>
                </c:pt>
                <c:pt idx="19851">
                  <c:v>41736</c:v>
                </c:pt>
                <c:pt idx="19852">
                  <c:v>41734</c:v>
                </c:pt>
                <c:pt idx="19853">
                  <c:v>41734</c:v>
                </c:pt>
                <c:pt idx="19854">
                  <c:v>41732</c:v>
                </c:pt>
                <c:pt idx="19855">
                  <c:v>41731</c:v>
                </c:pt>
                <c:pt idx="19856">
                  <c:v>41730</c:v>
                </c:pt>
                <c:pt idx="19857">
                  <c:v>41730</c:v>
                </c:pt>
                <c:pt idx="19858">
                  <c:v>41729</c:v>
                </c:pt>
                <c:pt idx="19859">
                  <c:v>41729</c:v>
                </c:pt>
                <c:pt idx="19860">
                  <c:v>41728</c:v>
                </c:pt>
                <c:pt idx="19861">
                  <c:v>41727</c:v>
                </c:pt>
                <c:pt idx="19862">
                  <c:v>41726</c:v>
                </c:pt>
                <c:pt idx="19863">
                  <c:v>41726</c:v>
                </c:pt>
                <c:pt idx="19864">
                  <c:v>41726</c:v>
                </c:pt>
                <c:pt idx="19865">
                  <c:v>41725</c:v>
                </c:pt>
                <c:pt idx="19866">
                  <c:v>41725</c:v>
                </c:pt>
                <c:pt idx="19867">
                  <c:v>41725</c:v>
                </c:pt>
                <c:pt idx="19868">
                  <c:v>41724</c:v>
                </c:pt>
                <c:pt idx="19869">
                  <c:v>41724</c:v>
                </c:pt>
                <c:pt idx="19870">
                  <c:v>41723</c:v>
                </c:pt>
                <c:pt idx="19871">
                  <c:v>41723</c:v>
                </c:pt>
                <c:pt idx="19872">
                  <c:v>41722</c:v>
                </c:pt>
                <c:pt idx="19873">
                  <c:v>41721</c:v>
                </c:pt>
                <c:pt idx="19874">
                  <c:v>41719</c:v>
                </c:pt>
                <c:pt idx="19875">
                  <c:v>41718</c:v>
                </c:pt>
                <c:pt idx="19876">
                  <c:v>41717</c:v>
                </c:pt>
                <c:pt idx="19877">
                  <c:v>41717</c:v>
                </c:pt>
                <c:pt idx="19878">
                  <c:v>41717</c:v>
                </c:pt>
                <c:pt idx="19879">
                  <c:v>41715</c:v>
                </c:pt>
                <c:pt idx="19880">
                  <c:v>41714</c:v>
                </c:pt>
                <c:pt idx="19881">
                  <c:v>41713</c:v>
                </c:pt>
                <c:pt idx="19882">
                  <c:v>41713</c:v>
                </c:pt>
                <c:pt idx="19883">
                  <c:v>41713</c:v>
                </c:pt>
                <c:pt idx="19884">
                  <c:v>41712</c:v>
                </c:pt>
                <c:pt idx="19885">
                  <c:v>41712</c:v>
                </c:pt>
                <c:pt idx="19886">
                  <c:v>41712</c:v>
                </c:pt>
                <c:pt idx="19887">
                  <c:v>41711</c:v>
                </c:pt>
                <c:pt idx="19888">
                  <c:v>41711</c:v>
                </c:pt>
                <c:pt idx="19889">
                  <c:v>41710</c:v>
                </c:pt>
                <c:pt idx="19890">
                  <c:v>41710</c:v>
                </c:pt>
                <c:pt idx="19891">
                  <c:v>41710</c:v>
                </c:pt>
                <c:pt idx="19892">
                  <c:v>41708</c:v>
                </c:pt>
                <c:pt idx="19893">
                  <c:v>41707</c:v>
                </c:pt>
                <c:pt idx="19894">
                  <c:v>41707</c:v>
                </c:pt>
                <c:pt idx="19895">
                  <c:v>41707</c:v>
                </c:pt>
                <c:pt idx="19896">
                  <c:v>41707</c:v>
                </c:pt>
                <c:pt idx="19897">
                  <c:v>41706</c:v>
                </c:pt>
                <c:pt idx="19898">
                  <c:v>41705</c:v>
                </c:pt>
                <c:pt idx="19899">
                  <c:v>41705</c:v>
                </c:pt>
                <c:pt idx="19900">
                  <c:v>41704</c:v>
                </c:pt>
                <c:pt idx="19901">
                  <c:v>41704</c:v>
                </c:pt>
                <c:pt idx="19902">
                  <c:v>41703</c:v>
                </c:pt>
                <c:pt idx="19903">
                  <c:v>41703</c:v>
                </c:pt>
                <c:pt idx="19904">
                  <c:v>41702</c:v>
                </c:pt>
                <c:pt idx="19905">
                  <c:v>41702</c:v>
                </c:pt>
                <c:pt idx="19906">
                  <c:v>41701</c:v>
                </c:pt>
                <c:pt idx="19907">
                  <c:v>41701</c:v>
                </c:pt>
                <c:pt idx="19908">
                  <c:v>41700</c:v>
                </c:pt>
                <c:pt idx="19909">
                  <c:v>41699</c:v>
                </c:pt>
                <c:pt idx="19910">
                  <c:v>41699</c:v>
                </c:pt>
                <c:pt idx="19911">
                  <c:v>41698</c:v>
                </c:pt>
                <c:pt idx="19912">
                  <c:v>41698</c:v>
                </c:pt>
                <c:pt idx="19913">
                  <c:v>41697</c:v>
                </c:pt>
                <c:pt idx="19914">
                  <c:v>41697</c:v>
                </c:pt>
                <c:pt idx="19915">
                  <c:v>41697</c:v>
                </c:pt>
                <c:pt idx="19916">
                  <c:v>41696</c:v>
                </c:pt>
                <c:pt idx="19917">
                  <c:v>41696</c:v>
                </c:pt>
                <c:pt idx="19918">
                  <c:v>41695</c:v>
                </c:pt>
                <c:pt idx="19919">
                  <c:v>41695</c:v>
                </c:pt>
                <c:pt idx="19920">
                  <c:v>41693</c:v>
                </c:pt>
                <c:pt idx="19921">
                  <c:v>41693</c:v>
                </c:pt>
                <c:pt idx="19922">
                  <c:v>41693</c:v>
                </c:pt>
                <c:pt idx="19923">
                  <c:v>41693</c:v>
                </c:pt>
                <c:pt idx="19924">
                  <c:v>41691</c:v>
                </c:pt>
                <c:pt idx="19925">
                  <c:v>41691</c:v>
                </c:pt>
                <c:pt idx="19926">
                  <c:v>41690</c:v>
                </c:pt>
                <c:pt idx="19927">
                  <c:v>41690</c:v>
                </c:pt>
                <c:pt idx="19928">
                  <c:v>41689</c:v>
                </c:pt>
                <c:pt idx="19929">
                  <c:v>41688</c:v>
                </c:pt>
                <c:pt idx="19930">
                  <c:v>41687</c:v>
                </c:pt>
                <c:pt idx="19931">
                  <c:v>41686</c:v>
                </c:pt>
                <c:pt idx="19932">
                  <c:v>41686</c:v>
                </c:pt>
                <c:pt idx="19933">
                  <c:v>41685</c:v>
                </c:pt>
                <c:pt idx="19934">
                  <c:v>41684</c:v>
                </c:pt>
                <c:pt idx="19935">
                  <c:v>41683</c:v>
                </c:pt>
                <c:pt idx="19936">
                  <c:v>41683</c:v>
                </c:pt>
                <c:pt idx="19937">
                  <c:v>41682</c:v>
                </c:pt>
                <c:pt idx="19938">
                  <c:v>41681</c:v>
                </c:pt>
                <c:pt idx="19939">
                  <c:v>41680</c:v>
                </c:pt>
                <c:pt idx="19940">
                  <c:v>41679</c:v>
                </c:pt>
                <c:pt idx="19941">
                  <c:v>41678</c:v>
                </c:pt>
                <c:pt idx="19942">
                  <c:v>41677</c:v>
                </c:pt>
                <c:pt idx="19943">
                  <c:v>41674</c:v>
                </c:pt>
                <c:pt idx="19944">
                  <c:v>41674</c:v>
                </c:pt>
                <c:pt idx="19945">
                  <c:v>41672</c:v>
                </c:pt>
                <c:pt idx="19946">
                  <c:v>41672</c:v>
                </c:pt>
                <c:pt idx="19947">
                  <c:v>41671</c:v>
                </c:pt>
                <c:pt idx="19948">
                  <c:v>41670</c:v>
                </c:pt>
                <c:pt idx="19949">
                  <c:v>41670</c:v>
                </c:pt>
                <c:pt idx="19950">
                  <c:v>41670</c:v>
                </c:pt>
                <c:pt idx="19951">
                  <c:v>41669</c:v>
                </c:pt>
                <c:pt idx="19952">
                  <c:v>41667</c:v>
                </c:pt>
                <c:pt idx="19953">
                  <c:v>41667</c:v>
                </c:pt>
                <c:pt idx="19954">
                  <c:v>41667</c:v>
                </c:pt>
                <c:pt idx="19955">
                  <c:v>41667</c:v>
                </c:pt>
                <c:pt idx="19956">
                  <c:v>41667</c:v>
                </c:pt>
                <c:pt idx="19957">
                  <c:v>41666</c:v>
                </c:pt>
                <c:pt idx="19958">
                  <c:v>41664</c:v>
                </c:pt>
                <c:pt idx="19959">
                  <c:v>41664</c:v>
                </c:pt>
                <c:pt idx="19960">
                  <c:v>41664</c:v>
                </c:pt>
                <c:pt idx="19961">
                  <c:v>41663</c:v>
                </c:pt>
                <c:pt idx="19962">
                  <c:v>41663</c:v>
                </c:pt>
                <c:pt idx="19963">
                  <c:v>41662</c:v>
                </c:pt>
                <c:pt idx="19964">
                  <c:v>41662</c:v>
                </c:pt>
                <c:pt idx="19965">
                  <c:v>41661</c:v>
                </c:pt>
                <c:pt idx="19966">
                  <c:v>41660</c:v>
                </c:pt>
                <c:pt idx="19967">
                  <c:v>41659</c:v>
                </c:pt>
                <c:pt idx="19968">
                  <c:v>41658</c:v>
                </c:pt>
                <c:pt idx="19969">
                  <c:v>41658</c:v>
                </c:pt>
                <c:pt idx="19970">
                  <c:v>41657</c:v>
                </c:pt>
                <c:pt idx="19971">
                  <c:v>41657</c:v>
                </c:pt>
                <c:pt idx="19972">
                  <c:v>41656</c:v>
                </c:pt>
                <c:pt idx="19973">
                  <c:v>41654</c:v>
                </c:pt>
                <c:pt idx="19974">
                  <c:v>41654</c:v>
                </c:pt>
                <c:pt idx="19975">
                  <c:v>41654</c:v>
                </c:pt>
                <c:pt idx="19976">
                  <c:v>41651</c:v>
                </c:pt>
                <c:pt idx="19977">
                  <c:v>41651</c:v>
                </c:pt>
                <c:pt idx="19978">
                  <c:v>41649</c:v>
                </c:pt>
                <c:pt idx="19979">
                  <c:v>41649</c:v>
                </c:pt>
                <c:pt idx="19980">
                  <c:v>41648</c:v>
                </c:pt>
                <c:pt idx="19981">
                  <c:v>41647</c:v>
                </c:pt>
                <c:pt idx="19982">
                  <c:v>41647</c:v>
                </c:pt>
                <c:pt idx="19983">
                  <c:v>41647</c:v>
                </c:pt>
                <c:pt idx="19984">
                  <c:v>41646</c:v>
                </c:pt>
                <c:pt idx="19985">
                  <c:v>41646</c:v>
                </c:pt>
                <c:pt idx="19986">
                  <c:v>41645</c:v>
                </c:pt>
                <c:pt idx="19987">
                  <c:v>41644</c:v>
                </c:pt>
                <c:pt idx="19988">
                  <c:v>41643</c:v>
                </c:pt>
                <c:pt idx="19989">
                  <c:v>41643</c:v>
                </c:pt>
                <c:pt idx="19990">
                  <c:v>41643</c:v>
                </c:pt>
                <c:pt idx="19991">
                  <c:v>41642</c:v>
                </c:pt>
                <c:pt idx="19992">
                  <c:v>41641</c:v>
                </c:pt>
                <c:pt idx="19993">
                  <c:v>41641</c:v>
                </c:pt>
                <c:pt idx="19994">
                  <c:v>41640</c:v>
                </c:pt>
                <c:pt idx="19995">
                  <c:v>41640</c:v>
                </c:pt>
                <c:pt idx="19996">
                  <c:v>41639</c:v>
                </c:pt>
                <c:pt idx="19997">
                  <c:v>41639</c:v>
                </c:pt>
                <c:pt idx="19998">
                  <c:v>41639</c:v>
                </c:pt>
                <c:pt idx="19999">
                  <c:v>41638</c:v>
                </c:pt>
                <c:pt idx="20000">
                  <c:v>41638</c:v>
                </c:pt>
                <c:pt idx="20001">
                  <c:v>41638</c:v>
                </c:pt>
                <c:pt idx="20002">
                  <c:v>41638</c:v>
                </c:pt>
                <c:pt idx="20003">
                  <c:v>41637</c:v>
                </c:pt>
                <c:pt idx="20004">
                  <c:v>41637</c:v>
                </c:pt>
                <c:pt idx="20005">
                  <c:v>41636</c:v>
                </c:pt>
                <c:pt idx="20006">
                  <c:v>41636</c:v>
                </c:pt>
                <c:pt idx="20007">
                  <c:v>41636</c:v>
                </c:pt>
                <c:pt idx="20008">
                  <c:v>41636</c:v>
                </c:pt>
                <c:pt idx="20009">
                  <c:v>41636</c:v>
                </c:pt>
                <c:pt idx="20010">
                  <c:v>41635</c:v>
                </c:pt>
                <c:pt idx="20011">
                  <c:v>41634</c:v>
                </c:pt>
                <c:pt idx="20012">
                  <c:v>41633</c:v>
                </c:pt>
                <c:pt idx="20013">
                  <c:v>41633</c:v>
                </c:pt>
                <c:pt idx="20014">
                  <c:v>41632</c:v>
                </c:pt>
                <c:pt idx="20015">
                  <c:v>41632</c:v>
                </c:pt>
                <c:pt idx="20016">
                  <c:v>41632</c:v>
                </c:pt>
                <c:pt idx="20017">
                  <c:v>41631</c:v>
                </c:pt>
                <c:pt idx="20018">
                  <c:v>41631</c:v>
                </c:pt>
                <c:pt idx="20019">
                  <c:v>41630</c:v>
                </c:pt>
                <c:pt idx="20020">
                  <c:v>41630</c:v>
                </c:pt>
                <c:pt idx="20021">
                  <c:v>41630</c:v>
                </c:pt>
                <c:pt idx="20022">
                  <c:v>41629</c:v>
                </c:pt>
                <c:pt idx="20023">
                  <c:v>41628</c:v>
                </c:pt>
                <c:pt idx="20024">
                  <c:v>41627</c:v>
                </c:pt>
                <c:pt idx="20025">
                  <c:v>41627</c:v>
                </c:pt>
                <c:pt idx="20026">
                  <c:v>41627</c:v>
                </c:pt>
                <c:pt idx="20027">
                  <c:v>41627</c:v>
                </c:pt>
                <c:pt idx="20028">
                  <c:v>41626</c:v>
                </c:pt>
                <c:pt idx="20029">
                  <c:v>41625</c:v>
                </c:pt>
                <c:pt idx="20030">
                  <c:v>41625</c:v>
                </c:pt>
                <c:pt idx="20031">
                  <c:v>41625</c:v>
                </c:pt>
                <c:pt idx="20032">
                  <c:v>41624</c:v>
                </c:pt>
                <c:pt idx="20033">
                  <c:v>41623</c:v>
                </c:pt>
                <c:pt idx="20034">
                  <c:v>41622</c:v>
                </c:pt>
                <c:pt idx="20035">
                  <c:v>41622</c:v>
                </c:pt>
                <c:pt idx="20036">
                  <c:v>41621</c:v>
                </c:pt>
                <c:pt idx="20037">
                  <c:v>41621</c:v>
                </c:pt>
                <c:pt idx="20038">
                  <c:v>41621</c:v>
                </c:pt>
                <c:pt idx="20039">
                  <c:v>41620</c:v>
                </c:pt>
                <c:pt idx="20040">
                  <c:v>41620</c:v>
                </c:pt>
                <c:pt idx="20041">
                  <c:v>41620</c:v>
                </c:pt>
                <c:pt idx="20042">
                  <c:v>41619</c:v>
                </c:pt>
                <c:pt idx="20043">
                  <c:v>41617</c:v>
                </c:pt>
                <c:pt idx="20044">
                  <c:v>41617</c:v>
                </c:pt>
                <c:pt idx="20045">
                  <c:v>41616</c:v>
                </c:pt>
                <c:pt idx="20046">
                  <c:v>41616</c:v>
                </c:pt>
                <c:pt idx="20047">
                  <c:v>41615</c:v>
                </c:pt>
                <c:pt idx="20048">
                  <c:v>41615</c:v>
                </c:pt>
                <c:pt idx="20049">
                  <c:v>41614</c:v>
                </c:pt>
                <c:pt idx="20050">
                  <c:v>41614</c:v>
                </c:pt>
                <c:pt idx="20051">
                  <c:v>41613</c:v>
                </c:pt>
                <c:pt idx="20052">
                  <c:v>41613</c:v>
                </c:pt>
                <c:pt idx="20053">
                  <c:v>41613</c:v>
                </c:pt>
                <c:pt idx="20054">
                  <c:v>41613</c:v>
                </c:pt>
                <c:pt idx="20055">
                  <c:v>41613</c:v>
                </c:pt>
                <c:pt idx="20056">
                  <c:v>41612</c:v>
                </c:pt>
                <c:pt idx="20057">
                  <c:v>41612</c:v>
                </c:pt>
                <c:pt idx="20058">
                  <c:v>41612</c:v>
                </c:pt>
                <c:pt idx="20059">
                  <c:v>41611</c:v>
                </c:pt>
                <c:pt idx="20060">
                  <c:v>41610</c:v>
                </c:pt>
                <c:pt idx="20061">
                  <c:v>41609</c:v>
                </c:pt>
                <c:pt idx="20062">
                  <c:v>41607</c:v>
                </c:pt>
                <c:pt idx="20063">
                  <c:v>41607</c:v>
                </c:pt>
                <c:pt idx="20064">
                  <c:v>41607</c:v>
                </c:pt>
                <c:pt idx="20065">
                  <c:v>41607</c:v>
                </c:pt>
                <c:pt idx="20066">
                  <c:v>41607</c:v>
                </c:pt>
                <c:pt idx="20067">
                  <c:v>41606</c:v>
                </c:pt>
                <c:pt idx="20068">
                  <c:v>41603</c:v>
                </c:pt>
                <c:pt idx="20069">
                  <c:v>41603</c:v>
                </c:pt>
                <c:pt idx="20070">
                  <c:v>41601</c:v>
                </c:pt>
                <c:pt idx="20071">
                  <c:v>41600</c:v>
                </c:pt>
                <c:pt idx="20072">
                  <c:v>41599</c:v>
                </c:pt>
                <c:pt idx="20073">
                  <c:v>41598</c:v>
                </c:pt>
                <c:pt idx="20074">
                  <c:v>41598</c:v>
                </c:pt>
                <c:pt idx="20075">
                  <c:v>41598</c:v>
                </c:pt>
                <c:pt idx="20076">
                  <c:v>41598</c:v>
                </c:pt>
                <c:pt idx="20077">
                  <c:v>41597</c:v>
                </c:pt>
                <c:pt idx="20078">
                  <c:v>41596</c:v>
                </c:pt>
                <c:pt idx="20079">
                  <c:v>41596</c:v>
                </c:pt>
                <c:pt idx="20080">
                  <c:v>41596</c:v>
                </c:pt>
                <c:pt idx="20081">
                  <c:v>41595</c:v>
                </c:pt>
                <c:pt idx="20082">
                  <c:v>41595</c:v>
                </c:pt>
                <c:pt idx="20083">
                  <c:v>41594</c:v>
                </c:pt>
                <c:pt idx="20084">
                  <c:v>41593</c:v>
                </c:pt>
                <c:pt idx="20085">
                  <c:v>41593</c:v>
                </c:pt>
                <c:pt idx="20086">
                  <c:v>41592</c:v>
                </c:pt>
                <c:pt idx="20087">
                  <c:v>41591</c:v>
                </c:pt>
                <c:pt idx="20088">
                  <c:v>41590</c:v>
                </c:pt>
                <c:pt idx="20089">
                  <c:v>41590</c:v>
                </c:pt>
                <c:pt idx="20090">
                  <c:v>41588</c:v>
                </c:pt>
                <c:pt idx="20091">
                  <c:v>41588</c:v>
                </c:pt>
                <c:pt idx="20092">
                  <c:v>41588</c:v>
                </c:pt>
                <c:pt idx="20093">
                  <c:v>41587</c:v>
                </c:pt>
                <c:pt idx="20094">
                  <c:v>41586</c:v>
                </c:pt>
                <c:pt idx="20095">
                  <c:v>41585</c:v>
                </c:pt>
                <c:pt idx="20096">
                  <c:v>41584</c:v>
                </c:pt>
                <c:pt idx="20097">
                  <c:v>41583</c:v>
                </c:pt>
                <c:pt idx="20098">
                  <c:v>41583</c:v>
                </c:pt>
                <c:pt idx="20099">
                  <c:v>41583</c:v>
                </c:pt>
                <c:pt idx="20100">
                  <c:v>41583</c:v>
                </c:pt>
                <c:pt idx="20101">
                  <c:v>41580</c:v>
                </c:pt>
                <c:pt idx="20102">
                  <c:v>41580</c:v>
                </c:pt>
                <c:pt idx="20103">
                  <c:v>41578</c:v>
                </c:pt>
                <c:pt idx="20104">
                  <c:v>41578</c:v>
                </c:pt>
                <c:pt idx="20105">
                  <c:v>41578</c:v>
                </c:pt>
                <c:pt idx="20106">
                  <c:v>41577</c:v>
                </c:pt>
                <c:pt idx="20107">
                  <c:v>41576</c:v>
                </c:pt>
                <c:pt idx="20108">
                  <c:v>41574</c:v>
                </c:pt>
                <c:pt idx="20109">
                  <c:v>41574</c:v>
                </c:pt>
                <c:pt idx="20110">
                  <c:v>41574</c:v>
                </c:pt>
                <c:pt idx="20111">
                  <c:v>41574</c:v>
                </c:pt>
                <c:pt idx="20112">
                  <c:v>41574</c:v>
                </c:pt>
                <c:pt idx="20113">
                  <c:v>41573</c:v>
                </c:pt>
                <c:pt idx="20114">
                  <c:v>41573</c:v>
                </c:pt>
                <c:pt idx="20115">
                  <c:v>41573</c:v>
                </c:pt>
                <c:pt idx="20116">
                  <c:v>41572</c:v>
                </c:pt>
                <c:pt idx="20117">
                  <c:v>41572</c:v>
                </c:pt>
                <c:pt idx="20118">
                  <c:v>41571</c:v>
                </c:pt>
                <c:pt idx="20119">
                  <c:v>41570</c:v>
                </c:pt>
                <c:pt idx="20120">
                  <c:v>41570</c:v>
                </c:pt>
                <c:pt idx="20121">
                  <c:v>41569</c:v>
                </c:pt>
                <c:pt idx="20122">
                  <c:v>41568</c:v>
                </c:pt>
                <c:pt idx="20123">
                  <c:v>41568</c:v>
                </c:pt>
                <c:pt idx="20124">
                  <c:v>41567</c:v>
                </c:pt>
                <c:pt idx="20125">
                  <c:v>41567</c:v>
                </c:pt>
                <c:pt idx="20126">
                  <c:v>41565</c:v>
                </c:pt>
                <c:pt idx="20127">
                  <c:v>41565</c:v>
                </c:pt>
                <c:pt idx="20128">
                  <c:v>41565</c:v>
                </c:pt>
                <c:pt idx="20129">
                  <c:v>41564</c:v>
                </c:pt>
                <c:pt idx="20130">
                  <c:v>41564</c:v>
                </c:pt>
                <c:pt idx="20131">
                  <c:v>41563</c:v>
                </c:pt>
                <c:pt idx="20132">
                  <c:v>41563</c:v>
                </c:pt>
                <c:pt idx="20133">
                  <c:v>41562</c:v>
                </c:pt>
                <c:pt idx="20134">
                  <c:v>41561</c:v>
                </c:pt>
                <c:pt idx="20135">
                  <c:v>41560</c:v>
                </c:pt>
                <c:pt idx="20136">
                  <c:v>41560</c:v>
                </c:pt>
                <c:pt idx="20137">
                  <c:v>41559</c:v>
                </c:pt>
                <c:pt idx="20138">
                  <c:v>41559</c:v>
                </c:pt>
                <c:pt idx="20139">
                  <c:v>41557</c:v>
                </c:pt>
                <c:pt idx="20140">
                  <c:v>41557</c:v>
                </c:pt>
                <c:pt idx="20141">
                  <c:v>41556</c:v>
                </c:pt>
                <c:pt idx="20142">
                  <c:v>41556</c:v>
                </c:pt>
                <c:pt idx="20143">
                  <c:v>41555</c:v>
                </c:pt>
                <c:pt idx="20144">
                  <c:v>41555</c:v>
                </c:pt>
                <c:pt idx="20145">
                  <c:v>41554</c:v>
                </c:pt>
                <c:pt idx="20146">
                  <c:v>41554</c:v>
                </c:pt>
                <c:pt idx="20147">
                  <c:v>41553</c:v>
                </c:pt>
                <c:pt idx="20148">
                  <c:v>41553</c:v>
                </c:pt>
                <c:pt idx="20149">
                  <c:v>41552</c:v>
                </c:pt>
                <c:pt idx="20150">
                  <c:v>41551</c:v>
                </c:pt>
                <c:pt idx="20151">
                  <c:v>41551</c:v>
                </c:pt>
                <c:pt idx="20152">
                  <c:v>41551</c:v>
                </c:pt>
                <c:pt idx="20153">
                  <c:v>41551</c:v>
                </c:pt>
                <c:pt idx="20154">
                  <c:v>41551</c:v>
                </c:pt>
                <c:pt idx="20155">
                  <c:v>41550</c:v>
                </c:pt>
                <c:pt idx="20156">
                  <c:v>41549</c:v>
                </c:pt>
                <c:pt idx="20157">
                  <c:v>41547</c:v>
                </c:pt>
                <c:pt idx="20158">
                  <c:v>41547</c:v>
                </c:pt>
                <c:pt idx="20159">
                  <c:v>41546</c:v>
                </c:pt>
                <c:pt idx="20160">
                  <c:v>41546</c:v>
                </c:pt>
                <c:pt idx="20161">
                  <c:v>41545</c:v>
                </c:pt>
                <c:pt idx="20162">
                  <c:v>41545</c:v>
                </c:pt>
                <c:pt idx="20163">
                  <c:v>41544</c:v>
                </c:pt>
                <c:pt idx="20164">
                  <c:v>41544</c:v>
                </c:pt>
                <c:pt idx="20165">
                  <c:v>41543</c:v>
                </c:pt>
                <c:pt idx="20166">
                  <c:v>41542</c:v>
                </c:pt>
                <c:pt idx="20167">
                  <c:v>41541</c:v>
                </c:pt>
                <c:pt idx="20168">
                  <c:v>41540</c:v>
                </c:pt>
                <c:pt idx="20169">
                  <c:v>41538</c:v>
                </c:pt>
                <c:pt idx="20170">
                  <c:v>41535</c:v>
                </c:pt>
                <c:pt idx="20171">
                  <c:v>41534</c:v>
                </c:pt>
                <c:pt idx="20172">
                  <c:v>41534</c:v>
                </c:pt>
                <c:pt idx="20173">
                  <c:v>41534</c:v>
                </c:pt>
                <c:pt idx="20174">
                  <c:v>41533</c:v>
                </c:pt>
                <c:pt idx="20175">
                  <c:v>41533</c:v>
                </c:pt>
                <c:pt idx="20176">
                  <c:v>41533</c:v>
                </c:pt>
                <c:pt idx="20177">
                  <c:v>41532</c:v>
                </c:pt>
                <c:pt idx="20178">
                  <c:v>41531</c:v>
                </c:pt>
                <c:pt idx="20179">
                  <c:v>41530</c:v>
                </c:pt>
                <c:pt idx="20180">
                  <c:v>41529</c:v>
                </c:pt>
                <c:pt idx="20181">
                  <c:v>41529</c:v>
                </c:pt>
                <c:pt idx="20182">
                  <c:v>41529</c:v>
                </c:pt>
                <c:pt idx="20183">
                  <c:v>41529</c:v>
                </c:pt>
                <c:pt idx="20184">
                  <c:v>41527</c:v>
                </c:pt>
                <c:pt idx="20185">
                  <c:v>41527</c:v>
                </c:pt>
                <c:pt idx="20186">
                  <c:v>41527</c:v>
                </c:pt>
                <c:pt idx="20187">
                  <c:v>41525</c:v>
                </c:pt>
                <c:pt idx="20188">
                  <c:v>41525</c:v>
                </c:pt>
                <c:pt idx="20189">
                  <c:v>41524</c:v>
                </c:pt>
                <c:pt idx="20190">
                  <c:v>41523</c:v>
                </c:pt>
                <c:pt idx="20191">
                  <c:v>41523</c:v>
                </c:pt>
                <c:pt idx="20192">
                  <c:v>41523</c:v>
                </c:pt>
                <c:pt idx="20193">
                  <c:v>41521</c:v>
                </c:pt>
                <c:pt idx="20194">
                  <c:v>41521</c:v>
                </c:pt>
                <c:pt idx="20195">
                  <c:v>41520</c:v>
                </c:pt>
                <c:pt idx="20196">
                  <c:v>41520</c:v>
                </c:pt>
                <c:pt idx="20197">
                  <c:v>41519</c:v>
                </c:pt>
                <c:pt idx="20198">
                  <c:v>41519</c:v>
                </c:pt>
                <c:pt idx="20199">
                  <c:v>41519</c:v>
                </c:pt>
                <c:pt idx="20200">
                  <c:v>41518</c:v>
                </c:pt>
                <c:pt idx="20201">
                  <c:v>41517</c:v>
                </c:pt>
                <c:pt idx="20202">
                  <c:v>41516</c:v>
                </c:pt>
                <c:pt idx="20203">
                  <c:v>41516</c:v>
                </c:pt>
                <c:pt idx="20204">
                  <c:v>41512</c:v>
                </c:pt>
                <c:pt idx="20205">
                  <c:v>41511</c:v>
                </c:pt>
                <c:pt idx="20206">
                  <c:v>41510</c:v>
                </c:pt>
                <c:pt idx="20207">
                  <c:v>41508</c:v>
                </c:pt>
                <c:pt idx="20208">
                  <c:v>41508</c:v>
                </c:pt>
                <c:pt idx="20209">
                  <c:v>41507</c:v>
                </c:pt>
                <c:pt idx="20210">
                  <c:v>41507</c:v>
                </c:pt>
                <c:pt idx="20211">
                  <c:v>41505</c:v>
                </c:pt>
                <c:pt idx="20212">
                  <c:v>41505</c:v>
                </c:pt>
                <c:pt idx="20213">
                  <c:v>41505</c:v>
                </c:pt>
                <c:pt idx="20214">
                  <c:v>41504</c:v>
                </c:pt>
                <c:pt idx="20215">
                  <c:v>41504</c:v>
                </c:pt>
                <c:pt idx="20216">
                  <c:v>41503</c:v>
                </c:pt>
                <c:pt idx="20217">
                  <c:v>41501</c:v>
                </c:pt>
                <c:pt idx="20218">
                  <c:v>41500</c:v>
                </c:pt>
                <c:pt idx="20219">
                  <c:v>41500</c:v>
                </c:pt>
                <c:pt idx="20220">
                  <c:v>41499</c:v>
                </c:pt>
                <c:pt idx="20221">
                  <c:v>41499</c:v>
                </c:pt>
                <c:pt idx="20222">
                  <c:v>41499</c:v>
                </c:pt>
                <c:pt idx="20223">
                  <c:v>41498</c:v>
                </c:pt>
                <c:pt idx="20224">
                  <c:v>41498</c:v>
                </c:pt>
                <c:pt idx="20225">
                  <c:v>41497</c:v>
                </c:pt>
                <c:pt idx="20226">
                  <c:v>41496</c:v>
                </c:pt>
                <c:pt idx="20227">
                  <c:v>41496</c:v>
                </c:pt>
                <c:pt idx="20228">
                  <c:v>41496</c:v>
                </c:pt>
                <c:pt idx="20229">
                  <c:v>41495</c:v>
                </c:pt>
                <c:pt idx="20230">
                  <c:v>41495</c:v>
                </c:pt>
                <c:pt idx="20231">
                  <c:v>41495</c:v>
                </c:pt>
                <c:pt idx="20232">
                  <c:v>41494</c:v>
                </c:pt>
                <c:pt idx="20233">
                  <c:v>41492</c:v>
                </c:pt>
                <c:pt idx="20234">
                  <c:v>41492</c:v>
                </c:pt>
                <c:pt idx="20235">
                  <c:v>41492</c:v>
                </c:pt>
                <c:pt idx="20236">
                  <c:v>41490</c:v>
                </c:pt>
                <c:pt idx="20237">
                  <c:v>41490</c:v>
                </c:pt>
                <c:pt idx="20238">
                  <c:v>41489</c:v>
                </c:pt>
                <c:pt idx="20239">
                  <c:v>41489</c:v>
                </c:pt>
                <c:pt idx="20240">
                  <c:v>41488</c:v>
                </c:pt>
                <c:pt idx="20241">
                  <c:v>41488</c:v>
                </c:pt>
                <c:pt idx="20242">
                  <c:v>41487</c:v>
                </c:pt>
                <c:pt idx="20243">
                  <c:v>41487</c:v>
                </c:pt>
                <c:pt idx="20244">
                  <c:v>41487</c:v>
                </c:pt>
                <c:pt idx="20245">
                  <c:v>41486</c:v>
                </c:pt>
                <c:pt idx="20246">
                  <c:v>41486</c:v>
                </c:pt>
                <c:pt idx="20247">
                  <c:v>41486</c:v>
                </c:pt>
                <c:pt idx="20248">
                  <c:v>41486</c:v>
                </c:pt>
                <c:pt idx="20249">
                  <c:v>41486</c:v>
                </c:pt>
                <c:pt idx="20250">
                  <c:v>41485</c:v>
                </c:pt>
                <c:pt idx="20251">
                  <c:v>41484</c:v>
                </c:pt>
                <c:pt idx="20252">
                  <c:v>41483</c:v>
                </c:pt>
                <c:pt idx="20253">
                  <c:v>41483</c:v>
                </c:pt>
                <c:pt idx="20254">
                  <c:v>41482</c:v>
                </c:pt>
                <c:pt idx="20255">
                  <c:v>41482</c:v>
                </c:pt>
                <c:pt idx="20256">
                  <c:v>41481</c:v>
                </c:pt>
                <c:pt idx="20257">
                  <c:v>41480</c:v>
                </c:pt>
                <c:pt idx="20258">
                  <c:v>41479</c:v>
                </c:pt>
                <c:pt idx="20259">
                  <c:v>41479</c:v>
                </c:pt>
                <c:pt idx="20260">
                  <c:v>41478</c:v>
                </c:pt>
                <c:pt idx="20261">
                  <c:v>41477</c:v>
                </c:pt>
                <c:pt idx="20262">
                  <c:v>41477</c:v>
                </c:pt>
                <c:pt idx="20263">
                  <c:v>41476</c:v>
                </c:pt>
                <c:pt idx="20264">
                  <c:v>41475</c:v>
                </c:pt>
                <c:pt idx="20265">
                  <c:v>41474</c:v>
                </c:pt>
                <c:pt idx="20266">
                  <c:v>41474</c:v>
                </c:pt>
                <c:pt idx="20267">
                  <c:v>41473</c:v>
                </c:pt>
                <c:pt idx="20268">
                  <c:v>41473</c:v>
                </c:pt>
                <c:pt idx="20269">
                  <c:v>41471</c:v>
                </c:pt>
                <c:pt idx="20270">
                  <c:v>41470</c:v>
                </c:pt>
                <c:pt idx="20271">
                  <c:v>41469</c:v>
                </c:pt>
                <c:pt idx="20272">
                  <c:v>41469</c:v>
                </c:pt>
                <c:pt idx="20273">
                  <c:v>41469</c:v>
                </c:pt>
                <c:pt idx="20274">
                  <c:v>41468</c:v>
                </c:pt>
                <c:pt idx="20275">
                  <c:v>41467</c:v>
                </c:pt>
                <c:pt idx="20276">
                  <c:v>41466</c:v>
                </c:pt>
                <c:pt idx="20277">
                  <c:v>41466</c:v>
                </c:pt>
                <c:pt idx="20278">
                  <c:v>41465</c:v>
                </c:pt>
                <c:pt idx="20279">
                  <c:v>41465</c:v>
                </c:pt>
                <c:pt idx="20280">
                  <c:v>41464</c:v>
                </c:pt>
                <c:pt idx="20281">
                  <c:v>41462</c:v>
                </c:pt>
                <c:pt idx="20282">
                  <c:v>41462</c:v>
                </c:pt>
                <c:pt idx="20283">
                  <c:v>41461</c:v>
                </c:pt>
                <c:pt idx="20284">
                  <c:v>41459</c:v>
                </c:pt>
                <c:pt idx="20285">
                  <c:v>41458</c:v>
                </c:pt>
                <c:pt idx="20286">
                  <c:v>41456</c:v>
                </c:pt>
                <c:pt idx="20287">
                  <c:v>41455</c:v>
                </c:pt>
                <c:pt idx="20288">
                  <c:v>41455</c:v>
                </c:pt>
                <c:pt idx="20289">
                  <c:v>41454</c:v>
                </c:pt>
                <c:pt idx="20290">
                  <c:v>41452</c:v>
                </c:pt>
                <c:pt idx="20291">
                  <c:v>41451</c:v>
                </c:pt>
                <c:pt idx="20292">
                  <c:v>41448</c:v>
                </c:pt>
                <c:pt idx="20293">
                  <c:v>41448</c:v>
                </c:pt>
                <c:pt idx="20294">
                  <c:v>41448</c:v>
                </c:pt>
                <c:pt idx="20295">
                  <c:v>41447</c:v>
                </c:pt>
                <c:pt idx="20296">
                  <c:v>41447</c:v>
                </c:pt>
                <c:pt idx="20297">
                  <c:v>41446</c:v>
                </c:pt>
                <c:pt idx="20298">
                  <c:v>41445</c:v>
                </c:pt>
                <c:pt idx="20299">
                  <c:v>41445</c:v>
                </c:pt>
                <c:pt idx="20300">
                  <c:v>41445</c:v>
                </c:pt>
                <c:pt idx="20301">
                  <c:v>41444</c:v>
                </c:pt>
                <c:pt idx="20302">
                  <c:v>41444</c:v>
                </c:pt>
                <c:pt idx="20303">
                  <c:v>41442</c:v>
                </c:pt>
                <c:pt idx="20304">
                  <c:v>41438</c:v>
                </c:pt>
                <c:pt idx="20305">
                  <c:v>41437</c:v>
                </c:pt>
                <c:pt idx="20306">
                  <c:v>41437</c:v>
                </c:pt>
                <c:pt idx="20307">
                  <c:v>41437</c:v>
                </c:pt>
                <c:pt idx="20308">
                  <c:v>41436</c:v>
                </c:pt>
                <c:pt idx="20309">
                  <c:v>41433</c:v>
                </c:pt>
                <c:pt idx="20310">
                  <c:v>41433</c:v>
                </c:pt>
                <c:pt idx="20311">
                  <c:v>41433</c:v>
                </c:pt>
                <c:pt idx="20312">
                  <c:v>41433</c:v>
                </c:pt>
                <c:pt idx="20313">
                  <c:v>41430</c:v>
                </c:pt>
                <c:pt idx="20314">
                  <c:v>41430</c:v>
                </c:pt>
                <c:pt idx="20315">
                  <c:v>41428</c:v>
                </c:pt>
                <c:pt idx="20316">
                  <c:v>41428</c:v>
                </c:pt>
                <c:pt idx="20317">
                  <c:v>41426</c:v>
                </c:pt>
                <c:pt idx="20318">
                  <c:v>41426</c:v>
                </c:pt>
                <c:pt idx="20319">
                  <c:v>41425</c:v>
                </c:pt>
                <c:pt idx="20320">
                  <c:v>41422</c:v>
                </c:pt>
                <c:pt idx="20321">
                  <c:v>41420</c:v>
                </c:pt>
                <c:pt idx="20322">
                  <c:v>41419</c:v>
                </c:pt>
                <c:pt idx="20323">
                  <c:v>41419</c:v>
                </c:pt>
                <c:pt idx="20324">
                  <c:v>41418</c:v>
                </c:pt>
                <c:pt idx="20325">
                  <c:v>41418</c:v>
                </c:pt>
                <c:pt idx="20326">
                  <c:v>41418</c:v>
                </c:pt>
                <c:pt idx="20327">
                  <c:v>41418</c:v>
                </c:pt>
                <c:pt idx="20328">
                  <c:v>41417</c:v>
                </c:pt>
                <c:pt idx="20329">
                  <c:v>41417</c:v>
                </c:pt>
                <c:pt idx="20330">
                  <c:v>41416</c:v>
                </c:pt>
                <c:pt idx="20331">
                  <c:v>41416</c:v>
                </c:pt>
                <c:pt idx="20332">
                  <c:v>41415</c:v>
                </c:pt>
                <c:pt idx="20333">
                  <c:v>41415</c:v>
                </c:pt>
                <c:pt idx="20334">
                  <c:v>41414</c:v>
                </c:pt>
                <c:pt idx="20335">
                  <c:v>41413</c:v>
                </c:pt>
                <c:pt idx="20336">
                  <c:v>41412</c:v>
                </c:pt>
                <c:pt idx="20337">
                  <c:v>41411</c:v>
                </c:pt>
                <c:pt idx="20338">
                  <c:v>41411</c:v>
                </c:pt>
                <c:pt idx="20339">
                  <c:v>41410</c:v>
                </c:pt>
                <c:pt idx="20340">
                  <c:v>41409</c:v>
                </c:pt>
                <c:pt idx="20341">
                  <c:v>41409</c:v>
                </c:pt>
                <c:pt idx="20342">
                  <c:v>41408</c:v>
                </c:pt>
                <c:pt idx="20343">
                  <c:v>41408</c:v>
                </c:pt>
                <c:pt idx="20344">
                  <c:v>41407</c:v>
                </c:pt>
                <c:pt idx="20345">
                  <c:v>41407</c:v>
                </c:pt>
                <c:pt idx="20346">
                  <c:v>41407</c:v>
                </c:pt>
                <c:pt idx="20347">
                  <c:v>41406</c:v>
                </c:pt>
                <c:pt idx="20348">
                  <c:v>41405</c:v>
                </c:pt>
                <c:pt idx="20349">
                  <c:v>41405</c:v>
                </c:pt>
                <c:pt idx="20350">
                  <c:v>41405</c:v>
                </c:pt>
                <c:pt idx="20351">
                  <c:v>41404</c:v>
                </c:pt>
                <c:pt idx="20352">
                  <c:v>41404</c:v>
                </c:pt>
                <c:pt idx="20353">
                  <c:v>41403</c:v>
                </c:pt>
                <c:pt idx="20354">
                  <c:v>41401</c:v>
                </c:pt>
                <c:pt idx="20355">
                  <c:v>41401</c:v>
                </c:pt>
                <c:pt idx="20356">
                  <c:v>41401</c:v>
                </c:pt>
                <c:pt idx="20357">
                  <c:v>41401</c:v>
                </c:pt>
                <c:pt idx="20358">
                  <c:v>41401</c:v>
                </c:pt>
                <c:pt idx="20359">
                  <c:v>41401</c:v>
                </c:pt>
                <c:pt idx="20360">
                  <c:v>41399</c:v>
                </c:pt>
                <c:pt idx="20361">
                  <c:v>41398</c:v>
                </c:pt>
                <c:pt idx="20362">
                  <c:v>41397</c:v>
                </c:pt>
                <c:pt idx="20363">
                  <c:v>41397</c:v>
                </c:pt>
                <c:pt idx="20364">
                  <c:v>41397</c:v>
                </c:pt>
                <c:pt idx="20365">
                  <c:v>41397</c:v>
                </c:pt>
                <c:pt idx="20366">
                  <c:v>41396</c:v>
                </c:pt>
                <c:pt idx="20367">
                  <c:v>41396</c:v>
                </c:pt>
                <c:pt idx="20368">
                  <c:v>41394</c:v>
                </c:pt>
                <c:pt idx="20369">
                  <c:v>41394</c:v>
                </c:pt>
                <c:pt idx="20370">
                  <c:v>41394</c:v>
                </c:pt>
                <c:pt idx="20371">
                  <c:v>41393</c:v>
                </c:pt>
                <c:pt idx="20372">
                  <c:v>41393</c:v>
                </c:pt>
                <c:pt idx="20373">
                  <c:v>41392</c:v>
                </c:pt>
                <c:pt idx="20374">
                  <c:v>41391</c:v>
                </c:pt>
                <c:pt idx="20375">
                  <c:v>41391</c:v>
                </c:pt>
                <c:pt idx="20376">
                  <c:v>41391</c:v>
                </c:pt>
                <c:pt idx="20377">
                  <c:v>41390</c:v>
                </c:pt>
                <c:pt idx="20378">
                  <c:v>41390</c:v>
                </c:pt>
                <c:pt idx="20379">
                  <c:v>41389</c:v>
                </c:pt>
                <c:pt idx="20380">
                  <c:v>41388</c:v>
                </c:pt>
                <c:pt idx="20381">
                  <c:v>41388</c:v>
                </c:pt>
                <c:pt idx="20382">
                  <c:v>41388</c:v>
                </c:pt>
                <c:pt idx="20383">
                  <c:v>41388</c:v>
                </c:pt>
                <c:pt idx="20384">
                  <c:v>41387</c:v>
                </c:pt>
                <c:pt idx="20385">
                  <c:v>41386</c:v>
                </c:pt>
                <c:pt idx="20386">
                  <c:v>41384</c:v>
                </c:pt>
                <c:pt idx="20387">
                  <c:v>41383</c:v>
                </c:pt>
                <c:pt idx="20388">
                  <c:v>41382</c:v>
                </c:pt>
                <c:pt idx="20389">
                  <c:v>41381</c:v>
                </c:pt>
                <c:pt idx="20390">
                  <c:v>41381</c:v>
                </c:pt>
                <c:pt idx="20391">
                  <c:v>41379</c:v>
                </c:pt>
                <c:pt idx="20392">
                  <c:v>41378</c:v>
                </c:pt>
                <c:pt idx="20393">
                  <c:v>41377</c:v>
                </c:pt>
                <c:pt idx="20394">
                  <c:v>41376</c:v>
                </c:pt>
                <c:pt idx="20395">
                  <c:v>41376</c:v>
                </c:pt>
                <c:pt idx="20396">
                  <c:v>41376</c:v>
                </c:pt>
                <c:pt idx="20397">
                  <c:v>41373</c:v>
                </c:pt>
                <c:pt idx="20398">
                  <c:v>41373</c:v>
                </c:pt>
                <c:pt idx="20399">
                  <c:v>41372</c:v>
                </c:pt>
                <c:pt idx="20400">
                  <c:v>41372</c:v>
                </c:pt>
                <c:pt idx="20401">
                  <c:v>41371</c:v>
                </c:pt>
                <c:pt idx="20402">
                  <c:v>41370</c:v>
                </c:pt>
                <c:pt idx="20403">
                  <c:v>41370</c:v>
                </c:pt>
                <c:pt idx="20404">
                  <c:v>41369</c:v>
                </c:pt>
                <c:pt idx="20405">
                  <c:v>41369</c:v>
                </c:pt>
                <c:pt idx="20406">
                  <c:v>41368</c:v>
                </c:pt>
                <c:pt idx="20407">
                  <c:v>41367</c:v>
                </c:pt>
                <c:pt idx="20408">
                  <c:v>41364</c:v>
                </c:pt>
                <c:pt idx="20409">
                  <c:v>41364</c:v>
                </c:pt>
                <c:pt idx="20410">
                  <c:v>41364</c:v>
                </c:pt>
                <c:pt idx="20411">
                  <c:v>41363</c:v>
                </c:pt>
                <c:pt idx="20412">
                  <c:v>41362</c:v>
                </c:pt>
                <c:pt idx="20413">
                  <c:v>41362</c:v>
                </c:pt>
                <c:pt idx="20414">
                  <c:v>41362</c:v>
                </c:pt>
                <c:pt idx="20415">
                  <c:v>41361</c:v>
                </c:pt>
                <c:pt idx="20416">
                  <c:v>41357</c:v>
                </c:pt>
                <c:pt idx="20417">
                  <c:v>41357</c:v>
                </c:pt>
                <c:pt idx="20418">
                  <c:v>41357</c:v>
                </c:pt>
                <c:pt idx="20419">
                  <c:v>41356</c:v>
                </c:pt>
                <c:pt idx="20420">
                  <c:v>41356</c:v>
                </c:pt>
                <c:pt idx="20421">
                  <c:v>41356</c:v>
                </c:pt>
                <c:pt idx="20422">
                  <c:v>41356</c:v>
                </c:pt>
                <c:pt idx="20423">
                  <c:v>41355</c:v>
                </c:pt>
                <c:pt idx="20424">
                  <c:v>41355</c:v>
                </c:pt>
                <c:pt idx="20425">
                  <c:v>41355</c:v>
                </c:pt>
                <c:pt idx="20426">
                  <c:v>41354</c:v>
                </c:pt>
                <c:pt idx="20427">
                  <c:v>41353</c:v>
                </c:pt>
                <c:pt idx="20428">
                  <c:v>41353</c:v>
                </c:pt>
                <c:pt idx="20429">
                  <c:v>41352</c:v>
                </c:pt>
                <c:pt idx="20430">
                  <c:v>41352</c:v>
                </c:pt>
                <c:pt idx="20431">
                  <c:v>41352</c:v>
                </c:pt>
                <c:pt idx="20432">
                  <c:v>41351</c:v>
                </c:pt>
                <c:pt idx="20433">
                  <c:v>41350</c:v>
                </c:pt>
                <c:pt idx="20434">
                  <c:v>41349</c:v>
                </c:pt>
                <c:pt idx="20435">
                  <c:v>41349</c:v>
                </c:pt>
                <c:pt idx="20436">
                  <c:v>41348</c:v>
                </c:pt>
                <c:pt idx="20437">
                  <c:v>41347</c:v>
                </c:pt>
                <c:pt idx="20438">
                  <c:v>41347</c:v>
                </c:pt>
                <c:pt idx="20439">
                  <c:v>41346</c:v>
                </c:pt>
                <c:pt idx="20440">
                  <c:v>41345</c:v>
                </c:pt>
                <c:pt idx="20441">
                  <c:v>41344</c:v>
                </c:pt>
                <c:pt idx="20442">
                  <c:v>41343</c:v>
                </c:pt>
                <c:pt idx="20443">
                  <c:v>41342</c:v>
                </c:pt>
                <c:pt idx="20444">
                  <c:v>41341</c:v>
                </c:pt>
                <c:pt idx="20445">
                  <c:v>41341</c:v>
                </c:pt>
                <c:pt idx="20446">
                  <c:v>41341</c:v>
                </c:pt>
                <c:pt idx="20447">
                  <c:v>41340</c:v>
                </c:pt>
                <c:pt idx="20448">
                  <c:v>41340</c:v>
                </c:pt>
                <c:pt idx="20449">
                  <c:v>41338</c:v>
                </c:pt>
                <c:pt idx="20450">
                  <c:v>41337</c:v>
                </c:pt>
                <c:pt idx="20451">
                  <c:v>41337</c:v>
                </c:pt>
                <c:pt idx="20452">
                  <c:v>41337</c:v>
                </c:pt>
                <c:pt idx="20453">
                  <c:v>41336</c:v>
                </c:pt>
                <c:pt idx="20454">
                  <c:v>41336</c:v>
                </c:pt>
                <c:pt idx="20455">
                  <c:v>41336</c:v>
                </c:pt>
                <c:pt idx="20456">
                  <c:v>41335</c:v>
                </c:pt>
                <c:pt idx="20457">
                  <c:v>41335</c:v>
                </c:pt>
                <c:pt idx="20458">
                  <c:v>41335</c:v>
                </c:pt>
                <c:pt idx="20459">
                  <c:v>41333</c:v>
                </c:pt>
                <c:pt idx="20460">
                  <c:v>41333</c:v>
                </c:pt>
                <c:pt idx="20461">
                  <c:v>41333</c:v>
                </c:pt>
                <c:pt idx="20462">
                  <c:v>41332</c:v>
                </c:pt>
                <c:pt idx="20463">
                  <c:v>41331</c:v>
                </c:pt>
                <c:pt idx="20464">
                  <c:v>41330</c:v>
                </c:pt>
                <c:pt idx="20465">
                  <c:v>41329</c:v>
                </c:pt>
                <c:pt idx="20466">
                  <c:v>41328</c:v>
                </c:pt>
                <c:pt idx="20467">
                  <c:v>41328</c:v>
                </c:pt>
                <c:pt idx="20468">
                  <c:v>41327</c:v>
                </c:pt>
                <c:pt idx="20469">
                  <c:v>41327</c:v>
                </c:pt>
                <c:pt idx="20470">
                  <c:v>41327</c:v>
                </c:pt>
                <c:pt idx="20471">
                  <c:v>41326</c:v>
                </c:pt>
                <c:pt idx="20472">
                  <c:v>41326</c:v>
                </c:pt>
                <c:pt idx="20473">
                  <c:v>41324</c:v>
                </c:pt>
                <c:pt idx="20474">
                  <c:v>41324</c:v>
                </c:pt>
                <c:pt idx="20475">
                  <c:v>41324</c:v>
                </c:pt>
                <c:pt idx="20476">
                  <c:v>41322</c:v>
                </c:pt>
                <c:pt idx="20477">
                  <c:v>41322</c:v>
                </c:pt>
                <c:pt idx="20478">
                  <c:v>41322</c:v>
                </c:pt>
                <c:pt idx="20479">
                  <c:v>41321</c:v>
                </c:pt>
                <c:pt idx="20480">
                  <c:v>41321</c:v>
                </c:pt>
                <c:pt idx="20481">
                  <c:v>41319</c:v>
                </c:pt>
                <c:pt idx="20482">
                  <c:v>41319</c:v>
                </c:pt>
                <c:pt idx="20483">
                  <c:v>41318</c:v>
                </c:pt>
                <c:pt idx="20484">
                  <c:v>41317</c:v>
                </c:pt>
                <c:pt idx="20485">
                  <c:v>41317</c:v>
                </c:pt>
                <c:pt idx="20486">
                  <c:v>41316</c:v>
                </c:pt>
                <c:pt idx="20487">
                  <c:v>41316</c:v>
                </c:pt>
                <c:pt idx="20488">
                  <c:v>41316</c:v>
                </c:pt>
                <c:pt idx="20489">
                  <c:v>41316</c:v>
                </c:pt>
                <c:pt idx="20490">
                  <c:v>41315</c:v>
                </c:pt>
                <c:pt idx="20491">
                  <c:v>41315</c:v>
                </c:pt>
                <c:pt idx="20492">
                  <c:v>41315</c:v>
                </c:pt>
                <c:pt idx="20493">
                  <c:v>41314</c:v>
                </c:pt>
                <c:pt idx="20494">
                  <c:v>41313</c:v>
                </c:pt>
                <c:pt idx="20495">
                  <c:v>41312</c:v>
                </c:pt>
                <c:pt idx="20496">
                  <c:v>41312</c:v>
                </c:pt>
                <c:pt idx="20497">
                  <c:v>41311</c:v>
                </c:pt>
                <c:pt idx="20498">
                  <c:v>41311</c:v>
                </c:pt>
                <c:pt idx="20499">
                  <c:v>41310</c:v>
                </c:pt>
                <c:pt idx="20500">
                  <c:v>41310</c:v>
                </c:pt>
                <c:pt idx="20501">
                  <c:v>41309</c:v>
                </c:pt>
                <c:pt idx="20502">
                  <c:v>41309</c:v>
                </c:pt>
                <c:pt idx="20503">
                  <c:v>41308</c:v>
                </c:pt>
                <c:pt idx="20504">
                  <c:v>41308</c:v>
                </c:pt>
                <c:pt idx="20505">
                  <c:v>41308</c:v>
                </c:pt>
                <c:pt idx="20506">
                  <c:v>41308</c:v>
                </c:pt>
                <c:pt idx="20507">
                  <c:v>41307</c:v>
                </c:pt>
                <c:pt idx="20508">
                  <c:v>41307</c:v>
                </c:pt>
                <c:pt idx="20509">
                  <c:v>41307</c:v>
                </c:pt>
                <c:pt idx="20510">
                  <c:v>41306</c:v>
                </c:pt>
                <c:pt idx="20511">
                  <c:v>41306</c:v>
                </c:pt>
                <c:pt idx="20512">
                  <c:v>41306</c:v>
                </c:pt>
                <c:pt idx="20513">
                  <c:v>41305</c:v>
                </c:pt>
                <c:pt idx="20514">
                  <c:v>41304</c:v>
                </c:pt>
                <c:pt idx="20515">
                  <c:v>41304</c:v>
                </c:pt>
                <c:pt idx="20516">
                  <c:v>41303</c:v>
                </c:pt>
                <c:pt idx="20517">
                  <c:v>41302</c:v>
                </c:pt>
                <c:pt idx="20518">
                  <c:v>41302</c:v>
                </c:pt>
                <c:pt idx="20519">
                  <c:v>41300</c:v>
                </c:pt>
                <c:pt idx="20520">
                  <c:v>41300</c:v>
                </c:pt>
                <c:pt idx="20521">
                  <c:v>41299</c:v>
                </c:pt>
                <c:pt idx="20522">
                  <c:v>41299</c:v>
                </c:pt>
                <c:pt idx="20523">
                  <c:v>41298</c:v>
                </c:pt>
                <c:pt idx="20524">
                  <c:v>41298</c:v>
                </c:pt>
                <c:pt idx="20525">
                  <c:v>41297</c:v>
                </c:pt>
                <c:pt idx="20526">
                  <c:v>41296</c:v>
                </c:pt>
                <c:pt idx="20527">
                  <c:v>41295</c:v>
                </c:pt>
                <c:pt idx="20528">
                  <c:v>41292</c:v>
                </c:pt>
                <c:pt idx="20529">
                  <c:v>41292</c:v>
                </c:pt>
                <c:pt idx="20530">
                  <c:v>41291</c:v>
                </c:pt>
                <c:pt idx="20531">
                  <c:v>41291</c:v>
                </c:pt>
                <c:pt idx="20532">
                  <c:v>41291</c:v>
                </c:pt>
                <c:pt idx="20533">
                  <c:v>41290</c:v>
                </c:pt>
                <c:pt idx="20534">
                  <c:v>41289</c:v>
                </c:pt>
                <c:pt idx="20535">
                  <c:v>41289</c:v>
                </c:pt>
                <c:pt idx="20536">
                  <c:v>41289</c:v>
                </c:pt>
                <c:pt idx="20537">
                  <c:v>41289</c:v>
                </c:pt>
                <c:pt idx="20538">
                  <c:v>41288</c:v>
                </c:pt>
                <c:pt idx="20539">
                  <c:v>41288</c:v>
                </c:pt>
                <c:pt idx="20540">
                  <c:v>41287</c:v>
                </c:pt>
                <c:pt idx="20541">
                  <c:v>41286</c:v>
                </c:pt>
                <c:pt idx="20542">
                  <c:v>41285</c:v>
                </c:pt>
                <c:pt idx="20543">
                  <c:v>41284</c:v>
                </c:pt>
                <c:pt idx="20544">
                  <c:v>41283</c:v>
                </c:pt>
                <c:pt idx="20545">
                  <c:v>41283</c:v>
                </c:pt>
                <c:pt idx="20546">
                  <c:v>41282</c:v>
                </c:pt>
                <c:pt idx="20547">
                  <c:v>41282</c:v>
                </c:pt>
                <c:pt idx="20548">
                  <c:v>41281</c:v>
                </c:pt>
                <c:pt idx="20549">
                  <c:v>41281</c:v>
                </c:pt>
                <c:pt idx="20550">
                  <c:v>41280</c:v>
                </c:pt>
                <c:pt idx="20551">
                  <c:v>41276</c:v>
                </c:pt>
                <c:pt idx="20552">
                  <c:v>41276</c:v>
                </c:pt>
                <c:pt idx="20553">
                  <c:v>41276</c:v>
                </c:pt>
                <c:pt idx="20554">
                  <c:v>41275</c:v>
                </c:pt>
                <c:pt idx="20555">
                  <c:v>41273</c:v>
                </c:pt>
                <c:pt idx="20556">
                  <c:v>41273</c:v>
                </c:pt>
                <c:pt idx="20557">
                  <c:v>41273</c:v>
                </c:pt>
                <c:pt idx="20558">
                  <c:v>41273</c:v>
                </c:pt>
                <c:pt idx="20559">
                  <c:v>41273</c:v>
                </c:pt>
                <c:pt idx="20560">
                  <c:v>41272</c:v>
                </c:pt>
                <c:pt idx="20561">
                  <c:v>41272</c:v>
                </c:pt>
                <c:pt idx="20562">
                  <c:v>41269</c:v>
                </c:pt>
                <c:pt idx="20563">
                  <c:v>41269</c:v>
                </c:pt>
                <c:pt idx="20564">
                  <c:v>41269</c:v>
                </c:pt>
                <c:pt idx="20565">
                  <c:v>41269</c:v>
                </c:pt>
                <c:pt idx="20566">
                  <c:v>41268</c:v>
                </c:pt>
                <c:pt idx="20567">
                  <c:v>41268</c:v>
                </c:pt>
                <c:pt idx="20568">
                  <c:v>41265</c:v>
                </c:pt>
                <c:pt idx="20569">
                  <c:v>41265</c:v>
                </c:pt>
                <c:pt idx="20570">
                  <c:v>41264</c:v>
                </c:pt>
                <c:pt idx="20571">
                  <c:v>41264</c:v>
                </c:pt>
                <c:pt idx="20572">
                  <c:v>41263</c:v>
                </c:pt>
                <c:pt idx="20573">
                  <c:v>41263</c:v>
                </c:pt>
                <c:pt idx="20574">
                  <c:v>41262</c:v>
                </c:pt>
                <c:pt idx="20575">
                  <c:v>41262</c:v>
                </c:pt>
                <c:pt idx="20576">
                  <c:v>41260</c:v>
                </c:pt>
                <c:pt idx="20577">
                  <c:v>41260</c:v>
                </c:pt>
                <c:pt idx="20578">
                  <c:v>41259</c:v>
                </c:pt>
                <c:pt idx="20579">
                  <c:v>41258</c:v>
                </c:pt>
                <c:pt idx="20580">
                  <c:v>41258</c:v>
                </c:pt>
                <c:pt idx="20581">
                  <c:v>41256</c:v>
                </c:pt>
                <c:pt idx="20582">
                  <c:v>41256</c:v>
                </c:pt>
                <c:pt idx="20583">
                  <c:v>41255</c:v>
                </c:pt>
                <c:pt idx="20584">
                  <c:v>41255</c:v>
                </c:pt>
                <c:pt idx="20585">
                  <c:v>41254</c:v>
                </c:pt>
                <c:pt idx="20586">
                  <c:v>41253</c:v>
                </c:pt>
                <c:pt idx="20587">
                  <c:v>41253</c:v>
                </c:pt>
                <c:pt idx="20588">
                  <c:v>41252</c:v>
                </c:pt>
                <c:pt idx="20589">
                  <c:v>41252</c:v>
                </c:pt>
                <c:pt idx="20590">
                  <c:v>41252</c:v>
                </c:pt>
                <c:pt idx="20591">
                  <c:v>41252</c:v>
                </c:pt>
                <c:pt idx="20592">
                  <c:v>41251</c:v>
                </c:pt>
                <c:pt idx="20593">
                  <c:v>41251</c:v>
                </c:pt>
                <c:pt idx="20594">
                  <c:v>41250</c:v>
                </c:pt>
                <c:pt idx="20595">
                  <c:v>41250</c:v>
                </c:pt>
                <c:pt idx="20596">
                  <c:v>41250</c:v>
                </c:pt>
                <c:pt idx="20597">
                  <c:v>41250</c:v>
                </c:pt>
                <c:pt idx="20598">
                  <c:v>41249</c:v>
                </c:pt>
                <c:pt idx="20599">
                  <c:v>41248</c:v>
                </c:pt>
                <c:pt idx="20600">
                  <c:v>41247</c:v>
                </c:pt>
                <c:pt idx="20601">
                  <c:v>41247</c:v>
                </c:pt>
                <c:pt idx="20602">
                  <c:v>41246</c:v>
                </c:pt>
                <c:pt idx="20603">
                  <c:v>41246</c:v>
                </c:pt>
                <c:pt idx="20604">
                  <c:v>41245</c:v>
                </c:pt>
                <c:pt idx="20605">
                  <c:v>41244</c:v>
                </c:pt>
                <c:pt idx="20606">
                  <c:v>41242</c:v>
                </c:pt>
                <c:pt idx="20607">
                  <c:v>41242</c:v>
                </c:pt>
                <c:pt idx="20608">
                  <c:v>41241</c:v>
                </c:pt>
                <c:pt idx="20609">
                  <c:v>41241</c:v>
                </c:pt>
                <c:pt idx="20610">
                  <c:v>41241</c:v>
                </c:pt>
                <c:pt idx="20611">
                  <c:v>41241</c:v>
                </c:pt>
                <c:pt idx="20612">
                  <c:v>41240</c:v>
                </c:pt>
                <c:pt idx="20613">
                  <c:v>41238</c:v>
                </c:pt>
                <c:pt idx="20614">
                  <c:v>41238</c:v>
                </c:pt>
                <c:pt idx="20615">
                  <c:v>41237</c:v>
                </c:pt>
                <c:pt idx="20616">
                  <c:v>41237</c:v>
                </c:pt>
                <c:pt idx="20617">
                  <c:v>41237</c:v>
                </c:pt>
                <c:pt idx="20618">
                  <c:v>41236</c:v>
                </c:pt>
                <c:pt idx="20619">
                  <c:v>41235</c:v>
                </c:pt>
                <c:pt idx="20620">
                  <c:v>41234</c:v>
                </c:pt>
                <c:pt idx="20621">
                  <c:v>41233</c:v>
                </c:pt>
                <c:pt idx="20622">
                  <c:v>41232</c:v>
                </c:pt>
                <c:pt idx="20623">
                  <c:v>41231</c:v>
                </c:pt>
                <c:pt idx="20624">
                  <c:v>41231</c:v>
                </c:pt>
                <c:pt idx="20625">
                  <c:v>41231</c:v>
                </c:pt>
                <c:pt idx="20626">
                  <c:v>41229</c:v>
                </c:pt>
                <c:pt idx="20627">
                  <c:v>41229</c:v>
                </c:pt>
                <c:pt idx="20628">
                  <c:v>41229</c:v>
                </c:pt>
                <c:pt idx="20629">
                  <c:v>41229</c:v>
                </c:pt>
                <c:pt idx="20630">
                  <c:v>41228</c:v>
                </c:pt>
                <c:pt idx="20631">
                  <c:v>41227</c:v>
                </c:pt>
                <c:pt idx="20632">
                  <c:v>41224</c:v>
                </c:pt>
                <c:pt idx="20633">
                  <c:v>41222</c:v>
                </c:pt>
                <c:pt idx="20634">
                  <c:v>41221</c:v>
                </c:pt>
                <c:pt idx="20635">
                  <c:v>41221</c:v>
                </c:pt>
                <c:pt idx="20636">
                  <c:v>41220</c:v>
                </c:pt>
                <c:pt idx="20637">
                  <c:v>41219</c:v>
                </c:pt>
                <c:pt idx="20638">
                  <c:v>41219</c:v>
                </c:pt>
                <c:pt idx="20639">
                  <c:v>41218</c:v>
                </c:pt>
                <c:pt idx="20640">
                  <c:v>41217</c:v>
                </c:pt>
                <c:pt idx="20641">
                  <c:v>41217</c:v>
                </c:pt>
                <c:pt idx="20642">
                  <c:v>41216</c:v>
                </c:pt>
                <c:pt idx="20643">
                  <c:v>41215</c:v>
                </c:pt>
                <c:pt idx="20644">
                  <c:v>41215</c:v>
                </c:pt>
                <c:pt idx="20645">
                  <c:v>41214</c:v>
                </c:pt>
                <c:pt idx="20646">
                  <c:v>41214</c:v>
                </c:pt>
                <c:pt idx="20647">
                  <c:v>41213</c:v>
                </c:pt>
                <c:pt idx="20648">
                  <c:v>41213</c:v>
                </c:pt>
                <c:pt idx="20649">
                  <c:v>41212</c:v>
                </c:pt>
                <c:pt idx="20650">
                  <c:v>41211</c:v>
                </c:pt>
                <c:pt idx="20651">
                  <c:v>41211</c:v>
                </c:pt>
                <c:pt idx="20652">
                  <c:v>41209</c:v>
                </c:pt>
                <c:pt idx="20653">
                  <c:v>41207</c:v>
                </c:pt>
                <c:pt idx="20654">
                  <c:v>41206</c:v>
                </c:pt>
                <c:pt idx="20655">
                  <c:v>41206</c:v>
                </c:pt>
                <c:pt idx="20656">
                  <c:v>41206</c:v>
                </c:pt>
                <c:pt idx="20657">
                  <c:v>41206</c:v>
                </c:pt>
                <c:pt idx="20658">
                  <c:v>41205</c:v>
                </c:pt>
                <c:pt idx="20659">
                  <c:v>41205</c:v>
                </c:pt>
                <c:pt idx="20660">
                  <c:v>41204</c:v>
                </c:pt>
                <c:pt idx="20661">
                  <c:v>41204</c:v>
                </c:pt>
                <c:pt idx="20662">
                  <c:v>41202</c:v>
                </c:pt>
                <c:pt idx="20663">
                  <c:v>41202</c:v>
                </c:pt>
                <c:pt idx="20664">
                  <c:v>41201</c:v>
                </c:pt>
                <c:pt idx="20665">
                  <c:v>41201</c:v>
                </c:pt>
                <c:pt idx="20666">
                  <c:v>41201</c:v>
                </c:pt>
                <c:pt idx="20667">
                  <c:v>41201</c:v>
                </c:pt>
                <c:pt idx="20668">
                  <c:v>41201</c:v>
                </c:pt>
                <c:pt idx="20669">
                  <c:v>41199</c:v>
                </c:pt>
                <c:pt idx="20670">
                  <c:v>41199</c:v>
                </c:pt>
                <c:pt idx="20671">
                  <c:v>41199</c:v>
                </c:pt>
                <c:pt idx="20672">
                  <c:v>41198</c:v>
                </c:pt>
                <c:pt idx="20673">
                  <c:v>41197</c:v>
                </c:pt>
                <c:pt idx="20674">
                  <c:v>41196</c:v>
                </c:pt>
                <c:pt idx="20675">
                  <c:v>41195</c:v>
                </c:pt>
                <c:pt idx="20676">
                  <c:v>41195</c:v>
                </c:pt>
                <c:pt idx="20677">
                  <c:v>41195</c:v>
                </c:pt>
                <c:pt idx="20678">
                  <c:v>41195</c:v>
                </c:pt>
                <c:pt idx="20679">
                  <c:v>41193</c:v>
                </c:pt>
                <c:pt idx="20680">
                  <c:v>41192</c:v>
                </c:pt>
                <c:pt idx="20681">
                  <c:v>41190</c:v>
                </c:pt>
                <c:pt idx="20682">
                  <c:v>41188</c:v>
                </c:pt>
                <c:pt idx="20683">
                  <c:v>41188</c:v>
                </c:pt>
                <c:pt idx="20684">
                  <c:v>41187</c:v>
                </c:pt>
                <c:pt idx="20685">
                  <c:v>41186</c:v>
                </c:pt>
                <c:pt idx="20686">
                  <c:v>41186</c:v>
                </c:pt>
                <c:pt idx="20687">
                  <c:v>41184</c:v>
                </c:pt>
                <c:pt idx="20688">
                  <c:v>41182</c:v>
                </c:pt>
                <c:pt idx="20689">
                  <c:v>41182</c:v>
                </c:pt>
                <c:pt idx="20690">
                  <c:v>41181</c:v>
                </c:pt>
                <c:pt idx="20691">
                  <c:v>41181</c:v>
                </c:pt>
                <c:pt idx="20692">
                  <c:v>41180</c:v>
                </c:pt>
                <c:pt idx="20693">
                  <c:v>41175</c:v>
                </c:pt>
                <c:pt idx="20694">
                  <c:v>41175</c:v>
                </c:pt>
                <c:pt idx="20695">
                  <c:v>41175</c:v>
                </c:pt>
                <c:pt idx="20696">
                  <c:v>41174</c:v>
                </c:pt>
                <c:pt idx="20697">
                  <c:v>41173</c:v>
                </c:pt>
                <c:pt idx="20698">
                  <c:v>41173</c:v>
                </c:pt>
                <c:pt idx="20699">
                  <c:v>41173</c:v>
                </c:pt>
                <c:pt idx="20700">
                  <c:v>41171</c:v>
                </c:pt>
                <c:pt idx="20701">
                  <c:v>41169</c:v>
                </c:pt>
                <c:pt idx="20702">
                  <c:v>41165</c:v>
                </c:pt>
                <c:pt idx="20703">
                  <c:v>41164</c:v>
                </c:pt>
                <c:pt idx="20704">
                  <c:v>41163</c:v>
                </c:pt>
                <c:pt idx="20705">
                  <c:v>41162</c:v>
                </c:pt>
                <c:pt idx="20706">
                  <c:v>41161</c:v>
                </c:pt>
                <c:pt idx="20707">
                  <c:v>41161</c:v>
                </c:pt>
                <c:pt idx="20708">
                  <c:v>41160</c:v>
                </c:pt>
                <c:pt idx="20709">
                  <c:v>41159</c:v>
                </c:pt>
                <c:pt idx="20710">
                  <c:v>41159</c:v>
                </c:pt>
                <c:pt idx="20711">
                  <c:v>41158</c:v>
                </c:pt>
                <c:pt idx="20712">
                  <c:v>41158</c:v>
                </c:pt>
                <c:pt idx="20713">
                  <c:v>41157</c:v>
                </c:pt>
                <c:pt idx="20714">
                  <c:v>41157</c:v>
                </c:pt>
                <c:pt idx="20715">
                  <c:v>41157</c:v>
                </c:pt>
                <c:pt idx="20716">
                  <c:v>41157</c:v>
                </c:pt>
                <c:pt idx="20717">
                  <c:v>41154</c:v>
                </c:pt>
                <c:pt idx="20718">
                  <c:v>41153</c:v>
                </c:pt>
                <c:pt idx="20719">
                  <c:v>41153</c:v>
                </c:pt>
                <c:pt idx="20720">
                  <c:v>41152</c:v>
                </c:pt>
                <c:pt idx="20721">
                  <c:v>41152</c:v>
                </c:pt>
                <c:pt idx="20722">
                  <c:v>41151</c:v>
                </c:pt>
                <c:pt idx="20723">
                  <c:v>41151</c:v>
                </c:pt>
                <c:pt idx="20724">
                  <c:v>41151</c:v>
                </c:pt>
                <c:pt idx="20725">
                  <c:v>41151</c:v>
                </c:pt>
                <c:pt idx="20726">
                  <c:v>41150</c:v>
                </c:pt>
                <c:pt idx="20727">
                  <c:v>41150</c:v>
                </c:pt>
                <c:pt idx="20728">
                  <c:v>41149</c:v>
                </c:pt>
                <c:pt idx="20729">
                  <c:v>41148</c:v>
                </c:pt>
                <c:pt idx="20730">
                  <c:v>41145</c:v>
                </c:pt>
                <c:pt idx="20731">
                  <c:v>41142</c:v>
                </c:pt>
                <c:pt idx="20732">
                  <c:v>41141</c:v>
                </c:pt>
                <c:pt idx="20733">
                  <c:v>41141</c:v>
                </c:pt>
                <c:pt idx="20734">
                  <c:v>41140</c:v>
                </c:pt>
                <c:pt idx="20735">
                  <c:v>41140</c:v>
                </c:pt>
                <c:pt idx="20736">
                  <c:v>41139</c:v>
                </c:pt>
                <c:pt idx="20737">
                  <c:v>41136</c:v>
                </c:pt>
                <c:pt idx="20738">
                  <c:v>41135</c:v>
                </c:pt>
                <c:pt idx="20739">
                  <c:v>41135</c:v>
                </c:pt>
                <c:pt idx="20740">
                  <c:v>41134</c:v>
                </c:pt>
                <c:pt idx="20741">
                  <c:v>41134</c:v>
                </c:pt>
                <c:pt idx="20742">
                  <c:v>41133</c:v>
                </c:pt>
                <c:pt idx="20743">
                  <c:v>41133</c:v>
                </c:pt>
                <c:pt idx="20744">
                  <c:v>41132</c:v>
                </c:pt>
                <c:pt idx="20745">
                  <c:v>41132</c:v>
                </c:pt>
                <c:pt idx="20746">
                  <c:v>41132</c:v>
                </c:pt>
                <c:pt idx="20747">
                  <c:v>41132</c:v>
                </c:pt>
                <c:pt idx="20748">
                  <c:v>41129</c:v>
                </c:pt>
                <c:pt idx="20749">
                  <c:v>41129</c:v>
                </c:pt>
                <c:pt idx="20750">
                  <c:v>41126</c:v>
                </c:pt>
                <c:pt idx="20751">
                  <c:v>41126</c:v>
                </c:pt>
                <c:pt idx="20752">
                  <c:v>41124</c:v>
                </c:pt>
                <c:pt idx="20753">
                  <c:v>41124</c:v>
                </c:pt>
                <c:pt idx="20754">
                  <c:v>41121</c:v>
                </c:pt>
                <c:pt idx="20755">
                  <c:v>41121</c:v>
                </c:pt>
                <c:pt idx="20756">
                  <c:v>41119</c:v>
                </c:pt>
                <c:pt idx="20757">
                  <c:v>41119</c:v>
                </c:pt>
                <c:pt idx="20758">
                  <c:v>41119</c:v>
                </c:pt>
                <c:pt idx="20759">
                  <c:v>41117</c:v>
                </c:pt>
                <c:pt idx="20760">
                  <c:v>41117</c:v>
                </c:pt>
                <c:pt idx="20761">
                  <c:v>41117</c:v>
                </c:pt>
                <c:pt idx="20762">
                  <c:v>41116</c:v>
                </c:pt>
                <c:pt idx="20763">
                  <c:v>41115</c:v>
                </c:pt>
                <c:pt idx="20764">
                  <c:v>41114</c:v>
                </c:pt>
                <c:pt idx="20765">
                  <c:v>41113</c:v>
                </c:pt>
                <c:pt idx="20766">
                  <c:v>41113</c:v>
                </c:pt>
                <c:pt idx="20767">
                  <c:v>41112</c:v>
                </c:pt>
                <c:pt idx="20768">
                  <c:v>41111</c:v>
                </c:pt>
                <c:pt idx="20769">
                  <c:v>41110</c:v>
                </c:pt>
                <c:pt idx="20770">
                  <c:v>41109</c:v>
                </c:pt>
                <c:pt idx="20771">
                  <c:v>41107</c:v>
                </c:pt>
                <c:pt idx="20772">
                  <c:v>41107</c:v>
                </c:pt>
                <c:pt idx="20773">
                  <c:v>41106</c:v>
                </c:pt>
                <c:pt idx="20774">
                  <c:v>41105</c:v>
                </c:pt>
                <c:pt idx="20775">
                  <c:v>41105</c:v>
                </c:pt>
                <c:pt idx="20776">
                  <c:v>41104</c:v>
                </c:pt>
                <c:pt idx="20777">
                  <c:v>41104</c:v>
                </c:pt>
                <c:pt idx="20778">
                  <c:v>41103</c:v>
                </c:pt>
                <c:pt idx="20779">
                  <c:v>41103</c:v>
                </c:pt>
                <c:pt idx="20780">
                  <c:v>41103</c:v>
                </c:pt>
                <c:pt idx="20781">
                  <c:v>41103</c:v>
                </c:pt>
                <c:pt idx="20782">
                  <c:v>41102</c:v>
                </c:pt>
                <c:pt idx="20783">
                  <c:v>41101</c:v>
                </c:pt>
                <c:pt idx="20784">
                  <c:v>41101</c:v>
                </c:pt>
                <c:pt idx="20785">
                  <c:v>41100</c:v>
                </c:pt>
                <c:pt idx="20786">
                  <c:v>41100</c:v>
                </c:pt>
                <c:pt idx="20787">
                  <c:v>41099</c:v>
                </c:pt>
                <c:pt idx="20788">
                  <c:v>41099</c:v>
                </c:pt>
                <c:pt idx="20789">
                  <c:v>41098</c:v>
                </c:pt>
                <c:pt idx="20790">
                  <c:v>41098</c:v>
                </c:pt>
                <c:pt idx="20791">
                  <c:v>41096</c:v>
                </c:pt>
                <c:pt idx="20792">
                  <c:v>41094</c:v>
                </c:pt>
                <c:pt idx="20793">
                  <c:v>41093</c:v>
                </c:pt>
                <c:pt idx="20794">
                  <c:v>41092</c:v>
                </c:pt>
                <c:pt idx="20795">
                  <c:v>41090</c:v>
                </c:pt>
                <c:pt idx="20796">
                  <c:v>41088</c:v>
                </c:pt>
                <c:pt idx="20797">
                  <c:v>41087</c:v>
                </c:pt>
                <c:pt idx="20798">
                  <c:v>41087</c:v>
                </c:pt>
                <c:pt idx="20799">
                  <c:v>41085</c:v>
                </c:pt>
                <c:pt idx="20800">
                  <c:v>41085</c:v>
                </c:pt>
                <c:pt idx="20801">
                  <c:v>41084</c:v>
                </c:pt>
                <c:pt idx="20802">
                  <c:v>41083</c:v>
                </c:pt>
                <c:pt idx="20803">
                  <c:v>41083</c:v>
                </c:pt>
                <c:pt idx="20804">
                  <c:v>41081</c:v>
                </c:pt>
                <c:pt idx="20805">
                  <c:v>41081</c:v>
                </c:pt>
                <c:pt idx="20806">
                  <c:v>41080</c:v>
                </c:pt>
                <c:pt idx="20807">
                  <c:v>41080</c:v>
                </c:pt>
                <c:pt idx="20808">
                  <c:v>41078</c:v>
                </c:pt>
                <c:pt idx="20809">
                  <c:v>41078</c:v>
                </c:pt>
                <c:pt idx="20810">
                  <c:v>41077</c:v>
                </c:pt>
                <c:pt idx="20811">
                  <c:v>41074</c:v>
                </c:pt>
                <c:pt idx="20812">
                  <c:v>41074</c:v>
                </c:pt>
                <c:pt idx="20813">
                  <c:v>41073</c:v>
                </c:pt>
                <c:pt idx="20814">
                  <c:v>41073</c:v>
                </c:pt>
                <c:pt idx="20815">
                  <c:v>41072</c:v>
                </c:pt>
                <c:pt idx="20816">
                  <c:v>41072</c:v>
                </c:pt>
                <c:pt idx="20817">
                  <c:v>41072</c:v>
                </c:pt>
                <c:pt idx="20818">
                  <c:v>41071</c:v>
                </c:pt>
                <c:pt idx="20819">
                  <c:v>41069</c:v>
                </c:pt>
                <c:pt idx="20820">
                  <c:v>41069</c:v>
                </c:pt>
                <c:pt idx="20821">
                  <c:v>41069</c:v>
                </c:pt>
                <c:pt idx="20822">
                  <c:v>41068</c:v>
                </c:pt>
                <c:pt idx="20823">
                  <c:v>41067</c:v>
                </c:pt>
                <c:pt idx="20824">
                  <c:v>41066</c:v>
                </c:pt>
                <c:pt idx="20825">
                  <c:v>41066</c:v>
                </c:pt>
                <c:pt idx="20826">
                  <c:v>41065</c:v>
                </c:pt>
                <c:pt idx="20827">
                  <c:v>41064</c:v>
                </c:pt>
                <c:pt idx="20828">
                  <c:v>41062</c:v>
                </c:pt>
                <c:pt idx="20829">
                  <c:v>41061</c:v>
                </c:pt>
                <c:pt idx="20830">
                  <c:v>41061</c:v>
                </c:pt>
                <c:pt idx="20831">
                  <c:v>41060</c:v>
                </c:pt>
                <c:pt idx="20832">
                  <c:v>41059</c:v>
                </c:pt>
                <c:pt idx="20833">
                  <c:v>41059</c:v>
                </c:pt>
                <c:pt idx="20834">
                  <c:v>41059</c:v>
                </c:pt>
                <c:pt idx="20835">
                  <c:v>41058</c:v>
                </c:pt>
                <c:pt idx="20836">
                  <c:v>41058</c:v>
                </c:pt>
                <c:pt idx="20837">
                  <c:v>41057</c:v>
                </c:pt>
                <c:pt idx="20838">
                  <c:v>41057</c:v>
                </c:pt>
                <c:pt idx="20839">
                  <c:v>41056</c:v>
                </c:pt>
                <c:pt idx="20840">
                  <c:v>41056</c:v>
                </c:pt>
                <c:pt idx="20841">
                  <c:v>41055</c:v>
                </c:pt>
                <c:pt idx="20842">
                  <c:v>41053</c:v>
                </c:pt>
                <c:pt idx="20843">
                  <c:v>41052</c:v>
                </c:pt>
                <c:pt idx="20844">
                  <c:v>41051</c:v>
                </c:pt>
                <c:pt idx="20845">
                  <c:v>41048</c:v>
                </c:pt>
                <c:pt idx="20846">
                  <c:v>41048</c:v>
                </c:pt>
                <c:pt idx="20847">
                  <c:v>41047</c:v>
                </c:pt>
                <c:pt idx="20848">
                  <c:v>41047</c:v>
                </c:pt>
                <c:pt idx="20849">
                  <c:v>41047</c:v>
                </c:pt>
                <c:pt idx="20850">
                  <c:v>41047</c:v>
                </c:pt>
                <c:pt idx="20851">
                  <c:v>41045</c:v>
                </c:pt>
                <c:pt idx="20852">
                  <c:v>41045</c:v>
                </c:pt>
                <c:pt idx="20853">
                  <c:v>41044</c:v>
                </c:pt>
                <c:pt idx="20854">
                  <c:v>41044</c:v>
                </c:pt>
                <c:pt idx="20855">
                  <c:v>41043</c:v>
                </c:pt>
                <c:pt idx="20856">
                  <c:v>41042</c:v>
                </c:pt>
                <c:pt idx="20857">
                  <c:v>41041</c:v>
                </c:pt>
                <c:pt idx="20858">
                  <c:v>41040</c:v>
                </c:pt>
                <c:pt idx="20859">
                  <c:v>41039</c:v>
                </c:pt>
                <c:pt idx="20860">
                  <c:v>41039</c:v>
                </c:pt>
                <c:pt idx="20861">
                  <c:v>41039</c:v>
                </c:pt>
                <c:pt idx="20862">
                  <c:v>41038</c:v>
                </c:pt>
                <c:pt idx="20863">
                  <c:v>41038</c:v>
                </c:pt>
                <c:pt idx="20864">
                  <c:v>41037</c:v>
                </c:pt>
                <c:pt idx="20865">
                  <c:v>41036</c:v>
                </c:pt>
                <c:pt idx="20866">
                  <c:v>41035</c:v>
                </c:pt>
                <c:pt idx="20867">
                  <c:v>41035</c:v>
                </c:pt>
                <c:pt idx="20868">
                  <c:v>41035</c:v>
                </c:pt>
                <c:pt idx="20869">
                  <c:v>41035</c:v>
                </c:pt>
                <c:pt idx="20870">
                  <c:v>41033</c:v>
                </c:pt>
                <c:pt idx="20871">
                  <c:v>41031</c:v>
                </c:pt>
                <c:pt idx="20872">
                  <c:v>41030</c:v>
                </c:pt>
                <c:pt idx="20873">
                  <c:v>41028</c:v>
                </c:pt>
                <c:pt idx="20874">
                  <c:v>41028</c:v>
                </c:pt>
                <c:pt idx="20875">
                  <c:v>41027</c:v>
                </c:pt>
                <c:pt idx="20876">
                  <c:v>41026</c:v>
                </c:pt>
                <c:pt idx="20877">
                  <c:v>41025</c:v>
                </c:pt>
                <c:pt idx="20878">
                  <c:v>41024</c:v>
                </c:pt>
                <c:pt idx="20879">
                  <c:v>41024</c:v>
                </c:pt>
                <c:pt idx="20880">
                  <c:v>41024</c:v>
                </c:pt>
                <c:pt idx="20881">
                  <c:v>41023</c:v>
                </c:pt>
                <c:pt idx="20882">
                  <c:v>41020</c:v>
                </c:pt>
                <c:pt idx="20883">
                  <c:v>41020</c:v>
                </c:pt>
                <c:pt idx="20884">
                  <c:v>41020</c:v>
                </c:pt>
                <c:pt idx="20885">
                  <c:v>41020</c:v>
                </c:pt>
                <c:pt idx="20886">
                  <c:v>41019</c:v>
                </c:pt>
                <c:pt idx="20887">
                  <c:v>41019</c:v>
                </c:pt>
                <c:pt idx="20888">
                  <c:v>41019</c:v>
                </c:pt>
                <c:pt idx="20889">
                  <c:v>41019</c:v>
                </c:pt>
                <c:pt idx="20890">
                  <c:v>41018</c:v>
                </c:pt>
                <c:pt idx="20891">
                  <c:v>41018</c:v>
                </c:pt>
                <c:pt idx="20892">
                  <c:v>41018</c:v>
                </c:pt>
                <c:pt idx="20893">
                  <c:v>41017</c:v>
                </c:pt>
                <c:pt idx="20894">
                  <c:v>41016</c:v>
                </c:pt>
                <c:pt idx="20895">
                  <c:v>41015</c:v>
                </c:pt>
                <c:pt idx="20896">
                  <c:v>41015</c:v>
                </c:pt>
                <c:pt idx="20897">
                  <c:v>41014</c:v>
                </c:pt>
                <c:pt idx="20898">
                  <c:v>41014</c:v>
                </c:pt>
                <c:pt idx="20899">
                  <c:v>41013</c:v>
                </c:pt>
                <c:pt idx="20900">
                  <c:v>41012</c:v>
                </c:pt>
                <c:pt idx="20901">
                  <c:v>41009</c:v>
                </c:pt>
                <c:pt idx="20902">
                  <c:v>41006</c:v>
                </c:pt>
                <c:pt idx="20903">
                  <c:v>41006</c:v>
                </c:pt>
                <c:pt idx="20904">
                  <c:v>41005</c:v>
                </c:pt>
                <c:pt idx="20905">
                  <c:v>41004</c:v>
                </c:pt>
                <c:pt idx="20906">
                  <c:v>41004</c:v>
                </c:pt>
                <c:pt idx="20907">
                  <c:v>41002</c:v>
                </c:pt>
                <c:pt idx="20908">
                  <c:v>41002</c:v>
                </c:pt>
                <c:pt idx="20909">
                  <c:v>41001</c:v>
                </c:pt>
                <c:pt idx="20910">
                  <c:v>40999</c:v>
                </c:pt>
                <c:pt idx="20911">
                  <c:v>40998</c:v>
                </c:pt>
                <c:pt idx="20912">
                  <c:v>40997</c:v>
                </c:pt>
                <c:pt idx="20913">
                  <c:v>40996</c:v>
                </c:pt>
                <c:pt idx="20914">
                  <c:v>40995</c:v>
                </c:pt>
                <c:pt idx="20915">
                  <c:v>40995</c:v>
                </c:pt>
                <c:pt idx="20916">
                  <c:v>40994</c:v>
                </c:pt>
                <c:pt idx="20917">
                  <c:v>40994</c:v>
                </c:pt>
                <c:pt idx="20918">
                  <c:v>40994</c:v>
                </c:pt>
                <c:pt idx="20919">
                  <c:v>40993</c:v>
                </c:pt>
                <c:pt idx="20920">
                  <c:v>40993</c:v>
                </c:pt>
                <c:pt idx="20921">
                  <c:v>40991</c:v>
                </c:pt>
                <c:pt idx="20922">
                  <c:v>40991</c:v>
                </c:pt>
                <c:pt idx="20923">
                  <c:v>40991</c:v>
                </c:pt>
                <c:pt idx="20924">
                  <c:v>40991</c:v>
                </c:pt>
                <c:pt idx="20925">
                  <c:v>40988</c:v>
                </c:pt>
                <c:pt idx="20926">
                  <c:v>40987</c:v>
                </c:pt>
                <c:pt idx="20927">
                  <c:v>40986</c:v>
                </c:pt>
                <c:pt idx="20928">
                  <c:v>40986</c:v>
                </c:pt>
                <c:pt idx="20929">
                  <c:v>40986</c:v>
                </c:pt>
                <c:pt idx="20930">
                  <c:v>40985</c:v>
                </c:pt>
                <c:pt idx="20931">
                  <c:v>40984</c:v>
                </c:pt>
                <c:pt idx="20932">
                  <c:v>40983</c:v>
                </c:pt>
                <c:pt idx="20933">
                  <c:v>40982</c:v>
                </c:pt>
                <c:pt idx="20934">
                  <c:v>40981</c:v>
                </c:pt>
                <c:pt idx="20935">
                  <c:v>40981</c:v>
                </c:pt>
                <c:pt idx="20936">
                  <c:v>40978</c:v>
                </c:pt>
                <c:pt idx="20937">
                  <c:v>40976</c:v>
                </c:pt>
                <c:pt idx="20938">
                  <c:v>40974</c:v>
                </c:pt>
                <c:pt idx="20939">
                  <c:v>40974</c:v>
                </c:pt>
                <c:pt idx="20940">
                  <c:v>40973</c:v>
                </c:pt>
                <c:pt idx="20941">
                  <c:v>40972</c:v>
                </c:pt>
                <c:pt idx="20942">
                  <c:v>40972</c:v>
                </c:pt>
                <c:pt idx="20943">
                  <c:v>40972</c:v>
                </c:pt>
                <c:pt idx="20944">
                  <c:v>40969</c:v>
                </c:pt>
                <c:pt idx="20945">
                  <c:v>40969</c:v>
                </c:pt>
                <c:pt idx="20946">
                  <c:v>40967</c:v>
                </c:pt>
                <c:pt idx="20947">
                  <c:v>40966</c:v>
                </c:pt>
                <c:pt idx="20948">
                  <c:v>40966</c:v>
                </c:pt>
                <c:pt idx="20949">
                  <c:v>40965</c:v>
                </c:pt>
                <c:pt idx="20950">
                  <c:v>40964</c:v>
                </c:pt>
                <c:pt idx="20951">
                  <c:v>40964</c:v>
                </c:pt>
                <c:pt idx="20952">
                  <c:v>40962</c:v>
                </c:pt>
                <c:pt idx="20953">
                  <c:v>40958</c:v>
                </c:pt>
                <c:pt idx="20954">
                  <c:v>40957</c:v>
                </c:pt>
                <c:pt idx="20955">
                  <c:v>40957</c:v>
                </c:pt>
                <c:pt idx="20956">
                  <c:v>40956</c:v>
                </c:pt>
                <c:pt idx="20957">
                  <c:v>40954</c:v>
                </c:pt>
                <c:pt idx="20958">
                  <c:v>40954</c:v>
                </c:pt>
                <c:pt idx="20959">
                  <c:v>40953</c:v>
                </c:pt>
                <c:pt idx="20960">
                  <c:v>40953</c:v>
                </c:pt>
                <c:pt idx="20961">
                  <c:v>40953</c:v>
                </c:pt>
                <c:pt idx="20962">
                  <c:v>40952</c:v>
                </c:pt>
                <c:pt idx="20963">
                  <c:v>40951</c:v>
                </c:pt>
                <c:pt idx="20964">
                  <c:v>40951</c:v>
                </c:pt>
                <c:pt idx="20965">
                  <c:v>40951</c:v>
                </c:pt>
                <c:pt idx="20966">
                  <c:v>40950</c:v>
                </c:pt>
                <c:pt idx="20967">
                  <c:v>40950</c:v>
                </c:pt>
                <c:pt idx="20968">
                  <c:v>40949</c:v>
                </c:pt>
                <c:pt idx="20969">
                  <c:v>40948</c:v>
                </c:pt>
                <c:pt idx="20970">
                  <c:v>40948</c:v>
                </c:pt>
                <c:pt idx="20971">
                  <c:v>40948</c:v>
                </c:pt>
                <c:pt idx="20972">
                  <c:v>40947</c:v>
                </c:pt>
                <c:pt idx="20973">
                  <c:v>40946</c:v>
                </c:pt>
                <c:pt idx="20974">
                  <c:v>40945</c:v>
                </c:pt>
                <c:pt idx="20975">
                  <c:v>40945</c:v>
                </c:pt>
                <c:pt idx="20976">
                  <c:v>40945</c:v>
                </c:pt>
                <c:pt idx="20977">
                  <c:v>40944</c:v>
                </c:pt>
                <c:pt idx="20978">
                  <c:v>40943</c:v>
                </c:pt>
                <c:pt idx="20979">
                  <c:v>40943</c:v>
                </c:pt>
                <c:pt idx="20980">
                  <c:v>40942</c:v>
                </c:pt>
                <c:pt idx="20981">
                  <c:v>40941</c:v>
                </c:pt>
                <c:pt idx="20982">
                  <c:v>40940</c:v>
                </c:pt>
                <c:pt idx="20983">
                  <c:v>40940</c:v>
                </c:pt>
                <c:pt idx="20984">
                  <c:v>40939</c:v>
                </c:pt>
                <c:pt idx="20985">
                  <c:v>40939</c:v>
                </c:pt>
                <c:pt idx="20986">
                  <c:v>40936</c:v>
                </c:pt>
                <c:pt idx="20987">
                  <c:v>40936</c:v>
                </c:pt>
                <c:pt idx="20988">
                  <c:v>40935</c:v>
                </c:pt>
                <c:pt idx="20989">
                  <c:v>40934</c:v>
                </c:pt>
                <c:pt idx="20990">
                  <c:v>40934</c:v>
                </c:pt>
                <c:pt idx="20991">
                  <c:v>40934</c:v>
                </c:pt>
                <c:pt idx="20992">
                  <c:v>40934</c:v>
                </c:pt>
                <c:pt idx="20993">
                  <c:v>40933</c:v>
                </c:pt>
                <c:pt idx="20994">
                  <c:v>40933</c:v>
                </c:pt>
                <c:pt idx="20995">
                  <c:v>40933</c:v>
                </c:pt>
                <c:pt idx="20996">
                  <c:v>40932</c:v>
                </c:pt>
                <c:pt idx="20997">
                  <c:v>40932</c:v>
                </c:pt>
                <c:pt idx="20998">
                  <c:v>40932</c:v>
                </c:pt>
                <c:pt idx="20999">
                  <c:v>40931</c:v>
                </c:pt>
                <c:pt idx="21000">
                  <c:v>40930</c:v>
                </c:pt>
                <c:pt idx="21001">
                  <c:v>40928</c:v>
                </c:pt>
                <c:pt idx="21002">
                  <c:v>40928</c:v>
                </c:pt>
                <c:pt idx="21003">
                  <c:v>40927</c:v>
                </c:pt>
                <c:pt idx="21004">
                  <c:v>40927</c:v>
                </c:pt>
                <c:pt idx="21005">
                  <c:v>40927</c:v>
                </c:pt>
                <c:pt idx="21006">
                  <c:v>40923</c:v>
                </c:pt>
                <c:pt idx="21007">
                  <c:v>40922</c:v>
                </c:pt>
                <c:pt idx="21008">
                  <c:v>40922</c:v>
                </c:pt>
                <c:pt idx="21009">
                  <c:v>40922</c:v>
                </c:pt>
                <c:pt idx="21010">
                  <c:v>40921</c:v>
                </c:pt>
                <c:pt idx="21011">
                  <c:v>40921</c:v>
                </c:pt>
                <c:pt idx="21012">
                  <c:v>40921</c:v>
                </c:pt>
                <c:pt idx="21013">
                  <c:v>40918</c:v>
                </c:pt>
                <c:pt idx="21014">
                  <c:v>40918</c:v>
                </c:pt>
                <c:pt idx="21015">
                  <c:v>40918</c:v>
                </c:pt>
                <c:pt idx="21016">
                  <c:v>40918</c:v>
                </c:pt>
                <c:pt idx="21017">
                  <c:v>40918</c:v>
                </c:pt>
                <c:pt idx="21018">
                  <c:v>40918</c:v>
                </c:pt>
                <c:pt idx="21019">
                  <c:v>40917</c:v>
                </c:pt>
                <c:pt idx="21020">
                  <c:v>40917</c:v>
                </c:pt>
                <c:pt idx="21021">
                  <c:v>40916</c:v>
                </c:pt>
                <c:pt idx="21022">
                  <c:v>40916</c:v>
                </c:pt>
                <c:pt idx="21023">
                  <c:v>40915</c:v>
                </c:pt>
                <c:pt idx="21024">
                  <c:v>40915</c:v>
                </c:pt>
                <c:pt idx="21025">
                  <c:v>40913</c:v>
                </c:pt>
                <c:pt idx="21026">
                  <c:v>40913</c:v>
                </c:pt>
                <c:pt idx="21027">
                  <c:v>40911</c:v>
                </c:pt>
                <c:pt idx="21028">
                  <c:v>40911</c:v>
                </c:pt>
                <c:pt idx="21029">
                  <c:v>40911</c:v>
                </c:pt>
                <c:pt idx="21030">
                  <c:v>40910</c:v>
                </c:pt>
                <c:pt idx="21031">
                  <c:v>40910</c:v>
                </c:pt>
                <c:pt idx="21032">
                  <c:v>40908</c:v>
                </c:pt>
                <c:pt idx="21033">
                  <c:v>40908</c:v>
                </c:pt>
                <c:pt idx="21034">
                  <c:v>40907</c:v>
                </c:pt>
                <c:pt idx="21035">
                  <c:v>40907</c:v>
                </c:pt>
                <c:pt idx="21036">
                  <c:v>40905</c:v>
                </c:pt>
                <c:pt idx="21037">
                  <c:v>40905</c:v>
                </c:pt>
                <c:pt idx="21038">
                  <c:v>40904</c:v>
                </c:pt>
                <c:pt idx="21039">
                  <c:v>40904</c:v>
                </c:pt>
                <c:pt idx="21040">
                  <c:v>40903</c:v>
                </c:pt>
                <c:pt idx="21041">
                  <c:v>40902</c:v>
                </c:pt>
                <c:pt idx="21042">
                  <c:v>40902</c:v>
                </c:pt>
                <c:pt idx="21043">
                  <c:v>40901</c:v>
                </c:pt>
                <c:pt idx="21044">
                  <c:v>40901</c:v>
                </c:pt>
                <c:pt idx="21045">
                  <c:v>40901</c:v>
                </c:pt>
                <c:pt idx="21046">
                  <c:v>40899</c:v>
                </c:pt>
                <c:pt idx="21047">
                  <c:v>40898</c:v>
                </c:pt>
                <c:pt idx="21048">
                  <c:v>40897</c:v>
                </c:pt>
                <c:pt idx="21049">
                  <c:v>40897</c:v>
                </c:pt>
                <c:pt idx="21050">
                  <c:v>40897</c:v>
                </c:pt>
                <c:pt idx="21051">
                  <c:v>40896</c:v>
                </c:pt>
                <c:pt idx="21052">
                  <c:v>40895</c:v>
                </c:pt>
                <c:pt idx="21053">
                  <c:v>40894</c:v>
                </c:pt>
                <c:pt idx="21054">
                  <c:v>40894</c:v>
                </c:pt>
                <c:pt idx="21055">
                  <c:v>40893</c:v>
                </c:pt>
                <c:pt idx="21056">
                  <c:v>40893</c:v>
                </c:pt>
                <c:pt idx="21057">
                  <c:v>40892</c:v>
                </c:pt>
                <c:pt idx="21058">
                  <c:v>40891</c:v>
                </c:pt>
                <c:pt idx="21059">
                  <c:v>40889</c:v>
                </c:pt>
                <c:pt idx="21060">
                  <c:v>40889</c:v>
                </c:pt>
                <c:pt idx="21061">
                  <c:v>40888</c:v>
                </c:pt>
                <c:pt idx="21062">
                  <c:v>40888</c:v>
                </c:pt>
                <c:pt idx="21063">
                  <c:v>40888</c:v>
                </c:pt>
                <c:pt idx="21064">
                  <c:v>40887</c:v>
                </c:pt>
                <c:pt idx="21065">
                  <c:v>40886</c:v>
                </c:pt>
                <c:pt idx="21066">
                  <c:v>40886</c:v>
                </c:pt>
                <c:pt idx="21067">
                  <c:v>40885</c:v>
                </c:pt>
                <c:pt idx="21068">
                  <c:v>40885</c:v>
                </c:pt>
                <c:pt idx="21069">
                  <c:v>40885</c:v>
                </c:pt>
                <c:pt idx="21070">
                  <c:v>40883</c:v>
                </c:pt>
                <c:pt idx="21071">
                  <c:v>40883</c:v>
                </c:pt>
                <c:pt idx="21072">
                  <c:v>40883</c:v>
                </c:pt>
                <c:pt idx="21073">
                  <c:v>40882</c:v>
                </c:pt>
                <c:pt idx="21074">
                  <c:v>40882</c:v>
                </c:pt>
                <c:pt idx="21075">
                  <c:v>40882</c:v>
                </c:pt>
                <c:pt idx="21076">
                  <c:v>40882</c:v>
                </c:pt>
                <c:pt idx="21077">
                  <c:v>40881</c:v>
                </c:pt>
                <c:pt idx="21078">
                  <c:v>40881</c:v>
                </c:pt>
                <c:pt idx="21079">
                  <c:v>40881</c:v>
                </c:pt>
                <c:pt idx="21080">
                  <c:v>40880</c:v>
                </c:pt>
                <c:pt idx="21081">
                  <c:v>40880</c:v>
                </c:pt>
                <c:pt idx="21082">
                  <c:v>40880</c:v>
                </c:pt>
                <c:pt idx="21083">
                  <c:v>40878</c:v>
                </c:pt>
                <c:pt idx="21084">
                  <c:v>40877</c:v>
                </c:pt>
                <c:pt idx="21085">
                  <c:v>40876</c:v>
                </c:pt>
                <c:pt idx="21086">
                  <c:v>40876</c:v>
                </c:pt>
                <c:pt idx="21087">
                  <c:v>40874</c:v>
                </c:pt>
                <c:pt idx="21088">
                  <c:v>40872</c:v>
                </c:pt>
                <c:pt idx="21089">
                  <c:v>40872</c:v>
                </c:pt>
                <c:pt idx="21090">
                  <c:v>40871</c:v>
                </c:pt>
                <c:pt idx="21091">
                  <c:v>40870</c:v>
                </c:pt>
                <c:pt idx="21092">
                  <c:v>40870</c:v>
                </c:pt>
                <c:pt idx="21093">
                  <c:v>40869</c:v>
                </c:pt>
                <c:pt idx="21094">
                  <c:v>40868</c:v>
                </c:pt>
                <c:pt idx="21095">
                  <c:v>40867</c:v>
                </c:pt>
                <c:pt idx="21096">
                  <c:v>40866</c:v>
                </c:pt>
                <c:pt idx="21097">
                  <c:v>40865</c:v>
                </c:pt>
                <c:pt idx="21098">
                  <c:v>40865</c:v>
                </c:pt>
                <c:pt idx="21099">
                  <c:v>40865</c:v>
                </c:pt>
                <c:pt idx="21100">
                  <c:v>40864</c:v>
                </c:pt>
                <c:pt idx="21101">
                  <c:v>40863</c:v>
                </c:pt>
                <c:pt idx="21102">
                  <c:v>40861</c:v>
                </c:pt>
                <c:pt idx="21103">
                  <c:v>40861</c:v>
                </c:pt>
                <c:pt idx="21104">
                  <c:v>40861</c:v>
                </c:pt>
                <c:pt idx="21105">
                  <c:v>40860</c:v>
                </c:pt>
                <c:pt idx="21106">
                  <c:v>40859</c:v>
                </c:pt>
                <c:pt idx="21107">
                  <c:v>40859</c:v>
                </c:pt>
                <c:pt idx="21108">
                  <c:v>40858</c:v>
                </c:pt>
                <c:pt idx="21109">
                  <c:v>40856</c:v>
                </c:pt>
                <c:pt idx="21110">
                  <c:v>40855</c:v>
                </c:pt>
                <c:pt idx="21111">
                  <c:v>40855</c:v>
                </c:pt>
                <c:pt idx="21112">
                  <c:v>40855</c:v>
                </c:pt>
                <c:pt idx="21113">
                  <c:v>40854</c:v>
                </c:pt>
                <c:pt idx="21114">
                  <c:v>40854</c:v>
                </c:pt>
                <c:pt idx="21115">
                  <c:v>40854</c:v>
                </c:pt>
                <c:pt idx="21116">
                  <c:v>40854</c:v>
                </c:pt>
                <c:pt idx="21117">
                  <c:v>40852</c:v>
                </c:pt>
                <c:pt idx="21118">
                  <c:v>40849</c:v>
                </c:pt>
                <c:pt idx="21119">
                  <c:v>40849</c:v>
                </c:pt>
                <c:pt idx="21120">
                  <c:v>40849</c:v>
                </c:pt>
                <c:pt idx="21121">
                  <c:v>40848</c:v>
                </c:pt>
                <c:pt idx="21122">
                  <c:v>40846</c:v>
                </c:pt>
                <c:pt idx="21123">
                  <c:v>40846</c:v>
                </c:pt>
                <c:pt idx="21124">
                  <c:v>40845</c:v>
                </c:pt>
                <c:pt idx="21125">
                  <c:v>40845</c:v>
                </c:pt>
                <c:pt idx="21126">
                  <c:v>40845</c:v>
                </c:pt>
                <c:pt idx="21127">
                  <c:v>40844</c:v>
                </c:pt>
                <c:pt idx="21128">
                  <c:v>40844</c:v>
                </c:pt>
                <c:pt idx="21129">
                  <c:v>40843</c:v>
                </c:pt>
                <c:pt idx="21130">
                  <c:v>40843</c:v>
                </c:pt>
                <c:pt idx="21131">
                  <c:v>40842</c:v>
                </c:pt>
                <c:pt idx="21132">
                  <c:v>40842</c:v>
                </c:pt>
                <c:pt idx="21133">
                  <c:v>40842</c:v>
                </c:pt>
                <c:pt idx="21134">
                  <c:v>40841</c:v>
                </c:pt>
                <c:pt idx="21135">
                  <c:v>40840</c:v>
                </c:pt>
                <c:pt idx="21136">
                  <c:v>40839</c:v>
                </c:pt>
                <c:pt idx="21137">
                  <c:v>40838</c:v>
                </c:pt>
                <c:pt idx="21138">
                  <c:v>40838</c:v>
                </c:pt>
                <c:pt idx="21139">
                  <c:v>40838</c:v>
                </c:pt>
                <c:pt idx="21140">
                  <c:v>40838</c:v>
                </c:pt>
                <c:pt idx="21141">
                  <c:v>40837</c:v>
                </c:pt>
                <c:pt idx="21142">
                  <c:v>40837</c:v>
                </c:pt>
                <c:pt idx="21143">
                  <c:v>40836</c:v>
                </c:pt>
                <c:pt idx="21144">
                  <c:v>40836</c:v>
                </c:pt>
                <c:pt idx="21145">
                  <c:v>40835</c:v>
                </c:pt>
                <c:pt idx="21146">
                  <c:v>40834</c:v>
                </c:pt>
                <c:pt idx="21147">
                  <c:v>40834</c:v>
                </c:pt>
                <c:pt idx="21148">
                  <c:v>40834</c:v>
                </c:pt>
                <c:pt idx="21149">
                  <c:v>40833</c:v>
                </c:pt>
                <c:pt idx="21150">
                  <c:v>40833</c:v>
                </c:pt>
                <c:pt idx="21151">
                  <c:v>40832</c:v>
                </c:pt>
                <c:pt idx="21152">
                  <c:v>40831</c:v>
                </c:pt>
                <c:pt idx="21153">
                  <c:v>40831</c:v>
                </c:pt>
                <c:pt idx="21154">
                  <c:v>40830</c:v>
                </c:pt>
                <c:pt idx="21155">
                  <c:v>40828</c:v>
                </c:pt>
                <c:pt idx="21156">
                  <c:v>40827</c:v>
                </c:pt>
                <c:pt idx="21157">
                  <c:v>40826</c:v>
                </c:pt>
                <c:pt idx="21158">
                  <c:v>40825</c:v>
                </c:pt>
                <c:pt idx="21159">
                  <c:v>40825</c:v>
                </c:pt>
                <c:pt idx="21160">
                  <c:v>40824</c:v>
                </c:pt>
                <c:pt idx="21161">
                  <c:v>40823</c:v>
                </c:pt>
                <c:pt idx="21162">
                  <c:v>40823</c:v>
                </c:pt>
                <c:pt idx="21163">
                  <c:v>40823</c:v>
                </c:pt>
                <c:pt idx="21164">
                  <c:v>40820</c:v>
                </c:pt>
                <c:pt idx="21165">
                  <c:v>40818</c:v>
                </c:pt>
                <c:pt idx="21166">
                  <c:v>40817</c:v>
                </c:pt>
                <c:pt idx="21167">
                  <c:v>40817</c:v>
                </c:pt>
                <c:pt idx="21168">
                  <c:v>40817</c:v>
                </c:pt>
                <c:pt idx="21169">
                  <c:v>40817</c:v>
                </c:pt>
                <c:pt idx="21170">
                  <c:v>40816</c:v>
                </c:pt>
                <c:pt idx="21171">
                  <c:v>40816</c:v>
                </c:pt>
                <c:pt idx="21172">
                  <c:v>40815</c:v>
                </c:pt>
                <c:pt idx="21173">
                  <c:v>40815</c:v>
                </c:pt>
                <c:pt idx="21174">
                  <c:v>40815</c:v>
                </c:pt>
                <c:pt idx="21175">
                  <c:v>40814</c:v>
                </c:pt>
                <c:pt idx="21176">
                  <c:v>40813</c:v>
                </c:pt>
                <c:pt idx="21177">
                  <c:v>40812</c:v>
                </c:pt>
                <c:pt idx="21178">
                  <c:v>40812</c:v>
                </c:pt>
                <c:pt idx="21179">
                  <c:v>40811</c:v>
                </c:pt>
                <c:pt idx="21180">
                  <c:v>40811</c:v>
                </c:pt>
                <c:pt idx="21181">
                  <c:v>40811</c:v>
                </c:pt>
                <c:pt idx="21182">
                  <c:v>40810</c:v>
                </c:pt>
                <c:pt idx="21183">
                  <c:v>40808</c:v>
                </c:pt>
                <c:pt idx="21184">
                  <c:v>40808</c:v>
                </c:pt>
                <c:pt idx="21185">
                  <c:v>40805</c:v>
                </c:pt>
                <c:pt idx="21186">
                  <c:v>40805</c:v>
                </c:pt>
                <c:pt idx="21187">
                  <c:v>40805</c:v>
                </c:pt>
                <c:pt idx="21188">
                  <c:v>40802</c:v>
                </c:pt>
                <c:pt idx="21189">
                  <c:v>40802</c:v>
                </c:pt>
                <c:pt idx="21190">
                  <c:v>40802</c:v>
                </c:pt>
                <c:pt idx="21191">
                  <c:v>40802</c:v>
                </c:pt>
                <c:pt idx="21192">
                  <c:v>40801</c:v>
                </c:pt>
                <c:pt idx="21193">
                  <c:v>40801</c:v>
                </c:pt>
                <c:pt idx="21194">
                  <c:v>40800</c:v>
                </c:pt>
                <c:pt idx="21195">
                  <c:v>40800</c:v>
                </c:pt>
                <c:pt idx="21196">
                  <c:v>40799</c:v>
                </c:pt>
                <c:pt idx="21197">
                  <c:v>40798</c:v>
                </c:pt>
                <c:pt idx="21198">
                  <c:v>40798</c:v>
                </c:pt>
                <c:pt idx="21199">
                  <c:v>40798</c:v>
                </c:pt>
                <c:pt idx="21200">
                  <c:v>40798</c:v>
                </c:pt>
                <c:pt idx="21201">
                  <c:v>40797</c:v>
                </c:pt>
                <c:pt idx="21202">
                  <c:v>40797</c:v>
                </c:pt>
                <c:pt idx="21203">
                  <c:v>40797</c:v>
                </c:pt>
                <c:pt idx="21204">
                  <c:v>40797</c:v>
                </c:pt>
                <c:pt idx="21205">
                  <c:v>40796</c:v>
                </c:pt>
                <c:pt idx="21206">
                  <c:v>40796</c:v>
                </c:pt>
                <c:pt idx="21207">
                  <c:v>40793</c:v>
                </c:pt>
                <c:pt idx="21208">
                  <c:v>40793</c:v>
                </c:pt>
                <c:pt idx="21209">
                  <c:v>40792</c:v>
                </c:pt>
                <c:pt idx="21210">
                  <c:v>40791</c:v>
                </c:pt>
                <c:pt idx="21211">
                  <c:v>40791</c:v>
                </c:pt>
                <c:pt idx="21212">
                  <c:v>40785</c:v>
                </c:pt>
                <c:pt idx="21213">
                  <c:v>40784</c:v>
                </c:pt>
                <c:pt idx="21214">
                  <c:v>40784</c:v>
                </c:pt>
                <c:pt idx="21215">
                  <c:v>40783</c:v>
                </c:pt>
                <c:pt idx="21216">
                  <c:v>40782</c:v>
                </c:pt>
                <c:pt idx="21217">
                  <c:v>40781</c:v>
                </c:pt>
                <c:pt idx="21218">
                  <c:v>40781</c:v>
                </c:pt>
                <c:pt idx="21219">
                  <c:v>40781</c:v>
                </c:pt>
                <c:pt idx="21220">
                  <c:v>40780</c:v>
                </c:pt>
                <c:pt idx="21221">
                  <c:v>40780</c:v>
                </c:pt>
                <c:pt idx="21222">
                  <c:v>40780</c:v>
                </c:pt>
                <c:pt idx="21223">
                  <c:v>40779</c:v>
                </c:pt>
                <c:pt idx="21224">
                  <c:v>40777</c:v>
                </c:pt>
                <c:pt idx="21225">
                  <c:v>40776</c:v>
                </c:pt>
                <c:pt idx="21226">
                  <c:v>40776</c:v>
                </c:pt>
                <c:pt idx="21227">
                  <c:v>40775</c:v>
                </c:pt>
                <c:pt idx="21228">
                  <c:v>40772</c:v>
                </c:pt>
                <c:pt idx="21229">
                  <c:v>40772</c:v>
                </c:pt>
                <c:pt idx="21230">
                  <c:v>40772</c:v>
                </c:pt>
                <c:pt idx="21231">
                  <c:v>40771</c:v>
                </c:pt>
                <c:pt idx="21232">
                  <c:v>40771</c:v>
                </c:pt>
                <c:pt idx="21233">
                  <c:v>40770</c:v>
                </c:pt>
                <c:pt idx="21234">
                  <c:v>40769</c:v>
                </c:pt>
                <c:pt idx="21235">
                  <c:v>40767</c:v>
                </c:pt>
                <c:pt idx="21236">
                  <c:v>40765</c:v>
                </c:pt>
                <c:pt idx="21237">
                  <c:v>40763</c:v>
                </c:pt>
                <c:pt idx="21238">
                  <c:v>40762</c:v>
                </c:pt>
                <c:pt idx="21239">
                  <c:v>40762</c:v>
                </c:pt>
                <c:pt idx="21240">
                  <c:v>40762</c:v>
                </c:pt>
                <c:pt idx="21241">
                  <c:v>40759</c:v>
                </c:pt>
                <c:pt idx="21242">
                  <c:v>40759</c:v>
                </c:pt>
                <c:pt idx="21243">
                  <c:v>40758</c:v>
                </c:pt>
                <c:pt idx="21244">
                  <c:v>40758</c:v>
                </c:pt>
                <c:pt idx="21245">
                  <c:v>40757</c:v>
                </c:pt>
                <c:pt idx="21246">
                  <c:v>40755</c:v>
                </c:pt>
                <c:pt idx="21247">
                  <c:v>40755</c:v>
                </c:pt>
                <c:pt idx="21248">
                  <c:v>40754</c:v>
                </c:pt>
                <c:pt idx="21249">
                  <c:v>40754</c:v>
                </c:pt>
                <c:pt idx="21250">
                  <c:v>40752</c:v>
                </c:pt>
                <c:pt idx="21251">
                  <c:v>40750</c:v>
                </c:pt>
                <c:pt idx="21252">
                  <c:v>40750</c:v>
                </c:pt>
                <c:pt idx="21253">
                  <c:v>40749</c:v>
                </c:pt>
                <c:pt idx="21254">
                  <c:v>40749</c:v>
                </c:pt>
                <c:pt idx="21255">
                  <c:v>40749</c:v>
                </c:pt>
                <c:pt idx="21256">
                  <c:v>40749</c:v>
                </c:pt>
                <c:pt idx="21257">
                  <c:v>40749</c:v>
                </c:pt>
                <c:pt idx="21258">
                  <c:v>40748</c:v>
                </c:pt>
                <c:pt idx="21259">
                  <c:v>40747</c:v>
                </c:pt>
                <c:pt idx="21260">
                  <c:v>40747</c:v>
                </c:pt>
                <c:pt idx="21261">
                  <c:v>40742</c:v>
                </c:pt>
                <c:pt idx="21262">
                  <c:v>40742</c:v>
                </c:pt>
                <c:pt idx="21263">
                  <c:v>40738</c:v>
                </c:pt>
                <c:pt idx="21264">
                  <c:v>40738</c:v>
                </c:pt>
                <c:pt idx="21265">
                  <c:v>40738</c:v>
                </c:pt>
                <c:pt idx="21266">
                  <c:v>40737</c:v>
                </c:pt>
                <c:pt idx="21267">
                  <c:v>40737</c:v>
                </c:pt>
                <c:pt idx="21268">
                  <c:v>40736</c:v>
                </c:pt>
                <c:pt idx="21269">
                  <c:v>40736</c:v>
                </c:pt>
                <c:pt idx="21270">
                  <c:v>40735</c:v>
                </c:pt>
                <c:pt idx="21271">
                  <c:v>40735</c:v>
                </c:pt>
                <c:pt idx="21272">
                  <c:v>40735</c:v>
                </c:pt>
                <c:pt idx="21273">
                  <c:v>40734</c:v>
                </c:pt>
                <c:pt idx="21274">
                  <c:v>40733</c:v>
                </c:pt>
                <c:pt idx="21275">
                  <c:v>40733</c:v>
                </c:pt>
                <c:pt idx="21276">
                  <c:v>40730</c:v>
                </c:pt>
                <c:pt idx="21277">
                  <c:v>40730</c:v>
                </c:pt>
                <c:pt idx="21278">
                  <c:v>40730</c:v>
                </c:pt>
                <c:pt idx="21279">
                  <c:v>40729</c:v>
                </c:pt>
                <c:pt idx="21280">
                  <c:v>40727</c:v>
                </c:pt>
                <c:pt idx="21281">
                  <c:v>40726</c:v>
                </c:pt>
                <c:pt idx="21282">
                  <c:v>40725</c:v>
                </c:pt>
                <c:pt idx="21283">
                  <c:v>40724</c:v>
                </c:pt>
                <c:pt idx="21284">
                  <c:v>40724</c:v>
                </c:pt>
                <c:pt idx="21285">
                  <c:v>40723</c:v>
                </c:pt>
                <c:pt idx="21286">
                  <c:v>40723</c:v>
                </c:pt>
                <c:pt idx="21287">
                  <c:v>40723</c:v>
                </c:pt>
                <c:pt idx="21288">
                  <c:v>40722</c:v>
                </c:pt>
                <c:pt idx="21289">
                  <c:v>40722</c:v>
                </c:pt>
                <c:pt idx="21290">
                  <c:v>40722</c:v>
                </c:pt>
                <c:pt idx="21291">
                  <c:v>40721</c:v>
                </c:pt>
                <c:pt idx="21292">
                  <c:v>40720</c:v>
                </c:pt>
                <c:pt idx="21293">
                  <c:v>40719</c:v>
                </c:pt>
                <c:pt idx="21294">
                  <c:v>40719</c:v>
                </c:pt>
                <c:pt idx="21295">
                  <c:v>40718</c:v>
                </c:pt>
                <c:pt idx="21296">
                  <c:v>40718</c:v>
                </c:pt>
                <c:pt idx="21297">
                  <c:v>40717</c:v>
                </c:pt>
                <c:pt idx="21298">
                  <c:v>40717</c:v>
                </c:pt>
                <c:pt idx="21299">
                  <c:v>40717</c:v>
                </c:pt>
                <c:pt idx="21300">
                  <c:v>40716</c:v>
                </c:pt>
                <c:pt idx="21301">
                  <c:v>40715</c:v>
                </c:pt>
                <c:pt idx="21302">
                  <c:v>40714</c:v>
                </c:pt>
                <c:pt idx="21303">
                  <c:v>40712</c:v>
                </c:pt>
                <c:pt idx="21304">
                  <c:v>40711</c:v>
                </c:pt>
                <c:pt idx="21305">
                  <c:v>40710</c:v>
                </c:pt>
                <c:pt idx="21306">
                  <c:v>40708</c:v>
                </c:pt>
                <c:pt idx="21307">
                  <c:v>40706</c:v>
                </c:pt>
                <c:pt idx="21308">
                  <c:v>40706</c:v>
                </c:pt>
                <c:pt idx="21309">
                  <c:v>40705</c:v>
                </c:pt>
                <c:pt idx="21310">
                  <c:v>40705</c:v>
                </c:pt>
                <c:pt idx="21311">
                  <c:v>40704</c:v>
                </c:pt>
                <c:pt idx="21312">
                  <c:v>40703</c:v>
                </c:pt>
                <c:pt idx="21313">
                  <c:v>40703</c:v>
                </c:pt>
                <c:pt idx="21314">
                  <c:v>40703</c:v>
                </c:pt>
                <c:pt idx="21315">
                  <c:v>40701</c:v>
                </c:pt>
                <c:pt idx="21316">
                  <c:v>40700</c:v>
                </c:pt>
                <c:pt idx="21317">
                  <c:v>40700</c:v>
                </c:pt>
                <c:pt idx="21318">
                  <c:v>40699</c:v>
                </c:pt>
                <c:pt idx="21319">
                  <c:v>40699</c:v>
                </c:pt>
                <c:pt idx="21320">
                  <c:v>40698</c:v>
                </c:pt>
                <c:pt idx="21321">
                  <c:v>40697</c:v>
                </c:pt>
                <c:pt idx="21322">
                  <c:v>40696</c:v>
                </c:pt>
                <c:pt idx="21323">
                  <c:v>40695</c:v>
                </c:pt>
                <c:pt idx="21324">
                  <c:v>40694</c:v>
                </c:pt>
                <c:pt idx="21325">
                  <c:v>40694</c:v>
                </c:pt>
                <c:pt idx="21326">
                  <c:v>40692</c:v>
                </c:pt>
                <c:pt idx="21327">
                  <c:v>40690</c:v>
                </c:pt>
                <c:pt idx="21328">
                  <c:v>40690</c:v>
                </c:pt>
                <c:pt idx="21329">
                  <c:v>40689</c:v>
                </c:pt>
                <c:pt idx="21330">
                  <c:v>40689</c:v>
                </c:pt>
                <c:pt idx="21331">
                  <c:v>40689</c:v>
                </c:pt>
                <c:pt idx="21332">
                  <c:v>40689</c:v>
                </c:pt>
                <c:pt idx="21333">
                  <c:v>40688</c:v>
                </c:pt>
                <c:pt idx="21334">
                  <c:v>40687</c:v>
                </c:pt>
                <c:pt idx="21335">
                  <c:v>40686</c:v>
                </c:pt>
                <c:pt idx="21336">
                  <c:v>40685</c:v>
                </c:pt>
                <c:pt idx="21337">
                  <c:v>40685</c:v>
                </c:pt>
                <c:pt idx="21338">
                  <c:v>40685</c:v>
                </c:pt>
                <c:pt idx="21339">
                  <c:v>40685</c:v>
                </c:pt>
                <c:pt idx="21340">
                  <c:v>40683</c:v>
                </c:pt>
                <c:pt idx="21341">
                  <c:v>40681</c:v>
                </c:pt>
                <c:pt idx="21342">
                  <c:v>40679</c:v>
                </c:pt>
                <c:pt idx="21343">
                  <c:v>40679</c:v>
                </c:pt>
                <c:pt idx="21344">
                  <c:v>40677</c:v>
                </c:pt>
                <c:pt idx="21345">
                  <c:v>40676</c:v>
                </c:pt>
                <c:pt idx="21346">
                  <c:v>40675</c:v>
                </c:pt>
                <c:pt idx="21347">
                  <c:v>40674</c:v>
                </c:pt>
                <c:pt idx="21348">
                  <c:v>40674</c:v>
                </c:pt>
                <c:pt idx="21349">
                  <c:v>40673</c:v>
                </c:pt>
                <c:pt idx="21350">
                  <c:v>40672</c:v>
                </c:pt>
                <c:pt idx="21351">
                  <c:v>40671</c:v>
                </c:pt>
                <c:pt idx="21352">
                  <c:v>40671</c:v>
                </c:pt>
                <c:pt idx="21353">
                  <c:v>40671</c:v>
                </c:pt>
                <c:pt idx="21354">
                  <c:v>40669</c:v>
                </c:pt>
                <c:pt idx="21355">
                  <c:v>40669</c:v>
                </c:pt>
                <c:pt idx="21356">
                  <c:v>40669</c:v>
                </c:pt>
                <c:pt idx="21357">
                  <c:v>40668</c:v>
                </c:pt>
                <c:pt idx="21358">
                  <c:v>40666</c:v>
                </c:pt>
                <c:pt idx="21359">
                  <c:v>40666</c:v>
                </c:pt>
                <c:pt idx="21360">
                  <c:v>40665</c:v>
                </c:pt>
                <c:pt idx="21361">
                  <c:v>40664</c:v>
                </c:pt>
                <c:pt idx="21362">
                  <c:v>40664</c:v>
                </c:pt>
                <c:pt idx="21363">
                  <c:v>40663</c:v>
                </c:pt>
                <c:pt idx="21364">
                  <c:v>40662</c:v>
                </c:pt>
                <c:pt idx="21365">
                  <c:v>40661</c:v>
                </c:pt>
                <c:pt idx="21366">
                  <c:v>40661</c:v>
                </c:pt>
                <c:pt idx="21367">
                  <c:v>40661</c:v>
                </c:pt>
                <c:pt idx="21368">
                  <c:v>40660</c:v>
                </c:pt>
                <c:pt idx="21369">
                  <c:v>40658</c:v>
                </c:pt>
                <c:pt idx="21370">
                  <c:v>40658</c:v>
                </c:pt>
                <c:pt idx="21371">
                  <c:v>40657</c:v>
                </c:pt>
                <c:pt idx="21372">
                  <c:v>40656</c:v>
                </c:pt>
                <c:pt idx="21373">
                  <c:v>40653</c:v>
                </c:pt>
                <c:pt idx="21374">
                  <c:v>40652</c:v>
                </c:pt>
                <c:pt idx="21375">
                  <c:v>40652</c:v>
                </c:pt>
                <c:pt idx="21376">
                  <c:v>40651</c:v>
                </c:pt>
                <c:pt idx="21377">
                  <c:v>40650</c:v>
                </c:pt>
                <c:pt idx="21378">
                  <c:v>40650</c:v>
                </c:pt>
                <c:pt idx="21379">
                  <c:v>40650</c:v>
                </c:pt>
                <c:pt idx="21380">
                  <c:v>40650</c:v>
                </c:pt>
                <c:pt idx="21381">
                  <c:v>40650</c:v>
                </c:pt>
                <c:pt idx="21382">
                  <c:v>40648</c:v>
                </c:pt>
                <c:pt idx="21383">
                  <c:v>40648</c:v>
                </c:pt>
                <c:pt idx="21384">
                  <c:v>40647</c:v>
                </c:pt>
                <c:pt idx="21385">
                  <c:v>40646</c:v>
                </c:pt>
                <c:pt idx="21386">
                  <c:v>40646</c:v>
                </c:pt>
                <c:pt idx="21387">
                  <c:v>40644</c:v>
                </c:pt>
                <c:pt idx="21388">
                  <c:v>40644</c:v>
                </c:pt>
                <c:pt idx="21389">
                  <c:v>40644</c:v>
                </c:pt>
                <c:pt idx="21390">
                  <c:v>40644</c:v>
                </c:pt>
                <c:pt idx="21391">
                  <c:v>40644</c:v>
                </c:pt>
                <c:pt idx="21392">
                  <c:v>40642</c:v>
                </c:pt>
                <c:pt idx="21393">
                  <c:v>40642</c:v>
                </c:pt>
                <c:pt idx="21394">
                  <c:v>40640</c:v>
                </c:pt>
                <c:pt idx="21395">
                  <c:v>40639</c:v>
                </c:pt>
                <c:pt idx="21396">
                  <c:v>40636</c:v>
                </c:pt>
                <c:pt idx="21397">
                  <c:v>40633</c:v>
                </c:pt>
                <c:pt idx="21398">
                  <c:v>40633</c:v>
                </c:pt>
                <c:pt idx="21399">
                  <c:v>40632</c:v>
                </c:pt>
                <c:pt idx="21400">
                  <c:v>40632</c:v>
                </c:pt>
                <c:pt idx="21401">
                  <c:v>40632</c:v>
                </c:pt>
                <c:pt idx="21402">
                  <c:v>40630</c:v>
                </c:pt>
                <c:pt idx="21403">
                  <c:v>40629</c:v>
                </c:pt>
                <c:pt idx="21404">
                  <c:v>40629</c:v>
                </c:pt>
                <c:pt idx="21405">
                  <c:v>40628</c:v>
                </c:pt>
                <c:pt idx="21406">
                  <c:v>40628</c:v>
                </c:pt>
                <c:pt idx="21407">
                  <c:v>40627</c:v>
                </c:pt>
                <c:pt idx="21408">
                  <c:v>40623</c:v>
                </c:pt>
                <c:pt idx="21409">
                  <c:v>40623</c:v>
                </c:pt>
                <c:pt idx="21410">
                  <c:v>40623</c:v>
                </c:pt>
                <c:pt idx="21411">
                  <c:v>40622</c:v>
                </c:pt>
                <c:pt idx="21412">
                  <c:v>40622</c:v>
                </c:pt>
                <c:pt idx="21413">
                  <c:v>40622</c:v>
                </c:pt>
                <c:pt idx="21414">
                  <c:v>40621</c:v>
                </c:pt>
                <c:pt idx="21415">
                  <c:v>40618</c:v>
                </c:pt>
                <c:pt idx="21416">
                  <c:v>40617</c:v>
                </c:pt>
                <c:pt idx="21417">
                  <c:v>40616</c:v>
                </c:pt>
                <c:pt idx="21418">
                  <c:v>40615</c:v>
                </c:pt>
                <c:pt idx="21419">
                  <c:v>40615</c:v>
                </c:pt>
                <c:pt idx="21420">
                  <c:v>40614</c:v>
                </c:pt>
                <c:pt idx="21421">
                  <c:v>40610</c:v>
                </c:pt>
                <c:pt idx="21422">
                  <c:v>40610</c:v>
                </c:pt>
                <c:pt idx="21423">
                  <c:v>40608</c:v>
                </c:pt>
                <c:pt idx="21424">
                  <c:v>40607</c:v>
                </c:pt>
                <c:pt idx="21425">
                  <c:v>40605</c:v>
                </c:pt>
                <c:pt idx="21426">
                  <c:v>40605</c:v>
                </c:pt>
                <c:pt idx="21427">
                  <c:v>40605</c:v>
                </c:pt>
                <c:pt idx="21428">
                  <c:v>40603</c:v>
                </c:pt>
                <c:pt idx="21429">
                  <c:v>40602</c:v>
                </c:pt>
                <c:pt idx="21430">
                  <c:v>40602</c:v>
                </c:pt>
                <c:pt idx="21431">
                  <c:v>40601</c:v>
                </c:pt>
                <c:pt idx="21432">
                  <c:v>40599</c:v>
                </c:pt>
                <c:pt idx="21433">
                  <c:v>40598</c:v>
                </c:pt>
                <c:pt idx="21434">
                  <c:v>40598</c:v>
                </c:pt>
                <c:pt idx="21435">
                  <c:v>40598</c:v>
                </c:pt>
                <c:pt idx="21436">
                  <c:v>40598</c:v>
                </c:pt>
                <c:pt idx="21437">
                  <c:v>40597</c:v>
                </c:pt>
                <c:pt idx="21438">
                  <c:v>40597</c:v>
                </c:pt>
                <c:pt idx="21439">
                  <c:v>40597</c:v>
                </c:pt>
                <c:pt idx="21440">
                  <c:v>40596</c:v>
                </c:pt>
                <c:pt idx="21441">
                  <c:v>40596</c:v>
                </c:pt>
                <c:pt idx="21442">
                  <c:v>40595</c:v>
                </c:pt>
                <c:pt idx="21443">
                  <c:v>40594</c:v>
                </c:pt>
                <c:pt idx="21444">
                  <c:v>40593</c:v>
                </c:pt>
                <c:pt idx="21445">
                  <c:v>40592</c:v>
                </c:pt>
                <c:pt idx="21446">
                  <c:v>40590</c:v>
                </c:pt>
                <c:pt idx="21447">
                  <c:v>40590</c:v>
                </c:pt>
                <c:pt idx="21448">
                  <c:v>40589</c:v>
                </c:pt>
                <c:pt idx="21449">
                  <c:v>40589</c:v>
                </c:pt>
                <c:pt idx="21450">
                  <c:v>40588</c:v>
                </c:pt>
                <c:pt idx="21451">
                  <c:v>40588</c:v>
                </c:pt>
                <c:pt idx="21452">
                  <c:v>40587</c:v>
                </c:pt>
                <c:pt idx="21453">
                  <c:v>40585</c:v>
                </c:pt>
                <c:pt idx="21454">
                  <c:v>40584</c:v>
                </c:pt>
                <c:pt idx="21455">
                  <c:v>40584</c:v>
                </c:pt>
                <c:pt idx="21456">
                  <c:v>40584</c:v>
                </c:pt>
                <c:pt idx="21457">
                  <c:v>40582</c:v>
                </c:pt>
                <c:pt idx="21458">
                  <c:v>40582</c:v>
                </c:pt>
                <c:pt idx="21459">
                  <c:v>40581</c:v>
                </c:pt>
                <c:pt idx="21460">
                  <c:v>40581</c:v>
                </c:pt>
                <c:pt idx="21461">
                  <c:v>40581</c:v>
                </c:pt>
                <c:pt idx="21462">
                  <c:v>40580</c:v>
                </c:pt>
                <c:pt idx="21463">
                  <c:v>40580</c:v>
                </c:pt>
                <c:pt idx="21464">
                  <c:v>40579</c:v>
                </c:pt>
                <c:pt idx="21465">
                  <c:v>40578</c:v>
                </c:pt>
                <c:pt idx="21466">
                  <c:v>40578</c:v>
                </c:pt>
                <c:pt idx="21467">
                  <c:v>40576</c:v>
                </c:pt>
                <c:pt idx="21468">
                  <c:v>40576</c:v>
                </c:pt>
                <c:pt idx="21469">
                  <c:v>40575</c:v>
                </c:pt>
                <c:pt idx="21470">
                  <c:v>40574</c:v>
                </c:pt>
                <c:pt idx="21471">
                  <c:v>40572</c:v>
                </c:pt>
                <c:pt idx="21472">
                  <c:v>40572</c:v>
                </c:pt>
                <c:pt idx="21473">
                  <c:v>40572</c:v>
                </c:pt>
                <c:pt idx="21474">
                  <c:v>40572</c:v>
                </c:pt>
                <c:pt idx="21475">
                  <c:v>40570</c:v>
                </c:pt>
                <c:pt idx="21476">
                  <c:v>40569</c:v>
                </c:pt>
                <c:pt idx="21477">
                  <c:v>40569</c:v>
                </c:pt>
                <c:pt idx="21478">
                  <c:v>40568</c:v>
                </c:pt>
                <c:pt idx="21479">
                  <c:v>40566</c:v>
                </c:pt>
                <c:pt idx="21480">
                  <c:v>40565</c:v>
                </c:pt>
                <c:pt idx="21481">
                  <c:v>40565</c:v>
                </c:pt>
                <c:pt idx="21482">
                  <c:v>40564</c:v>
                </c:pt>
                <c:pt idx="21483">
                  <c:v>40563</c:v>
                </c:pt>
                <c:pt idx="21484">
                  <c:v>40563</c:v>
                </c:pt>
                <c:pt idx="21485">
                  <c:v>40562</c:v>
                </c:pt>
                <c:pt idx="21486">
                  <c:v>40561</c:v>
                </c:pt>
                <c:pt idx="21487">
                  <c:v>40560</c:v>
                </c:pt>
                <c:pt idx="21488">
                  <c:v>40559</c:v>
                </c:pt>
                <c:pt idx="21489">
                  <c:v>40559</c:v>
                </c:pt>
                <c:pt idx="21490">
                  <c:v>40559</c:v>
                </c:pt>
                <c:pt idx="21491">
                  <c:v>40559</c:v>
                </c:pt>
                <c:pt idx="21492">
                  <c:v>40558</c:v>
                </c:pt>
                <c:pt idx="21493">
                  <c:v>40558</c:v>
                </c:pt>
                <c:pt idx="21494">
                  <c:v>40557</c:v>
                </c:pt>
                <c:pt idx="21495">
                  <c:v>40556</c:v>
                </c:pt>
                <c:pt idx="21496">
                  <c:v>40555</c:v>
                </c:pt>
                <c:pt idx="21497">
                  <c:v>40554</c:v>
                </c:pt>
                <c:pt idx="21498">
                  <c:v>40553</c:v>
                </c:pt>
                <c:pt idx="21499">
                  <c:v>40553</c:v>
                </c:pt>
                <c:pt idx="21500">
                  <c:v>40552</c:v>
                </c:pt>
                <c:pt idx="21501">
                  <c:v>40551</c:v>
                </c:pt>
                <c:pt idx="21502">
                  <c:v>40551</c:v>
                </c:pt>
                <c:pt idx="21503">
                  <c:v>40551</c:v>
                </c:pt>
                <c:pt idx="21504">
                  <c:v>40550</c:v>
                </c:pt>
                <c:pt idx="21505">
                  <c:v>40549</c:v>
                </c:pt>
                <c:pt idx="21506">
                  <c:v>40548</c:v>
                </c:pt>
                <c:pt idx="21507">
                  <c:v>40548</c:v>
                </c:pt>
                <c:pt idx="21508">
                  <c:v>40548</c:v>
                </c:pt>
                <c:pt idx="21509">
                  <c:v>40546</c:v>
                </c:pt>
                <c:pt idx="21510">
                  <c:v>40546</c:v>
                </c:pt>
                <c:pt idx="21511">
                  <c:v>40545</c:v>
                </c:pt>
                <c:pt idx="21512">
                  <c:v>40544</c:v>
                </c:pt>
                <c:pt idx="21513">
                  <c:v>40544</c:v>
                </c:pt>
                <c:pt idx="21514">
                  <c:v>40544</c:v>
                </c:pt>
                <c:pt idx="21515">
                  <c:v>40542</c:v>
                </c:pt>
                <c:pt idx="21516">
                  <c:v>40542</c:v>
                </c:pt>
                <c:pt idx="21517">
                  <c:v>40541</c:v>
                </c:pt>
                <c:pt idx="21518">
                  <c:v>40540</c:v>
                </c:pt>
                <c:pt idx="21519">
                  <c:v>40540</c:v>
                </c:pt>
                <c:pt idx="21520">
                  <c:v>40538</c:v>
                </c:pt>
                <c:pt idx="21521">
                  <c:v>40537</c:v>
                </c:pt>
                <c:pt idx="21522">
                  <c:v>40537</c:v>
                </c:pt>
                <c:pt idx="21523">
                  <c:v>40536</c:v>
                </c:pt>
                <c:pt idx="21524">
                  <c:v>40535</c:v>
                </c:pt>
                <c:pt idx="21525">
                  <c:v>40535</c:v>
                </c:pt>
                <c:pt idx="21526">
                  <c:v>40533</c:v>
                </c:pt>
                <c:pt idx="21527">
                  <c:v>40532</c:v>
                </c:pt>
                <c:pt idx="21528">
                  <c:v>40531</c:v>
                </c:pt>
                <c:pt idx="21529">
                  <c:v>40531</c:v>
                </c:pt>
                <c:pt idx="21530">
                  <c:v>40531</c:v>
                </c:pt>
                <c:pt idx="21531">
                  <c:v>40529</c:v>
                </c:pt>
                <c:pt idx="21532">
                  <c:v>40529</c:v>
                </c:pt>
                <c:pt idx="21533">
                  <c:v>40528</c:v>
                </c:pt>
                <c:pt idx="21534">
                  <c:v>40528</c:v>
                </c:pt>
                <c:pt idx="21535">
                  <c:v>40526</c:v>
                </c:pt>
                <c:pt idx="21536">
                  <c:v>40525</c:v>
                </c:pt>
                <c:pt idx="21537">
                  <c:v>40525</c:v>
                </c:pt>
                <c:pt idx="21538">
                  <c:v>40524</c:v>
                </c:pt>
                <c:pt idx="21539">
                  <c:v>40524</c:v>
                </c:pt>
                <c:pt idx="21540">
                  <c:v>40524</c:v>
                </c:pt>
                <c:pt idx="21541">
                  <c:v>40522</c:v>
                </c:pt>
                <c:pt idx="21542">
                  <c:v>40519</c:v>
                </c:pt>
                <c:pt idx="21543">
                  <c:v>40518</c:v>
                </c:pt>
                <c:pt idx="21544">
                  <c:v>40518</c:v>
                </c:pt>
                <c:pt idx="21545">
                  <c:v>40518</c:v>
                </c:pt>
                <c:pt idx="21546">
                  <c:v>40516</c:v>
                </c:pt>
                <c:pt idx="21547">
                  <c:v>40516</c:v>
                </c:pt>
                <c:pt idx="21548">
                  <c:v>40515</c:v>
                </c:pt>
                <c:pt idx="21549">
                  <c:v>40514</c:v>
                </c:pt>
                <c:pt idx="21550">
                  <c:v>40514</c:v>
                </c:pt>
                <c:pt idx="21551">
                  <c:v>40513</c:v>
                </c:pt>
                <c:pt idx="21552">
                  <c:v>40512</c:v>
                </c:pt>
                <c:pt idx="21553">
                  <c:v>40512</c:v>
                </c:pt>
                <c:pt idx="21554">
                  <c:v>40510</c:v>
                </c:pt>
                <c:pt idx="21555">
                  <c:v>40508</c:v>
                </c:pt>
                <c:pt idx="21556">
                  <c:v>40507</c:v>
                </c:pt>
                <c:pt idx="21557">
                  <c:v>40507</c:v>
                </c:pt>
                <c:pt idx="21558">
                  <c:v>40507</c:v>
                </c:pt>
                <c:pt idx="21559">
                  <c:v>40506</c:v>
                </c:pt>
                <c:pt idx="21560">
                  <c:v>40506</c:v>
                </c:pt>
                <c:pt idx="21561">
                  <c:v>40505</c:v>
                </c:pt>
                <c:pt idx="21562">
                  <c:v>40505</c:v>
                </c:pt>
                <c:pt idx="21563">
                  <c:v>40502</c:v>
                </c:pt>
                <c:pt idx="21564">
                  <c:v>40502</c:v>
                </c:pt>
                <c:pt idx="21565">
                  <c:v>40501</c:v>
                </c:pt>
                <c:pt idx="21566">
                  <c:v>40501</c:v>
                </c:pt>
                <c:pt idx="21567">
                  <c:v>40501</c:v>
                </c:pt>
                <c:pt idx="21568">
                  <c:v>40500</c:v>
                </c:pt>
                <c:pt idx="21569">
                  <c:v>40499</c:v>
                </c:pt>
                <c:pt idx="21570">
                  <c:v>40499</c:v>
                </c:pt>
                <c:pt idx="21571">
                  <c:v>40499</c:v>
                </c:pt>
                <c:pt idx="21572">
                  <c:v>40499</c:v>
                </c:pt>
                <c:pt idx="21573">
                  <c:v>40496</c:v>
                </c:pt>
                <c:pt idx="21574">
                  <c:v>40495</c:v>
                </c:pt>
                <c:pt idx="21575">
                  <c:v>40494</c:v>
                </c:pt>
                <c:pt idx="21576">
                  <c:v>40494</c:v>
                </c:pt>
                <c:pt idx="21577">
                  <c:v>40493</c:v>
                </c:pt>
                <c:pt idx="21578">
                  <c:v>40492</c:v>
                </c:pt>
                <c:pt idx="21579">
                  <c:v>40492</c:v>
                </c:pt>
                <c:pt idx="21580">
                  <c:v>40491</c:v>
                </c:pt>
                <c:pt idx="21581">
                  <c:v>40490</c:v>
                </c:pt>
                <c:pt idx="21582">
                  <c:v>40490</c:v>
                </c:pt>
                <c:pt idx="21583">
                  <c:v>40489</c:v>
                </c:pt>
                <c:pt idx="21584">
                  <c:v>40489</c:v>
                </c:pt>
                <c:pt idx="21585">
                  <c:v>40488</c:v>
                </c:pt>
                <c:pt idx="21586">
                  <c:v>40486</c:v>
                </c:pt>
                <c:pt idx="21587">
                  <c:v>40483</c:v>
                </c:pt>
                <c:pt idx="21588">
                  <c:v>40483</c:v>
                </c:pt>
                <c:pt idx="21589">
                  <c:v>40482</c:v>
                </c:pt>
                <c:pt idx="21590">
                  <c:v>40482</c:v>
                </c:pt>
                <c:pt idx="21591">
                  <c:v>40482</c:v>
                </c:pt>
                <c:pt idx="21592">
                  <c:v>40482</c:v>
                </c:pt>
                <c:pt idx="21593">
                  <c:v>40482</c:v>
                </c:pt>
                <c:pt idx="21594">
                  <c:v>40480</c:v>
                </c:pt>
                <c:pt idx="21595">
                  <c:v>40479</c:v>
                </c:pt>
                <c:pt idx="21596">
                  <c:v>40478</c:v>
                </c:pt>
                <c:pt idx="21597">
                  <c:v>40477</c:v>
                </c:pt>
                <c:pt idx="21598">
                  <c:v>40477</c:v>
                </c:pt>
                <c:pt idx="21599">
                  <c:v>40477</c:v>
                </c:pt>
                <c:pt idx="21600">
                  <c:v>40477</c:v>
                </c:pt>
                <c:pt idx="21601">
                  <c:v>40475</c:v>
                </c:pt>
                <c:pt idx="21602">
                  <c:v>40474</c:v>
                </c:pt>
                <c:pt idx="21603">
                  <c:v>40473</c:v>
                </c:pt>
                <c:pt idx="21604">
                  <c:v>40470</c:v>
                </c:pt>
                <c:pt idx="21605">
                  <c:v>40469</c:v>
                </c:pt>
                <c:pt idx="21606">
                  <c:v>40468</c:v>
                </c:pt>
                <c:pt idx="21607">
                  <c:v>40468</c:v>
                </c:pt>
                <c:pt idx="21608">
                  <c:v>40467</c:v>
                </c:pt>
                <c:pt idx="21609">
                  <c:v>40467</c:v>
                </c:pt>
                <c:pt idx="21610">
                  <c:v>40466</c:v>
                </c:pt>
                <c:pt idx="21611">
                  <c:v>40465</c:v>
                </c:pt>
                <c:pt idx="21612">
                  <c:v>40464</c:v>
                </c:pt>
                <c:pt idx="21613">
                  <c:v>40462</c:v>
                </c:pt>
                <c:pt idx="21614">
                  <c:v>40462</c:v>
                </c:pt>
                <c:pt idx="21615">
                  <c:v>40461</c:v>
                </c:pt>
                <c:pt idx="21616">
                  <c:v>40461</c:v>
                </c:pt>
                <c:pt idx="21617">
                  <c:v>40458</c:v>
                </c:pt>
                <c:pt idx="21618">
                  <c:v>40455</c:v>
                </c:pt>
                <c:pt idx="21619">
                  <c:v>40455</c:v>
                </c:pt>
                <c:pt idx="21620">
                  <c:v>40453</c:v>
                </c:pt>
                <c:pt idx="21621">
                  <c:v>40450</c:v>
                </c:pt>
                <c:pt idx="21622">
                  <c:v>40449</c:v>
                </c:pt>
                <c:pt idx="21623">
                  <c:v>40448</c:v>
                </c:pt>
                <c:pt idx="21624">
                  <c:v>40447</c:v>
                </c:pt>
                <c:pt idx="21625">
                  <c:v>40446</c:v>
                </c:pt>
                <c:pt idx="21626">
                  <c:v>40446</c:v>
                </c:pt>
                <c:pt idx="21627">
                  <c:v>40443</c:v>
                </c:pt>
                <c:pt idx="21628">
                  <c:v>40442</c:v>
                </c:pt>
                <c:pt idx="21629">
                  <c:v>40441</c:v>
                </c:pt>
                <c:pt idx="21630">
                  <c:v>40440</c:v>
                </c:pt>
                <c:pt idx="21631">
                  <c:v>40439</c:v>
                </c:pt>
                <c:pt idx="21632">
                  <c:v>40439</c:v>
                </c:pt>
                <c:pt idx="21633">
                  <c:v>40438</c:v>
                </c:pt>
                <c:pt idx="21634">
                  <c:v>40438</c:v>
                </c:pt>
                <c:pt idx="21635">
                  <c:v>40438</c:v>
                </c:pt>
                <c:pt idx="21636">
                  <c:v>40436</c:v>
                </c:pt>
                <c:pt idx="21637">
                  <c:v>40436</c:v>
                </c:pt>
                <c:pt idx="21638">
                  <c:v>40435</c:v>
                </c:pt>
                <c:pt idx="21639">
                  <c:v>40435</c:v>
                </c:pt>
                <c:pt idx="21640">
                  <c:v>40434</c:v>
                </c:pt>
                <c:pt idx="21641">
                  <c:v>40432</c:v>
                </c:pt>
                <c:pt idx="21642">
                  <c:v>40432</c:v>
                </c:pt>
                <c:pt idx="21643">
                  <c:v>40431</c:v>
                </c:pt>
                <c:pt idx="21644">
                  <c:v>40430</c:v>
                </c:pt>
                <c:pt idx="21645">
                  <c:v>40430</c:v>
                </c:pt>
                <c:pt idx="21646">
                  <c:v>40430</c:v>
                </c:pt>
                <c:pt idx="21647">
                  <c:v>40428</c:v>
                </c:pt>
                <c:pt idx="21648">
                  <c:v>40428</c:v>
                </c:pt>
                <c:pt idx="21649">
                  <c:v>40426</c:v>
                </c:pt>
                <c:pt idx="21650">
                  <c:v>40424</c:v>
                </c:pt>
                <c:pt idx="21651">
                  <c:v>40424</c:v>
                </c:pt>
                <c:pt idx="21652">
                  <c:v>40423</c:v>
                </c:pt>
                <c:pt idx="21653">
                  <c:v>40422</c:v>
                </c:pt>
                <c:pt idx="21654">
                  <c:v>40422</c:v>
                </c:pt>
                <c:pt idx="21655">
                  <c:v>40422</c:v>
                </c:pt>
                <c:pt idx="21656">
                  <c:v>40422</c:v>
                </c:pt>
                <c:pt idx="21657">
                  <c:v>40420</c:v>
                </c:pt>
                <c:pt idx="21658">
                  <c:v>40419</c:v>
                </c:pt>
                <c:pt idx="21659">
                  <c:v>40419</c:v>
                </c:pt>
                <c:pt idx="21660">
                  <c:v>40419</c:v>
                </c:pt>
                <c:pt idx="21661">
                  <c:v>40419</c:v>
                </c:pt>
                <c:pt idx="21662">
                  <c:v>40418</c:v>
                </c:pt>
                <c:pt idx="21663">
                  <c:v>40417</c:v>
                </c:pt>
                <c:pt idx="21664">
                  <c:v>40417</c:v>
                </c:pt>
                <c:pt idx="21665">
                  <c:v>40415</c:v>
                </c:pt>
                <c:pt idx="21666">
                  <c:v>40415</c:v>
                </c:pt>
                <c:pt idx="21667">
                  <c:v>40414</c:v>
                </c:pt>
                <c:pt idx="21668">
                  <c:v>40414</c:v>
                </c:pt>
                <c:pt idx="21669">
                  <c:v>40414</c:v>
                </c:pt>
                <c:pt idx="21670">
                  <c:v>40413</c:v>
                </c:pt>
                <c:pt idx="21671">
                  <c:v>40412</c:v>
                </c:pt>
                <c:pt idx="21672">
                  <c:v>40412</c:v>
                </c:pt>
                <c:pt idx="21673">
                  <c:v>40411</c:v>
                </c:pt>
                <c:pt idx="21674">
                  <c:v>40411</c:v>
                </c:pt>
                <c:pt idx="21675">
                  <c:v>40410</c:v>
                </c:pt>
                <c:pt idx="21676">
                  <c:v>40410</c:v>
                </c:pt>
                <c:pt idx="21677">
                  <c:v>40410</c:v>
                </c:pt>
                <c:pt idx="21678">
                  <c:v>40409</c:v>
                </c:pt>
                <c:pt idx="21679">
                  <c:v>40408</c:v>
                </c:pt>
                <c:pt idx="21680">
                  <c:v>40407</c:v>
                </c:pt>
                <c:pt idx="21681">
                  <c:v>40407</c:v>
                </c:pt>
                <c:pt idx="21682">
                  <c:v>40405</c:v>
                </c:pt>
                <c:pt idx="21683">
                  <c:v>40403</c:v>
                </c:pt>
                <c:pt idx="21684">
                  <c:v>40402</c:v>
                </c:pt>
                <c:pt idx="21685">
                  <c:v>40401</c:v>
                </c:pt>
                <c:pt idx="21686">
                  <c:v>40400</c:v>
                </c:pt>
                <c:pt idx="21687">
                  <c:v>40400</c:v>
                </c:pt>
                <c:pt idx="21688">
                  <c:v>40399</c:v>
                </c:pt>
                <c:pt idx="21689">
                  <c:v>40399</c:v>
                </c:pt>
                <c:pt idx="21690">
                  <c:v>40398</c:v>
                </c:pt>
                <c:pt idx="21691">
                  <c:v>40398</c:v>
                </c:pt>
                <c:pt idx="21692">
                  <c:v>40398</c:v>
                </c:pt>
                <c:pt idx="21693">
                  <c:v>40397</c:v>
                </c:pt>
                <c:pt idx="21694">
                  <c:v>40397</c:v>
                </c:pt>
                <c:pt idx="21695">
                  <c:v>40397</c:v>
                </c:pt>
                <c:pt idx="21696">
                  <c:v>40395</c:v>
                </c:pt>
                <c:pt idx="21697">
                  <c:v>40395</c:v>
                </c:pt>
                <c:pt idx="21698">
                  <c:v>40394</c:v>
                </c:pt>
                <c:pt idx="21699">
                  <c:v>40393</c:v>
                </c:pt>
                <c:pt idx="21700">
                  <c:v>40390</c:v>
                </c:pt>
                <c:pt idx="21701">
                  <c:v>40390</c:v>
                </c:pt>
                <c:pt idx="21702">
                  <c:v>40388</c:v>
                </c:pt>
                <c:pt idx="21703">
                  <c:v>40386</c:v>
                </c:pt>
                <c:pt idx="21704">
                  <c:v>40386</c:v>
                </c:pt>
                <c:pt idx="21705">
                  <c:v>40384</c:v>
                </c:pt>
                <c:pt idx="21706">
                  <c:v>40383</c:v>
                </c:pt>
                <c:pt idx="21707">
                  <c:v>40382</c:v>
                </c:pt>
                <c:pt idx="21708">
                  <c:v>40381</c:v>
                </c:pt>
                <c:pt idx="21709">
                  <c:v>40381</c:v>
                </c:pt>
                <c:pt idx="21710">
                  <c:v>40378</c:v>
                </c:pt>
                <c:pt idx="21711">
                  <c:v>40378</c:v>
                </c:pt>
                <c:pt idx="21712">
                  <c:v>40376</c:v>
                </c:pt>
                <c:pt idx="21713">
                  <c:v>40376</c:v>
                </c:pt>
                <c:pt idx="21714">
                  <c:v>40375</c:v>
                </c:pt>
                <c:pt idx="21715">
                  <c:v>40374</c:v>
                </c:pt>
                <c:pt idx="21716">
                  <c:v>40374</c:v>
                </c:pt>
                <c:pt idx="21717">
                  <c:v>40372</c:v>
                </c:pt>
                <c:pt idx="21718">
                  <c:v>40370</c:v>
                </c:pt>
                <c:pt idx="21719">
                  <c:v>40370</c:v>
                </c:pt>
                <c:pt idx="21720">
                  <c:v>40369</c:v>
                </c:pt>
                <c:pt idx="21721">
                  <c:v>40368</c:v>
                </c:pt>
                <c:pt idx="21722">
                  <c:v>40368</c:v>
                </c:pt>
                <c:pt idx="21723">
                  <c:v>40367</c:v>
                </c:pt>
                <c:pt idx="21724">
                  <c:v>40367</c:v>
                </c:pt>
                <c:pt idx="21725">
                  <c:v>40365</c:v>
                </c:pt>
                <c:pt idx="21726">
                  <c:v>40363</c:v>
                </c:pt>
                <c:pt idx="21727">
                  <c:v>40363</c:v>
                </c:pt>
                <c:pt idx="21728">
                  <c:v>40362</c:v>
                </c:pt>
                <c:pt idx="21729">
                  <c:v>40360</c:v>
                </c:pt>
                <c:pt idx="21730">
                  <c:v>40359</c:v>
                </c:pt>
                <c:pt idx="21731">
                  <c:v>40359</c:v>
                </c:pt>
                <c:pt idx="21732">
                  <c:v>40359</c:v>
                </c:pt>
                <c:pt idx="21733">
                  <c:v>40358</c:v>
                </c:pt>
                <c:pt idx="21734">
                  <c:v>40358</c:v>
                </c:pt>
                <c:pt idx="21735">
                  <c:v>40357</c:v>
                </c:pt>
                <c:pt idx="21736">
                  <c:v>40355</c:v>
                </c:pt>
                <c:pt idx="21737">
                  <c:v>40355</c:v>
                </c:pt>
                <c:pt idx="21738">
                  <c:v>40355</c:v>
                </c:pt>
                <c:pt idx="21739">
                  <c:v>40355</c:v>
                </c:pt>
                <c:pt idx="21740">
                  <c:v>40355</c:v>
                </c:pt>
                <c:pt idx="21741">
                  <c:v>40353</c:v>
                </c:pt>
                <c:pt idx="21742">
                  <c:v>40353</c:v>
                </c:pt>
                <c:pt idx="21743">
                  <c:v>40352</c:v>
                </c:pt>
                <c:pt idx="21744">
                  <c:v>40350</c:v>
                </c:pt>
                <c:pt idx="21745">
                  <c:v>40350</c:v>
                </c:pt>
                <c:pt idx="21746">
                  <c:v>40350</c:v>
                </c:pt>
                <c:pt idx="21747">
                  <c:v>40350</c:v>
                </c:pt>
                <c:pt idx="21748">
                  <c:v>40349</c:v>
                </c:pt>
                <c:pt idx="21749">
                  <c:v>40348</c:v>
                </c:pt>
                <c:pt idx="21750">
                  <c:v>40348</c:v>
                </c:pt>
                <c:pt idx="21751">
                  <c:v>40347</c:v>
                </c:pt>
                <c:pt idx="21752">
                  <c:v>40346</c:v>
                </c:pt>
                <c:pt idx="21753">
                  <c:v>40346</c:v>
                </c:pt>
                <c:pt idx="21754">
                  <c:v>40346</c:v>
                </c:pt>
                <c:pt idx="21755">
                  <c:v>40345</c:v>
                </c:pt>
                <c:pt idx="21756">
                  <c:v>40345</c:v>
                </c:pt>
                <c:pt idx="21757">
                  <c:v>40344</c:v>
                </c:pt>
                <c:pt idx="21758">
                  <c:v>40342</c:v>
                </c:pt>
                <c:pt idx="21759">
                  <c:v>40342</c:v>
                </c:pt>
                <c:pt idx="21760">
                  <c:v>40342</c:v>
                </c:pt>
                <c:pt idx="21761">
                  <c:v>40341</c:v>
                </c:pt>
                <c:pt idx="21762">
                  <c:v>40341</c:v>
                </c:pt>
                <c:pt idx="21763">
                  <c:v>40340</c:v>
                </c:pt>
                <c:pt idx="21764">
                  <c:v>40340</c:v>
                </c:pt>
                <c:pt idx="21765">
                  <c:v>40339</c:v>
                </c:pt>
                <c:pt idx="21766">
                  <c:v>40338</c:v>
                </c:pt>
                <c:pt idx="21767">
                  <c:v>40338</c:v>
                </c:pt>
                <c:pt idx="21768">
                  <c:v>40334</c:v>
                </c:pt>
                <c:pt idx="21769">
                  <c:v>40332</c:v>
                </c:pt>
                <c:pt idx="21770">
                  <c:v>40332</c:v>
                </c:pt>
                <c:pt idx="21771">
                  <c:v>40330</c:v>
                </c:pt>
                <c:pt idx="21772">
                  <c:v>40329</c:v>
                </c:pt>
                <c:pt idx="21773">
                  <c:v>40329</c:v>
                </c:pt>
                <c:pt idx="21774">
                  <c:v>40327</c:v>
                </c:pt>
                <c:pt idx="21775">
                  <c:v>40325</c:v>
                </c:pt>
                <c:pt idx="21776">
                  <c:v>40325</c:v>
                </c:pt>
                <c:pt idx="21777">
                  <c:v>40325</c:v>
                </c:pt>
                <c:pt idx="21778">
                  <c:v>40325</c:v>
                </c:pt>
                <c:pt idx="21779">
                  <c:v>40324</c:v>
                </c:pt>
                <c:pt idx="21780">
                  <c:v>40324</c:v>
                </c:pt>
                <c:pt idx="21781">
                  <c:v>40324</c:v>
                </c:pt>
                <c:pt idx="21782">
                  <c:v>40323</c:v>
                </c:pt>
                <c:pt idx="21783">
                  <c:v>40323</c:v>
                </c:pt>
                <c:pt idx="21784">
                  <c:v>40323</c:v>
                </c:pt>
                <c:pt idx="21785">
                  <c:v>40323</c:v>
                </c:pt>
                <c:pt idx="21786">
                  <c:v>40323</c:v>
                </c:pt>
                <c:pt idx="21787">
                  <c:v>40321</c:v>
                </c:pt>
                <c:pt idx="21788">
                  <c:v>40318</c:v>
                </c:pt>
                <c:pt idx="21789">
                  <c:v>40317</c:v>
                </c:pt>
                <c:pt idx="21790">
                  <c:v>40316</c:v>
                </c:pt>
                <c:pt idx="21791">
                  <c:v>40312</c:v>
                </c:pt>
                <c:pt idx="21792">
                  <c:v>40311</c:v>
                </c:pt>
                <c:pt idx="21793">
                  <c:v>40311</c:v>
                </c:pt>
                <c:pt idx="21794">
                  <c:v>40310</c:v>
                </c:pt>
                <c:pt idx="21795">
                  <c:v>40306</c:v>
                </c:pt>
                <c:pt idx="21796">
                  <c:v>40305</c:v>
                </c:pt>
                <c:pt idx="21797">
                  <c:v>40302</c:v>
                </c:pt>
                <c:pt idx="21798">
                  <c:v>40302</c:v>
                </c:pt>
                <c:pt idx="21799">
                  <c:v>40302</c:v>
                </c:pt>
                <c:pt idx="21800">
                  <c:v>40301</c:v>
                </c:pt>
                <c:pt idx="21801">
                  <c:v>40300</c:v>
                </c:pt>
                <c:pt idx="21802">
                  <c:v>40300</c:v>
                </c:pt>
                <c:pt idx="21803">
                  <c:v>40300</c:v>
                </c:pt>
                <c:pt idx="21804">
                  <c:v>40300</c:v>
                </c:pt>
                <c:pt idx="21805">
                  <c:v>40298</c:v>
                </c:pt>
                <c:pt idx="21806">
                  <c:v>40298</c:v>
                </c:pt>
                <c:pt idx="21807">
                  <c:v>40297</c:v>
                </c:pt>
                <c:pt idx="21808">
                  <c:v>40297</c:v>
                </c:pt>
                <c:pt idx="21809">
                  <c:v>40297</c:v>
                </c:pt>
                <c:pt idx="21810">
                  <c:v>40296</c:v>
                </c:pt>
                <c:pt idx="21811">
                  <c:v>40296</c:v>
                </c:pt>
                <c:pt idx="21812">
                  <c:v>40293</c:v>
                </c:pt>
                <c:pt idx="21813">
                  <c:v>40293</c:v>
                </c:pt>
                <c:pt idx="21814">
                  <c:v>40291</c:v>
                </c:pt>
                <c:pt idx="21815">
                  <c:v>40290</c:v>
                </c:pt>
                <c:pt idx="21816">
                  <c:v>40289</c:v>
                </c:pt>
                <c:pt idx="21817">
                  <c:v>40288</c:v>
                </c:pt>
                <c:pt idx="21818">
                  <c:v>40286</c:v>
                </c:pt>
                <c:pt idx="21819">
                  <c:v>40284</c:v>
                </c:pt>
                <c:pt idx="21820">
                  <c:v>40283</c:v>
                </c:pt>
                <c:pt idx="21821">
                  <c:v>40283</c:v>
                </c:pt>
                <c:pt idx="21822">
                  <c:v>40282</c:v>
                </c:pt>
                <c:pt idx="21823">
                  <c:v>40282</c:v>
                </c:pt>
                <c:pt idx="21824">
                  <c:v>40281</c:v>
                </c:pt>
                <c:pt idx="21825">
                  <c:v>40281</c:v>
                </c:pt>
                <c:pt idx="21826">
                  <c:v>40279</c:v>
                </c:pt>
                <c:pt idx="21827">
                  <c:v>40278</c:v>
                </c:pt>
                <c:pt idx="21828">
                  <c:v>40277</c:v>
                </c:pt>
                <c:pt idx="21829">
                  <c:v>40277</c:v>
                </c:pt>
                <c:pt idx="21830">
                  <c:v>40275</c:v>
                </c:pt>
                <c:pt idx="21831">
                  <c:v>40274</c:v>
                </c:pt>
                <c:pt idx="21832">
                  <c:v>40273</c:v>
                </c:pt>
                <c:pt idx="21833">
                  <c:v>40272</c:v>
                </c:pt>
                <c:pt idx="21834">
                  <c:v>40272</c:v>
                </c:pt>
                <c:pt idx="21835">
                  <c:v>40272</c:v>
                </c:pt>
                <c:pt idx="21836">
                  <c:v>40270</c:v>
                </c:pt>
                <c:pt idx="21837">
                  <c:v>40268</c:v>
                </c:pt>
                <c:pt idx="21838">
                  <c:v>40266</c:v>
                </c:pt>
                <c:pt idx="21839">
                  <c:v>40266</c:v>
                </c:pt>
                <c:pt idx="21840">
                  <c:v>40266</c:v>
                </c:pt>
                <c:pt idx="21841">
                  <c:v>40264</c:v>
                </c:pt>
                <c:pt idx="21842">
                  <c:v>40263</c:v>
                </c:pt>
                <c:pt idx="21843">
                  <c:v>40263</c:v>
                </c:pt>
                <c:pt idx="21844">
                  <c:v>40263</c:v>
                </c:pt>
                <c:pt idx="21845">
                  <c:v>40262</c:v>
                </c:pt>
                <c:pt idx="21846">
                  <c:v>40261</c:v>
                </c:pt>
                <c:pt idx="21847">
                  <c:v>40258</c:v>
                </c:pt>
                <c:pt idx="21848">
                  <c:v>40258</c:v>
                </c:pt>
                <c:pt idx="21849">
                  <c:v>40258</c:v>
                </c:pt>
                <c:pt idx="21850">
                  <c:v>40257</c:v>
                </c:pt>
                <c:pt idx="21851">
                  <c:v>40257</c:v>
                </c:pt>
                <c:pt idx="21852">
                  <c:v>40255</c:v>
                </c:pt>
                <c:pt idx="21853">
                  <c:v>40255</c:v>
                </c:pt>
                <c:pt idx="21854">
                  <c:v>40254</c:v>
                </c:pt>
                <c:pt idx="21855">
                  <c:v>40253</c:v>
                </c:pt>
                <c:pt idx="21856">
                  <c:v>40252</c:v>
                </c:pt>
                <c:pt idx="21857">
                  <c:v>40251</c:v>
                </c:pt>
                <c:pt idx="21858">
                  <c:v>40250</c:v>
                </c:pt>
                <c:pt idx="21859">
                  <c:v>40250</c:v>
                </c:pt>
                <c:pt idx="21860">
                  <c:v>40250</c:v>
                </c:pt>
                <c:pt idx="21861">
                  <c:v>40250</c:v>
                </c:pt>
                <c:pt idx="21862">
                  <c:v>40249</c:v>
                </c:pt>
                <c:pt idx="21863">
                  <c:v>40249</c:v>
                </c:pt>
                <c:pt idx="21864">
                  <c:v>40248</c:v>
                </c:pt>
                <c:pt idx="21865">
                  <c:v>40246</c:v>
                </c:pt>
                <c:pt idx="21866">
                  <c:v>40245</c:v>
                </c:pt>
                <c:pt idx="21867">
                  <c:v>40244</c:v>
                </c:pt>
                <c:pt idx="21868">
                  <c:v>40242</c:v>
                </c:pt>
                <c:pt idx="21869">
                  <c:v>40240</c:v>
                </c:pt>
                <c:pt idx="21870">
                  <c:v>40240</c:v>
                </c:pt>
                <c:pt idx="21871">
                  <c:v>40239</c:v>
                </c:pt>
                <c:pt idx="21872">
                  <c:v>40239</c:v>
                </c:pt>
                <c:pt idx="21873">
                  <c:v>40238</c:v>
                </c:pt>
                <c:pt idx="21874">
                  <c:v>40238</c:v>
                </c:pt>
                <c:pt idx="21875">
                  <c:v>40237</c:v>
                </c:pt>
                <c:pt idx="21876">
                  <c:v>40236</c:v>
                </c:pt>
                <c:pt idx="21877">
                  <c:v>40235</c:v>
                </c:pt>
                <c:pt idx="21878">
                  <c:v>40233</c:v>
                </c:pt>
                <c:pt idx="21879">
                  <c:v>40232</c:v>
                </c:pt>
                <c:pt idx="21880">
                  <c:v>40232</c:v>
                </c:pt>
                <c:pt idx="21881">
                  <c:v>40231</c:v>
                </c:pt>
                <c:pt idx="21882">
                  <c:v>40230</c:v>
                </c:pt>
                <c:pt idx="21883">
                  <c:v>40229</c:v>
                </c:pt>
                <c:pt idx="21884">
                  <c:v>40228</c:v>
                </c:pt>
                <c:pt idx="21885">
                  <c:v>40227</c:v>
                </c:pt>
                <c:pt idx="21886">
                  <c:v>40227</c:v>
                </c:pt>
                <c:pt idx="21887">
                  <c:v>40227</c:v>
                </c:pt>
                <c:pt idx="21888">
                  <c:v>40227</c:v>
                </c:pt>
                <c:pt idx="21889">
                  <c:v>40223</c:v>
                </c:pt>
                <c:pt idx="21890">
                  <c:v>40223</c:v>
                </c:pt>
                <c:pt idx="21891">
                  <c:v>40221</c:v>
                </c:pt>
                <c:pt idx="21892">
                  <c:v>40221</c:v>
                </c:pt>
                <c:pt idx="21893">
                  <c:v>40221</c:v>
                </c:pt>
                <c:pt idx="21894">
                  <c:v>40221</c:v>
                </c:pt>
                <c:pt idx="21895">
                  <c:v>40220</c:v>
                </c:pt>
                <c:pt idx="21896">
                  <c:v>40220</c:v>
                </c:pt>
                <c:pt idx="21897">
                  <c:v>40220</c:v>
                </c:pt>
                <c:pt idx="21898">
                  <c:v>40219</c:v>
                </c:pt>
                <c:pt idx="21899">
                  <c:v>40219</c:v>
                </c:pt>
                <c:pt idx="21900">
                  <c:v>40217</c:v>
                </c:pt>
                <c:pt idx="21901">
                  <c:v>40215</c:v>
                </c:pt>
                <c:pt idx="21902">
                  <c:v>40215</c:v>
                </c:pt>
                <c:pt idx="21903">
                  <c:v>40215</c:v>
                </c:pt>
                <c:pt idx="21904">
                  <c:v>40213</c:v>
                </c:pt>
                <c:pt idx="21905">
                  <c:v>40212</c:v>
                </c:pt>
                <c:pt idx="21906">
                  <c:v>40211</c:v>
                </c:pt>
                <c:pt idx="21907">
                  <c:v>40210</c:v>
                </c:pt>
                <c:pt idx="21908">
                  <c:v>40209</c:v>
                </c:pt>
                <c:pt idx="21909">
                  <c:v>40209</c:v>
                </c:pt>
                <c:pt idx="21910">
                  <c:v>40208</c:v>
                </c:pt>
                <c:pt idx="21911">
                  <c:v>40207</c:v>
                </c:pt>
                <c:pt idx="21912">
                  <c:v>40207</c:v>
                </c:pt>
                <c:pt idx="21913">
                  <c:v>40206</c:v>
                </c:pt>
                <c:pt idx="21914">
                  <c:v>40201</c:v>
                </c:pt>
                <c:pt idx="21915">
                  <c:v>40201</c:v>
                </c:pt>
                <c:pt idx="21916">
                  <c:v>40199</c:v>
                </c:pt>
                <c:pt idx="21917">
                  <c:v>40198</c:v>
                </c:pt>
                <c:pt idx="21918">
                  <c:v>40197</c:v>
                </c:pt>
                <c:pt idx="21919">
                  <c:v>40197</c:v>
                </c:pt>
                <c:pt idx="21920">
                  <c:v>40196</c:v>
                </c:pt>
                <c:pt idx="21921">
                  <c:v>40196</c:v>
                </c:pt>
                <c:pt idx="21922">
                  <c:v>40195</c:v>
                </c:pt>
                <c:pt idx="21923">
                  <c:v>40194</c:v>
                </c:pt>
                <c:pt idx="21924">
                  <c:v>40193</c:v>
                </c:pt>
                <c:pt idx="21925">
                  <c:v>40192</c:v>
                </c:pt>
                <c:pt idx="21926">
                  <c:v>40191</c:v>
                </c:pt>
                <c:pt idx="21927">
                  <c:v>40191</c:v>
                </c:pt>
                <c:pt idx="21928">
                  <c:v>40190</c:v>
                </c:pt>
                <c:pt idx="21929">
                  <c:v>40189</c:v>
                </c:pt>
                <c:pt idx="21930">
                  <c:v>40189</c:v>
                </c:pt>
                <c:pt idx="21931">
                  <c:v>40189</c:v>
                </c:pt>
                <c:pt idx="21932">
                  <c:v>40188</c:v>
                </c:pt>
                <c:pt idx="21933">
                  <c:v>40187</c:v>
                </c:pt>
                <c:pt idx="21934">
                  <c:v>40187</c:v>
                </c:pt>
                <c:pt idx="21935">
                  <c:v>40187</c:v>
                </c:pt>
                <c:pt idx="21936">
                  <c:v>40186</c:v>
                </c:pt>
                <c:pt idx="21937">
                  <c:v>40186</c:v>
                </c:pt>
                <c:pt idx="21938">
                  <c:v>40186</c:v>
                </c:pt>
                <c:pt idx="21939">
                  <c:v>40185</c:v>
                </c:pt>
                <c:pt idx="21940">
                  <c:v>40185</c:v>
                </c:pt>
                <c:pt idx="21941">
                  <c:v>40185</c:v>
                </c:pt>
                <c:pt idx="21942">
                  <c:v>40184</c:v>
                </c:pt>
                <c:pt idx="21943">
                  <c:v>40183</c:v>
                </c:pt>
                <c:pt idx="21944">
                  <c:v>40183</c:v>
                </c:pt>
                <c:pt idx="21945">
                  <c:v>40181</c:v>
                </c:pt>
                <c:pt idx="21946">
                  <c:v>40181</c:v>
                </c:pt>
                <c:pt idx="21947">
                  <c:v>40181</c:v>
                </c:pt>
                <c:pt idx="21948">
                  <c:v>40181</c:v>
                </c:pt>
                <c:pt idx="21949">
                  <c:v>40178</c:v>
                </c:pt>
                <c:pt idx="21950">
                  <c:v>40177</c:v>
                </c:pt>
                <c:pt idx="21951">
                  <c:v>40174</c:v>
                </c:pt>
                <c:pt idx="21952">
                  <c:v>40174</c:v>
                </c:pt>
                <c:pt idx="21953">
                  <c:v>40172</c:v>
                </c:pt>
                <c:pt idx="21954">
                  <c:v>40172</c:v>
                </c:pt>
                <c:pt idx="21955">
                  <c:v>40169</c:v>
                </c:pt>
                <c:pt idx="21956">
                  <c:v>40169</c:v>
                </c:pt>
                <c:pt idx="21957">
                  <c:v>40169</c:v>
                </c:pt>
                <c:pt idx="21958">
                  <c:v>40169</c:v>
                </c:pt>
                <c:pt idx="21959">
                  <c:v>40168</c:v>
                </c:pt>
                <c:pt idx="21960">
                  <c:v>40168</c:v>
                </c:pt>
                <c:pt idx="21961">
                  <c:v>40167</c:v>
                </c:pt>
                <c:pt idx="21962">
                  <c:v>40165</c:v>
                </c:pt>
                <c:pt idx="21963">
                  <c:v>40165</c:v>
                </c:pt>
                <c:pt idx="21964">
                  <c:v>40162</c:v>
                </c:pt>
                <c:pt idx="21965">
                  <c:v>40160</c:v>
                </c:pt>
                <c:pt idx="21966">
                  <c:v>40159</c:v>
                </c:pt>
                <c:pt idx="21967">
                  <c:v>40158</c:v>
                </c:pt>
                <c:pt idx="21968">
                  <c:v>40156</c:v>
                </c:pt>
                <c:pt idx="21969">
                  <c:v>40155</c:v>
                </c:pt>
                <c:pt idx="21970">
                  <c:v>40154</c:v>
                </c:pt>
                <c:pt idx="21971">
                  <c:v>40154</c:v>
                </c:pt>
                <c:pt idx="21972">
                  <c:v>40153</c:v>
                </c:pt>
                <c:pt idx="21973">
                  <c:v>40153</c:v>
                </c:pt>
                <c:pt idx="21974">
                  <c:v>40153</c:v>
                </c:pt>
                <c:pt idx="21975">
                  <c:v>40151</c:v>
                </c:pt>
                <c:pt idx="21976">
                  <c:v>40151</c:v>
                </c:pt>
                <c:pt idx="21977">
                  <c:v>40150</c:v>
                </c:pt>
                <c:pt idx="21978">
                  <c:v>40150</c:v>
                </c:pt>
                <c:pt idx="21979">
                  <c:v>40149</c:v>
                </c:pt>
                <c:pt idx="21980">
                  <c:v>40148</c:v>
                </c:pt>
                <c:pt idx="21981">
                  <c:v>40147</c:v>
                </c:pt>
                <c:pt idx="21982">
                  <c:v>40147</c:v>
                </c:pt>
                <c:pt idx="21983">
                  <c:v>40146</c:v>
                </c:pt>
                <c:pt idx="21984">
                  <c:v>40146</c:v>
                </c:pt>
                <c:pt idx="21985">
                  <c:v>40145</c:v>
                </c:pt>
                <c:pt idx="21986">
                  <c:v>40145</c:v>
                </c:pt>
                <c:pt idx="21987">
                  <c:v>40143</c:v>
                </c:pt>
                <c:pt idx="21988">
                  <c:v>40142</c:v>
                </c:pt>
                <c:pt idx="21989">
                  <c:v>40141</c:v>
                </c:pt>
                <c:pt idx="21990">
                  <c:v>40141</c:v>
                </c:pt>
                <c:pt idx="21991">
                  <c:v>40141</c:v>
                </c:pt>
                <c:pt idx="21992">
                  <c:v>40140</c:v>
                </c:pt>
                <c:pt idx="21993">
                  <c:v>40140</c:v>
                </c:pt>
                <c:pt idx="21994">
                  <c:v>40139</c:v>
                </c:pt>
                <c:pt idx="21995">
                  <c:v>40136</c:v>
                </c:pt>
                <c:pt idx="21996">
                  <c:v>40136</c:v>
                </c:pt>
                <c:pt idx="21997">
                  <c:v>40135</c:v>
                </c:pt>
                <c:pt idx="21998">
                  <c:v>40134</c:v>
                </c:pt>
                <c:pt idx="21999">
                  <c:v>40132</c:v>
                </c:pt>
                <c:pt idx="22000">
                  <c:v>40132</c:v>
                </c:pt>
                <c:pt idx="22001">
                  <c:v>40130</c:v>
                </c:pt>
                <c:pt idx="22002">
                  <c:v>40130</c:v>
                </c:pt>
                <c:pt idx="22003">
                  <c:v>40130</c:v>
                </c:pt>
                <c:pt idx="22004">
                  <c:v>40128</c:v>
                </c:pt>
                <c:pt idx="22005">
                  <c:v>40126</c:v>
                </c:pt>
                <c:pt idx="22006">
                  <c:v>40126</c:v>
                </c:pt>
                <c:pt idx="22007">
                  <c:v>40126</c:v>
                </c:pt>
                <c:pt idx="22008">
                  <c:v>40126</c:v>
                </c:pt>
                <c:pt idx="22009">
                  <c:v>40125</c:v>
                </c:pt>
                <c:pt idx="22010">
                  <c:v>40124</c:v>
                </c:pt>
                <c:pt idx="22011">
                  <c:v>40124</c:v>
                </c:pt>
                <c:pt idx="22012">
                  <c:v>40123</c:v>
                </c:pt>
                <c:pt idx="22013">
                  <c:v>40123</c:v>
                </c:pt>
                <c:pt idx="22014">
                  <c:v>40122</c:v>
                </c:pt>
                <c:pt idx="22015">
                  <c:v>40121</c:v>
                </c:pt>
                <c:pt idx="22016">
                  <c:v>40121</c:v>
                </c:pt>
                <c:pt idx="22017">
                  <c:v>40121</c:v>
                </c:pt>
                <c:pt idx="22018">
                  <c:v>40120</c:v>
                </c:pt>
                <c:pt idx="22019">
                  <c:v>40118</c:v>
                </c:pt>
                <c:pt idx="22020">
                  <c:v>40118</c:v>
                </c:pt>
                <c:pt idx="22021">
                  <c:v>40117</c:v>
                </c:pt>
                <c:pt idx="22022">
                  <c:v>40116</c:v>
                </c:pt>
                <c:pt idx="22023">
                  <c:v>40116</c:v>
                </c:pt>
                <c:pt idx="22024">
                  <c:v>40115</c:v>
                </c:pt>
                <c:pt idx="22025">
                  <c:v>40112</c:v>
                </c:pt>
                <c:pt idx="22026">
                  <c:v>40112</c:v>
                </c:pt>
                <c:pt idx="22027">
                  <c:v>40111</c:v>
                </c:pt>
                <c:pt idx="22028">
                  <c:v>40111</c:v>
                </c:pt>
                <c:pt idx="22029">
                  <c:v>40111</c:v>
                </c:pt>
                <c:pt idx="22030">
                  <c:v>40110</c:v>
                </c:pt>
                <c:pt idx="22031">
                  <c:v>40110</c:v>
                </c:pt>
                <c:pt idx="22032">
                  <c:v>40110</c:v>
                </c:pt>
                <c:pt idx="22033">
                  <c:v>40110</c:v>
                </c:pt>
                <c:pt idx="22034">
                  <c:v>40110</c:v>
                </c:pt>
                <c:pt idx="22035">
                  <c:v>40108</c:v>
                </c:pt>
                <c:pt idx="22036">
                  <c:v>40108</c:v>
                </c:pt>
                <c:pt idx="22037">
                  <c:v>40108</c:v>
                </c:pt>
                <c:pt idx="22038">
                  <c:v>40107</c:v>
                </c:pt>
                <c:pt idx="22039">
                  <c:v>40107</c:v>
                </c:pt>
                <c:pt idx="22040">
                  <c:v>40107</c:v>
                </c:pt>
                <c:pt idx="22041">
                  <c:v>40106</c:v>
                </c:pt>
                <c:pt idx="22042">
                  <c:v>40106</c:v>
                </c:pt>
                <c:pt idx="22043">
                  <c:v>40105</c:v>
                </c:pt>
                <c:pt idx="22044">
                  <c:v>40104</c:v>
                </c:pt>
                <c:pt idx="22045">
                  <c:v>40102</c:v>
                </c:pt>
                <c:pt idx="22046">
                  <c:v>40102</c:v>
                </c:pt>
                <c:pt idx="22047">
                  <c:v>40102</c:v>
                </c:pt>
                <c:pt idx="22048">
                  <c:v>40101</c:v>
                </c:pt>
                <c:pt idx="22049">
                  <c:v>40099</c:v>
                </c:pt>
                <c:pt idx="22050">
                  <c:v>40099</c:v>
                </c:pt>
                <c:pt idx="22051">
                  <c:v>40098</c:v>
                </c:pt>
                <c:pt idx="22052">
                  <c:v>40096</c:v>
                </c:pt>
                <c:pt idx="22053">
                  <c:v>40095</c:v>
                </c:pt>
                <c:pt idx="22054">
                  <c:v>40095</c:v>
                </c:pt>
                <c:pt idx="22055">
                  <c:v>40095</c:v>
                </c:pt>
                <c:pt idx="22056">
                  <c:v>40094</c:v>
                </c:pt>
                <c:pt idx="22057">
                  <c:v>40090</c:v>
                </c:pt>
                <c:pt idx="22058">
                  <c:v>40089</c:v>
                </c:pt>
                <c:pt idx="22059">
                  <c:v>40087</c:v>
                </c:pt>
                <c:pt idx="22060">
                  <c:v>40086</c:v>
                </c:pt>
                <c:pt idx="22061">
                  <c:v>40085</c:v>
                </c:pt>
                <c:pt idx="22062">
                  <c:v>40085</c:v>
                </c:pt>
                <c:pt idx="22063">
                  <c:v>40083</c:v>
                </c:pt>
                <c:pt idx="22064">
                  <c:v>40083</c:v>
                </c:pt>
                <c:pt idx="22065">
                  <c:v>40081</c:v>
                </c:pt>
                <c:pt idx="22066">
                  <c:v>40079</c:v>
                </c:pt>
                <c:pt idx="22067">
                  <c:v>40079</c:v>
                </c:pt>
                <c:pt idx="22068">
                  <c:v>40079</c:v>
                </c:pt>
                <c:pt idx="22069">
                  <c:v>40078</c:v>
                </c:pt>
                <c:pt idx="22070">
                  <c:v>40078</c:v>
                </c:pt>
                <c:pt idx="22071">
                  <c:v>40077</c:v>
                </c:pt>
                <c:pt idx="22072">
                  <c:v>40074</c:v>
                </c:pt>
                <c:pt idx="22073">
                  <c:v>40074</c:v>
                </c:pt>
                <c:pt idx="22074">
                  <c:v>40072</c:v>
                </c:pt>
                <c:pt idx="22075">
                  <c:v>40072</c:v>
                </c:pt>
                <c:pt idx="22076">
                  <c:v>40072</c:v>
                </c:pt>
                <c:pt idx="22077">
                  <c:v>40072</c:v>
                </c:pt>
                <c:pt idx="22078">
                  <c:v>40070</c:v>
                </c:pt>
                <c:pt idx="22079">
                  <c:v>40069</c:v>
                </c:pt>
                <c:pt idx="22080">
                  <c:v>40068</c:v>
                </c:pt>
                <c:pt idx="22081">
                  <c:v>40068</c:v>
                </c:pt>
                <c:pt idx="22082">
                  <c:v>40067</c:v>
                </c:pt>
                <c:pt idx="22083">
                  <c:v>40067</c:v>
                </c:pt>
                <c:pt idx="22084">
                  <c:v>40065</c:v>
                </c:pt>
                <c:pt idx="22085">
                  <c:v>40065</c:v>
                </c:pt>
                <c:pt idx="22086">
                  <c:v>40065</c:v>
                </c:pt>
                <c:pt idx="22087">
                  <c:v>40064</c:v>
                </c:pt>
                <c:pt idx="22088">
                  <c:v>40064</c:v>
                </c:pt>
                <c:pt idx="22089">
                  <c:v>40063</c:v>
                </c:pt>
                <c:pt idx="22090">
                  <c:v>40063</c:v>
                </c:pt>
                <c:pt idx="22091">
                  <c:v>40062</c:v>
                </c:pt>
                <c:pt idx="22092">
                  <c:v>40061</c:v>
                </c:pt>
                <c:pt idx="22093">
                  <c:v>40060</c:v>
                </c:pt>
                <c:pt idx="22094">
                  <c:v>40059</c:v>
                </c:pt>
                <c:pt idx="22095">
                  <c:v>40059</c:v>
                </c:pt>
                <c:pt idx="22096">
                  <c:v>40058</c:v>
                </c:pt>
                <c:pt idx="22097">
                  <c:v>40058</c:v>
                </c:pt>
                <c:pt idx="22098">
                  <c:v>40057</c:v>
                </c:pt>
                <c:pt idx="22099">
                  <c:v>40055</c:v>
                </c:pt>
                <c:pt idx="22100">
                  <c:v>40055</c:v>
                </c:pt>
                <c:pt idx="22101">
                  <c:v>40054</c:v>
                </c:pt>
                <c:pt idx="22102">
                  <c:v>40054</c:v>
                </c:pt>
                <c:pt idx="22103">
                  <c:v>40054</c:v>
                </c:pt>
                <c:pt idx="22104">
                  <c:v>40053</c:v>
                </c:pt>
                <c:pt idx="22105">
                  <c:v>40052</c:v>
                </c:pt>
                <c:pt idx="22106">
                  <c:v>40052</c:v>
                </c:pt>
                <c:pt idx="22107">
                  <c:v>40052</c:v>
                </c:pt>
                <c:pt idx="22108">
                  <c:v>40052</c:v>
                </c:pt>
                <c:pt idx="22109">
                  <c:v>40052</c:v>
                </c:pt>
                <c:pt idx="22110">
                  <c:v>40051</c:v>
                </c:pt>
                <c:pt idx="22111">
                  <c:v>40051</c:v>
                </c:pt>
                <c:pt idx="22112">
                  <c:v>40050</c:v>
                </c:pt>
                <c:pt idx="22113">
                  <c:v>40050</c:v>
                </c:pt>
                <c:pt idx="22114">
                  <c:v>40049</c:v>
                </c:pt>
                <c:pt idx="22115">
                  <c:v>40048</c:v>
                </c:pt>
                <c:pt idx="22116">
                  <c:v>40048</c:v>
                </c:pt>
                <c:pt idx="22117">
                  <c:v>40047</c:v>
                </c:pt>
                <c:pt idx="22118">
                  <c:v>40046</c:v>
                </c:pt>
                <c:pt idx="22119">
                  <c:v>40046</c:v>
                </c:pt>
                <c:pt idx="22120">
                  <c:v>40045</c:v>
                </c:pt>
                <c:pt idx="22121">
                  <c:v>40044</c:v>
                </c:pt>
                <c:pt idx="22122">
                  <c:v>40042</c:v>
                </c:pt>
                <c:pt idx="22123">
                  <c:v>40042</c:v>
                </c:pt>
                <c:pt idx="22124">
                  <c:v>40042</c:v>
                </c:pt>
                <c:pt idx="22125">
                  <c:v>40040</c:v>
                </c:pt>
                <c:pt idx="22126">
                  <c:v>40039</c:v>
                </c:pt>
                <c:pt idx="22127">
                  <c:v>40039</c:v>
                </c:pt>
                <c:pt idx="22128">
                  <c:v>40039</c:v>
                </c:pt>
                <c:pt idx="22129">
                  <c:v>40037</c:v>
                </c:pt>
                <c:pt idx="22130">
                  <c:v>40037</c:v>
                </c:pt>
                <c:pt idx="22131">
                  <c:v>40036</c:v>
                </c:pt>
                <c:pt idx="22132">
                  <c:v>40036</c:v>
                </c:pt>
                <c:pt idx="22133">
                  <c:v>40035</c:v>
                </c:pt>
                <c:pt idx="22134">
                  <c:v>40034</c:v>
                </c:pt>
                <c:pt idx="22135">
                  <c:v>40034</c:v>
                </c:pt>
                <c:pt idx="22136">
                  <c:v>40033</c:v>
                </c:pt>
                <c:pt idx="22137">
                  <c:v>40033</c:v>
                </c:pt>
                <c:pt idx="22138">
                  <c:v>40033</c:v>
                </c:pt>
                <c:pt idx="22139">
                  <c:v>40033</c:v>
                </c:pt>
                <c:pt idx="22140">
                  <c:v>40032</c:v>
                </c:pt>
                <c:pt idx="22141">
                  <c:v>40032</c:v>
                </c:pt>
                <c:pt idx="22142">
                  <c:v>40032</c:v>
                </c:pt>
                <c:pt idx="22143">
                  <c:v>40030</c:v>
                </c:pt>
                <c:pt idx="22144">
                  <c:v>40029</c:v>
                </c:pt>
                <c:pt idx="22145">
                  <c:v>40029</c:v>
                </c:pt>
                <c:pt idx="22146">
                  <c:v>40029</c:v>
                </c:pt>
                <c:pt idx="22147">
                  <c:v>40028</c:v>
                </c:pt>
                <c:pt idx="22148">
                  <c:v>40028</c:v>
                </c:pt>
                <c:pt idx="22149">
                  <c:v>40027</c:v>
                </c:pt>
                <c:pt idx="22150">
                  <c:v>40026</c:v>
                </c:pt>
                <c:pt idx="22151">
                  <c:v>40026</c:v>
                </c:pt>
                <c:pt idx="22152">
                  <c:v>40026</c:v>
                </c:pt>
                <c:pt idx="22153">
                  <c:v>40026</c:v>
                </c:pt>
                <c:pt idx="22154">
                  <c:v>40024</c:v>
                </c:pt>
                <c:pt idx="22155">
                  <c:v>40024</c:v>
                </c:pt>
                <c:pt idx="22156">
                  <c:v>40021</c:v>
                </c:pt>
                <c:pt idx="22157">
                  <c:v>40021</c:v>
                </c:pt>
                <c:pt idx="22158">
                  <c:v>40020</c:v>
                </c:pt>
                <c:pt idx="22159">
                  <c:v>40020</c:v>
                </c:pt>
                <c:pt idx="22160">
                  <c:v>40019</c:v>
                </c:pt>
                <c:pt idx="22161">
                  <c:v>40018</c:v>
                </c:pt>
                <c:pt idx="22162">
                  <c:v>40017</c:v>
                </c:pt>
                <c:pt idx="22163">
                  <c:v>40017</c:v>
                </c:pt>
                <c:pt idx="22164">
                  <c:v>40016</c:v>
                </c:pt>
                <c:pt idx="22165">
                  <c:v>40014</c:v>
                </c:pt>
                <c:pt idx="22166">
                  <c:v>40013</c:v>
                </c:pt>
                <c:pt idx="22167">
                  <c:v>40013</c:v>
                </c:pt>
                <c:pt idx="22168">
                  <c:v>40013</c:v>
                </c:pt>
                <c:pt idx="22169">
                  <c:v>40012</c:v>
                </c:pt>
                <c:pt idx="22170">
                  <c:v>40012</c:v>
                </c:pt>
                <c:pt idx="22171">
                  <c:v>40010</c:v>
                </c:pt>
                <c:pt idx="22172">
                  <c:v>40008</c:v>
                </c:pt>
                <c:pt idx="22173">
                  <c:v>40008</c:v>
                </c:pt>
                <c:pt idx="22174">
                  <c:v>40008</c:v>
                </c:pt>
                <c:pt idx="22175">
                  <c:v>40007</c:v>
                </c:pt>
                <c:pt idx="22176">
                  <c:v>40006</c:v>
                </c:pt>
                <c:pt idx="22177">
                  <c:v>40006</c:v>
                </c:pt>
                <c:pt idx="22178">
                  <c:v>40005</c:v>
                </c:pt>
                <c:pt idx="22179">
                  <c:v>40004</c:v>
                </c:pt>
                <c:pt idx="22180">
                  <c:v>40004</c:v>
                </c:pt>
                <c:pt idx="22181">
                  <c:v>40003</c:v>
                </c:pt>
                <c:pt idx="22182">
                  <c:v>40002</c:v>
                </c:pt>
                <c:pt idx="22183">
                  <c:v>40002</c:v>
                </c:pt>
                <c:pt idx="22184">
                  <c:v>40002</c:v>
                </c:pt>
                <c:pt idx="22185">
                  <c:v>40002</c:v>
                </c:pt>
                <c:pt idx="22186">
                  <c:v>40001</c:v>
                </c:pt>
                <c:pt idx="22187">
                  <c:v>40001</c:v>
                </c:pt>
                <c:pt idx="22188">
                  <c:v>39999</c:v>
                </c:pt>
                <c:pt idx="22189">
                  <c:v>39999</c:v>
                </c:pt>
                <c:pt idx="22190">
                  <c:v>39998</c:v>
                </c:pt>
                <c:pt idx="22191">
                  <c:v>39997</c:v>
                </c:pt>
                <c:pt idx="22192">
                  <c:v>39996</c:v>
                </c:pt>
                <c:pt idx="22193">
                  <c:v>39995</c:v>
                </c:pt>
                <c:pt idx="22194">
                  <c:v>39995</c:v>
                </c:pt>
                <c:pt idx="22195">
                  <c:v>39994</c:v>
                </c:pt>
                <c:pt idx="22196">
                  <c:v>39993</c:v>
                </c:pt>
                <c:pt idx="22197">
                  <c:v>39992</c:v>
                </c:pt>
                <c:pt idx="22198">
                  <c:v>39991</c:v>
                </c:pt>
                <c:pt idx="22199">
                  <c:v>39991</c:v>
                </c:pt>
                <c:pt idx="22200">
                  <c:v>39991</c:v>
                </c:pt>
                <c:pt idx="22201">
                  <c:v>39990</c:v>
                </c:pt>
                <c:pt idx="22202">
                  <c:v>39990</c:v>
                </c:pt>
                <c:pt idx="22203">
                  <c:v>39987</c:v>
                </c:pt>
                <c:pt idx="22204">
                  <c:v>39985</c:v>
                </c:pt>
                <c:pt idx="22205">
                  <c:v>39985</c:v>
                </c:pt>
                <c:pt idx="22206">
                  <c:v>39984</c:v>
                </c:pt>
                <c:pt idx="22207">
                  <c:v>39983</c:v>
                </c:pt>
                <c:pt idx="22208">
                  <c:v>39982</c:v>
                </c:pt>
                <c:pt idx="22209">
                  <c:v>39982</c:v>
                </c:pt>
                <c:pt idx="22210">
                  <c:v>39981</c:v>
                </c:pt>
                <c:pt idx="22211">
                  <c:v>39981</c:v>
                </c:pt>
                <c:pt idx="22212">
                  <c:v>39979</c:v>
                </c:pt>
                <c:pt idx="22213">
                  <c:v>39978</c:v>
                </c:pt>
                <c:pt idx="22214">
                  <c:v>39978</c:v>
                </c:pt>
                <c:pt idx="22215">
                  <c:v>39978</c:v>
                </c:pt>
                <c:pt idx="22216">
                  <c:v>39977</c:v>
                </c:pt>
                <c:pt idx="22217">
                  <c:v>39976</c:v>
                </c:pt>
                <c:pt idx="22218">
                  <c:v>39976</c:v>
                </c:pt>
                <c:pt idx="22219">
                  <c:v>39976</c:v>
                </c:pt>
                <c:pt idx="22220">
                  <c:v>39975</c:v>
                </c:pt>
                <c:pt idx="22221">
                  <c:v>39974</c:v>
                </c:pt>
                <c:pt idx="22222">
                  <c:v>39974</c:v>
                </c:pt>
                <c:pt idx="22223">
                  <c:v>39973</c:v>
                </c:pt>
                <c:pt idx="22224">
                  <c:v>39973</c:v>
                </c:pt>
                <c:pt idx="22225">
                  <c:v>39970</c:v>
                </c:pt>
                <c:pt idx="22226">
                  <c:v>39970</c:v>
                </c:pt>
                <c:pt idx="22227">
                  <c:v>39970</c:v>
                </c:pt>
                <c:pt idx="22228">
                  <c:v>39970</c:v>
                </c:pt>
                <c:pt idx="22229">
                  <c:v>39968</c:v>
                </c:pt>
                <c:pt idx="22230">
                  <c:v>39968</c:v>
                </c:pt>
                <c:pt idx="22231">
                  <c:v>39968</c:v>
                </c:pt>
                <c:pt idx="22232">
                  <c:v>39968</c:v>
                </c:pt>
                <c:pt idx="22233">
                  <c:v>39968</c:v>
                </c:pt>
                <c:pt idx="22234">
                  <c:v>39966</c:v>
                </c:pt>
                <c:pt idx="22235">
                  <c:v>39962</c:v>
                </c:pt>
                <c:pt idx="22236">
                  <c:v>39961</c:v>
                </c:pt>
                <c:pt idx="22237">
                  <c:v>39961</c:v>
                </c:pt>
                <c:pt idx="22238">
                  <c:v>39960</c:v>
                </c:pt>
                <c:pt idx="22239">
                  <c:v>39959</c:v>
                </c:pt>
                <c:pt idx="22240">
                  <c:v>39958</c:v>
                </c:pt>
                <c:pt idx="22241">
                  <c:v>39957</c:v>
                </c:pt>
                <c:pt idx="22242">
                  <c:v>39957</c:v>
                </c:pt>
                <c:pt idx="22243">
                  <c:v>39956</c:v>
                </c:pt>
                <c:pt idx="22244">
                  <c:v>39956</c:v>
                </c:pt>
                <c:pt idx="22245">
                  <c:v>39955</c:v>
                </c:pt>
                <c:pt idx="22246">
                  <c:v>39955</c:v>
                </c:pt>
                <c:pt idx="22247">
                  <c:v>39955</c:v>
                </c:pt>
                <c:pt idx="22248">
                  <c:v>39955</c:v>
                </c:pt>
                <c:pt idx="22249">
                  <c:v>39955</c:v>
                </c:pt>
                <c:pt idx="22250">
                  <c:v>39955</c:v>
                </c:pt>
                <c:pt idx="22251">
                  <c:v>39954</c:v>
                </c:pt>
                <c:pt idx="22252">
                  <c:v>39954</c:v>
                </c:pt>
                <c:pt idx="22253">
                  <c:v>39953</c:v>
                </c:pt>
                <c:pt idx="22254">
                  <c:v>39952</c:v>
                </c:pt>
                <c:pt idx="22255">
                  <c:v>39951</c:v>
                </c:pt>
                <c:pt idx="22256">
                  <c:v>39951</c:v>
                </c:pt>
                <c:pt idx="22257">
                  <c:v>39950</c:v>
                </c:pt>
                <c:pt idx="22258">
                  <c:v>39950</c:v>
                </c:pt>
                <c:pt idx="22259">
                  <c:v>39950</c:v>
                </c:pt>
                <c:pt idx="22260">
                  <c:v>39949</c:v>
                </c:pt>
                <c:pt idx="22261">
                  <c:v>39948</c:v>
                </c:pt>
                <c:pt idx="22262">
                  <c:v>39945</c:v>
                </c:pt>
                <c:pt idx="22263">
                  <c:v>39945</c:v>
                </c:pt>
                <c:pt idx="22264">
                  <c:v>39945</c:v>
                </c:pt>
                <c:pt idx="22265">
                  <c:v>39944</c:v>
                </c:pt>
                <c:pt idx="22266">
                  <c:v>39944</c:v>
                </c:pt>
                <c:pt idx="22267">
                  <c:v>39944</c:v>
                </c:pt>
                <c:pt idx="22268">
                  <c:v>39943</c:v>
                </c:pt>
                <c:pt idx="22269">
                  <c:v>39939</c:v>
                </c:pt>
                <c:pt idx="22270">
                  <c:v>39938</c:v>
                </c:pt>
                <c:pt idx="22271">
                  <c:v>39936</c:v>
                </c:pt>
                <c:pt idx="22272">
                  <c:v>39936</c:v>
                </c:pt>
                <c:pt idx="22273">
                  <c:v>39935</c:v>
                </c:pt>
                <c:pt idx="22274">
                  <c:v>39934</c:v>
                </c:pt>
                <c:pt idx="22275">
                  <c:v>39934</c:v>
                </c:pt>
                <c:pt idx="22276">
                  <c:v>39934</c:v>
                </c:pt>
                <c:pt idx="22277">
                  <c:v>39934</c:v>
                </c:pt>
                <c:pt idx="22278">
                  <c:v>39934</c:v>
                </c:pt>
                <c:pt idx="22279">
                  <c:v>39931</c:v>
                </c:pt>
                <c:pt idx="22280">
                  <c:v>39929</c:v>
                </c:pt>
                <c:pt idx="22281">
                  <c:v>39929</c:v>
                </c:pt>
                <c:pt idx="22282">
                  <c:v>39927</c:v>
                </c:pt>
                <c:pt idx="22283">
                  <c:v>39927</c:v>
                </c:pt>
                <c:pt idx="22284">
                  <c:v>39926</c:v>
                </c:pt>
                <c:pt idx="22285">
                  <c:v>39925</c:v>
                </c:pt>
                <c:pt idx="22286">
                  <c:v>39923</c:v>
                </c:pt>
                <c:pt idx="22287">
                  <c:v>39923</c:v>
                </c:pt>
                <c:pt idx="22288">
                  <c:v>39921</c:v>
                </c:pt>
                <c:pt idx="22289">
                  <c:v>39920</c:v>
                </c:pt>
                <c:pt idx="22290">
                  <c:v>39920</c:v>
                </c:pt>
                <c:pt idx="22291">
                  <c:v>39920</c:v>
                </c:pt>
                <c:pt idx="22292">
                  <c:v>39920</c:v>
                </c:pt>
                <c:pt idx="22293">
                  <c:v>39919</c:v>
                </c:pt>
                <c:pt idx="22294">
                  <c:v>39919</c:v>
                </c:pt>
                <c:pt idx="22295">
                  <c:v>39919</c:v>
                </c:pt>
                <c:pt idx="22296">
                  <c:v>39919</c:v>
                </c:pt>
                <c:pt idx="22297">
                  <c:v>39918</c:v>
                </c:pt>
                <c:pt idx="22298">
                  <c:v>39917</c:v>
                </c:pt>
                <c:pt idx="22299">
                  <c:v>39917</c:v>
                </c:pt>
                <c:pt idx="22300">
                  <c:v>39917</c:v>
                </c:pt>
                <c:pt idx="22301">
                  <c:v>39917</c:v>
                </c:pt>
                <c:pt idx="22302">
                  <c:v>39916</c:v>
                </c:pt>
                <c:pt idx="22303">
                  <c:v>39915</c:v>
                </c:pt>
                <c:pt idx="22304">
                  <c:v>39914</c:v>
                </c:pt>
                <c:pt idx="22305">
                  <c:v>39913</c:v>
                </c:pt>
                <c:pt idx="22306">
                  <c:v>39913</c:v>
                </c:pt>
                <c:pt idx="22307">
                  <c:v>39912</c:v>
                </c:pt>
                <c:pt idx="22308">
                  <c:v>39911</c:v>
                </c:pt>
                <c:pt idx="22309">
                  <c:v>39911</c:v>
                </c:pt>
                <c:pt idx="22310">
                  <c:v>39911</c:v>
                </c:pt>
                <c:pt idx="22311">
                  <c:v>39910</c:v>
                </c:pt>
                <c:pt idx="22312">
                  <c:v>39910</c:v>
                </c:pt>
                <c:pt idx="22313">
                  <c:v>39908</c:v>
                </c:pt>
                <c:pt idx="22314">
                  <c:v>39908</c:v>
                </c:pt>
                <c:pt idx="22315">
                  <c:v>39908</c:v>
                </c:pt>
                <c:pt idx="22316">
                  <c:v>39907</c:v>
                </c:pt>
                <c:pt idx="22317">
                  <c:v>39907</c:v>
                </c:pt>
                <c:pt idx="22318">
                  <c:v>39907</c:v>
                </c:pt>
                <c:pt idx="22319">
                  <c:v>39907</c:v>
                </c:pt>
                <c:pt idx="22320">
                  <c:v>39907</c:v>
                </c:pt>
                <c:pt idx="22321">
                  <c:v>39907</c:v>
                </c:pt>
                <c:pt idx="22322">
                  <c:v>39905</c:v>
                </c:pt>
                <c:pt idx="22323">
                  <c:v>39904</c:v>
                </c:pt>
                <c:pt idx="22324">
                  <c:v>39904</c:v>
                </c:pt>
                <c:pt idx="22325">
                  <c:v>39901</c:v>
                </c:pt>
                <c:pt idx="22326">
                  <c:v>39901</c:v>
                </c:pt>
                <c:pt idx="22327">
                  <c:v>39898</c:v>
                </c:pt>
                <c:pt idx="22328">
                  <c:v>39898</c:v>
                </c:pt>
                <c:pt idx="22329">
                  <c:v>39897</c:v>
                </c:pt>
                <c:pt idx="22330">
                  <c:v>39897</c:v>
                </c:pt>
                <c:pt idx="22331">
                  <c:v>39897</c:v>
                </c:pt>
                <c:pt idx="22332">
                  <c:v>39896</c:v>
                </c:pt>
                <c:pt idx="22333">
                  <c:v>39896</c:v>
                </c:pt>
                <c:pt idx="22334">
                  <c:v>39895</c:v>
                </c:pt>
                <c:pt idx="22335">
                  <c:v>39894</c:v>
                </c:pt>
                <c:pt idx="22336">
                  <c:v>39894</c:v>
                </c:pt>
                <c:pt idx="22337">
                  <c:v>39894</c:v>
                </c:pt>
                <c:pt idx="22338">
                  <c:v>39894</c:v>
                </c:pt>
                <c:pt idx="22339">
                  <c:v>39893</c:v>
                </c:pt>
                <c:pt idx="22340">
                  <c:v>39892</c:v>
                </c:pt>
                <c:pt idx="22341">
                  <c:v>39892</c:v>
                </c:pt>
                <c:pt idx="22342">
                  <c:v>39891</c:v>
                </c:pt>
                <c:pt idx="22343">
                  <c:v>39891</c:v>
                </c:pt>
                <c:pt idx="22344">
                  <c:v>39888</c:v>
                </c:pt>
                <c:pt idx="22345">
                  <c:v>39888</c:v>
                </c:pt>
                <c:pt idx="22346">
                  <c:v>39888</c:v>
                </c:pt>
                <c:pt idx="22347">
                  <c:v>39887</c:v>
                </c:pt>
                <c:pt idx="22348">
                  <c:v>39887</c:v>
                </c:pt>
                <c:pt idx="22349">
                  <c:v>39885</c:v>
                </c:pt>
                <c:pt idx="22350">
                  <c:v>39884</c:v>
                </c:pt>
                <c:pt idx="22351">
                  <c:v>39883</c:v>
                </c:pt>
                <c:pt idx="22352">
                  <c:v>39880</c:v>
                </c:pt>
                <c:pt idx="22353">
                  <c:v>39880</c:v>
                </c:pt>
                <c:pt idx="22354">
                  <c:v>39878</c:v>
                </c:pt>
                <c:pt idx="22355">
                  <c:v>39877</c:v>
                </c:pt>
                <c:pt idx="22356">
                  <c:v>39877</c:v>
                </c:pt>
                <c:pt idx="22357">
                  <c:v>39877</c:v>
                </c:pt>
                <c:pt idx="22358">
                  <c:v>39876</c:v>
                </c:pt>
                <c:pt idx="22359">
                  <c:v>39875</c:v>
                </c:pt>
                <c:pt idx="22360">
                  <c:v>39872</c:v>
                </c:pt>
                <c:pt idx="22361">
                  <c:v>39872</c:v>
                </c:pt>
                <c:pt idx="22362">
                  <c:v>39871</c:v>
                </c:pt>
                <c:pt idx="22363">
                  <c:v>39871</c:v>
                </c:pt>
                <c:pt idx="22364">
                  <c:v>39869</c:v>
                </c:pt>
                <c:pt idx="22365">
                  <c:v>39868</c:v>
                </c:pt>
                <c:pt idx="22366">
                  <c:v>39867</c:v>
                </c:pt>
                <c:pt idx="22367">
                  <c:v>39866</c:v>
                </c:pt>
                <c:pt idx="22368">
                  <c:v>39865</c:v>
                </c:pt>
                <c:pt idx="22369">
                  <c:v>39865</c:v>
                </c:pt>
                <c:pt idx="22370">
                  <c:v>39865</c:v>
                </c:pt>
                <c:pt idx="22371">
                  <c:v>39865</c:v>
                </c:pt>
                <c:pt idx="22372">
                  <c:v>39864</c:v>
                </c:pt>
                <c:pt idx="22373">
                  <c:v>39862</c:v>
                </c:pt>
                <c:pt idx="22374">
                  <c:v>39861</c:v>
                </c:pt>
                <c:pt idx="22375">
                  <c:v>39861</c:v>
                </c:pt>
                <c:pt idx="22376">
                  <c:v>39861</c:v>
                </c:pt>
                <c:pt idx="22377">
                  <c:v>39861</c:v>
                </c:pt>
                <c:pt idx="22378">
                  <c:v>39857</c:v>
                </c:pt>
                <c:pt idx="22379">
                  <c:v>39857</c:v>
                </c:pt>
                <c:pt idx="22380">
                  <c:v>39856</c:v>
                </c:pt>
                <c:pt idx="22381">
                  <c:v>39855</c:v>
                </c:pt>
                <c:pt idx="22382">
                  <c:v>39853</c:v>
                </c:pt>
                <c:pt idx="22383">
                  <c:v>39852</c:v>
                </c:pt>
                <c:pt idx="22384">
                  <c:v>39852</c:v>
                </c:pt>
                <c:pt idx="22385">
                  <c:v>39851</c:v>
                </c:pt>
                <c:pt idx="22386">
                  <c:v>39849</c:v>
                </c:pt>
                <c:pt idx="22387">
                  <c:v>39849</c:v>
                </c:pt>
                <c:pt idx="22388">
                  <c:v>39847</c:v>
                </c:pt>
                <c:pt idx="22389">
                  <c:v>39846</c:v>
                </c:pt>
                <c:pt idx="22390">
                  <c:v>39846</c:v>
                </c:pt>
                <c:pt idx="22391">
                  <c:v>39845</c:v>
                </c:pt>
                <c:pt idx="22392">
                  <c:v>39845</c:v>
                </c:pt>
                <c:pt idx="22393">
                  <c:v>39845</c:v>
                </c:pt>
                <c:pt idx="22394">
                  <c:v>39845</c:v>
                </c:pt>
                <c:pt idx="22395">
                  <c:v>39844</c:v>
                </c:pt>
                <c:pt idx="22396">
                  <c:v>39842</c:v>
                </c:pt>
                <c:pt idx="22397">
                  <c:v>39840</c:v>
                </c:pt>
                <c:pt idx="22398">
                  <c:v>39839</c:v>
                </c:pt>
                <c:pt idx="22399">
                  <c:v>39839</c:v>
                </c:pt>
                <c:pt idx="22400">
                  <c:v>39839</c:v>
                </c:pt>
                <c:pt idx="22401">
                  <c:v>39838</c:v>
                </c:pt>
                <c:pt idx="22402">
                  <c:v>39838</c:v>
                </c:pt>
                <c:pt idx="22403">
                  <c:v>39838</c:v>
                </c:pt>
                <c:pt idx="22404">
                  <c:v>39838</c:v>
                </c:pt>
                <c:pt idx="22405">
                  <c:v>39837</c:v>
                </c:pt>
                <c:pt idx="22406">
                  <c:v>39837</c:v>
                </c:pt>
                <c:pt idx="22407">
                  <c:v>39836</c:v>
                </c:pt>
                <c:pt idx="22408">
                  <c:v>39836</c:v>
                </c:pt>
                <c:pt idx="22409">
                  <c:v>39835</c:v>
                </c:pt>
                <c:pt idx="22410">
                  <c:v>39831</c:v>
                </c:pt>
                <c:pt idx="22411">
                  <c:v>39829</c:v>
                </c:pt>
                <c:pt idx="22412">
                  <c:v>39829</c:v>
                </c:pt>
                <c:pt idx="22413">
                  <c:v>39827</c:v>
                </c:pt>
                <c:pt idx="22414">
                  <c:v>39827</c:v>
                </c:pt>
                <c:pt idx="22415">
                  <c:v>39827</c:v>
                </c:pt>
                <c:pt idx="22416">
                  <c:v>39826</c:v>
                </c:pt>
                <c:pt idx="22417">
                  <c:v>39824</c:v>
                </c:pt>
                <c:pt idx="22418">
                  <c:v>39823</c:v>
                </c:pt>
                <c:pt idx="22419">
                  <c:v>39822</c:v>
                </c:pt>
                <c:pt idx="22420">
                  <c:v>39821</c:v>
                </c:pt>
                <c:pt idx="22421">
                  <c:v>39821</c:v>
                </c:pt>
                <c:pt idx="22422">
                  <c:v>39820</c:v>
                </c:pt>
                <c:pt idx="22423">
                  <c:v>39819</c:v>
                </c:pt>
                <c:pt idx="22424">
                  <c:v>39816</c:v>
                </c:pt>
                <c:pt idx="22425">
                  <c:v>39816</c:v>
                </c:pt>
                <c:pt idx="22426">
                  <c:v>39815</c:v>
                </c:pt>
                <c:pt idx="22427">
                  <c:v>39814</c:v>
                </c:pt>
                <c:pt idx="22428">
                  <c:v>39813</c:v>
                </c:pt>
                <c:pt idx="22429">
                  <c:v>39811</c:v>
                </c:pt>
                <c:pt idx="22430">
                  <c:v>39809</c:v>
                </c:pt>
                <c:pt idx="22431">
                  <c:v>39809</c:v>
                </c:pt>
                <c:pt idx="22432">
                  <c:v>39807</c:v>
                </c:pt>
                <c:pt idx="22433">
                  <c:v>39806</c:v>
                </c:pt>
                <c:pt idx="22434">
                  <c:v>39804</c:v>
                </c:pt>
                <c:pt idx="22435">
                  <c:v>39804</c:v>
                </c:pt>
                <c:pt idx="22436">
                  <c:v>39804</c:v>
                </c:pt>
                <c:pt idx="22437">
                  <c:v>39804</c:v>
                </c:pt>
                <c:pt idx="22438">
                  <c:v>39802</c:v>
                </c:pt>
                <c:pt idx="22439">
                  <c:v>39800</c:v>
                </c:pt>
                <c:pt idx="22440">
                  <c:v>39800</c:v>
                </c:pt>
                <c:pt idx="22441">
                  <c:v>39799</c:v>
                </c:pt>
                <c:pt idx="22442">
                  <c:v>39798</c:v>
                </c:pt>
                <c:pt idx="22443">
                  <c:v>39796</c:v>
                </c:pt>
                <c:pt idx="22444">
                  <c:v>39795</c:v>
                </c:pt>
                <c:pt idx="22445">
                  <c:v>39795</c:v>
                </c:pt>
                <c:pt idx="22446">
                  <c:v>39794</c:v>
                </c:pt>
                <c:pt idx="22447">
                  <c:v>39793</c:v>
                </c:pt>
                <c:pt idx="22448">
                  <c:v>39792</c:v>
                </c:pt>
                <c:pt idx="22449">
                  <c:v>39791</c:v>
                </c:pt>
                <c:pt idx="22450">
                  <c:v>39789</c:v>
                </c:pt>
                <c:pt idx="22451">
                  <c:v>39789</c:v>
                </c:pt>
                <c:pt idx="22452">
                  <c:v>39788</c:v>
                </c:pt>
                <c:pt idx="22453">
                  <c:v>39787</c:v>
                </c:pt>
                <c:pt idx="22454">
                  <c:v>39787</c:v>
                </c:pt>
                <c:pt idx="22455">
                  <c:v>39787</c:v>
                </c:pt>
                <c:pt idx="22456">
                  <c:v>39786</c:v>
                </c:pt>
                <c:pt idx="22457">
                  <c:v>39785</c:v>
                </c:pt>
                <c:pt idx="22458">
                  <c:v>39784</c:v>
                </c:pt>
                <c:pt idx="22459">
                  <c:v>39783</c:v>
                </c:pt>
                <c:pt idx="22460">
                  <c:v>39782</c:v>
                </c:pt>
                <c:pt idx="22461">
                  <c:v>39782</c:v>
                </c:pt>
                <c:pt idx="22462">
                  <c:v>39782</c:v>
                </c:pt>
                <c:pt idx="22463">
                  <c:v>39780</c:v>
                </c:pt>
                <c:pt idx="22464">
                  <c:v>39780</c:v>
                </c:pt>
                <c:pt idx="22465">
                  <c:v>39778</c:v>
                </c:pt>
                <c:pt idx="22466">
                  <c:v>39777</c:v>
                </c:pt>
                <c:pt idx="22467">
                  <c:v>39777</c:v>
                </c:pt>
                <c:pt idx="22468">
                  <c:v>39776</c:v>
                </c:pt>
                <c:pt idx="22469">
                  <c:v>39775</c:v>
                </c:pt>
                <c:pt idx="22470">
                  <c:v>39775</c:v>
                </c:pt>
                <c:pt idx="22471">
                  <c:v>39774</c:v>
                </c:pt>
                <c:pt idx="22472">
                  <c:v>39773</c:v>
                </c:pt>
                <c:pt idx="22473">
                  <c:v>39773</c:v>
                </c:pt>
                <c:pt idx="22474">
                  <c:v>39773</c:v>
                </c:pt>
                <c:pt idx="22475">
                  <c:v>39772</c:v>
                </c:pt>
                <c:pt idx="22476">
                  <c:v>39771</c:v>
                </c:pt>
                <c:pt idx="22477">
                  <c:v>39771</c:v>
                </c:pt>
                <c:pt idx="22478">
                  <c:v>39769</c:v>
                </c:pt>
                <c:pt idx="22479">
                  <c:v>39767</c:v>
                </c:pt>
                <c:pt idx="22480">
                  <c:v>39767</c:v>
                </c:pt>
                <c:pt idx="22481">
                  <c:v>39767</c:v>
                </c:pt>
                <c:pt idx="22482">
                  <c:v>39766</c:v>
                </c:pt>
                <c:pt idx="22483">
                  <c:v>39765</c:v>
                </c:pt>
                <c:pt idx="22484">
                  <c:v>39764</c:v>
                </c:pt>
                <c:pt idx="22485">
                  <c:v>39764</c:v>
                </c:pt>
                <c:pt idx="22486">
                  <c:v>39764</c:v>
                </c:pt>
                <c:pt idx="22487">
                  <c:v>39764</c:v>
                </c:pt>
                <c:pt idx="22488">
                  <c:v>39762</c:v>
                </c:pt>
                <c:pt idx="22489">
                  <c:v>39761</c:v>
                </c:pt>
                <c:pt idx="22490">
                  <c:v>39761</c:v>
                </c:pt>
                <c:pt idx="22491">
                  <c:v>39761</c:v>
                </c:pt>
                <c:pt idx="22492">
                  <c:v>39757</c:v>
                </c:pt>
                <c:pt idx="22493">
                  <c:v>39753</c:v>
                </c:pt>
                <c:pt idx="22494">
                  <c:v>39752</c:v>
                </c:pt>
                <c:pt idx="22495">
                  <c:v>39751</c:v>
                </c:pt>
                <c:pt idx="22496">
                  <c:v>39751</c:v>
                </c:pt>
                <c:pt idx="22497">
                  <c:v>39750</c:v>
                </c:pt>
                <c:pt idx="22498">
                  <c:v>39748</c:v>
                </c:pt>
                <c:pt idx="22499">
                  <c:v>39747</c:v>
                </c:pt>
                <c:pt idx="22500">
                  <c:v>39747</c:v>
                </c:pt>
                <c:pt idx="22501">
                  <c:v>39745</c:v>
                </c:pt>
                <c:pt idx="22502">
                  <c:v>39745</c:v>
                </c:pt>
                <c:pt idx="22503">
                  <c:v>39745</c:v>
                </c:pt>
                <c:pt idx="22504">
                  <c:v>39744</c:v>
                </c:pt>
                <c:pt idx="22505">
                  <c:v>39740</c:v>
                </c:pt>
                <c:pt idx="22506">
                  <c:v>39739</c:v>
                </c:pt>
                <c:pt idx="22507">
                  <c:v>39739</c:v>
                </c:pt>
                <c:pt idx="22508">
                  <c:v>39739</c:v>
                </c:pt>
                <c:pt idx="22509">
                  <c:v>39739</c:v>
                </c:pt>
                <c:pt idx="22510">
                  <c:v>39739</c:v>
                </c:pt>
                <c:pt idx="22511">
                  <c:v>39737</c:v>
                </c:pt>
                <c:pt idx="22512">
                  <c:v>39735</c:v>
                </c:pt>
                <c:pt idx="22513">
                  <c:v>39735</c:v>
                </c:pt>
                <c:pt idx="22514">
                  <c:v>39735</c:v>
                </c:pt>
                <c:pt idx="22515">
                  <c:v>39734</c:v>
                </c:pt>
                <c:pt idx="22516">
                  <c:v>39734</c:v>
                </c:pt>
                <c:pt idx="22517">
                  <c:v>39733</c:v>
                </c:pt>
                <c:pt idx="22518">
                  <c:v>39733</c:v>
                </c:pt>
                <c:pt idx="22519">
                  <c:v>39732</c:v>
                </c:pt>
                <c:pt idx="22520">
                  <c:v>39732</c:v>
                </c:pt>
                <c:pt idx="22521">
                  <c:v>39730</c:v>
                </c:pt>
                <c:pt idx="22522">
                  <c:v>39729</c:v>
                </c:pt>
                <c:pt idx="22523">
                  <c:v>39729</c:v>
                </c:pt>
                <c:pt idx="22524">
                  <c:v>39728</c:v>
                </c:pt>
                <c:pt idx="22525">
                  <c:v>39727</c:v>
                </c:pt>
                <c:pt idx="22526">
                  <c:v>39726</c:v>
                </c:pt>
                <c:pt idx="22527">
                  <c:v>39726</c:v>
                </c:pt>
                <c:pt idx="22528">
                  <c:v>39725</c:v>
                </c:pt>
                <c:pt idx="22529">
                  <c:v>39725</c:v>
                </c:pt>
                <c:pt idx="22530">
                  <c:v>39724</c:v>
                </c:pt>
                <c:pt idx="22531">
                  <c:v>39724</c:v>
                </c:pt>
                <c:pt idx="22532">
                  <c:v>39724</c:v>
                </c:pt>
                <c:pt idx="22533">
                  <c:v>39723</c:v>
                </c:pt>
                <c:pt idx="22534">
                  <c:v>39722</c:v>
                </c:pt>
                <c:pt idx="22535">
                  <c:v>39720</c:v>
                </c:pt>
                <c:pt idx="22536">
                  <c:v>39719</c:v>
                </c:pt>
                <c:pt idx="22537">
                  <c:v>39718</c:v>
                </c:pt>
                <c:pt idx="22538">
                  <c:v>39718</c:v>
                </c:pt>
                <c:pt idx="22539">
                  <c:v>39717</c:v>
                </c:pt>
                <c:pt idx="22540">
                  <c:v>39716</c:v>
                </c:pt>
                <c:pt idx="22541">
                  <c:v>39716</c:v>
                </c:pt>
                <c:pt idx="22542">
                  <c:v>39716</c:v>
                </c:pt>
                <c:pt idx="22543">
                  <c:v>39715</c:v>
                </c:pt>
                <c:pt idx="22544">
                  <c:v>39714</c:v>
                </c:pt>
                <c:pt idx="22545">
                  <c:v>39714</c:v>
                </c:pt>
                <c:pt idx="22546">
                  <c:v>39713</c:v>
                </c:pt>
                <c:pt idx="22547">
                  <c:v>39713</c:v>
                </c:pt>
                <c:pt idx="22548">
                  <c:v>39712</c:v>
                </c:pt>
                <c:pt idx="22549">
                  <c:v>39710</c:v>
                </c:pt>
                <c:pt idx="22550">
                  <c:v>39707</c:v>
                </c:pt>
                <c:pt idx="22551">
                  <c:v>39707</c:v>
                </c:pt>
                <c:pt idx="22552">
                  <c:v>39706</c:v>
                </c:pt>
                <c:pt idx="22553">
                  <c:v>39705</c:v>
                </c:pt>
                <c:pt idx="22554">
                  <c:v>39703</c:v>
                </c:pt>
                <c:pt idx="22555">
                  <c:v>39702</c:v>
                </c:pt>
                <c:pt idx="22556">
                  <c:v>39702</c:v>
                </c:pt>
                <c:pt idx="22557">
                  <c:v>39701</c:v>
                </c:pt>
                <c:pt idx="22558">
                  <c:v>39700</c:v>
                </c:pt>
                <c:pt idx="22559">
                  <c:v>39700</c:v>
                </c:pt>
                <c:pt idx="22560">
                  <c:v>39699</c:v>
                </c:pt>
                <c:pt idx="22561">
                  <c:v>39699</c:v>
                </c:pt>
                <c:pt idx="22562">
                  <c:v>39699</c:v>
                </c:pt>
                <c:pt idx="22563">
                  <c:v>39698</c:v>
                </c:pt>
                <c:pt idx="22564">
                  <c:v>39698</c:v>
                </c:pt>
                <c:pt idx="22565">
                  <c:v>39697</c:v>
                </c:pt>
                <c:pt idx="22566">
                  <c:v>39697</c:v>
                </c:pt>
                <c:pt idx="22567">
                  <c:v>39695</c:v>
                </c:pt>
                <c:pt idx="22568">
                  <c:v>39694</c:v>
                </c:pt>
                <c:pt idx="22569">
                  <c:v>39694</c:v>
                </c:pt>
                <c:pt idx="22570">
                  <c:v>39694</c:v>
                </c:pt>
                <c:pt idx="22571">
                  <c:v>39693</c:v>
                </c:pt>
                <c:pt idx="22572">
                  <c:v>39693</c:v>
                </c:pt>
                <c:pt idx="22573">
                  <c:v>39693</c:v>
                </c:pt>
                <c:pt idx="22574">
                  <c:v>39693</c:v>
                </c:pt>
                <c:pt idx="22575">
                  <c:v>39693</c:v>
                </c:pt>
                <c:pt idx="22576">
                  <c:v>39693</c:v>
                </c:pt>
                <c:pt idx="22577">
                  <c:v>39692</c:v>
                </c:pt>
                <c:pt idx="22578">
                  <c:v>39691</c:v>
                </c:pt>
                <c:pt idx="22579">
                  <c:v>39691</c:v>
                </c:pt>
                <c:pt idx="22580">
                  <c:v>39690</c:v>
                </c:pt>
                <c:pt idx="22581">
                  <c:v>39689</c:v>
                </c:pt>
                <c:pt idx="22582">
                  <c:v>39689</c:v>
                </c:pt>
                <c:pt idx="22583">
                  <c:v>39689</c:v>
                </c:pt>
                <c:pt idx="22584">
                  <c:v>39688</c:v>
                </c:pt>
                <c:pt idx="22585">
                  <c:v>39688</c:v>
                </c:pt>
                <c:pt idx="22586">
                  <c:v>39687</c:v>
                </c:pt>
                <c:pt idx="22587">
                  <c:v>39686</c:v>
                </c:pt>
                <c:pt idx="22588">
                  <c:v>39685</c:v>
                </c:pt>
                <c:pt idx="22589">
                  <c:v>39685</c:v>
                </c:pt>
                <c:pt idx="22590">
                  <c:v>39684</c:v>
                </c:pt>
                <c:pt idx="22591">
                  <c:v>39684</c:v>
                </c:pt>
                <c:pt idx="22592">
                  <c:v>39683</c:v>
                </c:pt>
                <c:pt idx="22593">
                  <c:v>39683</c:v>
                </c:pt>
                <c:pt idx="22594">
                  <c:v>39683</c:v>
                </c:pt>
                <c:pt idx="22595">
                  <c:v>39683</c:v>
                </c:pt>
                <c:pt idx="22596">
                  <c:v>39683</c:v>
                </c:pt>
                <c:pt idx="22597">
                  <c:v>39683</c:v>
                </c:pt>
                <c:pt idx="22598">
                  <c:v>39682</c:v>
                </c:pt>
                <c:pt idx="22599">
                  <c:v>39682</c:v>
                </c:pt>
                <c:pt idx="22600">
                  <c:v>39681</c:v>
                </c:pt>
                <c:pt idx="22601">
                  <c:v>39681</c:v>
                </c:pt>
                <c:pt idx="22602">
                  <c:v>39681</c:v>
                </c:pt>
                <c:pt idx="22603">
                  <c:v>39680</c:v>
                </c:pt>
                <c:pt idx="22604">
                  <c:v>39680</c:v>
                </c:pt>
                <c:pt idx="22605">
                  <c:v>39679</c:v>
                </c:pt>
                <c:pt idx="22606">
                  <c:v>39679</c:v>
                </c:pt>
                <c:pt idx="22607">
                  <c:v>39678</c:v>
                </c:pt>
                <c:pt idx="22608">
                  <c:v>39678</c:v>
                </c:pt>
                <c:pt idx="22609">
                  <c:v>39678</c:v>
                </c:pt>
                <c:pt idx="22610">
                  <c:v>39677</c:v>
                </c:pt>
                <c:pt idx="22611">
                  <c:v>39677</c:v>
                </c:pt>
                <c:pt idx="22612">
                  <c:v>39677</c:v>
                </c:pt>
                <c:pt idx="22613">
                  <c:v>39677</c:v>
                </c:pt>
                <c:pt idx="22614">
                  <c:v>39676</c:v>
                </c:pt>
                <c:pt idx="22615">
                  <c:v>39676</c:v>
                </c:pt>
                <c:pt idx="22616">
                  <c:v>39676</c:v>
                </c:pt>
                <c:pt idx="22617">
                  <c:v>39675</c:v>
                </c:pt>
                <c:pt idx="22618">
                  <c:v>39675</c:v>
                </c:pt>
                <c:pt idx="22619">
                  <c:v>39675</c:v>
                </c:pt>
                <c:pt idx="22620">
                  <c:v>39674</c:v>
                </c:pt>
                <c:pt idx="22621">
                  <c:v>39671</c:v>
                </c:pt>
                <c:pt idx="22622">
                  <c:v>39671</c:v>
                </c:pt>
                <c:pt idx="22623">
                  <c:v>39670</c:v>
                </c:pt>
                <c:pt idx="22624">
                  <c:v>39670</c:v>
                </c:pt>
                <c:pt idx="22625">
                  <c:v>39670</c:v>
                </c:pt>
                <c:pt idx="22626">
                  <c:v>39669</c:v>
                </c:pt>
                <c:pt idx="22627">
                  <c:v>39669</c:v>
                </c:pt>
                <c:pt idx="22628">
                  <c:v>39669</c:v>
                </c:pt>
                <c:pt idx="22629">
                  <c:v>39669</c:v>
                </c:pt>
                <c:pt idx="22630">
                  <c:v>39669</c:v>
                </c:pt>
                <c:pt idx="22631">
                  <c:v>39668</c:v>
                </c:pt>
                <c:pt idx="22632">
                  <c:v>39667</c:v>
                </c:pt>
                <c:pt idx="22633">
                  <c:v>39667</c:v>
                </c:pt>
                <c:pt idx="22634">
                  <c:v>39665</c:v>
                </c:pt>
                <c:pt idx="22635">
                  <c:v>39665</c:v>
                </c:pt>
                <c:pt idx="22636">
                  <c:v>39664</c:v>
                </c:pt>
                <c:pt idx="22637">
                  <c:v>39664</c:v>
                </c:pt>
                <c:pt idx="22638">
                  <c:v>39663</c:v>
                </c:pt>
                <c:pt idx="22639">
                  <c:v>39663</c:v>
                </c:pt>
                <c:pt idx="22640">
                  <c:v>39661</c:v>
                </c:pt>
                <c:pt idx="22641">
                  <c:v>39661</c:v>
                </c:pt>
                <c:pt idx="22642">
                  <c:v>39661</c:v>
                </c:pt>
                <c:pt idx="22643">
                  <c:v>39661</c:v>
                </c:pt>
                <c:pt idx="22644">
                  <c:v>39659</c:v>
                </c:pt>
                <c:pt idx="22645">
                  <c:v>39659</c:v>
                </c:pt>
                <c:pt idx="22646">
                  <c:v>39658</c:v>
                </c:pt>
                <c:pt idx="22647">
                  <c:v>39658</c:v>
                </c:pt>
                <c:pt idx="22648">
                  <c:v>39657</c:v>
                </c:pt>
                <c:pt idx="22649">
                  <c:v>39657</c:v>
                </c:pt>
                <c:pt idx="22650">
                  <c:v>39657</c:v>
                </c:pt>
                <c:pt idx="22651">
                  <c:v>39657</c:v>
                </c:pt>
                <c:pt idx="22652">
                  <c:v>39656</c:v>
                </c:pt>
                <c:pt idx="22653">
                  <c:v>39655</c:v>
                </c:pt>
                <c:pt idx="22654">
                  <c:v>39655</c:v>
                </c:pt>
                <c:pt idx="22655">
                  <c:v>39654</c:v>
                </c:pt>
                <c:pt idx="22656">
                  <c:v>39653</c:v>
                </c:pt>
                <c:pt idx="22657">
                  <c:v>39653</c:v>
                </c:pt>
                <c:pt idx="22658">
                  <c:v>39653</c:v>
                </c:pt>
                <c:pt idx="22659">
                  <c:v>39652</c:v>
                </c:pt>
                <c:pt idx="22660">
                  <c:v>39651</c:v>
                </c:pt>
                <c:pt idx="22661">
                  <c:v>39651</c:v>
                </c:pt>
                <c:pt idx="22662">
                  <c:v>39650</c:v>
                </c:pt>
                <c:pt idx="22663">
                  <c:v>39648</c:v>
                </c:pt>
                <c:pt idx="22664">
                  <c:v>39647</c:v>
                </c:pt>
                <c:pt idx="22665">
                  <c:v>39647</c:v>
                </c:pt>
                <c:pt idx="22666">
                  <c:v>39646</c:v>
                </c:pt>
                <c:pt idx="22667">
                  <c:v>39644</c:v>
                </c:pt>
                <c:pt idx="22668">
                  <c:v>39642</c:v>
                </c:pt>
                <c:pt idx="22669">
                  <c:v>39642</c:v>
                </c:pt>
                <c:pt idx="22670">
                  <c:v>39641</c:v>
                </c:pt>
                <c:pt idx="22671">
                  <c:v>39641</c:v>
                </c:pt>
                <c:pt idx="22672">
                  <c:v>39640</c:v>
                </c:pt>
                <c:pt idx="22673">
                  <c:v>39640</c:v>
                </c:pt>
                <c:pt idx="22674">
                  <c:v>39640</c:v>
                </c:pt>
                <c:pt idx="22675">
                  <c:v>39639</c:v>
                </c:pt>
                <c:pt idx="22676">
                  <c:v>39639</c:v>
                </c:pt>
                <c:pt idx="22677">
                  <c:v>39638</c:v>
                </c:pt>
                <c:pt idx="22678">
                  <c:v>39638</c:v>
                </c:pt>
                <c:pt idx="22679">
                  <c:v>39638</c:v>
                </c:pt>
                <c:pt idx="22680">
                  <c:v>39637</c:v>
                </c:pt>
                <c:pt idx="22681">
                  <c:v>39637</c:v>
                </c:pt>
                <c:pt idx="22682">
                  <c:v>39637</c:v>
                </c:pt>
                <c:pt idx="22683">
                  <c:v>39637</c:v>
                </c:pt>
                <c:pt idx="22684">
                  <c:v>39637</c:v>
                </c:pt>
                <c:pt idx="22685">
                  <c:v>39635</c:v>
                </c:pt>
                <c:pt idx="22686">
                  <c:v>39634</c:v>
                </c:pt>
                <c:pt idx="22687">
                  <c:v>39633</c:v>
                </c:pt>
                <c:pt idx="22688">
                  <c:v>39631</c:v>
                </c:pt>
                <c:pt idx="22689">
                  <c:v>39631</c:v>
                </c:pt>
                <c:pt idx="22690">
                  <c:v>39631</c:v>
                </c:pt>
                <c:pt idx="22691">
                  <c:v>39631</c:v>
                </c:pt>
                <c:pt idx="22692">
                  <c:v>39630</c:v>
                </c:pt>
                <c:pt idx="22693">
                  <c:v>39630</c:v>
                </c:pt>
                <c:pt idx="22694">
                  <c:v>39630</c:v>
                </c:pt>
                <c:pt idx="22695">
                  <c:v>39629</c:v>
                </c:pt>
                <c:pt idx="22696">
                  <c:v>39629</c:v>
                </c:pt>
                <c:pt idx="22697">
                  <c:v>39629</c:v>
                </c:pt>
                <c:pt idx="22698">
                  <c:v>39628</c:v>
                </c:pt>
                <c:pt idx="22699">
                  <c:v>39628</c:v>
                </c:pt>
                <c:pt idx="22700">
                  <c:v>39628</c:v>
                </c:pt>
                <c:pt idx="22701">
                  <c:v>39627</c:v>
                </c:pt>
                <c:pt idx="22702">
                  <c:v>39627</c:v>
                </c:pt>
                <c:pt idx="22703">
                  <c:v>39626</c:v>
                </c:pt>
                <c:pt idx="22704">
                  <c:v>39626</c:v>
                </c:pt>
                <c:pt idx="22705">
                  <c:v>39626</c:v>
                </c:pt>
                <c:pt idx="22706">
                  <c:v>39625</c:v>
                </c:pt>
                <c:pt idx="22707">
                  <c:v>39625</c:v>
                </c:pt>
                <c:pt idx="22708">
                  <c:v>39624</c:v>
                </c:pt>
                <c:pt idx="22709">
                  <c:v>39624</c:v>
                </c:pt>
                <c:pt idx="22710">
                  <c:v>39623</c:v>
                </c:pt>
                <c:pt idx="22711">
                  <c:v>39623</c:v>
                </c:pt>
                <c:pt idx="22712">
                  <c:v>39622</c:v>
                </c:pt>
                <c:pt idx="22713">
                  <c:v>39622</c:v>
                </c:pt>
                <c:pt idx="22714">
                  <c:v>39622</c:v>
                </c:pt>
                <c:pt idx="22715">
                  <c:v>39620</c:v>
                </c:pt>
                <c:pt idx="22716">
                  <c:v>39620</c:v>
                </c:pt>
                <c:pt idx="22717">
                  <c:v>39618</c:v>
                </c:pt>
                <c:pt idx="22718">
                  <c:v>39618</c:v>
                </c:pt>
                <c:pt idx="22719">
                  <c:v>39617</c:v>
                </c:pt>
                <c:pt idx="22720">
                  <c:v>39617</c:v>
                </c:pt>
                <c:pt idx="22721">
                  <c:v>39617</c:v>
                </c:pt>
                <c:pt idx="22722">
                  <c:v>39616</c:v>
                </c:pt>
                <c:pt idx="22723">
                  <c:v>39616</c:v>
                </c:pt>
                <c:pt idx="22724">
                  <c:v>39616</c:v>
                </c:pt>
                <c:pt idx="22725">
                  <c:v>39616</c:v>
                </c:pt>
                <c:pt idx="22726">
                  <c:v>39613</c:v>
                </c:pt>
                <c:pt idx="22727">
                  <c:v>39613</c:v>
                </c:pt>
                <c:pt idx="22728">
                  <c:v>39612</c:v>
                </c:pt>
                <c:pt idx="22729">
                  <c:v>39611</c:v>
                </c:pt>
                <c:pt idx="22730">
                  <c:v>39611</c:v>
                </c:pt>
                <c:pt idx="22731">
                  <c:v>39611</c:v>
                </c:pt>
                <c:pt idx="22732">
                  <c:v>39611</c:v>
                </c:pt>
                <c:pt idx="22733">
                  <c:v>39610</c:v>
                </c:pt>
                <c:pt idx="22734">
                  <c:v>39609</c:v>
                </c:pt>
                <c:pt idx="22735">
                  <c:v>39609</c:v>
                </c:pt>
                <c:pt idx="22736">
                  <c:v>39608</c:v>
                </c:pt>
                <c:pt idx="22737">
                  <c:v>39607</c:v>
                </c:pt>
                <c:pt idx="22738">
                  <c:v>39607</c:v>
                </c:pt>
                <c:pt idx="22739">
                  <c:v>39606</c:v>
                </c:pt>
                <c:pt idx="22740">
                  <c:v>39606</c:v>
                </c:pt>
                <c:pt idx="22741">
                  <c:v>39605</c:v>
                </c:pt>
                <c:pt idx="22742">
                  <c:v>39604</c:v>
                </c:pt>
                <c:pt idx="22743">
                  <c:v>39603</c:v>
                </c:pt>
                <c:pt idx="22744">
                  <c:v>39602</c:v>
                </c:pt>
                <c:pt idx="22745">
                  <c:v>39602</c:v>
                </c:pt>
                <c:pt idx="22746">
                  <c:v>39601</c:v>
                </c:pt>
                <c:pt idx="22747">
                  <c:v>39601</c:v>
                </c:pt>
                <c:pt idx="22748">
                  <c:v>39600</c:v>
                </c:pt>
                <c:pt idx="22749">
                  <c:v>39600</c:v>
                </c:pt>
                <c:pt idx="22750">
                  <c:v>39600</c:v>
                </c:pt>
                <c:pt idx="22751">
                  <c:v>39599</c:v>
                </c:pt>
                <c:pt idx="22752">
                  <c:v>39597</c:v>
                </c:pt>
                <c:pt idx="22753">
                  <c:v>39597</c:v>
                </c:pt>
                <c:pt idx="22754">
                  <c:v>39596</c:v>
                </c:pt>
                <c:pt idx="22755">
                  <c:v>39596</c:v>
                </c:pt>
                <c:pt idx="22756">
                  <c:v>39595</c:v>
                </c:pt>
                <c:pt idx="22757">
                  <c:v>39595</c:v>
                </c:pt>
                <c:pt idx="22758">
                  <c:v>39594</c:v>
                </c:pt>
                <c:pt idx="22759">
                  <c:v>39594</c:v>
                </c:pt>
                <c:pt idx="22760">
                  <c:v>39594</c:v>
                </c:pt>
                <c:pt idx="22761">
                  <c:v>39593</c:v>
                </c:pt>
                <c:pt idx="22762">
                  <c:v>39593</c:v>
                </c:pt>
                <c:pt idx="22763">
                  <c:v>39592</c:v>
                </c:pt>
                <c:pt idx="22764">
                  <c:v>39591</c:v>
                </c:pt>
                <c:pt idx="22765">
                  <c:v>39590</c:v>
                </c:pt>
                <c:pt idx="22766">
                  <c:v>39590</c:v>
                </c:pt>
                <c:pt idx="22767">
                  <c:v>39589</c:v>
                </c:pt>
                <c:pt idx="22768">
                  <c:v>39589</c:v>
                </c:pt>
                <c:pt idx="22769">
                  <c:v>39588</c:v>
                </c:pt>
                <c:pt idx="22770">
                  <c:v>39588</c:v>
                </c:pt>
                <c:pt idx="22771">
                  <c:v>39587</c:v>
                </c:pt>
                <c:pt idx="22772">
                  <c:v>39587</c:v>
                </c:pt>
                <c:pt idx="22773">
                  <c:v>39587</c:v>
                </c:pt>
                <c:pt idx="22774">
                  <c:v>39587</c:v>
                </c:pt>
                <c:pt idx="22775">
                  <c:v>39586</c:v>
                </c:pt>
                <c:pt idx="22776">
                  <c:v>39586</c:v>
                </c:pt>
                <c:pt idx="22777">
                  <c:v>39585</c:v>
                </c:pt>
                <c:pt idx="22778">
                  <c:v>39584</c:v>
                </c:pt>
                <c:pt idx="22779">
                  <c:v>39584</c:v>
                </c:pt>
                <c:pt idx="22780">
                  <c:v>39584</c:v>
                </c:pt>
                <c:pt idx="22781">
                  <c:v>39583</c:v>
                </c:pt>
                <c:pt idx="22782">
                  <c:v>39583</c:v>
                </c:pt>
                <c:pt idx="22783">
                  <c:v>39583</c:v>
                </c:pt>
                <c:pt idx="22784">
                  <c:v>39582</c:v>
                </c:pt>
                <c:pt idx="22785">
                  <c:v>39582</c:v>
                </c:pt>
                <c:pt idx="22786">
                  <c:v>39581</c:v>
                </c:pt>
                <c:pt idx="22787">
                  <c:v>39579</c:v>
                </c:pt>
                <c:pt idx="22788">
                  <c:v>39578</c:v>
                </c:pt>
                <c:pt idx="22789">
                  <c:v>39578</c:v>
                </c:pt>
                <c:pt idx="22790">
                  <c:v>39577</c:v>
                </c:pt>
                <c:pt idx="22791">
                  <c:v>39576</c:v>
                </c:pt>
                <c:pt idx="22792">
                  <c:v>39576</c:v>
                </c:pt>
                <c:pt idx="22793">
                  <c:v>39576</c:v>
                </c:pt>
                <c:pt idx="22794">
                  <c:v>39576</c:v>
                </c:pt>
                <c:pt idx="22795">
                  <c:v>39575</c:v>
                </c:pt>
                <c:pt idx="22796">
                  <c:v>39575</c:v>
                </c:pt>
                <c:pt idx="22797">
                  <c:v>39574</c:v>
                </c:pt>
                <c:pt idx="22798">
                  <c:v>39574</c:v>
                </c:pt>
                <c:pt idx="22799">
                  <c:v>39574</c:v>
                </c:pt>
                <c:pt idx="22800">
                  <c:v>39573</c:v>
                </c:pt>
                <c:pt idx="22801">
                  <c:v>39573</c:v>
                </c:pt>
                <c:pt idx="22802">
                  <c:v>39572</c:v>
                </c:pt>
                <c:pt idx="22803">
                  <c:v>39571</c:v>
                </c:pt>
                <c:pt idx="22804">
                  <c:v>39570</c:v>
                </c:pt>
                <c:pt idx="22805">
                  <c:v>39569</c:v>
                </c:pt>
                <c:pt idx="22806">
                  <c:v>39569</c:v>
                </c:pt>
                <c:pt idx="22807">
                  <c:v>39567</c:v>
                </c:pt>
                <c:pt idx="22808">
                  <c:v>39565</c:v>
                </c:pt>
                <c:pt idx="22809">
                  <c:v>39565</c:v>
                </c:pt>
                <c:pt idx="22810">
                  <c:v>39564</c:v>
                </c:pt>
                <c:pt idx="22811">
                  <c:v>39564</c:v>
                </c:pt>
                <c:pt idx="22812">
                  <c:v>39564</c:v>
                </c:pt>
                <c:pt idx="22813">
                  <c:v>39564</c:v>
                </c:pt>
                <c:pt idx="22814">
                  <c:v>39564</c:v>
                </c:pt>
                <c:pt idx="22815">
                  <c:v>39564</c:v>
                </c:pt>
                <c:pt idx="22816">
                  <c:v>39563</c:v>
                </c:pt>
                <c:pt idx="22817">
                  <c:v>39563</c:v>
                </c:pt>
                <c:pt idx="22818">
                  <c:v>39563</c:v>
                </c:pt>
                <c:pt idx="22819">
                  <c:v>39562</c:v>
                </c:pt>
                <c:pt idx="22820">
                  <c:v>39561</c:v>
                </c:pt>
                <c:pt idx="22821">
                  <c:v>39561</c:v>
                </c:pt>
                <c:pt idx="22822">
                  <c:v>39561</c:v>
                </c:pt>
                <c:pt idx="22823">
                  <c:v>39560</c:v>
                </c:pt>
                <c:pt idx="22824">
                  <c:v>39560</c:v>
                </c:pt>
                <c:pt idx="22825">
                  <c:v>39560</c:v>
                </c:pt>
                <c:pt idx="22826">
                  <c:v>39560</c:v>
                </c:pt>
                <c:pt idx="22827">
                  <c:v>39559</c:v>
                </c:pt>
                <c:pt idx="22828">
                  <c:v>39559</c:v>
                </c:pt>
                <c:pt idx="22829">
                  <c:v>39559</c:v>
                </c:pt>
                <c:pt idx="22830">
                  <c:v>39558</c:v>
                </c:pt>
                <c:pt idx="22831">
                  <c:v>39558</c:v>
                </c:pt>
                <c:pt idx="22832">
                  <c:v>39554</c:v>
                </c:pt>
                <c:pt idx="22833">
                  <c:v>39553</c:v>
                </c:pt>
                <c:pt idx="22834">
                  <c:v>39553</c:v>
                </c:pt>
                <c:pt idx="22835">
                  <c:v>39553</c:v>
                </c:pt>
                <c:pt idx="22836">
                  <c:v>39552</c:v>
                </c:pt>
                <c:pt idx="22837">
                  <c:v>39552</c:v>
                </c:pt>
                <c:pt idx="22838">
                  <c:v>39551</c:v>
                </c:pt>
                <c:pt idx="22839">
                  <c:v>39551</c:v>
                </c:pt>
                <c:pt idx="22840">
                  <c:v>39551</c:v>
                </c:pt>
                <c:pt idx="22841">
                  <c:v>39550</c:v>
                </c:pt>
                <c:pt idx="22842">
                  <c:v>39547</c:v>
                </c:pt>
                <c:pt idx="22843">
                  <c:v>39547</c:v>
                </c:pt>
                <c:pt idx="22844">
                  <c:v>39544</c:v>
                </c:pt>
                <c:pt idx="22845">
                  <c:v>39544</c:v>
                </c:pt>
                <c:pt idx="22846">
                  <c:v>39543</c:v>
                </c:pt>
                <c:pt idx="22847">
                  <c:v>39543</c:v>
                </c:pt>
                <c:pt idx="22848">
                  <c:v>39542</c:v>
                </c:pt>
                <c:pt idx="22849">
                  <c:v>39542</c:v>
                </c:pt>
                <c:pt idx="22850">
                  <c:v>39540</c:v>
                </c:pt>
                <c:pt idx="22851">
                  <c:v>39540</c:v>
                </c:pt>
                <c:pt idx="22852">
                  <c:v>39540</c:v>
                </c:pt>
                <c:pt idx="22853">
                  <c:v>39539</c:v>
                </c:pt>
                <c:pt idx="22854">
                  <c:v>39538</c:v>
                </c:pt>
                <c:pt idx="22855">
                  <c:v>39537</c:v>
                </c:pt>
                <c:pt idx="22856">
                  <c:v>39536</c:v>
                </c:pt>
                <c:pt idx="22857">
                  <c:v>39535</c:v>
                </c:pt>
                <c:pt idx="22858">
                  <c:v>39534</c:v>
                </c:pt>
                <c:pt idx="22859">
                  <c:v>39534</c:v>
                </c:pt>
                <c:pt idx="22860">
                  <c:v>39533</c:v>
                </c:pt>
                <c:pt idx="22861">
                  <c:v>39533</c:v>
                </c:pt>
                <c:pt idx="22862">
                  <c:v>39533</c:v>
                </c:pt>
                <c:pt idx="22863">
                  <c:v>39533</c:v>
                </c:pt>
                <c:pt idx="22864">
                  <c:v>39530</c:v>
                </c:pt>
                <c:pt idx="22865">
                  <c:v>39530</c:v>
                </c:pt>
                <c:pt idx="22866">
                  <c:v>39529</c:v>
                </c:pt>
                <c:pt idx="22867">
                  <c:v>39528</c:v>
                </c:pt>
                <c:pt idx="22868">
                  <c:v>39527</c:v>
                </c:pt>
                <c:pt idx="22869">
                  <c:v>39526</c:v>
                </c:pt>
                <c:pt idx="22870">
                  <c:v>39526</c:v>
                </c:pt>
                <c:pt idx="22871">
                  <c:v>39525</c:v>
                </c:pt>
                <c:pt idx="22872">
                  <c:v>39525</c:v>
                </c:pt>
                <c:pt idx="22873">
                  <c:v>39525</c:v>
                </c:pt>
                <c:pt idx="22874">
                  <c:v>39524</c:v>
                </c:pt>
                <c:pt idx="22875">
                  <c:v>39521</c:v>
                </c:pt>
                <c:pt idx="22876">
                  <c:v>39521</c:v>
                </c:pt>
                <c:pt idx="22877">
                  <c:v>39521</c:v>
                </c:pt>
                <c:pt idx="22878">
                  <c:v>39519</c:v>
                </c:pt>
                <c:pt idx="22879">
                  <c:v>39519</c:v>
                </c:pt>
                <c:pt idx="22880">
                  <c:v>39518</c:v>
                </c:pt>
                <c:pt idx="22881">
                  <c:v>39518</c:v>
                </c:pt>
                <c:pt idx="22882">
                  <c:v>39518</c:v>
                </c:pt>
                <c:pt idx="22883">
                  <c:v>39518</c:v>
                </c:pt>
                <c:pt idx="22884">
                  <c:v>39517</c:v>
                </c:pt>
                <c:pt idx="22885">
                  <c:v>39515</c:v>
                </c:pt>
                <c:pt idx="22886">
                  <c:v>39515</c:v>
                </c:pt>
                <c:pt idx="22887">
                  <c:v>39514</c:v>
                </c:pt>
                <c:pt idx="22888">
                  <c:v>39514</c:v>
                </c:pt>
                <c:pt idx="22889">
                  <c:v>39513</c:v>
                </c:pt>
                <c:pt idx="22890">
                  <c:v>39513</c:v>
                </c:pt>
                <c:pt idx="22891">
                  <c:v>39513</c:v>
                </c:pt>
                <c:pt idx="22892">
                  <c:v>39512</c:v>
                </c:pt>
                <c:pt idx="22893">
                  <c:v>39512</c:v>
                </c:pt>
                <c:pt idx="22894">
                  <c:v>39512</c:v>
                </c:pt>
                <c:pt idx="22895">
                  <c:v>39511</c:v>
                </c:pt>
                <c:pt idx="22896">
                  <c:v>39511</c:v>
                </c:pt>
                <c:pt idx="22897">
                  <c:v>39510</c:v>
                </c:pt>
                <c:pt idx="22898">
                  <c:v>39508</c:v>
                </c:pt>
                <c:pt idx="22899">
                  <c:v>39507</c:v>
                </c:pt>
                <c:pt idx="22900">
                  <c:v>39505</c:v>
                </c:pt>
                <c:pt idx="22901">
                  <c:v>39503</c:v>
                </c:pt>
                <c:pt idx="22902">
                  <c:v>39503</c:v>
                </c:pt>
                <c:pt idx="22903">
                  <c:v>39501</c:v>
                </c:pt>
                <c:pt idx="22904">
                  <c:v>39501</c:v>
                </c:pt>
                <c:pt idx="22905">
                  <c:v>39501</c:v>
                </c:pt>
                <c:pt idx="22906">
                  <c:v>39500</c:v>
                </c:pt>
                <c:pt idx="22907">
                  <c:v>39500</c:v>
                </c:pt>
                <c:pt idx="22908">
                  <c:v>39500</c:v>
                </c:pt>
                <c:pt idx="22909">
                  <c:v>39499</c:v>
                </c:pt>
                <c:pt idx="22910">
                  <c:v>39498</c:v>
                </c:pt>
                <c:pt idx="22911">
                  <c:v>39498</c:v>
                </c:pt>
                <c:pt idx="22912">
                  <c:v>39497</c:v>
                </c:pt>
                <c:pt idx="22913">
                  <c:v>39495</c:v>
                </c:pt>
                <c:pt idx="22914">
                  <c:v>39495</c:v>
                </c:pt>
                <c:pt idx="22915">
                  <c:v>39494</c:v>
                </c:pt>
                <c:pt idx="22916">
                  <c:v>39494</c:v>
                </c:pt>
                <c:pt idx="22917">
                  <c:v>39494</c:v>
                </c:pt>
                <c:pt idx="22918">
                  <c:v>39493</c:v>
                </c:pt>
                <c:pt idx="22919">
                  <c:v>39492</c:v>
                </c:pt>
                <c:pt idx="22920">
                  <c:v>39491</c:v>
                </c:pt>
                <c:pt idx="22921">
                  <c:v>39491</c:v>
                </c:pt>
                <c:pt idx="22922">
                  <c:v>39490</c:v>
                </c:pt>
                <c:pt idx="22923">
                  <c:v>39488</c:v>
                </c:pt>
                <c:pt idx="22924">
                  <c:v>39488</c:v>
                </c:pt>
                <c:pt idx="22925">
                  <c:v>39487</c:v>
                </c:pt>
                <c:pt idx="22926">
                  <c:v>39486</c:v>
                </c:pt>
                <c:pt idx="22927">
                  <c:v>39486</c:v>
                </c:pt>
                <c:pt idx="22928">
                  <c:v>39485</c:v>
                </c:pt>
                <c:pt idx="22929">
                  <c:v>39484</c:v>
                </c:pt>
                <c:pt idx="22930">
                  <c:v>39484</c:v>
                </c:pt>
                <c:pt idx="22931">
                  <c:v>39483</c:v>
                </c:pt>
                <c:pt idx="22932">
                  <c:v>39483</c:v>
                </c:pt>
                <c:pt idx="22933">
                  <c:v>39483</c:v>
                </c:pt>
                <c:pt idx="22934">
                  <c:v>39482</c:v>
                </c:pt>
                <c:pt idx="22935">
                  <c:v>39481</c:v>
                </c:pt>
                <c:pt idx="22936">
                  <c:v>39479</c:v>
                </c:pt>
                <c:pt idx="22937">
                  <c:v>39479</c:v>
                </c:pt>
                <c:pt idx="22938">
                  <c:v>39478</c:v>
                </c:pt>
                <c:pt idx="22939">
                  <c:v>39478</c:v>
                </c:pt>
                <c:pt idx="22940">
                  <c:v>39477</c:v>
                </c:pt>
                <c:pt idx="22941">
                  <c:v>39475</c:v>
                </c:pt>
                <c:pt idx="22942">
                  <c:v>39475</c:v>
                </c:pt>
                <c:pt idx="22943">
                  <c:v>39474</c:v>
                </c:pt>
                <c:pt idx="22944">
                  <c:v>39474</c:v>
                </c:pt>
                <c:pt idx="22945">
                  <c:v>39472</c:v>
                </c:pt>
                <c:pt idx="22946">
                  <c:v>39472</c:v>
                </c:pt>
                <c:pt idx="22947">
                  <c:v>39471</c:v>
                </c:pt>
                <c:pt idx="22948">
                  <c:v>39470</c:v>
                </c:pt>
                <c:pt idx="22949">
                  <c:v>39470</c:v>
                </c:pt>
                <c:pt idx="22950">
                  <c:v>39469</c:v>
                </c:pt>
                <c:pt idx="22951">
                  <c:v>39468</c:v>
                </c:pt>
                <c:pt idx="22952">
                  <c:v>39468</c:v>
                </c:pt>
                <c:pt idx="22953">
                  <c:v>39467</c:v>
                </c:pt>
                <c:pt idx="22954">
                  <c:v>39467</c:v>
                </c:pt>
                <c:pt idx="22955">
                  <c:v>39466</c:v>
                </c:pt>
                <c:pt idx="22956">
                  <c:v>39466</c:v>
                </c:pt>
                <c:pt idx="22957">
                  <c:v>39465</c:v>
                </c:pt>
                <c:pt idx="22958">
                  <c:v>39464</c:v>
                </c:pt>
                <c:pt idx="22959">
                  <c:v>39464</c:v>
                </c:pt>
                <c:pt idx="22960">
                  <c:v>39463</c:v>
                </c:pt>
                <c:pt idx="22961">
                  <c:v>39462</c:v>
                </c:pt>
                <c:pt idx="22962">
                  <c:v>39462</c:v>
                </c:pt>
                <c:pt idx="22963">
                  <c:v>39462</c:v>
                </c:pt>
                <c:pt idx="22964">
                  <c:v>39460</c:v>
                </c:pt>
                <c:pt idx="22965">
                  <c:v>39459</c:v>
                </c:pt>
                <c:pt idx="22966">
                  <c:v>39459</c:v>
                </c:pt>
                <c:pt idx="22967">
                  <c:v>39458</c:v>
                </c:pt>
                <c:pt idx="22968">
                  <c:v>39458</c:v>
                </c:pt>
                <c:pt idx="22969">
                  <c:v>39456</c:v>
                </c:pt>
                <c:pt idx="22970">
                  <c:v>39455</c:v>
                </c:pt>
                <c:pt idx="22971">
                  <c:v>39454</c:v>
                </c:pt>
                <c:pt idx="22972">
                  <c:v>39454</c:v>
                </c:pt>
                <c:pt idx="22973">
                  <c:v>39454</c:v>
                </c:pt>
                <c:pt idx="22974">
                  <c:v>39453</c:v>
                </c:pt>
                <c:pt idx="22975">
                  <c:v>39451</c:v>
                </c:pt>
                <c:pt idx="22976">
                  <c:v>39451</c:v>
                </c:pt>
                <c:pt idx="22977">
                  <c:v>39451</c:v>
                </c:pt>
                <c:pt idx="22978">
                  <c:v>39448</c:v>
                </c:pt>
                <c:pt idx="22979">
                  <c:v>39447</c:v>
                </c:pt>
                <c:pt idx="22980">
                  <c:v>39447</c:v>
                </c:pt>
                <c:pt idx="22981">
                  <c:v>39446</c:v>
                </c:pt>
                <c:pt idx="22982">
                  <c:v>39446</c:v>
                </c:pt>
                <c:pt idx="22983">
                  <c:v>39446</c:v>
                </c:pt>
                <c:pt idx="22984">
                  <c:v>39445</c:v>
                </c:pt>
                <c:pt idx="22985">
                  <c:v>39445</c:v>
                </c:pt>
                <c:pt idx="22986">
                  <c:v>39445</c:v>
                </c:pt>
                <c:pt idx="22987">
                  <c:v>39443</c:v>
                </c:pt>
                <c:pt idx="22988">
                  <c:v>39442</c:v>
                </c:pt>
                <c:pt idx="22989">
                  <c:v>39441</c:v>
                </c:pt>
                <c:pt idx="22990">
                  <c:v>39440</c:v>
                </c:pt>
                <c:pt idx="22991">
                  <c:v>39440</c:v>
                </c:pt>
                <c:pt idx="22992">
                  <c:v>39438</c:v>
                </c:pt>
                <c:pt idx="22993">
                  <c:v>39438</c:v>
                </c:pt>
                <c:pt idx="22994">
                  <c:v>39438</c:v>
                </c:pt>
                <c:pt idx="22995">
                  <c:v>39438</c:v>
                </c:pt>
                <c:pt idx="22996">
                  <c:v>39438</c:v>
                </c:pt>
                <c:pt idx="22997">
                  <c:v>39437</c:v>
                </c:pt>
                <c:pt idx="22998">
                  <c:v>39437</c:v>
                </c:pt>
                <c:pt idx="22999">
                  <c:v>39436</c:v>
                </c:pt>
                <c:pt idx="23000">
                  <c:v>39436</c:v>
                </c:pt>
                <c:pt idx="23001">
                  <c:v>39435</c:v>
                </c:pt>
                <c:pt idx="23002">
                  <c:v>39435</c:v>
                </c:pt>
                <c:pt idx="23003">
                  <c:v>39435</c:v>
                </c:pt>
                <c:pt idx="23004">
                  <c:v>39434</c:v>
                </c:pt>
                <c:pt idx="23005">
                  <c:v>39434</c:v>
                </c:pt>
                <c:pt idx="23006">
                  <c:v>39433</c:v>
                </c:pt>
                <c:pt idx="23007">
                  <c:v>39431</c:v>
                </c:pt>
                <c:pt idx="23008">
                  <c:v>39429</c:v>
                </c:pt>
                <c:pt idx="23009">
                  <c:v>39426</c:v>
                </c:pt>
                <c:pt idx="23010">
                  <c:v>39426</c:v>
                </c:pt>
                <c:pt idx="23011">
                  <c:v>39426</c:v>
                </c:pt>
                <c:pt idx="23012">
                  <c:v>39425</c:v>
                </c:pt>
                <c:pt idx="23013">
                  <c:v>39424</c:v>
                </c:pt>
                <c:pt idx="23014">
                  <c:v>39424</c:v>
                </c:pt>
                <c:pt idx="23015">
                  <c:v>39424</c:v>
                </c:pt>
                <c:pt idx="23016">
                  <c:v>39423</c:v>
                </c:pt>
                <c:pt idx="23017">
                  <c:v>39423</c:v>
                </c:pt>
                <c:pt idx="23018">
                  <c:v>39422</c:v>
                </c:pt>
                <c:pt idx="23019">
                  <c:v>39422</c:v>
                </c:pt>
                <c:pt idx="23020">
                  <c:v>39421</c:v>
                </c:pt>
                <c:pt idx="23021">
                  <c:v>39420</c:v>
                </c:pt>
                <c:pt idx="23022">
                  <c:v>39420</c:v>
                </c:pt>
                <c:pt idx="23023">
                  <c:v>39419</c:v>
                </c:pt>
                <c:pt idx="23024">
                  <c:v>39419</c:v>
                </c:pt>
                <c:pt idx="23025">
                  <c:v>39418</c:v>
                </c:pt>
                <c:pt idx="23026">
                  <c:v>39417</c:v>
                </c:pt>
                <c:pt idx="23027">
                  <c:v>39416</c:v>
                </c:pt>
                <c:pt idx="23028">
                  <c:v>39414</c:v>
                </c:pt>
                <c:pt idx="23029">
                  <c:v>39413</c:v>
                </c:pt>
                <c:pt idx="23030">
                  <c:v>39413</c:v>
                </c:pt>
                <c:pt idx="23031">
                  <c:v>39413</c:v>
                </c:pt>
                <c:pt idx="23032">
                  <c:v>39412</c:v>
                </c:pt>
                <c:pt idx="23033">
                  <c:v>39411</c:v>
                </c:pt>
                <c:pt idx="23034">
                  <c:v>39410</c:v>
                </c:pt>
                <c:pt idx="23035">
                  <c:v>39409</c:v>
                </c:pt>
                <c:pt idx="23036">
                  <c:v>39409</c:v>
                </c:pt>
                <c:pt idx="23037">
                  <c:v>39409</c:v>
                </c:pt>
                <c:pt idx="23038">
                  <c:v>39409</c:v>
                </c:pt>
                <c:pt idx="23039">
                  <c:v>39408</c:v>
                </c:pt>
                <c:pt idx="23040">
                  <c:v>39407</c:v>
                </c:pt>
                <c:pt idx="23041">
                  <c:v>39407</c:v>
                </c:pt>
                <c:pt idx="23042">
                  <c:v>39406</c:v>
                </c:pt>
                <c:pt idx="23043">
                  <c:v>39406</c:v>
                </c:pt>
                <c:pt idx="23044">
                  <c:v>39405</c:v>
                </c:pt>
                <c:pt idx="23045">
                  <c:v>39405</c:v>
                </c:pt>
                <c:pt idx="23046">
                  <c:v>39404</c:v>
                </c:pt>
                <c:pt idx="23047">
                  <c:v>39404</c:v>
                </c:pt>
                <c:pt idx="23048">
                  <c:v>39404</c:v>
                </c:pt>
                <c:pt idx="23049">
                  <c:v>39402</c:v>
                </c:pt>
                <c:pt idx="23050">
                  <c:v>39402</c:v>
                </c:pt>
                <c:pt idx="23051">
                  <c:v>39401</c:v>
                </c:pt>
                <c:pt idx="23052">
                  <c:v>39399</c:v>
                </c:pt>
                <c:pt idx="23053">
                  <c:v>39397</c:v>
                </c:pt>
                <c:pt idx="23054">
                  <c:v>39396</c:v>
                </c:pt>
                <c:pt idx="23055">
                  <c:v>39396</c:v>
                </c:pt>
                <c:pt idx="23056">
                  <c:v>39396</c:v>
                </c:pt>
                <c:pt idx="23057">
                  <c:v>39395</c:v>
                </c:pt>
                <c:pt idx="23058">
                  <c:v>39394</c:v>
                </c:pt>
                <c:pt idx="23059">
                  <c:v>39393</c:v>
                </c:pt>
                <c:pt idx="23060">
                  <c:v>39393</c:v>
                </c:pt>
                <c:pt idx="23061">
                  <c:v>39392</c:v>
                </c:pt>
                <c:pt idx="23062">
                  <c:v>39391</c:v>
                </c:pt>
                <c:pt idx="23063">
                  <c:v>39391</c:v>
                </c:pt>
                <c:pt idx="23064">
                  <c:v>39386</c:v>
                </c:pt>
                <c:pt idx="23065">
                  <c:v>39385</c:v>
                </c:pt>
                <c:pt idx="23066">
                  <c:v>39384</c:v>
                </c:pt>
                <c:pt idx="23067">
                  <c:v>39383</c:v>
                </c:pt>
                <c:pt idx="23068">
                  <c:v>39383</c:v>
                </c:pt>
                <c:pt idx="23069">
                  <c:v>39383</c:v>
                </c:pt>
                <c:pt idx="23070">
                  <c:v>39382</c:v>
                </c:pt>
                <c:pt idx="23071">
                  <c:v>39382</c:v>
                </c:pt>
                <c:pt idx="23072">
                  <c:v>39382</c:v>
                </c:pt>
                <c:pt idx="23073">
                  <c:v>39381</c:v>
                </c:pt>
                <c:pt idx="23074">
                  <c:v>39381</c:v>
                </c:pt>
                <c:pt idx="23075">
                  <c:v>39379</c:v>
                </c:pt>
                <c:pt idx="23076">
                  <c:v>39377</c:v>
                </c:pt>
                <c:pt idx="23077">
                  <c:v>39377</c:v>
                </c:pt>
                <c:pt idx="23078">
                  <c:v>39377</c:v>
                </c:pt>
                <c:pt idx="23079">
                  <c:v>39376</c:v>
                </c:pt>
                <c:pt idx="23080">
                  <c:v>39376</c:v>
                </c:pt>
                <c:pt idx="23081">
                  <c:v>39376</c:v>
                </c:pt>
                <c:pt idx="23082">
                  <c:v>39375</c:v>
                </c:pt>
                <c:pt idx="23083">
                  <c:v>39375</c:v>
                </c:pt>
                <c:pt idx="23084">
                  <c:v>39375</c:v>
                </c:pt>
                <c:pt idx="23085">
                  <c:v>39374</c:v>
                </c:pt>
                <c:pt idx="23086">
                  <c:v>39373</c:v>
                </c:pt>
                <c:pt idx="23087">
                  <c:v>39373</c:v>
                </c:pt>
                <c:pt idx="23088">
                  <c:v>39373</c:v>
                </c:pt>
                <c:pt idx="23089">
                  <c:v>39373</c:v>
                </c:pt>
                <c:pt idx="23090">
                  <c:v>39372</c:v>
                </c:pt>
                <c:pt idx="23091">
                  <c:v>39371</c:v>
                </c:pt>
                <c:pt idx="23092">
                  <c:v>39371</c:v>
                </c:pt>
                <c:pt idx="23093">
                  <c:v>39371</c:v>
                </c:pt>
                <c:pt idx="23094">
                  <c:v>39370</c:v>
                </c:pt>
                <c:pt idx="23095">
                  <c:v>39370</c:v>
                </c:pt>
                <c:pt idx="23096">
                  <c:v>39370</c:v>
                </c:pt>
                <c:pt idx="23097">
                  <c:v>39365</c:v>
                </c:pt>
                <c:pt idx="23098">
                  <c:v>39365</c:v>
                </c:pt>
                <c:pt idx="23099">
                  <c:v>39365</c:v>
                </c:pt>
                <c:pt idx="23100">
                  <c:v>39364</c:v>
                </c:pt>
                <c:pt idx="23101">
                  <c:v>39363</c:v>
                </c:pt>
                <c:pt idx="23102">
                  <c:v>39361</c:v>
                </c:pt>
                <c:pt idx="23103">
                  <c:v>39361</c:v>
                </c:pt>
                <c:pt idx="23104">
                  <c:v>39360</c:v>
                </c:pt>
                <c:pt idx="23105">
                  <c:v>39360</c:v>
                </c:pt>
                <c:pt idx="23106">
                  <c:v>39359</c:v>
                </c:pt>
                <c:pt idx="23107">
                  <c:v>39359</c:v>
                </c:pt>
                <c:pt idx="23108">
                  <c:v>39359</c:v>
                </c:pt>
                <c:pt idx="23109">
                  <c:v>39358</c:v>
                </c:pt>
                <c:pt idx="23110">
                  <c:v>39358</c:v>
                </c:pt>
                <c:pt idx="23111">
                  <c:v>39357</c:v>
                </c:pt>
                <c:pt idx="23112">
                  <c:v>39357</c:v>
                </c:pt>
                <c:pt idx="23113">
                  <c:v>39356</c:v>
                </c:pt>
                <c:pt idx="23114">
                  <c:v>39356</c:v>
                </c:pt>
                <c:pt idx="23115">
                  <c:v>39356</c:v>
                </c:pt>
                <c:pt idx="23116">
                  <c:v>39355</c:v>
                </c:pt>
                <c:pt idx="23117">
                  <c:v>39355</c:v>
                </c:pt>
                <c:pt idx="23118">
                  <c:v>39355</c:v>
                </c:pt>
                <c:pt idx="23119">
                  <c:v>39354</c:v>
                </c:pt>
                <c:pt idx="23120">
                  <c:v>39353</c:v>
                </c:pt>
                <c:pt idx="23121">
                  <c:v>39353</c:v>
                </c:pt>
                <c:pt idx="23122">
                  <c:v>39352</c:v>
                </c:pt>
                <c:pt idx="23123">
                  <c:v>39351</c:v>
                </c:pt>
                <c:pt idx="23124">
                  <c:v>39350</c:v>
                </c:pt>
                <c:pt idx="23125">
                  <c:v>39350</c:v>
                </c:pt>
                <c:pt idx="23126">
                  <c:v>39349</c:v>
                </c:pt>
                <c:pt idx="23127">
                  <c:v>39348</c:v>
                </c:pt>
                <c:pt idx="23128">
                  <c:v>39348</c:v>
                </c:pt>
                <c:pt idx="23129">
                  <c:v>39348</c:v>
                </c:pt>
                <c:pt idx="23130">
                  <c:v>39345</c:v>
                </c:pt>
                <c:pt idx="23131">
                  <c:v>39344</c:v>
                </c:pt>
                <c:pt idx="23132">
                  <c:v>39344</c:v>
                </c:pt>
                <c:pt idx="23133">
                  <c:v>39342</c:v>
                </c:pt>
                <c:pt idx="23134">
                  <c:v>39342</c:v>
                </c:pt>
                <c:pt idx="23135">
                  <c:v>39342</c:v>
                </c:pt>
                <c:pt idx="23136">
                  <c:v>39341</c:v>
                </c:pt>
                <c:pt idx="23137">
                  <c:v>39341</c:v>
                </c:pt>
                <c:pt idx="23138">
                  <c:v>39341</c:v>
                </c:pt>
                <c:pt idx="23139">
                  <c:v>39340</c:v>
                </c:pt>
                <c:pt idx="23140">
                  <c:v>39340</c:v>
                </c:pt>
                <c:pt idx="23141">
                  <c:v>39339</c:v>
                </c:pt>
                <c:pt idx="23142">
                  <c:v>39339</c:v>
                </c:pt>
                <c:pt idx="23143">
                  <c:v>39339</c:v>
                </c:pt>
                <c:pt idx="23144">
                  <c:v>39339</c:v>
                </c:pt>
                <c:pt idx="23145">
                  <c:v>39339</c:v>
                </c:pt>
                <c:pt idx="23146">
                  <c:v>39338</c:v>
                </c:pt>
                <c:pt idx="23147">
                  <c:v>39338</c:v>
                </c:pt>
                <c:pt idx="23148">
                  <c:v>39338</c:v>
                </c:pt>
                <c:pt idx="23149">
                  <c:v>39338</c:v>
                </c:pt>
                <c:pt idx="23150">
                  <c:v>39338</c:v>
                </c:pt>
                <c:pt idx="23151">
                  <c:v>39337</c:v>
                </c:pt>
                <c:pt idx="23152">
                  <c:v>39337</c:v>
                </c:pt>
                <c:pt idx="23153">
                  <c:v>39337</c:v>
                </c:pt>
                <c:pt idx="23154">
                  <c:v>39337</c:v>
                </c:pt>
                <c:pt idx="23155">
                  <c:v>39336</c:v>
                </c:pt>
                <c:pt idx="23156">
                  <c:v>39336</c:v>
                </c:pt>
                <c:pt idx="23157">
                  <c:v>39333</c:v>
                </c:pt>
                <c:pt idx="23158">
                  <c:v>39332</c:v>
                </c:pt>
                <c:pt idx="23159">
                  <c:v>39332</c:v>
                </c:pt>
                <c:pt idx="23160">
                  <c:v>39332</c:v>
                </c:pt>
                <c:pt idx="23161">
                  <c:v>39330</c:v>
                </c:pt>
                <c:pt idx="23162">
                  <c:v>39330</c:v>
                </c:pt>
                <c:pt idx="23163">
                  <c:v>39329</c:v>
                </c:pt>
                <c:pt idx="23164">
                  <c:v>39329</c:v>
                </c:pt>
                <c:pt idx="23165">
                  <c:v>39328</c:v>
                </c:pt>
                <c:pt idx="23166">
                  <c:v>39328</c:v>
                </c:pt>
                <c:pt idx="23167">
                  <c:v>39327</c:v>
                </c:pt>
                <c:pt idx="23168">
                  <c:v>39325</c:v>
                </c:pt>
                <c:pt idx="23169">
                  <c:v>39324</c:v>
                </c:pt>
                <c:pt idx="23170">
                  <c:v>39324</c:v>
                </c:pt>
                <c:pt idx="23171">
                  <c:v>39323</c:v>
                </c:pt>
                <c:pt idx="23172">
                  <c:v>39322</c:v>
                </c:pt>
                <c:pt idx="23173">
                  <c:v>39322</c:v>
                </c:pt>
                <c:pt idx="23174">
                  <c:v>39322</c:v>
                </c:pt>
                <c:pt idx="23175">
                  <c:v>39321</c:v>
                </c:pt>
                <c:pt idx="23176">
                  <c:v>39321</c:v>
                </c:pt>
                <c:pt idx="23177">
                  <c:v>39320</c:v>
                </c:pt>
                <c:pt idx="23178">
                  <c:v>39319</c:v>
                </c:pt>
                <c:pt idx="23179">
                  <c:v>39319</c:v>
                </c:pt>
                <c:pt idx="23180">
                  <c:v>39319</c:v>
                </c:pt>
                <c:pt idx="23181">
                  <c:v>39318</c:v>
                </c:pt>
                <c:pt idx="23182">
                  <c:v>39316</c:v>
                </c:pt>
                <c:pt idx="23183">
                  <c:v>39316</c:v>
                </c:pt>
                <c:pt idx="23184">
                  <c:v>39315</c:v>
                </c:pt>
                <c:pt idx="23185">
                  <c:v>39315</c:v>
                </c:pt>
                <c:pt idx="23186">
                  <c:v>39315</c:v>
                </c:pt>
                <c:pt idx="23187">
                  <c:v>39314</c:v>
                </c:pt>
                <c:pt idx="23188">
                  <c:v>39314</c:v>
                </c:pt>
                <c:pt idx="23189">
                  <c:v>39314</c:v>
                </c:pt>
                <c:pt idx="23190">
                  <c:v>39313</c:v>
                </c:pt>
                <c:pt idx="23191">
                  <c:v>39313</c:v>
                </c:pt>
                <c:pt idx="23192">
                  <c:v>39311</c:v>
                </c:pt>
                <c:pt idx="23193">
                  <c:v>39311</c:v>
                </c:pt>
                <c:pt idx="23194">
                  <c:v>39310</c:v>
                </c:pt>
                <c:pt idx="23195">
                  <c:v>39308</c:v>
                </c:pt>
                <c:pt idx="23196">
                  <c:v>39308</c:v>
                </c:pt>
                <c:pt idx="23197">
                  <c:v>39307</c:v>
                </c:pt>
                <c:pt idx="23198">
                  <c:v>39306</c:v>
                </c:pt>
                <c:pt idx="23199">
                  <c:v>39306</c:v>
                </c:pt>
                <c:pt idx="23200">
                  <c:v>39306</c:v>
                </c:pt>
                <c:pt idx="23201">
                  <c:v>39305</c:v>
                </c:pt>
                <c:pt idx="23202">
                  <c:v>39305</c:v>
                </c:pt>
                <c:pt idx="23203">
                  <c:v>39305</c:v>
                </c:pt>
                <c:pt idx="23204">
                  <c:v>39305</c:v>
                </c:pt>
                <c:pt idx="23205">
                  <c:v>39304</c:v>
                </c:pt>
                <c:pt idx="23206">
                  <c:v>39303</c:v>
                </c:pt>
                <c:pt idx="23207">
                  <c:v>39303</c:v>
                </c:pt>
                <c:pt idx="23208">
                  <c:v>39302</c:v>
                </c:pt>
                <c:pt idx="23209">
                  <c:v>39302</c:v>
                </c:pt>
                <c:pt idx="23210">
                  <c:v>39301</c:v>
                </c:pt>
                <c:pt idx="23211">
                  <c:v>39301</c:v>
                </c:pt>
                <c:pt idx="23212">
                  <c:v>39300</c:v>
                </c:pt>
                <c:pt idx="23213">
                  <c:v>39300</c:v>
                </c:pt>
                <c:pt idx="23214">
                  <c:v>39299</c:v>
                </c:pt>
                <c:pt idx="23215">
                  <c:v>39299</c:v>
                </c:pt>
                <c:pt idx="23216">
                  <c:v>39298</c:v>
                </c:pt>
                <c:pt idx="23217">
                  <c:v>39298</c:v>
                </c:pt>
                <c:pt idx="23218">
                  <c:v>39297</c:v>
                </c:pt>
                <c:pt idx="23219">
                  <c:v>39296</c:v>
                </c:pt>
                <c:pt idx="23220">
                  <c:v>39294</c:v>
                </c:pt>
                <c:pt idx="23221">
                  <c:v>39293</c:v>
                </c:pt>
                <c:pt idx="23222">
                  <c:v>39292</c:v>
                </c:pt>
                <c:pt idx="23223">
                  <c:v>39291</c:v>
                </c:pt>
                <c:pt idx="23224">
                  <c:v>39291</c:v>
                </c:pt>
                <c:pt idx="23225">
                  <c:v>39290</c:v>
                </c:pt>
                <c:pt idx="23226">
                  <c:v>39289</c:v>
                </c:pt>
                <c:pt idx="23227">
                  <c:v>39286</c:v>
                </c:pt>
                <c:pt idx="23228">
                  <c:v>39285</c:v>
                </c:pt>
                <c:pt idx="23229">
                  <c:v>39284</c:v>
                </c:pt>
                <c:pt idx="23230">
                  <c:v>39284</c:v>
                </c:pt>
                <c:pt idx="23231">
                  <c:v>39283</c:v>
                </c:pt>
                <c:pt idx="23232">
                  <c:v>39283</c:v>
                </c:pt>
                <c:pt idx="23233">
                  <c:v>39282</c:v>
                </c:pt>
                <c:pt idx="23234">
                  <c:v>39281</c:v>
                </c:pt>
                <c:pt idx="23235">
                  <c:v>39279</c:v>
                </c:pt>
                <c:pt idx="23236">
                  <c:v>39279</c:v>
                </c:pt>
                <c:pt idx="23237">
                  <c:v>39278</c:v>
                </c:pt>
                <c:pt idx="23238">
                  <c:v>39278</c:v>
                </c:pt>
                <c:pt idx="23239">
                  <c:v>39278</c:v>
                </c:pt>
                <c:pt idx="23240">
                  <c:v>39277</c:v>
                </c:pt>
                <c:pt idx="23241">
                  <c:v>39276</c:v>
                </c:pt>
                <c:pt idx="23242">
                  <c:v>39276</c:v>
                </c:pt>
                <c:pt idx="23243">
                  <c:v>39275</c:v>
                </c:pt>
                <c:pt idx="23244">
                  <c:v>39275</c:v>
                </c:pt>
                <c:pt idx="23245">
                  <c:v>39274</c:v>
                </c:pt>
                <c:pt idx="23246">
                  <c:v>39274</c:v>
                </c:pt>
                <c:pt idx="23247">
                  <c:v>39273</c:v>
                </c:pt>
                <c:pt idx="23248">
                  <c:v>39273</c:v>
                </c:pt>
                <c:pt idx="23249">
                  <c:v>39271</c:v>
                </c:pt>
                <c:pt idx="23250">
                  <c:v>39271</c:v>
                </c:pt>
                <c:pt idx="23251">
                  <c:v>39270</c:v>
                </c:pt>
                <c:pt idx="23252">
                  <c:v>39269</c:v>
                </c:pt>
                <c:pt idx="23253">
                  <c:v>39269</c:v>
                </c:pt>
                <c:pt idx="23254">
                  <c:v>39269</c:v>
                </c:pt>
                <c:pt idx="23255">
                  <c:v>39267</c:v>
                </c:pt>
                <c:pt idx="23256">
                  <c:v>39266</c:v>
                </c:pt>
                <c:pt idx="23257">
                  <c:v>39264</c:v>
                </c:pt>
                <c:pt idx="23258">
                  <c:v>39264</c:v>
                </c:pt>
                <c:pt idx="23259">
                  <c:v>39263</c:v>
                </c:pt>
                <c:pt idx="23260">
                  <c:v>39263</c:v>
                </c:pt>
                <c:pt idx="23261">
                  <c:v>39263</c:v>
                </c:pt>
                <c:pt idx="23262">
                  <c:v>39262</c:v>
                </c:pt>
                <c:pt idx="23263">
                  <c:v>39261</c:v>
                </c:pt>
                <c:pt idx="23264">
                  <c:v>39261</c:v>
                </c:pt>
                <c:pt idx="23265">
                  <c:v>39260</c:v>
                </c:pt>
                <c:pt idx="23266">
                  <c:v>39260</c:v>
                </c:pt>
                <c:pt idx="23267">
                  <c:v>39259</c:v>
                </c:pt>
                <c:pt idx="23268">
                  <c:v>39257</c:v>
                </c:pt>
                <c:pt idx="23269">
                  <c:v>39256</c:v>
                </c:pt>
                <c:pt idx="23270">
                  <c:v>39254</c:v>
                </c:pt>
                <c:pt idx="23271">
                  <c:v>39254</c:v>
                </c:pt>
                <c:pt idx="23272">
                  <c:v>39252</c:v>
                </c:pt>
                <c:pt idx="23273">
                  <c:v>39252</c:v>
                </c:pt>
                <c:pt idx="23274">
                  <c:v>39251</c:v>
                </c:pt>
                <c:pt idx="23275">
                  <c:v>39250</c:v>
                </c:pt>
                <c:pt idx="23276">
                  <c:v>39250</c:v>
                </c:pt>
                <c:pt idx="23277">
                  <c:v>39248</c:v>
                </c:pt>
                <c:pt idx="23278">
                  <c:v>39248</c:v>
                </c:pt>
                <c:pt idx="23279">
                  <c:v>39247</c:v>
                </c:pt>
                <c:pt idx="23280">
                  <c:v>39245</c:v>
                </c:pt>
                <c:pt idx="23281">
                  <c:v>39245</c:v>
                </c:pt>
                <c:pt idx="23282">
                  <c:v>39243</c:v>
                </c:pt>
                <c:pt idx="23283">
                  <c:v>39243</c:v>
                </c:pt>
                <c:pt idx="23284">
                  <c:v>39243</c:v>
                </c:pt>
                <c:pt idx="23285">
                  <c:v>39241</c:v>
                </c:pt>
                <c:pt idx="23286">
                  <c:v>39240</c:v>
                </c:pt>
                <c:pt idx="23287">
                  <c:v>39240</c:v>
                </c:pt>
                <c:pt idx="23288">
                  <c:v>39240</c:v>
                </c:pt>
                <c:pt idx="23289">
                  <c:v>39238</c:v>
                </c:pt>
                <c:pt idx="23290">
                  <c:v>39236</c:v>
                </c:pt>
                <c:pt idx="23291">
                  <c:v>39236</c:v>
                </c:pt>
                <c:pt idx="23292">
                  <c:v>39235</c:v>
                </c:pt>
                <c:pt idx="23293">
                  <c:v>39235</c:v>
                </c:pt>
                <c:pt idx="23294">
                  <c:v>39234</c:v>
                </c:pt>
                <c:pt idx="23295">
                  <c:v>39232</c:v>
                </c:pt>
                <c:pt idx="23296">
                  <c:v>39232</c:v>
                </c:pt>
                <c:pt idx="23297">
                  <c:v>39232</c:v>
                </c:pt>
                <c:pt idx="23298">
                  <c:v>39231</c:v>
                </c:pt>
                <c:pt idx="23299">
                  <c:v>39230</c:v>
                </c:pt>
                <c:pt idx="23300">
                  <c:v>39229</c:v>
                </c:pt>
                <c:pt idx="23301">
                  <c:v>39226</c:v>
                </c:pt>
                <c:pt idx="23302">
                  <c:v>39226</c:v>
                </c:pt>
                <c:pt idx="23303">
                  <c:v>39225</c:v>
                </c:pt>
                <c:pt idx="23304">
                  <c:v>39225</c:v>
                </c:pt>
                <c:pt idx="23305">
                  <c:v>39224</c:v>
                </c:pt>
                <c:pt idx="23306">
                  <c:v>39223</c:v>
                </c:pt>
                <c:pt idx="23307">
                  <c:v>39222</c:v>
                </c:pt>
                <c:pt idx="23308">
                  <c:v>39222</c:v>
                </c:pt>
                <c:pt idx="23309">
                  <c:v>39221</c:v>
                </c:pt>
                <c:pt idx="23310">
                  <c:v>39221</c:v>
                </c:pt>
                <c:pt idx="23311">
                  <c:v>39219</c:v>
                </c:pt>
                <c:pt idx="23312">
                  <c:v>39219</c:v>
                </c:pt>
                <c:pt idx="23313">
                  <c:v>39218</c:v>
                </c:pt>
                <c:pt idx="23314">
                  <c:v>39216</c:v>
                </c:pt>
                <c:pt idx="23315">
                  <c:v>39215</c:v>
                </c:pt>
                <c:pt idx="23316">
                  <c:v>39215</c:v>
                </c:pt>
                <c:pt idx="23317">
                  <c:v>39214</c:v>
                </c:pt>
                <c:pt idx="23318">
                  <c:v>39213</c:v>
                </c:pt>
                <c:pt idx="23319">
                  <c:v>39210</c:v>
                </c:pt>
                <c:pt idx="23320">
                  <c:v>39207</c:v>
                </c:pt>
                <c:pt idx="23321">
                  <c:v>39206</c:v>
                </c:pt>
                <c:pt idx="23322">
                  <c:v>39205</c:v>
                </c:pt>
                <c:pt idx="23323">
                  <c:v>39204</c:v>
                </c:pt>
                <c:pt idx="23324">
                  <c:v>39203</c:v>
                </c:pt>
                <c:pt idx="23325">
                  <c:v>39203</c:v>
                </c:pt>
                <c:pt idx="23326">
                  <c:v>39202</c:v>
                </c:pt>
                <c:pt idx="23327">
                  <c:v>39200</c:v>
                </c:pt>
                <c:pt idx="23328">
                  <c:v>39200</c:v>
                </c:pt>
                <c:pt idx="23329">
                  <c:v>39200</c:v>
                </c:pt>
                <c:pt idx="23330">
                  <c:v>39200</c:v>
                </c:pt>
                <c:pt idx="23331">
                  <c:v>39199</c:v>
                </c:pt>
                <c:pt idx="23332">
                  <c:v>39199</c:v>
                </c:pt>
                <c:pt idx="23333">
                  <c:v>39198</c:v>
                </c:pt>
                <c:pt idx="23334">
                  <c:v>39198</c:v>
                </c:pt>
                <c:pt idx="23335">
                  <c:v>39197</c:v>
                </c:pt>
                <c:pt idx="23336">
                  <c:v>39197</c:v>
                </c:pt>
                <c:pt idx="23337">
                  <c:v>39197</c:v>
                </c:pt>
                <c:pt idx="23338">
                  <c:v>39197</c:v>
                </c:pt>
                <c:pt idx="23339">
                  <c:v>39196</c:v>
                </c:pt>
                <c:pt idx="23340">
                  <c:v>39195</c:v>
                </c:pt>
                <c:pt idx="23341">
                  <c:v>39194</c:v>
                </c:pt>
                <c:pt idx="23342">
                  <c:v>39194</c:v>
                </c:pt>
                <c:pt idx="23343">
                  <c:v>39193</c:v>
                </c:pt>
                <c:pt idx="23344">
                  <c:v>39192</c:v>
                </c:pt>
                <c:pt idx="23345">
                  <c:v>39192</c:v>
                </c:pt>
                <c:pt idx="23346">
                  <c:v>39192</c:v>
                </c:pt>
                <c:pt idx="23347">
                  <c:v>39192</c:v>
                </c:pt>
                <c:pt idx="23348">
                  <c:v>39191</c:v>
                </c:pt>
                <c:pt idx="23349">
                  <c:v>39190</c:v>
                </c:pt>
                <c:pt idx="23350">
                  <c:v>39190</c:v>
                </c:pt>
                <c:pt idx="23351">
                  <c:v>39189</c:v>
                </c:pt>
                <c:pt idx="23352">
                  <c:v>39188</c:v>
                </c:pt>
                <c:pt idx="23353">
                  <c:v>39188</c:v>
                </c:pt>
                <c:pt idx="23354">
                  <c:v>39188</c:v>
                </c:pt>
                <c:pt idx="23355">
                  <c:v>39187</c:v>
                </c:pt>
                <c:pt idx="23356">
                  <c:v>39187</c:v>
                </c:pt>
                <c:pt idx="23357">
                  <c:v>39187</c:v>
                </c:pt>
                <c:pt idx="23358">
                  <c:v>39185</c:v>
                </c:pt>
                <c:pt idx="23359">
                  <c:v>39185</c:v>
                </c:pt>
                <c:pt idx="23360">
                  <c:v>39183</c:v>
                </c:pt>
                <c:pt idx="23361">
                  <c:v>39181</c:v>
                </c:pt>
                <c:pt idx="23362">
                  <c:v>39180</c:v>
                </c:pt>
                <c:pt idx="23363">
                  <c:v>39179</c:v>
                </c:pt>
                <c:pt idx="23364">
                  <c:v>39179</c:v>
                </c:pt>
                <c:pt idx="23365">
                  <c:v>39178</c:v>
                </c:pt>
                <c:pt idx="23366">
                  <c:v>39178</c:v>
                </c:pt>
                <c:pt idx="23367">
                  <c:v>39177</c:v>
                </c:pt>
                <c:pt idx="23368">
                  <c:v>39177</c:v>
                </c:pt>
                <c:pt idx="23369">
                  <c:v>39175</c:v>
                </c:pt>
                <c:pt idx="23370">
                  <c:v>39174</c:v>
                </c:pt>
                <c:pt idx="23371">
                  <c:v>39174</c:v>
                </c:pt>
                <c:pt idx="23372">
                  <c:v>39174</c:v>
                </c:pt>
                <c:pt idx="23373">
                  <c:v>39174</c:v>
                </c:pt>
                <c:pt idx="23374">
                  <c:v>39174</c:v>
                </c:pt>
                <c:pt idx="23375">
                  <c:v>39172</c:v>
                </c:pt>
                <c:pt idx="23376">
                  <c:v>39171</c:v>
                </c:pt>
                <c:pt idx="23377">
                  <c:v>39171</c:v>
                </c:pt>
                <c:pt idx="23378">
                  <c:v>39171</c:v>
                </c:pt>
                <c:pt idx="23379">
                  <c:v>39170</c:v>
                </c:pt>
                <c:pt idx="23380">
                  <c:v>39170</c:v>
                </c:pt>
                <c:pt idx="23381">
                  <c:v>39169</c:v>
                </c:pt>
                <c:pt idx="23382">
                  <c:v>39169</c:v>
                </c:pt>
                <c:pt idx="23383">
                  <c:v>39167</c:v>
                </c:pt>
                <c:pt idx="23384">
                  <c:v>39167</c:v>
                </c:pt>
                <c:pt idx="23385">
                  <c:v>39166</c:v>
                </c:pt>
                <c:pt idx="23386">
                  <c:v>39166</c:v>
                </c:pt>
                <c:pt idx="23387">
                  <c:v>39166</c:v>
                </c:pt>
                <c:pt idx="23388">
                  <c:v>39165</c:v>
                </c:pt>
                <c:pt idx="23389">
                  <c:v>39165</c:v>
                </c:pt>
                <c:pt idx="23390">
                  <c:v>39161</c:v>
                </c:pt>
                <c:pt idx="23391">
                  <c:v>39161</c:v>
                </c:pt>
                <c:pt idx="23392">
                  <c:v>39160</c:v>
                </c:pt>
                <c:pt idx="23393">
                  <c:v>39160</c:v>
                </c:pt>
                <c:pt idx="23394">
                  <c:v>39159</c:v>
                </c:pt>
                <c:pt idx="23395">
                  <c:v>39158</c:v>
                </c:pt>
                <c:pt idx="23396">
                  <c:v>39157</c:v>
                </c:pt>
                <c:pt idx="23397">
                  <c:v>39153</c:v>
                </c:pt>
                <c:pt idx="23398">
                  <c:v>39152</c:v>
                </c:pt>
                <c:pt idx="23399">
                  <c:v>39152</c:v>
                </c:pt>
                <c:pt idx="23400">
                  <c:v>39152</c:v>
                </c:pt>
                <c:pt idx="23401">
                  <c:v>39151</c:v>
                </c:pt>
                <c:pt idx="23402">
                  <c:v>39150</c:v>
                </c:pt>
                <c:pt idx="23403">
                  <c:v>39150</c:v>
                </c:pt>
                <c:pt idx="23404">
                  <c:v>39149</c:v>
                </c:pt>
                <c:pt idx="23405">
                  <c:v>39148</c:v>
                </c:pt>
                <c:pt idx="23406">
                  <c:v>39148</c:v>
                </c:pt>
                <c:pt idx="23407">
                  <c:v>39148</c:v>
                </c:pt>
                <c:pt idx="23408">
                  <c:v>39146</c:v>
                </c:pt>
                <c:pt idx="23409">
                  <c:v>39145</c:v>
                </c:pt>
                <c:pt idx="23410">
                  <c:v>39145</c:v>
                </c:pt>
                <c:pt idx="23411">
                  <c:v>39144</c:v>
                </c:pt>
                <c:pt idx="23412">
                  <c:v>39144</c:v>
                </c:pt>
                <c:pt idx="23413">
                  <c:v>39143</c:v>
                </c:pt>
                <c:pt idx="23414">
                  <c:v>39143</c:v>
                </c:pt>
                <c:pt idx="23415">
                  <c:v>39141</c:v>
                </c:pt>
                <c:pt idx="23416">
                  <c:v>39140</c:v>
                </c:pt>
                <c:pt idx="23417">
                  <c:v>39139</c:v>
                </c:pt>
                <c:pt idx="23418">
                  <c:v>39138</c:v>
                </c:pt>
                <c:pt idx="23419">
                  <c:v>39138</c:v>
                </c:pt>
                <c:pt idx="23420">
                  <c:v>39138</c:v>
                </c:pt>
                <c:pt idx="23421">
                  <c:v>39138</c:v>
                </c:pt>
                <c:pt idx="23422">
                  <c:v>39136</c:v>
                </c:pt>
                <c:pt idx="23423">
                  <c:v>39136</c:v>
                </c:pt>
                <c:pt idx="23424">
                  <c:v>39136</c:v>
                </c:pt>
                <c:pt idx="23425">
                  <c:v>39136</c:v>
                </c:pt>
                <c:pt idx="23426">
                  <c:v>39133</c:v>
                </c:pt>
                <c:pt idx="23427">
                  <c:v>39133</c:v>
                </c:pt>
                <c:pt idx="23428">
                  <c:v>39132</c:v>
                </c:pt>
                <c:pt idx="23429">
                  <c:v>39132</c:v>
                </c:pt>
                <c:pt idx="23430">
                  <c:v>39130</c:v>
                </c:pt>
                <c:pt idx="23431">
                  <c:v>39130</c:v>
                </c:pt>
                <c:pt idx="23432">
                  <c:v>39130</c:v>
                </c:pt>
                <c:pt idx="23433">
                  <c:v>39130</c:v>
                </c:pt>
                <c:pt idx="23434">
                  <c:v>39129</c:v>
                </c:pt>
                <c:pt idx="23435">
                  <c:v>39129</c:v>
                </c:pt>
                <c:pt idx="23436">
                  <c:v>39129</c:v>
                </c:pt>
                <c:pt idx="23437">
                  <c:v>39128</c:v>
                </c:pt>
                <c:pt idx="23438">
                  <c:v>39128</c:v>
                </c:pt>
                <c:pt idx="23439">
                  <c:v>39128</c:v>
                </c:pt>
                <c:pt idx="23440">
                  <c:v>39127</c:v>
                </c:pt>
                <c:pt idx="23441">
                  <c:v>39127</c:v>
                </c:pt>
                <c:pt idx="23442">
                  <c:v>39127</c:v>
                </c:pt>
                <c:pt idx="23443">
                  <c:v>39126</c:v>
                </c:pt>
                <c:pt idx="23444">
                  <c:v>39126</c:v>
                </c:pt>
                <c:pt idx="23445">
                  <c:v>39126</c:v>
                </c:pt>
                <c:pt idx="23446">
                  <c:v>39126</c:v>
                </c:pt>
                <c:pt idx="23447">
                  <c:v>39126</c:v>
                </c:pt>
                <c:pt idx="23448">
                  <c:v>39124</c:v>
                </c:pt>
                <c:pt idx="23449">
                  <c:v>39124</c:v>
                </c:pt>
                <c:pt idx="23450">
                  <c:v>39124</c:v>
                </c:pt>
                <c:pt idx="23451">
                  <c:v>39124</c:v>
                </c:pt>
                <c:pt idx="23452">
                  <c:v>39123</c:v>
                </c:pt>
                <c:pt idx="23453">
                  <c:v>39121</c:v>
                </c:pt>
                <c:pt idx="23454">
                  <c:v>39120</c:v>
                </c:pt>
                <c:pt idx="23455">
                  <c:v>39120</c:v>
                </c:pt>
                <c:pt idx="23456">
                  <c:v>39118</c:v>
                </c:pt>
                <c:pt idx="23457">
                  <c:v>39118</c:v>
                </c:pt>
                <c:pt idx="23458">
                  <c:v>39118</c:v>
                </c:pt>
                <c:pt idx="23459">
                  <c:v>39117</c:v>
                </c:pt>
                <c:pt idx="23460">
                  <c:v>39115</c:v>
                </c:pt>
                <c:pt idx="23461">
                  <c:v>39115</c:v>
                </c:pt>
                <c:pt idx="23462">
                  <c:v>39115</c:v>
                </c:pt>
                <c:pt idx="23463">
                  <c:v>39114</c:v>
                </c:pt>
                <c:pt idx="23464">
                  <c:v>39113</c:v>
                </c:pt>
                <c:pt idx="23465">
                  <c:v>39112</c:v>
                </c:pt>
                <c:pt idx="23466">
                  <c:v>39111</c:v>
                </c:pt>
                <c:pt idx="23467">
                  <c:v>39110</c:v>
                </c:pt>
                <c:pt idx="23468">
                  <c:v>39109</c:v>
                </c:pt>
                <c:pt idx="23469">
                  <c:v>39109</c:v>
                </c:pt>
                <c:pt idx="23470">
                  <c:v>39107</c:v>
                </c:pt>
                <c:pt idx="23471">
                  <c:v>39107</c:v>
                </c:pt>
                <c:pt idx="23472">
                  <c:v>39107</c:v>
                </c:pt>
                <c:pt idx="23473">
                  <c:v>39106</c:v>
                </c:pt>
                <c:pt idx="23474">
                  <c:v>39105</c:v>
                </c:pt>
                <c:pt idx="23475">
                  <c:v>39104</c:v>
                </c:pt>
                <c:pt idx="23476">
                  <c:v>39103</c:v>
                </c:pt>
                <c:pt idx="23477">
                  <c:v>39102</c:v>
                </c:pt>
                <c:pt idx="23478">
                  <c:v>39101</c:v>
                </c:pt>
                <c:pt idx="23479">
                  <c:v>39101</c:v>
                </c:pt>
                <c:pt idx="23480">
                  <c:v>39098</c:v>
                </c:pt>
                <c:pt idx="23481">
                  <c:v>39097</c:v>
                </c:pt>
                <c:pt idx="23482">
                  <c:v>39096</c:v>
                </c:pt>
                <c:pt idx="23483">
                  <c:v>39096</c:v>
                </c:pt>
                <c:pt idx="23484">
                  <c:v>39096</c:v>
                </c:pt>
                <c:pt idx="23485">
                  <c:v>39096</c:v>
                </c:pt>
                <c:pt idx="23486">
                  <c:v>39096</c:v>
                </c:pt>
                <c:pt idx="23487">
                  <c:v>39096</c:v>
                </c:pt>
                <c:pt idx="23488">
                  <c:v>39095</c:v>
                </c:pt>
                <c:pt idx="23489">
                  <c:v>39095</c:v>
                </c:pt>
                <c:pt idx="23490">
                  <c:v>39095</c:v>
                </c:pt>
                <c:pt idx="23491">
                  <c:v>39094</c:v>
                </c:pt>
                <c:pt idx="23492">
                  <c:v>39094</c:v>
                </c:pt>
                <c:pt idx="23493">
                  <c:v>39094</c:v>
                </c:pt>
                <c:pt idx="23494">
                  <c:v>39093</c:v>
                </c:pt>
                <c:pt idx="23495">
                  <c:v>39093</c:v>
                </c:pt>
                <c:pt idx="23496">
                  <c:v>39092</c:v>
                </c:pt>
                <c:pt idx="23497">
                  <c:v>39092</c:v>
                </c:pt>
                <c:pt idx="23498">
                  <c:v>39090</c:v>
                </c:pt>
                <c:pt idx="23499">
                  <c:v>39088</c:v>
                </c:pt>
                <c:pt idx="23500">
                  <c:v>39087</c:v>
                </c:pt>
                <c:pt idx="23501">
                  <c:v>39087</c:v>
                </c:pt>
                <c:pt idx="23502">
                  <c:v>39085</c:v>
                </c:pt>
                <c:pt idx="23503">
                  <c:v>39084</c:v>
                </c:pt>
                <c:pt idx="23504">
                  <c:v>39083</c:v>
                </c:pt>
                <c:pt idx="23505">
                  <c:v>39082</c:v>
                </c:pt>
                <c:pt idx="23506">
                  <c:v>39081</c:v>
                </c:pt>
                <c:pt idx="23507">
                  <c:v>39080</c:v>
                </c:pt>
                <c:pt idx="23508">
                  <c:v>39079</c:v>
                </c:pt>
                <c:pt idx="23509">
                  <c:v>39079</c:v>
                </c:pt>
                <c:pt idx="23510">
                  <c:v>39079</c:v>
                </c:pt>
                <c:pt idx="23511">
                  <c:v>39078</c:v>
                </c:pt>
                <c:pt idx="23512">
                  <c:v>39078</c:v>
                </c:pt>
                <c:pt idx="23513">
                  <c:v>39077</c:v>
                </c:pt>
                <c:pt idx="23514">
                  <c:v>39076</c:v>
                </c:pt>
                <c:pt idx="23515">
                  <c:v>39076</c:v>
                </c:pt>
                <c:pt idx="23516">
                  <c:v>39075</c:v>
                </c:pt>
                <c:pt idx="23517">
                  <c:v>39074</c:v>
                </c:pt>
                <c:pt idx="23518">
                  <c:v>39072</c:v>
                </c:pt>
                <c:pt idx="23519">
                  <c:v>39070</c:v>
                </c:pt>
                <c:pt idx="23520">
                  <c:v>39070</c:v>
                </c:pt>
                <c:pt idx="23521">
                  <c:v>39070</c:v>
                </c:pt>
                <c:pt idx="23522">
                  <c:v>39068</c:v>
                </c:pt>
                <c:pt idx="23523">
                  <c:v>39068</c:v>
                </c:pt>
                <c:pt idx="23524">
                  <c:v>39068</c:v>
                </c:pt>
                <c:pt idx="23525">
                  <c:v>39067</c:v>
                </c:pt>
                <c:pt idx="23526">
                  <c:v>39066</c:v>
                </c:pt>
                <c:pt idx="23527">
                  <c:v>39066</c:v>
                </c:pt>
                <c:pt idx="23528">
                  <c:v>39064</c:v>
                </c:pt>
                <c:pt idx="23529">
                  <c:v>39064</c:v>
                </c:pt>
                <c:pt idx="23530">
                  <c:v>39064</c:v>
                </c:pt>
                <c:pt idx="23531">
                  <c:v>39061</c:v>
                </c:pt>
                <c:pt idx="23532">
                  <c:v>39060</c:v>
                </c:pt>
                <c:pt idx="23533">
                  <c:v>39060</c:v>
                </c:pt>
                <c:pt idx="23534">
                  <c:v>39059</c:v>
                </c:pt>
                <c:pt idx="23535">
                  <c:v>39059</c:v>
                </c:pt>
                <c:pt idx="23536">
                  <c:v>39058</c:v>
                </c:pt>
                <c:pt idx="23537">
                  <c:v>39058</c:v>
                </c:pt>
                <c:pt idx="23538">
                  <c:v>39056</c:v>
                </c:pt>
                <c:pt idx="23539">
                  <c:v>39056</c:v>
                </c:pt>
                <c:pt idx="23540">
                  <c:v>39056</c:v>
                </c:pt>
                <c:pt idx="23541">
                  <c:v>39055</c:v>
                </c:pt>
                <c:pt idx="23542">
                  <c:v>39054</c:v>
                </c:pt>
                <c:pt idx="23543">
                  <c:v>39053</c:v>
                </c:pt>
                <c:pt idx="23544">
                  <c:v>39052</c:v>
                </c:pt>
                <c:pt idx="23545">
                  <c:v>39051</c:v>
                </c:pt>
                <c:pt idx="23546">
                  <c:v>39051</c:v>
                </c:pt>
                <c:pt idx="23547">
                  <c:v>39050</c:v>
                </c:pt>
                <c:pt idx="23548">
                  <c:v>39048</c:v>
                </c:pt>
                <c:pt idx="23549">
                  <c:v>39047</c:v>
                </c:pt>
                <c:pt idx="23550">
                  <c:v>39047</c:v>
                </c:pt>
                <c:pt idx="23551">
                  <c:v>39046</c:v>
                </c:pt>
                <c:pt idx="23552">
                  <c:v>39045</c:v>
                </c:pt>
                <c:pt idx="23553">
                  <c:v>39044</c:v>
                </c:pt>
                <c:pt idx="23554">
                  <c:v>39044</c:v>
                </c:pt>
                <c:pt idx="23555">
                  <c:v>39043</c:v>
                </c:pt>
                <c:pt idx="23556">
                  <c:v>39043</c:v>
                </c:pt>
                <c:pt idx="23557">
                  <c:v>39041</c:v>
                </c:pt>
                <c:pt idx="23558">
                  <c:v>39041</c:v>
                </c:pt>
                <c:pt idx="23559">
                  <c:v>39041</c:v>
                </c:pt>
                <c:pt idx="23560">
                  <c:v>39040</c:v>
                </c:pt>
                <c:pt idx="23561">
                  <c:v>39039</c:v>
                </c:pt>
                <c:pt idx="23562">
                  <c:v>39039</c:v>
                </c:pt>
                <c:pt idx="23563">
                  <c:v>39039</c:v>
                </c:pt>
                <c:pt idx="23564">
                  <c:v>39038</c:v>
                </c:pt>
                <c:pt idx="23565">
                  <c:v>39037</c:v>
                </c:pt>
                <c:pt idx="23566">
                  <c:v>39037</c:v>
                </c:pt>
                <c:pt idx="23567">
                  <c:v>39036</c:v>
                </c:pt>
                <c:pt idx="23568">
                  <c:v>39036</c:v>
                </c:pt>
                <c:pt idx="23569">
                  <c:v>39036</c:v>
                </c:pt>
                <c:pt idx="23570">
                  <c:v>39035</c:v>
                </c:pt>
                <c:pt idx="23571">
                  <c:v>39034</c:v>
                </c:pt>
                <c:pt idx="23572">
                  <c:v>39034</c:v>
                </c:pt>
                <c:pt idx="23573">
                  <c:v>39034</c:v>
                </c:pt>
                <c:pt idx="23574">
                  <c:v>39034</c:v>
                </c:pt>
                <c:pt idx="23575">
                  <c:v>39033</c:v>
                </c:pt>
                <c:pt idx="23576">
                  <c:v>39033</c:v>
                </c:pt>
                <c:pt idx="23577">
                  <c:v>39032</c:v>
                </c:pt>
                <c:pt idx="23578">
                  <c:v>39031</c:v>
                </c:pt>
                <c:pt idx="23579">
                  <c:v>39030</c:v>
                </c:pt>
                <c:pt idx="23580">
                  <c:v>39029</c:v>
                </c:pt>
                <c:pt idx="23581">
                  <c:v>39029</c:v>
                </c:pt>
                <c:pt idx="23582">
                  <c:v>39026</c:v>
                </c:pt>
                <c:pt idx="23583">
                  <c:v>39026</c:v>
                </c:pt>
                <c:pt idx="23584">
                  <c:v>39024</c:v>
                </c:pt>
                <c:pt idx="23585">
                  <c:v>39024</c:v>
                </c:pt>
                <c:pt idx="23586">
                  <c:v>39024</c:v>
                </c:pt>
                <c:pt idx="23587">
                  <c:v>39023</c:v>
                </c:pt>
                <c:pt idx="23588">
                  <c:v>39022</c:v>
                </c:pt>
                <c:pt idx="23589">
                  <c:v>39022</c:v>
                </c:pt>
                <c:pt idx="23590">
                  <c:v>39021</c:v>
                </c:pt>
                <c:pt idx="23591">
                  <c:v>39021</c:v>
                </c:pt>
                <c:pt idx="23592">
                  <c:v>39021</c:v>
                </c:pt>
                <c:pt idx="23593">
                  <c:v>39021</c:v>
                </c:pt>
                <c:pt idx="23594">
                  <c:v>39020</c:v>
                </c:pt>
                <c:pt idx="23595">
                  <c:v>39020</c:v>
                </c:pt>
                <c:pt idx="23596">
                  <c:v>39020</c:v>
                </c:pt>
                <c:pt idx="23597">
                  <c:v>39020</c:v>
                </c:pt>
                <c:pt idx="23598">
                  <c:v>39019</c:v>
                </c:pt>
                <c:pt idx="23599">
                  <c:v>39018</c:v>
                </c:pt>
                <c:pt idx="23600">
                  <c:v>39017</c:v>
                </c:pt>
                <c:pt idx="23601">
                  <c:v>39017</c:v>
                </c:pt>
                <c:pt idx="23602">
                  <c:v>39016</c:v>
                </c:pt>
                <c:pt idx="23603">
                  <c:v>39016</c:v>
                </c:pt>
                <c:pt idx="23604">
                  <c:v>39016</c:v>
                </c:pt>
                <c:pt idx="23605">
                  <c:v>39015</c:v>
                </c:pt>
                <c:pt idx="23606">
                  <c:v>39015</c:v>
                </c:pt>
                <c:pt idx="23607">
                  <c:v>39014</c:v>
                </c:pt>
                <c:pt idx="23608">
                  <c:v>39013</c:v>
                </c:pt>
                <c:pt idx="23609">
                  <c:v>39012</c:v>
                </c:pt>
                <c:pt idx="23610">
                  <c:v>39012</c:v>
                </c:pt>
                <c:pt idx="23611">
                  <c:v>39012</c:v>
                </c:pt>
                <c:pt idx="23612">
                  <c:v>39011</c:v>
                </c:pt>
                <c:pt idx="23613">
                  <c:v>39011</c:v>
                </c:pt>
                <c:pt idx="23614">
                  <c:v>39010</c:v>
                </c:pt>
                <c:pt idx="23615">
                  <c:v>39010</c:v>
                </c:pt>
                <c:pt idx="23616">
                  <c:v>39009</c:v>
                </c:pt>
                <c:pt idx="23617">
                  <c:v>39007</c:v>
                </c:pt>
                <c:pt idx="23618">
                  <c:v>39007</c:v>
                </c:pt>
                <c:pt idx="23619">
                  <c:v>39006</c:v>
                </c:pt>
                <c:pt idx="23620">
                  <c:v>39006</c:v>
                </c:pt>
                <c:pt idx="23621">
                  <c:v>39005</c:v>
                </c:pt>
                <c:pt idx="23622">
                  <c:v>39005</c:v>
                </c:pt>
                <c:pt idx="23623">
                  <c:v>39005</c:v>
                </c:pt>
                <c:pt idx="23624">
                  <c:v>39005</c:v>
                </c:pt>
                <c:pt idx="23625">
                  <c:v>39005</c:v>
                </c:pt>
                <c:pt idx="23626">
                  <c:v>39002</c:v>
                </c:pt>
                <c:pt idx="23627">
                  <c:v>39000</c:v>
                </c:pt>
                <c:pt idx="23628">
                  <c:v>38999</c:v>
                </c:pt>
                <c:pt idx="23629">
                  <c:v>38999</c:v>
                </c:pt>
                <c:pt idx="23630">
                  <c:v>38999</c:v>
                </c:pt>
                <c:pt idx="23631">
                  <c:v>38999</c:v>
                </c:pt>
                <c:pt idx="23632">
                  <c:v>38998</c:v>
                </c:pt>
                <c:pt idx="23633">
                  <c:v>38998</c:v>
                </c:pt>
                <c:pt idx="23634">
                  <c:v>38997</c:v>
                </c:pt>
                <c:pt idx="23635">
                  <c:v>38997</c:v>
                </c:pt>
                <c:pt idx="23636">
                  <c:v>38996</c:v>
                </c:pt>
                <c:pt idx="23637">
                  <c:v>38996</c:v>
                </c:pt>
                <c:pt idx="23638">
                  <c:v>38994</c:v>
                </c:pt>
                <c:pt idx="23639">
                  <c:v>38994</c:v>
                </c:pt>
                <c:pt idx="23640">
                  <c:v>38993</c:v>
                </c:pt>
                <c:pt idx="23641">
                  <c:v>38992</c:v>
                </c:pt>
                <c:pt idx="23642">
                  <c:v>38992</c:v>
                </c:pt>
                <c:pt idx="23643">
                  <c:v>38992</c:v>
                </c:pt>
                <c:pt idx="23644">
                  <c:v>38992</c:v>
                </c:pt>
                <c:pt idx="23645">
                  <c:v>38991</c:v>
                </c:pt>
                <c:pt idx="23646">
                  <c:v>38991</c:v>
                </c:pt>
                <c:pt idx="23647">
                  <c:v>38991</c:v>
                </c:pt>
                <c:pt idx="23648">
                  <c:v>38990</c:v>
                </c:pt>
                <c:pt idx="23649">
                  <c:v>38990</c:v>
                </c:pt>
                <c:pt idx="23650">
                  <c:v>38989</c:v>
                </c:pt>
                <c:pt idx="23651">
                  <c:v>38989</c:v>
                </c:pt>
                <c:pt idx="23652">
                  <c:v>38988</c:v>
                </c:pt>
                <c:pt idx="23653">
                  <c:v>38987</c:v>
                </c:pt>
                <c:pt idx="23654">
                  <c:v>38987</c:v>
                </c:pt>
                <c:pt idx="23655">
                  <c:v>38987</c:v>
                </c:pt>
                <c:pt idx="23656">
                  <c:v>38987</c:v>
                </c:pt>
                <c:pt idx="23657">
                  <c:v>38987</c:v>
                </c:pt>
                <c:pt idx="23658">
                  <c:v>38987</c:v>
                </c:pt>
                <c:pt idx="23659">
                  <c:v>38986</c:v>
                </c:pt>
                <c:pt idx="23660">
                  <c:v>38985</c:v>
                </c:pt>
                <c:pt idx="23661">
                  <c:v>38985</c:v>
                </c:pt>
                <c:pt idx="23662">
                  <c:v>38985</c:v>
                </c:pt>
                <c:pt idx="23663">
                  <c:v>38985</c:v>
                </c:pt>
                <c:pt idx="23664">
                  <c:v>38983</c:v>
                </c:pt>
                <c:pt idx="23665">
                  <c:v>38981</c:v>
                </c:pt>
                <c:pt idx="23666">
                  <c:v>38981</c:v>
                </c:pt>
                <c:pt idx="23667">
                  <c:v>38981</c:v>
                </c:pt>
                <c:pt idx="23668">
                  <c:v>38977</c:v>
                </c:pt>
                <c:pt idx="23669">
                  <c:v>38977</c:v>
                </c:pt>
                <c:pt idx="23670">
                  <c:v>38977</c:v>
                </c:pt>
                <c:pt idx="23671">
                  <c:v>38977</c:v>
                </c:pt>
                <c:pt idx="23672">
                  <c:v>38976</c:v>
                </c:pt>
                <c:pt idx="23673">
                  <c:v>38974</c:v>
                </c:pt>
                <c:pt idx="23674">
                  <c:v>38974</c:v>
                </c:pt>
                <c:pt idx="23675">
                  <c:v>38972</c:v>
                </c:pt>
                <c:pt idx="23676">
                  <c:v>38971</c:v>
                </c:pt>
                <c:pt idx="23677">
                  <c:v>38971</c:v>
                </c:pt>
                <c:pt idx="23678">
                  <c:v>38970</c:v>
                </c:pt>
                <c:pt idx="23679">
                  <c:v>38969</c:v>
                </c:pt>
                <c:pt idx="23680">
                  <c:v>38969</c:v>
                </c:pt>
                <c:pt idx="23681">
                  <c:v>38967</c:v>
                </c:pt>
                <c:pt idx="23682">
                  <c:v>38967</c:v>
                </c:pt>
                <c:pt idx="23683">
                  <c:v>38966</c:v>
                </c:pt>
                <c:pt idx="23684">
                  <c:v>38965</c:v>
                </c:pt>
                <c:pt idx="23685">
                  <c:v>38965</c:v>
                </c:pt>
                <c:pt idx="23686">
                  <c:v>38965</c:v>
                </c:pt>
                <c:pt idx="23687">
                  <c:v>38965</c:v>
                </c:pt>
                <c:pt idx="23688">
                  <c:v>38965</c:v>
                </c:pt>
                <c:pt idx="23689">
                  <c:v>38964</c:v>
                </c:pt>
                <c:pt idx="23690">
                  <c:v>38964</c:v>
                </c:pt>
                <c:pt idx="23691">
                  <c:v>38964</c:v>
                </c:pt>
                <c:pt idx="23692">
                  <c:v>38963</c:v>
                </c:pt>
                <c:pt idx="23693">
                  <c:v>38962</c:v>
                </c:pt>
                <c:pt idx="23694">
                  <c:v>38961</c:v>
                </c:pt>
                <c:pt idx="23695">
                  <c:v>38961</c:v>
                </c:pt>
                <c:pt idx="23696">
                  <c:v>38960</c:v>
                </c:pt>
                <c:pt idx="23697">
                  <c:v>38959</c:v>
                </c:pt>
                <c:pt idx="23698">
                  <c:v>38959</c:v>
                </c:pt>
                <c:pt idx="23699">
                  <c:v>38958</c:v>
                </c:pt>
                <c:pt idx="23700">
                  <c:v>38958</c:v>
                </c:pt>
                <c:pt idx="23701">
                  <c:v>38957</c:v>
                </c:pt>
                <c:pt idx="23702">
                  <c:v>38957</c:v>
                </c:pt>
                <c:pt idx="23703">
                  <c:v>38957</c:v>
                </c:pt>
                <c:pt idx="23704">
                  <c:v>38957</c:v>
                </c:pt>
                <c:pt idx="23705">
                  <c:v>38955</c:v>
                </c:pt>
                <c:pt idx="23706">
                  <c:v>38955</c:v>
                </c:pt>
                <c:pt idx="23707">
                  <c:v>38954</c:v>
                </c:pt>
                <c:pt idx="23708">
                  <c:v>38953</c:v>
                </c:pt>
                <c:pt idx="23709">
                  <c:v>38953</c:v>
                </c:pt>
                <c:pt idx="23710">
                  <c:v>38953</c:v>
                </c:pt>
                <c:pt idx="23711">
                  <c:v>38953</c:v>
                </c:pt>
                <c:pt idx="23712">
                  <c:v>38952</c:v>
                </c:pt>
                <c:pt idx="23713">
                  <c:v>38951</c:v>
                </c:pt>
                <c:pt idx="23714">
                  <c:v>38951</c:v>
                </c:pt>
                <c:pt idx="23715">
                  <c:v>38951</c:v>
                </c:pt>
                <c:pt idx="23716">
                  <c:v>38951</c:v>
                </c:pt>
                <c:pt idx="23717">
                  <c:v>38950</c:v>
                </c:pt>
                <c:pt idx="23718">
                  <c:v>38950</c:v>
                </c:pt>
                <c:pt idx="23719">
                  <c:v>38949</c:v>
                </c:pt>
                <c:pt idx="23720">
                  <c:v>38949</c:v>
                </c:pt>
                <c:pt idx="23721">
                  <c:v>38949</c:v>
                </c:pt>
                <c:pt idx="23722">
                  <c:v>38949</c:v>
                </c:pt>
                <c:pt idx="23723">
                  <c:v>38948</c:v>
                </c:pt>
                <c:pt idx="23724">
                  <c:v>38948</c:v>
                </c:pt>
                <c:pt idx="23725">
                  <c:v>38947</c:v>
                </c:pt>
                <c:pt idx="23726">
                  <c:v>38946</c:v>
                </c:pt>
                <c:pt idx="23727">
                  <c:v>38946</c:v>
                </c:pt>
                <c:pt idx="23728">
                  <c:v>38946</c:v>
                </c:pt>
                <c:pt idx="23729">
                  <c:v>38945</c:v>
                </c:pt>
                <c:pt idx="23730">
                  <c:v>38945</c:v>
                </c:pt>
                <c:pt idx="23731">
                  <c:v>38945</c:v>
                </c:pt>
                <c:pt idx="23732">
                  <c:v>38945</c:v>
                </c:pt>
                <c:pt idx="23733">
                  <c:v>38943</c:v>
                </c:pt>
                <c:pt idx="23734">
                  <c:v>38941</c:v>
                </c:pt>
                <c:pt idx="23735">
                  <c:v>38941</c:v>
                </c:pt>
                <c:pt idx="23736">
                  <c:v>38941</c:v>
                </c:pt>
                <c:pt idx="23737">
                  <c:v>38941</c:v>
                </c:pt>
                <c:pt idx="23738">
                  <c:v>38941</c:v>
                </c:pt>
                <c:pt idx="23739">
                  <c:v>38941</c:v>
                </c:pt>
                <c:pt idx="23740">
                  <c:v>38940</c:v>
                </c:pt>
                <c:pt idx="23741">
                  <c:v>38939</c:v>
                </c:pt>
                <c:pt idx="23742">
                  <c:v>38939</c:v>
                </c:pt>
                <c:pt idx="23743">
                  <c:v>38937</c:v>
                </c:pt>
                <c:pt idx="23744">
                  <c:v>38937</c:v>
                </c:pt>
                <c:pt idx="23745">
                  <c:v>38936</c:v>
                </c:pt>
                <c:pt idx="23746">
                  <c:v>38935</c:v>
                </c:pt>
                <c:pt idx="23747">
                  <c:v>38935</c:v>
                </c:pt>
                <c:pt idx="23748">
                  <c:v>38935</c:v>
                </c:pt>
                <c:pt idx="23749">
                  <c:v>38935</c:v>
                </c:pt>
                <c:pt idx="23750">
                  <c:v>38935</c:v>
                </c:pt>
                <c:pt idx="23751">
                  <c:v>38934</c:v>
                </c:pt>
                <c:pt idx="23752">
                  <c:v>38932</c:v>
                </c:pt>
                <c:pt idx="23753">
                  <c:v>38932</c:v>
                </c:pt>
                <c:pt idx="23754">
                  <c:v>38931</c:v>
                </c:pt>
                <c:pt idx="23755">
                  <c:v>38930</c:v>
                </c:pt>
                <c:pt idx="23756">
                  <c:v>38930</c:v>
                </c:pt>
                <c:pt idx="23757">
                  <c:v>38930</c:v>
                </c:pt>
                <c:pt idx="23758">
                  <c:v>38926</c:v>
                </c:pt>
                <c:pt idx="23759">
                  <c:v>38924</c:v>
                </c:pt>
                <c:pt idx="23760">
                  <c:v>38924</c:v>
                </c:pt>
                <c:pt idx="23761">
                  <c:v>38924</c:v>
                </c:pt>
                <c:pt idx="23762">
                  <c:v>38923</c:v>
                </c:pt>
                <c:pt idx="23763">
                  <c:v>38923</c:v>
                </c:pt>
                <c:pt idx="23764">
                  <c:v>38922</c:v>
                </c:pt>
                <c:pt idx="23765">
                  <c:v>38922</c:v>
                </c:pt>
                <c:pt idx="23766">
                  <c:v>38921</c:v>
                </c:pt>
                <c:pt idx="23767">
                  <c:v>38920</c:v>
                </c:pt>
                <c:pt idx="23768">
                  <c:v>38920</c:v>
                </c:pt>
                <c:pt idx="23769">
                  <c:v>38918</c:v>
                </c:pt>
                <c:pt idx="23770">
                  <c:v>38917</c:v>
                </c:pt>
                <c:pt idx="23771">
                  <c:v>38916</c:v>
                </c:pt>
                <c:pt idx="23772">
                  <c:v>38916</c:v>
                </c:pt>
                <c:pt idx="23773">
                  <c:v>38916</c:v>
                </c:pt>
                <c:pt idx="23774">
                  <c:v>38914</c:v>
                </c:pt>
                <c:pt idx="23775">
                  <c:v>38913</c:v>
                </c:pt>
                <c:pt idx="23776">
                  <c:v>38913</c:v>
                </c:pt>
                <c:pt idx="23777">
                  <c:v>38913</c:v>
                </c:pt>
                <c:pt idx="23778">
                  <c:v>38913</c:v>
                </c:pt>
                <c:pt idx="23779">
                  <c:v>38912</c:v>
                </c:pt>
                <c:pt idx="23780">
                  <c:v>38911</c:v>
                </c:pt>
                <c:pt idx="23781">
                  <c:v>38911</c:v>
                </c:pt>
                <c:pt idx="23782">
                  <c:v>38911</c:v>
                </c:pt>
                <c:pt idx="23783">
                  <c:v>38910</c:v>
                </c:pt>
                <c:pt idx="23784">
                  <c:v>38909</c:v>
                </c:pt>
                <c:pt idx="23785">
                  <c:v>38909</c:v>
                </c:pt>
                <c:pt idx="23786">
                  <c:v>38907</c:v>
                </c:pt>
                <c:pt idx="23787">
                  <c:v>38905</c:v>
                </c:pt>
                <c:pt idx="23788">
                  <c:v>38904</c:v>
                </c:pt>
                <c:pt idx="23789">
                  <c:v>38904</c:v>
                </c:pt>
                <c:pt idx="23790">
                  <c:v>38903</c:v>
                </c:pt>
                <c:pt idx="23791">
                  <c:v>38901</c:v>
                </c:pt>
                <c:pt idx="23792">
                  <c:v>38899</c:v>
                </c:pt>
                <c:pt idx="23793">
                  <c:v>38899</c:v>
                </c:pt>
                <c:pt idx="23794">
                  <c:v>38898</c:v>
                </c:pt>
                <c:pt idx="23795">
                  <c:v>38897</c:v>
                </c:pt>
                <c:pt idx="23796">
                  <c:v>38896</c:v>
                </c:pt>
                <c:pt idx="23797">
                  <c:v>38894</c:v>
                </c:pt>
                <c:pt idx="23798">
                  <c:v>38893</c:v>
                </c:pt>
                <c:pt idx="23799">
                  <c:v>38893</c:v>
                </c:pt>
                <c:pt idx="23800">
                  <c:v>38893</c:v>
                </c:pt>
                <c:pt idx="23801">
                  <c:v>38892</c:v>
                </c:pt>
                <c:pt idx="23802">
                  <c:v>38892</c:v>
                </c:pt>
                <c:pt idx="23803">
                  <c:v>38890</c:v>
                </c:pt>
                <c:pt idx="23804">
                  <c:v>38890</c:v>
                </c:pt>
                <c:pt idx="23805">
                  <c:v>38889</c:v>
                </c:pt>
                <c:pt idx="23806">
                  <c:v>38889</c:v>
                </c:pt>
                <c:pt idx="23807">
                  <c:v>38889</c:v>
                </c:pt>
                <c:pt idx="23808">
                  <c:v>38888</c:v>
                </c:pt>
                <c:pt idx="23809">
                  <c:v>38888</c:v>
                </c:pt>
                <c:pt idx="23810">
                  <c:v>38887</c:v>
                </c:pt>
                <c:pt idx="23811">
                  <c:v>38887</c:v>
                </c:pt>
                <c:pt idx="23812">
                  <c:v>38887</c:v>
                </c:pt>
                <c:pt idx="23813">
                  <c:v>38885</c:v>
                </c:pt>
                <c:pt idx="23814">
                  <c:v>38885</c:v>
                </c:pt>
                <c:pt idx="23815">
                  <c:v>38885</c:v>
                </c:pt>
                <c:pt idx="23816">
                  <c:v>38884</c:v>
                </c:pt>
                <c:pt idx="23817">
                  <c:v>38884</c:v>
                </c:pt>
                <c:pt idx="23818">
                  <c:v>38882</c:v>
                </c:pt>
                <c:pt idx="23819">
                  <c:v>38879</c:v>
                </c:pt>
                <c:pt idx="23820">
                  <c:v>38879</c:v>
                </c:pt>
                <c:pt idx="23821">
                  <c:v>38879</c:v>
                </c:pt>
                <c:pt idx="23822">
                  <c:v>38879</c:v>
                </c:pt>
                <c:pt idx="23823">
                  <c:v>38878</c:v>
                </c:pt>
                <c:pt idx="23824">
                  <c:v>38876</c:v>
                </c:pt>
                <c:pt idx="23825">
                  <c:v>38876</c:v>
                </c:pt>
                <c:pt idx="23826">
                  <c:v>38875</c:v>
                </c:pt>
                <c:pt idx="23827">
                  <c:v>38875</c:v>
                </c:pt>
                <c:pt idx="23828">
                  <c:v>38875</c:v>
                </c:pt>
                <c:pt idx="23829">
                  <c:v>38874</c:v>
                </c:pt>
                <c:pt idx="23830">
                  <c:v>38873</c:v>
                </c:pt>
                <c:pt idx="23831">
                  <c:v>38873</c:v>
                </c:pt>
                <c:pt idx="23832">
                  <c:v>38873</c:v>
                </c:pt>
                <c:pt idx="23833">
                  <c:v>38872</c:v>
                </c:pt>
                <c:pt idx="23834">
                  <c:v>38872</c:v>
                </c:pt>
                <c:pt idx="23835">
                  <c:v>38872</c:v>
                </c:pt>
                <c:pt idx="23836">
                  <c:v>38870</c:v>
                </c:pt>
                <c:pt idx="23837">
                  <c:v>38869</c:v>
                </c:pt>
                <c:pt idx="23838">
                  <c:v>38869</c:v>
                </c:pt>
                <c:pt idx="23839">
                  <c:v>38868</c:v>
                </c:pt>
                <c:pt idx="23840">
                  <c:v>38868</c:v>
                </c:pt>
                <c:pt idx="23841">
                  <c:v>38867</c:v>
                </c:pt>
                <c:pt idx="23842">
                  <c:v>38867</c:v>
                </c:pt>
                <c:pt idx="23843">
                  <c:v>38866</c:v>
                </c:pt>
                <c:pt idx="23844">
                  <c:v>38865</c:v>
                </c:pt>
                <c:pt idx="23845">
                  <c:v>38865</c:v>
                </c:pt>
                <c:pt idx="23846">
                  <c:v>38864</c:v>
                </c:pt>
                <c:pt idx="23847">
                  <c:v>38863</c:v>
                </c:pt>
                <c:pt idx="23848">
                  <c:v>38863</c:v>
                </c:pt>
                <c:pt idx="23849">
                  <c:v>38863</c:v>
                </c:pt>
                <c:pt idx="23850">
                  <c:v>38861</c:v>
                </c:pt>
                <c:pt idx="23851">
                  <c:v>38860</c:v>
                </c:pt>
                <c:pt idx="23852">
                  <c:v>38859</c:v>
                </c:pt>
                <c:pt idx="23853">
                  <c:v>38858</c:v>
                </c:pt>
                <c:pt idx="23854">
                  <c:v>38858</c:v>
                </c:pt>
                <c:pt idx="23855">
                  <c:v>38856</c:v>
                </c:pt>
                <c:pt idx="23856">
                  <c:v>38856</c:v>
                </c:pt>
                <c:pt idx="23857">
                  <c:v>38856</c:v>
                </c:pt>
                <c:pt idx="23858">
                  <c:v>38855</c:v>
                </c:pt>
                <c:pt idx="23859">
                  <c:v>38854</c:v>
                </c:pt>
                <c:pt idx="23860">
                  <c:v>38853</c:v>
                </c:pt>
                <c:pt idx="23861">
                  <c:v>38852</c:v>
                </c:pt>
                <c:pt idx="23862">
                  <c:v>38852</c:v>
                </c:pt>
                <c:pt idx="23863">
                  <c:v>38851</c:v>
                </c:pt>
                <c:pt idx="23864">
                  <c:v>38850</c:v>
                </c:pt>
                <c:pt idx="23865">
                  <c:v>38849</c:v>
                </c:pt>
                <c:pt idx="23866">
                  <c:v>38848</c:v>
                </c:pt>
                <c:pt idx="23867">
                  <c:v>38846</c:v>
                </c:pt>
                <c:pt idx="23868">
                  <c:v>38845</c:v>
                </c:pt>
                <c:pt idx="23869">
                  <c:v>38845</c:v>
                </c:pt>
                <c:pt idx="23870">
                  <c:v>38845</c:v>
                </c:pt>
                <c:pt idx="23871">
                  <c:v>38845</c:v>
                </c:pt>
                <c:pt idx="23872">
                  <c:v>38845</c:v>
                </c:pt>
                <c:pt idx="23873">
                  <c:v>38844</c:v>
                </c:pt>
                <c:pt idx="23874">
                  <c:v>38844</c:v>
                </c:pt>
                <c:pt idx="23875">
                  <c:v>38843</c:v>
                </c:pt>
                <c:pt idx="23876">
                  <c:v>38843</c:v>
                </c:pt>
                <c:pt idx="23877">
                  <c:v>38843</c:v>
                </c:pt>
                <c:pt idx="23878">
                  <c:v>38841</c:v>
                </c:pt>
                <c:pt idx="23879">
                  <c:v>38841</c:v>
                </c:pt>
                <c:pt idx="23880">
                  <c:v>38841</c:v>
                </c:pt>
                <c:pt idx="23881">
                  <c:v>38840</c:v>
                </c:pt>
                <c:pt idx="23882">
                  <c:v>38840</c:v>
                </c:pt>
                <c:pt idx="23883">
                  <c:v>38839</c:v>
                </c:pt>
                <c:pt idx="23884">
                  <c:v>38839</c:v>
                </c:pt>
                <c:pt idx="23885">
                  <c:v>38837</c:v>
                </c:pt>
                <c:pt idx="23886">
                  <c:v>38836</c:v>
                </c:pt>
                <c:pt idx="23887">
                  <c:v>38835</c:v>
                </c:pt>
                <c:pt idx="23888">
                  <c:v>38832</c:v>
                </c:pt>
                <c:pt idx="23889">
                  <c:v>38830</c:v>
                </c:pt>
                <c:pt idx="23890">
                  <c:v>38830</c:v>
                </c:pt>
                <c:pt idx="23891">
                  <c:v>38830</c:v>
                </c:pt>
                <c:pt idx="23892">
                  <c:v>38830</c:v>
                </c:pt>
                <c:pt idx="23893">
                  <c:v>38829</c:v>
                </c:pt>
                <c:pt idx="23894">
                  <c:v>38829</c:v>
                </c:pt>
                <c:pt idx="23895">
                  <c:v>38829</c:v>
                </c:pt>
                <c:pt idx="23896">
                  <c:v>38828</c:v>
                </c:pt>
                <c:pt idx="23897">
                  <c:v>38828</c:v>
                </c:pt>
                <c:pt idx="23898">
                  <c:v>38828</c:v>
                </c:pt>
                <c:pt idx="23899">
                  <c:v>38827</c:v>
                </c:pt>
                <c:pt idx="23900">
                  <c:v>38827</c:v>
                </c:pt>
                <c:pt idx="23901">
                  <c:v>38827</c:v>
                </c:pt>
                <c:pt idx="23902">
                  <c:v>38826</c:v>
                </c:pt>
                <c:pt idx="23903">
                  <c:v>38826</c:v>
                </c:pt>
                <c:pt idx="23904">
                  <c:v>38826</c:v>
                </c:pt>
                <c:pt idx="23905">
                  <c:v>38825</c:v>
                </c:pt>
                <c:pt idx="23906">
                  <c:v>38824</c:v>
                </c:pt>
                <c:pt idx="23907">
                  <c:v>38824</c:v>
                </c:pt>
                <c:pt idx="23908">
                  <c:v>38823</c:v>
                </c:pt>
                <c:pt idx="23909">
                  <c:v>38822</c:v>
                </c:pt>
                <c:pt idx="23910">
                  <c:v>38821</c:v>
                </c:pt>
                <c:pt idx="23911">
                  <c:v>38821</c:v>
                </c:pt>
                <c:pt idx="23912">
                  <c:v>38820</c:v>
                </c:pt>
                <c:pt idx="23913">
                  <c:v>38820</c:v>
                </c:pt>
                <c:pt idx="23914">
                  <c:v>38817</c:v>
                </c:pt>
                <c:pt idx="23915">
                  <c:v>38816</c:v>
                </c:pt>
                <c:pt idx="23916">
                  <c:v>38814</c:v>
                </c:pt>
                <c:pt idx="23917">
                  <c:v>38814</c:v>
                </c:pt>
                <c:pt idx="23918">
                  <c:v>38814</c:v>
                </c:pt>
                <c:pt idx="23919">
                  <c:v>38814</c:v>
                </c:pt>
                <c:pt idx="23920">
                  <c:v>38814</c:v>
                </c:pt>
                <c:pt idx="23921">
                  <c:v>38812</c:v>
                </c:pt>
                <c:pt idx="23922">
                  <c:v>38812</c:v>
                </c:pt>
                <c:pt idx="23923">
                  <c:v>38812</c:v>
                </c:pt>
                <c:pt idx="23924">
                  <c:v>38812</c:v>
                </c:pt>
                <c:pt idx="23925">
                  <c:v>38811</c:v>
                </c:pt>
                <c:pt idx="23926">
                  <c:v>38811</c:v>
                </c:pt>
                <c:pt idx="23927">
                  <c:v>38811</c:v>
                </c:pt>
                <c:pt idx="23928">
                  <c:v>38810</c:v>
                </c:pt>
                <c:pt idx="23929">
                  <c:v>38810</c:v>
                </c:pt>
                <c:pt idx="23930">
                  <c:v>38810</c:v>
                </c:pt>
                <c:pt idx="23931">
                  <c:v>38808</c:v>
                </c:pt>
                <c:pt idx="23932">
                  <c:v>38808</c:v>
                </c:pt>
                <c:pt idx="23933">
                  <c:v>38807</c:v>
                </c:pt>
                <c:pt idx="23934">
                  <c:v>38807</c:v>
                </c:pt>
                <c:pt idx="23935">
                  <c:v>38806</c:v>
                </c:pt>
                <c:pt idx="23936">
                  <c:v>38806</c:v>
                </c:pt>
                <c:pt idx="23937">
                  <c:v>38806</c:v>
                </c:pt>
                <c:pt idx="23938">
                  <c:v>38806</c:v>
                </c:pt>
                <c:pt idx="23939">
                  <c:v>38806</c:v>
                </c:pt>
                <c:pt idx="23940">
                  <c:v>38805</c:v>
                </c:pt>
                <c:pt idx="23941">
                  <c:v>38805</c:v>
                </c:pt>
                <c:pt idx="23942">
                  <c:v>38804</c:v>
                </c:pt>
                <c:pt idx="23943">
                  <c:v>38803</c:v>
                </c:pt>
                <c:pt idx="23944">
                  <c:v>38803</c:v>
                </c:pt>
                <c:pt idx="23945">
                  <c:v>38801</c:v>
                </c:pt>
                <c:pt idx="23946">
                  <c:v>38801</c:v>
                </c:pt>
                <c:pt idx="23947">
                  <c:v>38800</c:v>
                </c:pt>
                <c:pt idx="23948">
                  <c:v>38799</c:v>
                </c:pt>
                <c:pt idx="23949">
                  <c:v>38799</c:v>
                </c:pt>
                <c:pt idx="23950">
                  <c:v>38799</c:v>
                </c:pt>
                <c:pt idx="23951">
                  <c:v>38798</c:v>
                </c:pt>
                <c:pt idx="23952">
                  <c:v>38798</c:v>
                </c:pt>
                <c:pt idx="23953">
                  <c:v>38798</c:v>
                </c:pt>
                <c:pt idx="23954">
                  <c:v>38797</c:v>
                </c:pt>
                <c:pt idx="23955">
                  <c:v>38797</c:v>
                </c:pt>
                <c:pt idx="23956">
                  <c:v>38796</c:v>
                </c:pt>
                <c:pt idx="23957">
                  <c:v>38795</c:v>
                </c:pt>
                <c:pt idx="23958">
                  <c:v>38793</c:v>
                </c:pt>
                <c:pt idx="23959">
                  <c:v>38793</c:v>
                </c:pt>
                <c:pt idx="23960">
                  <c:v>38793</c:v>
                </c:pt>
                <c:pt idx="23961">
                  <c:v>38791</c:v>
                </c:pt>
                <c:pt idx="23962">
                  <c:v>38791</c:v>
                </c:pt>
                <c:pt idx="23963">
                  <c:v>38789</c:v>
                </c:pt>
                <c:pt idx="23964">
                  <c:v>38789</c:v>
                </c:pt>
                <c:pt idx="23965">
                  <c:v>38789</c:v>
                </c:pt>
                <c:pt idx="23966">
                  <c:v>38789</c:v>
                </c:pt>
                <c:pt idx="23967">
                  <c:v>38788</c:v>
                </c:pt>
                <c:pt idx="23968">
                  <c:v>38786</c:v>
                </c:pt>
                <c:pt idx="23969">
                  <c:v>38786</c:v>
                </c:pt>
                <c:pt idx="23970">
                  <c:v>38786</c:v>
                </c:pt>
                <c:pt idx="23971">
                  <c:v>38786</c:v>
                </c:pt>
                <c:pt idx="23972">
                  <c:v>38786</c:v>
                </c:pt>
                <c:pt idx="23973">
                  <c:v>38785</c:v>
                </c:pt>
                <c:pt idx="23974">
                  <c:v>38785</c:v>
                </c:pt>
                <c:pt idx="23975">
                  <c:v>38785</c:v>
                </c:pt>
                <c:pt idx="23976">
                  <c:v>38784</c:v>
                </c:pt>
                <c:pt idx="23977">
                  <c:v>38783</c:v>
                </c:pt>
                <c:pt idx="23978">
                  <c:v>38782</c:v>
                </c:pt>
                <c:pt idx="23979">
                  <c:v>38781</c:v>
                </c:pt>
                <c:pt idx="23980">
                  <c:v>38781</c:v>
                </c:pt>
                <c:pt idx="23981">
                  <c:v>38780</c:v>
                </c:pt>
                <c:pt idx="23982">
                  <c:v>38779</c:v>
                </c:pt>
                <c:pt idx="23983">
                  <c:v>38779</c:v>
                </c:pt>
                <c:pt idx="23984">
                  <c:v>38778</c:v>
                </c:pt>
                <c:pt idx="23985">
                  <c:v>38776</c:v>
                </c:pt>
                <c:pt idx="23986">
                  <c:v>38775</c:v>
                </c:pt>
                <c:pt idx="23987">
                  <c:v>38774</c:v>
                </c:pt>
                <c:pt idx="23988">
                  <c:v>38774</c:v>
                </c:pt>
                <c:pt idx="23989">
                  <c:v>38774</c:v>
                </c:pt>
                <c:pt idx="23990">
                  <c:v>38773</c:v>
                </c:pt>
                <c:pt idx="23991">
                  <c:v>38772</c:v>
                </c:pt>
                <c:pt idx="23992">
                  <c:v>38772</c:v>
                </c:pt>
                <c:pt idx="23993">
                  <c:v>38771</c:v>
                </c:pt>
                <c:pt idx="23994">
                  <c:v>38771</c:v>
                </c:pt>
                <c:pt idx="23995">
                  <c:v>38771</c:v>
                </c:pt>
                <c:pt idx="23996">
                  <c:v>38770</c:v>
                </c:pt>
                <c:pt idx="23997">
                  <c:v>38770</c:v>
                </c:pt>
                <c:pt idx="23998">
                  <c:v>38769</c:v>
                </c:pt>
                <c:pt idx="23999">
                  <c:v>38768</c:v>
                </c:pt>
                <c:pt idx="24000">
                  <c:v>38768</c:v>
                </c:pt>
                <c:pt idx="24001">
                  <c:v>38766</c:v>
                </c:pt>
                <c:pt idx="24002">
                  <c:v>38765</c:v>
                </c:pt>
                <c:pt idx="24003">
                  <c:v>38764</c:v>
                </c:pt>
                <c:pt idx="24004">
                  <c:v>38763</c:v>
                </c:pt>
                <c:pt idx="24005">
                  <c:v>38763</c:v>
                </c:pt>
                <c:pt idx="24006">
                  <c:v>38763</c:v>
                </c:pt>
                <c:pt idx="24007">
                  <c:v>38762</c:v>
                </c:pt>
                <c:pt idx="24008">
                  <c:v>38762</c:v>
                </c:pt>
                <c:pt idx="24009">
                  <c:v>38761</c:v>
                </c:pt>
                <c:pt idx="24010">
                  <c:v>38761</c:v>
                </c:pt>
                <c:pt idx="24011">
                  <c:v>38761</c:v>
                </c:pt>
                <c:pt idx="24012">
                  <c:v>38760</c:v>
                </c:pt>
                <c:pt idx="24013">
                  <c:v>38759</c:v>
                </c:pt>
                <c:pt idx="24014">
                  <c:v>38759</c:v>
                </c:pt>
                <c:pt idx="24015">
                  <c:v>38759</c:v>
                </c:pt>
                <c:pt idx="24016">
                  <c:v>38757</c:v>
                </c:pt>
                <c:pt idx="24017">
                  <c:v>38756</c:v>
                </c:pt>
                <c:pt idx="24018">
                  <c:v>38755</c:v>
                </c:pt>
                <c:pt idx="24019">
                  <c:v>38755</c:v>
                </c:pt>
                <c:pt idx="24020">
                  <c:v>38755</c:v>
                </c:pt>
                <c:pt idx="24021">
                  <c:v>38753</c:v>
                </c:pt>
                <c:pt idx="24022">
                  <c:v>38753</c:v>
                </c:pt>
                <c:pt idx="24023">
                  <c:v>38753</c:v>
                </c:pt>
                <c:pt idx="24024">
                  <c:v>38752</c:v>
                </c:pt>
                <c:pt idx="24025">
                  <c:v>38752</c:v>
                </c:pt>
                <c:pt idx="24026">
                  <c:v>38752</c:v>
                </c:pt>
                <c:pt idx="24027">
                  <c:v>38751</c:v>
                </c:pt>
                <c:pt idx="24028">
                  <c:v>38751</c:v>
                </c:pt>
                <c:pt idx="24029">
                  <c:v>38750</c:v>
                </c:pt>
                <c:pt idx="24030">
                  <c:v>38749</c:v>
                </c:pt>
                <c:pt idx="24031">
                  <c:v>38749</c:v>
                </c:pt>
                <c:pt idx="24032">
                  <c:v>38749</c:v>
                </c:pt>
                <c:pt idx="24033">
                  <c:v>38749</c:v>
                </c:pt>
                <c:pt idx="24034">
                  <c:v>38748</c:v>
                </c:pt>
                <c:pt idx="24035">
                  <c:v>38747</c:v>
                </c:pt>
                <c:pt idx="24036">
                  <c:v>38747</c:v>
                </c:pt>
                <c:pt idx="24037">
                  <c:v>38746</c:v>
                </c:pt>
                <c:pt idx="24038">
                  <c:v>38746</c:v>
                </c:pt>
                <c:pt idx="24039">
                  <c:v>38746</c:v>
                </c:pt>
                <c:pt idx="24040">
                  <c:v>38745</c:v>
                </c:pt>
                <c:pt idx="24041">
                  <c:v>38745</c:v>
                </c:pt>
                <c:pt idx="24042">
                  <c:v>38745</c:v>
                </c:pt>
                <c:pt idx="24043">
                  <c:v>38745</c:v>
                </c:pt>
                <c:pt idx="24044">
                  <c:v>38745</c:v>
                </c:pt>
                <c:pt idx="24045">
                  <c:v>38744</c:v>
                </c:pt>
                <c:pt idx="24046">
                  <c:v>38744</c:v>
                </c:pt>
                <c:pt idx="24047">
                  <c:v>38744</c:v>
                </c:pt>
                <c:pt idx="24048">
                  <c:v>38744</c:v>
                </c:pt>
                <c:pt idx="24049">
                  <c:v>38743</c:v>
                </c:pt>
                <c:pt idx="24050">
                  <c:v>38742</c:v>
                </c:pt>
                <c:pt idx="24051">
                  <c:v>38742</c:v>
                </c:pt>
                <c:pt idx="24052">
                  <c:v>38742</c:v>
                </c:pt>
                <c:pt idx="24053">
                  <c:v>38741</c:v>
                </c:pt>
                <c:pt idx="24054">
                  <c:v>38739</c:v>
                </c:pt>
                <c:pt idx="24055">
                  <c:v>38739</c:v>
                </c:pt>
                <c:pt idx="24056">
                  <c:v>38738</c:v>
                </c:pt>
                <c:pt idx="24057">
                  <c:v>38737</c:v>
                </c:pt>
                <c:pt idx="24058">
                  <c:v>38736</c:v>
                </c:pt>
                <c:pt idx="24059">
                  <c:v>38735</c:v>
                </c:pt>
                <c:pt idx="24060">
                  <c:v>38733</c:v>
                </c:pt>
                <c:pt idx="24061">
                  <c:v>38733</c:v>
                </c:pt>
                <c:pt idx="24062">
                  <c:v>38732</c:v>
                </c:pt>
                <c:pt idx="24063">
                  <c:v>38731</c:v>
                </c:pt>
                <c:pt idx="24064">
                  <c:v>38731</c:v>
                </c:pt>
                <c:pt idx="24065">
                  <c:v>38731</c:v>
                </c:pt>
                <c:pt idx="24066">
                  <c:v>38730</c:v>
                </c:pt>
                <c:pt idx="24067">
                  <c:v>38730</c:v>
                </c:pt>
                <c:pt idx="24068">
                  <c:v>38729</c:v>
                </c:pt>
                <c:pt idx="24069">
                  <c:v>38729</c:v>
                </c:pt>
                <c:pt idx="24070">
                  <c:v>38727</c:v>
                </c:pt>
                <c:pt idx="24071">
                  <c:v>38727</c:v>
                </c:pt>
                <c:pt idx="24072">
                  <c:v>38726</c:v>
                </c:pt>
                <c:pt idx="24073">
                  <c:v>38725</c:v>
                </c:pt>
                <c:pt idx="24074">
                  <c:v>38724</c:v>
                </c:pt>
                <c:pt idx="24075">
                  <c:v>38723</c:v>
                </c:pt>
                <c:pt idx="24076">
                  <c:v>38723</c:v>
                </c:pt>
                <c:pt idx="24077">
                  <c:v>38723</c:v>
                </c:pt>
                <c:pt idx="24078">
                  <c:v>38720</c:v>
                </c:pt>
                <c:pt idx="24079">
                  <c:v>38720</c:v>
                </c:pt>
                <c:pt idx="24080">
                  <c:v>38718</c:v>
                </c:pt>
                <c:pt idx="24081">
                  <c:v>38716</c:v>
                </c:pt>
                <c:pt idx="24082">
                  <c:v>38716</c:v>
                </c:pt>
                <c:pt idx="24083">
                  <c:v>38716</c:v>
                </c:pt>
                <c:pt idx="24084">
                  <c:v>38715</c:v>
                </c:pt>
                <c:pt idx="24085">
                  <c:v>38715</c:v>
                </c:pt>
                <c:pt idx="24086">
                  <c:v>38714</c:v>
                </c:pt>
                <c:pt idx="24087">
                  <c:v>38714</c:v>
                </c:pt>
                <c:pt idx="24088">
                  <c:v>38713</c:v>
                </c:pt>
                <c:pt idx="24089">
                  <c:v>38712</c:v>
                </c:pt>
                <c:pt idx="24090">
                  <c:v>38711</c:v>
                </c:pt>
                <c:pt idx="24091">
                  <c:v>38711</c:v>
                </c:pt>
                <c:pt idx="24092">
                  <c:v>38711</c:v>
                </c:pt>
                <c:pt idx="24093">
                  <c:v>38711</c:v>
                </c:pt>
                <c:pt idx="24094">
                  <c:v>38710</c:v>
                </c:pt>
                <c:pt idx="24095">
                  <c:v>38710</c:v>
                </c:pt>
                <c:pt idx="24096">
                  <c:v>38709</c:v>
                </c:pt>
                <c:pt idx="24097">
                  <c:v>38709</c:v>
                </c:pt>
                <c:pt idx="24098">
                  <c:v>38708</c:v>
                </c:pt>
                <c:pt idx="24099">
                  <c:v>38705</c:v>
                </c:pt>
                <c:pt idx="24100">
                  <c:v>38705</c:v>
                </c:pt>
                <c:pt idx="24101">
                  <c:v>38705</c:v>
                </c:pt>
                <c:pt idx="24102">
                  <c:v>38705</c:v>
                </c:pt>
                <c:pt idx="24103">
                  <c:v>38704</c:v>
                </c:pt>
                <c:pt idx="24104">
                  <c:v>38703</c:v>
                </c:pt>
                <c:pt idx="24105">
                  <c:v>38703</c:v>
                </c:pt>
                <c:pt idx="24106">
                  <c:v>38702</c:v>
                </c:pt>
                <c:pt idx="24107">
                  <c:v>38702</c:v>
                </c:pt>
                <c:pt idx="24108">
                  <c:v>38702</c:v>
                </c:pt>
                <c:pt idx="24109">
                  <c:v>38702</c:v>
                </c:pt>
                <c:pt idx="24110">
                  <c:v>38701</c:v>
                </c:pt>
                <c:pt idx="24111">
                  <c:v>38701</c:v>
                </c:pt>
                <c:pt idx="24112">
                  <c:v>38700</c:v>
                </c:pt>
                <c:pt idx="24113">
                  <c:v>38700</c:v>
                </c:pt>
                <c:pt idx="24114">
                  <c:v>38698</c:v>
                </c:pt>
                <c:pt idx="24115">
                  <c:v>38698</c:v>
                </c:pt>
                <c:pt idx="24116">
                  <c:v>38698</c:v>
                </c:pt>
                <c:pt idx="24117">
                  <c:v>38696</c:v>
                </c:pt>
                <c:pt idx="24118">
                  <c:v>38694</c:v>
                </c:pt>
                <c:pt idx="24119">
                  <c:v>38693</c:v>
                </c:pt>
                <c:pt idx="24120">
                  <c:v>38691</c:v>
                </c:pt>
                <c:pt idx="24121">
                  <c:v>38689</c:v>
                </c:pt>
                <c:pt idx="24122">
                  <c:v>38689</c:v>
                </c:pt>
                <c:pt idx="24123">
                  <c:v>38688</c:v>
                </c:pt>
                <c:pt idx="24124">
                  <c:v>38688</c:v>
                </c:pt>
                <c:pt idx="24125">
                  <c:v>38688</c:v>
                </c:pt>
                <c:pt idx="24126">
                  <c:v>38687</c:v>
                </c:pt>
                <c:pt idx="24127">
                  <c:v>38686</c:v>
                </c:pt>
                <c:pt idx="24128">
                  <c:v>38686</c:v>
                </c:pt>
                <c:pt idx="24129">
                  <c:v>38684</c:v>
                </c:pt>
                <c:pt idx="24130">
                  <c:v>38681</c:v>
                </c:pt>
                <c:pt idx="24131">
                  <c:v>38680</c:v>
                </c:pt>
                <c:pt idx="24132">
                  <c:v>38677</c:v>
                </c:pt>
                <c:pt idx="24133">
                  <c:v>38677</c:v>
                </c:pt>
                <c:pt idx="24134">
                  <c:v>38677</c:v>
                </c:pt>
                <c:pt idx="24135">
                  <c:v>38677</c:v>
                </c:pt>
                <c:pt idx="24136">
                  <c:v>38675</c:v>
                </c:pt>
                <c:pt idx="24137">
                  <c:v>38673</c:v>
                </c:pt>
                <c:pt idx="24138">
                  <c:v>38673</c:v>
                </c:pt>
                <c:pt idx="24139">
                  <c:v>38673</c:v>
                </c:pt>
                <c:pt idx="24140">
                  <c:v>38671</c:v>
                </c:pt>
                <c:pt idx="24141">
                  <c:v>38670</c:v>
                </c:pt>
                <c:pt idx="24142">
                  <c:v>38669</c:v>
                </c:pt>
                <c:pt idx="24143">
                  <c:v>38668</c:v>
                </c:pt>
                <c:pt idx="24144">
                  <c:v>38667</c:v>
                </c:pt>
                <c:pt idx="24145">
                  <c:v>38667</c:v>
                </c:pt>
                <c:pt idx="24146">
                  <c:v>38666</c:v>
                </c:pt>
                <c:pt idx="24147">
                  <c:v>38666</c:v>
                </c:pt>
                <c:pt idx="24148">
                  <c:v>38666</c:v>
                </c:pt>
                <c:pt idx="24149">
                  <c:v>38665</c:v>
                </c:pt>
                <c:pt idx="24150">
                  <c:v>38663</c:v>
                </c:pt>
                <c:pt idx="24151">
                  <c:v>38662</c:v>
                </c:pt>
                <c:pt idx="24152">
                  <c:v>38662</c:v>
                </c:pt>
                <c:pt idx="24153">
                  <c:v>38662</c:v>
                </c:pt>
                <c:pt idx="24154">
                  <c:v>38662</c:v>
                </c:pt>
                <c:pt idx="24155">
                  <c:v>38660</c:v>
                </c:pt>
                <c:pt idx="24156">
                  <c:v>38659</c:v>
                </c:pt>
                <c:pt idx="24157">
                  <c:v>38659</c:v>
                </c:pt>
                <c:pt idx="24158">
                  <c:v>38657</c:v>
                </c:pt>
                <c:pt idx="24159">
                  <c:v>38656</c:v>
                </c:pt>
                <c:pt idx="24160">
                  <c:v>38655</c:v>
                </c:pt>
                <c:pt idx="24161">
                  <c:v>38655</c:v>
                </c:pt>
                <c:pt idx="24162">
                  <c:v>38655</c:v>
                </c:pt>
                <c:pt idx="24163">
                  <c:v>38655</c:v>
                </c:pt>
                <c:pt idx="24164">
                  <c:v>38655</c:v>
                </c:pt>
                <c:pt idx="24165">
                  <c:v>38653</c:v>
                </c:pt>
                <c:pt idx="24166">
                  <c:v>38653</c:v>
                </c:pt>
                <c:pt idx="24167">
                  <c:v>38653</c:v>
                </c:pt>
                <c:pt idx="24168">
                  <c:v>38652</c:v>
                </c:pt>
                <c:pt idx="24169">
                  <c:v>38652</c:v>
                </c:pt>
                <c:pt idx="24170">
                  <c:v>38651</c:v>
                </c:pt>
                <c:pt idx="24171">
                  <c:v>38650</c:v>
                </c:pt>
                <c:pt idx="24172">
                  <c:v>38650</c:v>
                </c:pt>
                <c:pt idx="24173">
                  <c:v>38649</c:v>
                </c:pt>
                <c:pt idx="24174">
                  <c:v>38648</c:v>
                </c:pt>
                <c:pt idx="24175">
                  <c:v>38647</c:v>
                </c:pt>
                <c:pt idx="24176">
                  <c:v>38646</c:v>
                </c:pt>
                <c:pt idx="24177">
                  <c:v>38646</c:v>
                </c:pt>
                <c:pt idx="24178">
                  <c:v>38645</c:v>
                </c:pt>
                <c:pt idx="24179">
                  <c:v>38643</c:v>
                </c:pt>
                <c:pt idx="24180">
                  <c:v>38643</c:v>
                </c:pt>
                <c:pt idx="24181">
                  <c:v>38642</c:v>
                </c:pt>
                <c:pt idx="24182">
                  <c:v>38642</c:v>
                </c:pt>
                <c:pt idx="24183">
                  <c:v>38642</c:v>
                </c:pt>
                <c:pt idx="24184">
                  <c:v>38641</c:v>
                </c:pt>
                <c:pt idx="24185">
                  <c:v>38640</c:v>
                </c:pt>
                <c:pt idx="24186">
                  <c:v>38638</c:v>
                </c:pt>
                <c:pt idx="24187">
                  <c:v>38637</c:v>
                </c:pt>
                <c:pt idx="24188">
                  <c:v>38637</c:v>
                </c:pt>
                <c:pt idx="24189">
                  <c:v>38637</c:v>
                </c:pt>
                <c:pt idx="24190">
                  <c:v>38636</c:v>
                </c:pt>
                <c:pt idx="24191">
                  <c:v>38635</c:v>
                </c:pt>
                <c:pt idx="24192">
                  <c:v>38635</c:v>
                </c:pt>
                <c:pt idx="24193">
                  <c:v>38635</c:v>
                </c:pt>
                <c:pt idx="24194">
                  <c:v>38633</c:v>
                </c:pt>
                <c:pt idx="24195">
                  <c:v>38632</c:v>
                </c:pt>
                <c:pt idx="24196">
                  <c:v>38631</c:v>
                </c:pt>
                <c:pt idx="24197">
                  <c:v>38631</c:v>
                </c:pt>
                <c:pt idx="24198">
                  <c:v>38629</c:v>
                </c:pt>
                <c:pt idx="24199">
                  <c:v>38628</c:v>
                </c:pt>
                <c:pt idx="24200">
                  <c:v>38627</c:v>
                </c:pt>
                <c:pt idx="24201">
                  <c:v>38625</c:v>
                </c:pt>
                <c:pt idx="24202">
                  <c:v>38625</c:v>
                </c:pt>
                <c:pt idx="24203">
                  <c:v>38623</c:v>
                </c:pt>
                <c:pt idx="24204">
                  <c:v>38623</c:v>
                </c:pt>
                <c:pt idx="24205">
                  <c:v>38623</c:v>
                </c:pt>
                <c:pt idx="24206">
                  <c:v>38622</c:v>
                </c:pt>
                <c:pt idx="24207">
                  <c:v>38621</c:v>
                </c:pt>
                <c:pt idx="24208">
                  <c:v>38621</c:v>
                </c:pt>
                <c:pt idx="24209">
                  <c:v>38621</c:v>
                </c:pt>
                <c:pt idx="24210">
                  <c:v>38621</c:v>
                </c:pt>
                <c:pt idx="24211">
                  <c:v>38620</c:v>
                </c:pt>
                <c:pt idx="24212">
                  <c:v>38620</c:v>
                </c:pt>
                <c:pt idx="24213">
                  <c:v>38620</c:v>
                </c:pt>
                <c:pt idx="24214">
                  <c:v>38619</c:v>
                </c:pt>
                <c:pt idx="24215">
                  <c:v>38619</c:v>
                </c:pt>
                <c:pt idx="24216">
                  <c:v>38618</c:v>
                </c:pt>
                <c:pt idx="24217">
                  <c:v>38618</c:v>
                </c:pt>
                <c:pt idx="24218">
                  <c:v>38618</c:v>
                </c:pt>
                <c:pt idx="24219">
                  <c:v>38616</c:v>
                </c:pt>
                <c:pt idx="24220">
                  <c:v>38616</c:v>
                </c:pt>
                <c:pt idx="24221">
                  <c:v>38615</c:v>
                </c:pt>
                <c:pt idx="24222">
                  <c:v>38615</c:v>
                </c:pt>
                <c:pt idx="24223">
                  <c:v>38615</c:v>
                </c:pt>
                <c:pt idx="24224">
                  <c:v>38614</c:v>
                </c:pt>
                <c:pt idx="24225">
                  <c:v>38614</c:v>
                </c:pt>
                <c:pt idx="24226">
                  <c:v>38613</c:v>
                </c:pt>
                <c:pt idx="24227">
                  <c:v>38610</c:v>
                </c:pt>
                <c:pt idx="24228">
                  <c:v>38610</c:v>
                </c:pt>
                <c:pt idx="24229">
                  <c:v>38610</c:v>
                </c:pt>
                <c:pt idx="24230">
                  <c:v>38609</c:v>
                </c:pt>
                <c:pt idx="24231">
                  <c:v>38609</c:v>
                </c:pt>
                <c:pt idx="24232">
                  <c:v>38608</c:v>
                </c:pt>
                <c:pt idx="24233">
                  <c:v>38608</c:v>
                </c:pt>
                <c:pt idx="24234">
                  <c:v>38608</c:v>
                </c:pt>
                <c:pt idx="24235">
                  <c:v>38608</c:v>
                </c:pt>
                <c:pt idx="24236">
                  <c:v>38607</c:v>
                </c:pt>
                <c:pt idx="24237">
                  <c:v>38607</c:v>
                </c:pt>
                <c:pt idx="24238">
                  <c:v>38606</c:v>
                </c:pt>
                <c:pt idx="24239">
                  <c:v>38606</c:v>
                </c:pt>
                <c:pt idx="24240">
                  <c:v>38606</c:v>
                </c:pt>
                <c:pt idx="24241">
                  <c:v>38605</c:v>
                </c:pt>
                <c:pt idx="24242">
                  <c:v>38604</c:v>
                </c:pt>
                <c:pt idx="24243">
                  <c:v>38602</c:v>
                </c:pt>
                <c:pt idx="24244">
                  <c:v>38602</c:v>
                </c:pt>
                <c:pt idx="24245">
                  <c:v>38601</c:v>
                </c:pt>
                <c:pt idx="24246">
                  <c:v>38601</c:v>
                </c:pt>
                <c:pt idx="24247">
                  <c:v>38600</c:v>
                </c:pt>
                <c:pt idx="24248">
                  <c:v>38600</c:v>
                </c:pt>
                <c:pt idx="24249">
                  <c:v>38598</c:v>
                </c:pt>
                <c:pt idx="24250">
                  <c:v>38597</c:v>
                </c:pt>
                <c:pt idx="24251">
                  <c:v>38597</c:v>
                </c:pt>
                <c:pt idx="24252">
                  <c:v>38597</c:v>
                </c:pt>
                <c:pt idx="24253">
                  <c:v>38593</c:v>
                </c:pt>
                <c:pt idx="24254">
                  <c:v>38593</c:v>
                </c:pt>
                <c:pt idx="24255">
                  <c:v>38593</c:v>
                </c:pt>
                <c:pt idx="24256">
                  <c:v>38593</c:v>
                </c:pt>
                <c:pt idx="24257">
                  <c:v>38592</c:v>
                </c:pt>
                <c:pt idx="24258">
                  <c:v>38589</c:v>
                </c:pt>
                <c:pt idx="24259">
                  <c:v>38588</c:v>
                </c:pt>
                <c:pt idx="24260">
                  <c:v>38588</c:v>
                </c:pt>
                <c:pt idx="24261">
                  <c:v>38587</c:v>
                </c:pt>
                <c:pt idx="24262">
                  <c:v>38586</c:v>
                </c:pt>
                <c:pt idx="24263">
                  <c:v>38586</c:v>
                </c:pt>
                <c:pt idx="24264">
                  <c:v>38586</c:v>
                </c:pt>
                <c:pt idx="24265">
                  <c:v>38586</c:v>
                </c:pt>
                <c:pt idx="24266">
                  <c:v>38585</c:v>
                </c:pt>
                <c:pt idx="24267">
                  <c:v>38584</c:v>
                </c:pt>
                <c:pt idx="24268">
                  <c:v>38584</c:v>
                </c:pt>
                <c:pt idx="24269">
                  <c:v>38580</c:v>
                </c:pt>
                <c:pt idx="24270">
                  <c:v>38580</c:v>
                </c:pt>
                <c:pt idx="24271">
                  <c:v>38580</c:v>
                </c:pt>
                <c:pt idx="24272">
                  <c:v>38580</c:v>
                </c:pt>
                <c:pt idx="24273">
                  <c:v>38579</c:v>
                </c:pt>
                <c:pt idx="24274">
                  <c:v>38579</c:v>
                </c:pt>
                <c:pt idx="24275">
                  <c:v>38578</c:v>
                </c:pt>
                <c:pt idx="24276">
                  <c:v>38577</c:v>
                </c:pt>
                <c:pt idx="24277">
                  <c:v>38577</c:v>
                </c:pt>
                <c:pt idx="24278">
                  <c:v>38575</c:v>
                </c:pt>
                <c:pt idx="24279">
                  <c:v>38574</c:v>
                </c:pt>
                <c:pt idx="24280">
                  <c:v>38574</c:v>
                </c:pt>
                <c:pt idx="24281">
                  <c:v>38574</c:v>
                </c:pt>
                <c:pt idx="24282">
                  <c:v>38573</c:v>
                </c:pt>
                <c:pt idx="24283">
                  <c:v>38573</c:v>
                </c:pt>
                <c:pt idx="24284">
                  <c:v>38571</c:v>
                </c:pt>
                <c:pt idx="24285">
                  <c:v>38571</c:v>
                </c:pt>
                <c:pt idx="24286">
                  <c:v>38570</c:v>
                </c:pt>
                <c:pt idx="24287">
                  <c:v>38569</c:v>
                </c:pt>
                <c:pt idx="24288">
                  <c:v>38569</c:v>
                </c:pt>
                <c:pt idx="24289">
                  <c:v>38569</c:v>
                </c:pt>
                <c:pt idx="24290">
                  <c:v>38569</c:v>
                </c:pt>
                <c:pt idx="24291">
                  <c:v>38568</c:v>
                </c:pt>
                <c:pt idx="24292">
                  <c:v>38568</c:v>
                </c:pt>
                <c:pt idx="24293">
                  <c:v>38567</c:v>
                </c:pt>
                <c:pt idx="24294">
                  <c:v>38567</c:v>
                </c:pt>
                <c:pt idx="24295">
                  <c:v>38566</c:v>
                </c:pt>
                <c:pt idx="24296">
                  <c:v>38565</c:v>
                </c:pt>
                <c:pt idx="24297">
                  <c:v>38564</c:v>
                </c:pt>
                <c:pt idx="24298">
                  <c:v>38564</c:v>
                </c:pt>
                <c:pt idx="24299">
                  <c:v>38564</c:v>
                </c:pt>
                <c:pt idx="24300">
                  <c:v>38564</c:v>
                </c:pt>
                <c:pt idx="24301">
                  <c:v>38563</c:v>
                </c:pt>
                <c:pt idx="24302">
                  <c:v>38563</c:v>
                </c:pt>
                <c:pt idx="24303">
                  <c:v>38562</c:v>
                </c:pt>
                <c:pt idx="24304">
                  <c:v>38562</c:v>
                </c:pt>
                <c:pt idx="24305">
                  <c:v>38560</c:v>
                </c:pt>
                <c:pt idx="24306">
                  <c:v>38559</c:v>
                </c:pt>
                <c:pt idx="24307">
                  <c:v>38559</c:v>
                </c:pt>
                <c:pt idx="24308">
                  <c:v>38559</c:v>
                </c:pt>
                <c:pt idx="24309">
                  <c:v>38558</c:v>
                </c:pt>
                <c:pt idx="24310">
                  <c:v>38558</c:v>
                </c:pt>
                <c:pt idx="24311">
                  <c:v>38557</c:v>
                </c:pt>
                <c:pt idx="24312">
                  <c:v>38557</c:v>
                </c:pt>
                <c:pt idx="24313">
                  <c:v>38555</c:v>
                </c:pt>
                <c:pt idx="24314">
                  <c:v>38555</c:v>
                </c:pt>
                <c:pt idx="24315">
                  <c:v>38554</c:v>
                </c:pt>
                <c:pt idx="24316">
                  <c:v>38554</c:v>
                </c:pt>
                <c:pt idx="24317">
                  <c:v>38553</c:v>
                </c:pt>
                <c:pt idx="24318">
                  <c:v>38553</c:v>
                </c:pt>
                <c:pt idx="24319">
                  <c:v>38552</c:v>
                </c:pt>
                <c:pt idx="24320">
                  <c:v>38552</c:v>
                </c:pt>
                <c:pt idx="24321">
                  <c:v>38551</c:v>
                </c:pt>
                <c:pt idx="24322">
                  <c:v>38551</c:v>
                </c:pt>
                <c:pt idx="24323">
                  <c:v>38549</c:v>
                </c:pt>
                <c:pt idx="24324">
                  <c:v>38549</c:v>
                </c:pt>
                <c:pt idx="24325">
                  <c:v>38547</c:v>
                </c:pt>
                <c:pt idx="24326">
                  <c:v>38547</c:v>
                </c:pt>
                <c:pt idx="24327">
                  <c:v>38546</c:v>
                </c:pt>
                <c:pt idx="24328">
                  <c:v>38544</c:v>
                </c:pt>
                <c:pt idx="24329">
                  <c:v>38544</c:v>
                </c:pt>
                <c:pt idx="24330">
                  <c:v>38543</c:v>
                </c:pt>
                <c:pt idx="24331">
                  <c:v>38543</c:v>
                </c:pt>
                <c:pt idx="24332">
                  <c:v>38542</c:v>
                </c:pt>
                <c:pt idx="24333">
                  <c:v>38542</c:v>
                </c:pt>
                <c:pt idx="24334">
                  <c:v>38542</c:v>
                </c:pt>
                <c:pt idx="24335">
                  <c:v>38541</c:v>
                </c:pt>
                <c:pt idx="24336">
                  <c:v>38541</c:v>
                </c:pt>
                <c:pt idx="24337">
                  <c:v>38541</c:v>
                </c:pt>
                <c:pt idx="24338">
                  <c:v>38539</c:v>
                </c:pt>
                <c:pt idx="24339">
                  <c:v>38537</c:v>
                </c:pt>
                <c:pt idx="24340">
                  <c:v>38537</c:v>
                </c:pt>
                <c:pt idx="24341">
                  <c:v>38536</c:v>
                </c:pt>
                <c:pt idx="24342">
                  <c:v>38536</c:v>
                </c:pt>
                <c:pt idx="24343">
                  <c:v>38534</c:v>
                </c:pt>
                <c:pt idx="24344">
                  <c:v>38534</c:v>
                </c:pt>
                <c:pt idx="24345">
                  <c:v>38534</c:v>
                </c:pt>
                <c:pt idx="24346">
                  <c:v>38533</c:v>
                </c:pt>
                <c:pt idx="24347">
                  <c:v>38532</c:v>
                </c:pt>
                <c:pt idx="24348">
                  <c:v>38528</c:v>
                </c:pt>
                <c:pt idx="24349">
                  <c:v>38527</c:v>
                </c:pt>
                <c:pt idx="24350">
                  <c:v>38526</c:v>
                </c:pt>
                <c:pt idx="24351">
                  <c:v>38526</c:v>
                </c:pt>
                <c:pt idx="24352">
                  <c:v>38523</c:v>
                </c:pt>
                <c:pt idx="24353">
                  <c:v>38522</c:v>
                </c:pt>
                <c:pt idx="24354">
                  <c:v>38522</c:v>
                </c:pt>
                <c:pt idx="24355">
                  <c:v>38522</c:v>
                </c:pt>
                <c:pt idx="24356">
                  <c:v>38521</c:v>
                </c:pt>
                <c:pt idx="24357">
                  <c:v>38521</c:v>
                </c:pt>
                <c:pt idx="24358">
                  <c:v>38518</c:v>
                </c:pt>
                <c:pt idx="24359">
                  <c:v>38518</c:v>
                </c:pt>
                <c:pt idx="24360">
                  <c:v>38517</c:v>
                </c:pt>
                <c:pt idx="24361">
                  <c:v>38517</c:v>
                </c:pt>
                <c:pt idx="24362">
                  <c:v>38517</c:v>
                </c:pt>
                <c:pt idx="24363">
                  <c:v>38517</c:v>
                </c:pt>
                <c:pt idx="24364">
                  <c:v>38516</c:v>
                </c:pt>
                <c:pt idx="24365">
                  <c:v>38514</c:v>
                </c:pt>
                <c:pt idx="24366">
                  <c:v>38512</c:v>
                </c:pt>
                <c:pt idx="24367">
                  <c:v>38511</c:v>
                </c:pt>
                <c:pt idx="24368">
                  <c:v>38511</c:v>
                </c:pt>
                <c:pt idx="24369">
                  <c:v>38511</c:v>
                </c:pt>
                <c:pt idx="24370">
                  <c:v>38511</c:v>
                </c:pt>
                <c:pt idx="24371">
                  <c:v>38507</c:v>
                </c:pt>
                <c:pt idx="24372">
                  <c:v>38507</c:v>
                </c:pt>
                <c:pt idx="24373">
                  <c:v>38506</c:v>
                </c:pt>
                <c:pt idx="24374">
                  <c:v>38506</c:v>
                </c:pt>
                <c:pt idx="24375">
                  <c:v>38505</c:v>
                </c:pt>
                <c:pt idx="24376">
                  <c:v>38505</c:v>
                </c:pt>
                <c:pt idx="24377">
                  <c:v>38505</c:v>
                </c:pt>
                <c:pt idx="24378">
                  <c:v>38504</c:v>
                </c:pt>
                <c:pt idx="24379">
                  <c:v>38504</c:v>
                </c:pt>
                <c:pt idx="24380">
                  <c:v>38503</c:v>
                </c:pt>
                <c:pt idx="24381">
                  <c:v>38500</c:v>
                </c:pt>
                <c:pt idx="24382">
                  <c:v>38500</c:v>
                </c:pt>
                <c:pt idx="24383">
                  <c:v>38500</c:v>
                </c:pt>
                <c:pt idx="24384">
                  <c:v>38499</c:v>
                </c:pt>
                <c:pt idx="24385">
                  <c:v>38499</c:v>
                </c:pt>
                <c:pt idx="24386">
                  <c:v>38499</c:v>
                </c:pt>
                <c:pt idx="24387">
                  <c:v>38497</c:v>
                </c:pt>
                <c:pt idx="24388">
                  <c:v>38496</c:v>
                </c:pt>
                <c:pt idx="24389">
                  <c:v>38495</c:v>
                </c:pt>
                <c:pt idx="24390">
                  <c:v>38494</c:v>
                </c:pt>
                <c:pt idx="24391">
                  <c:v>38493</c:v>
                </c:pt>
                <c:pt idx="24392">
                  <c:v>38491</c:v>
                </c:pt>
                <c:pt idx="24393">
                  <c:v>38491</c:v>
                </c:pt>
                <c:pt idx="24394">
                  <c:v>38490</c:v>
                </c:pt>
                <c:pt idx="24395">
                  <c:v>38490</c:v>
                </c:pt>
                <c:pt idx="24396">
                  <c:v>38490</c:v>
                </c:pt>
                <c:pt idx="24397">
                  <c:v>38489</c:v>
                </c:pt>
                <c:pt idx="24398">
                  <c:v>38489</c:v>
                </c:pt>
                <c:pt idx="24399">
                  <c:v>38488</c:v>
                </c:pt>
                <c:pt idx="24400">
                  <c:v>38488</c:v>
                </c:pt>
                <c:pt idx="24401">
                  <c:v>38487</c:v>
                </c:pt>
                <c:pt idx="24402">
                  <c:v>38487</c:v>
                </c:pt>
                <c:pt idx="24403">
                  <c:v>38487</c:v>
                </c:pt>
                <c:pt idx="24404">
                  <c:v>38486</c:v>
                </c:pt>
                <c:pt idx="24405">
                  <c:v>38485</c:v>
                </c:pt>
                <c:pt idx="24406">
                  <c:v>38485</c:v>
                </c:pt>
                <c:pt idx="24407">
                  <c:v>38484</c:v>
                </c:pt>
                <c:pt idx="24408">
                  <c:v>38484</c:v>
                </c:pt>
                <c:pt idx="24409">
                  <c:v>38483</c:v>
                </c:pt>
                <c:pt idx="24410">
                  <c:v>38483</c:v>
                </c:pt>
                <c:pt idx="24411">
                  <c:v>38482</c:v>
                </c:pt>
                <c:pt idx="24412">
                  <c:v>38480</c:v>
                </c:pt>
                <c:pt idx="24413">
                  <c:v>38478</c:v>
                </c:pt>
                <c:pt idx="24414">
                  <c:v>38477</c:v>
                </c:pt>
                <c:pt idx="24415">
                  <c:v>38477</c:v>
                </c:pt>
                <c:pt idx="24416">
                  <c:v>38477</c:v>
                </c:pt>
                <c:pt idx="24417">
                  <c:v>38477</c:v>
                </c:pt>
                <c:pt idx="24418">
                  <c:v>38475</c:v>
                </c:pt>
                <c:pt idx="24419">
                  <c:v>38475</c:v>
                </c:pt>
                <c:pt idx="24420">
                  <c:v>38475</c:v>
                </c:pt>
                <c:pt idx="24421">
                  <c:v>38475</c:v>
                </c:pt>
                <c:pt idx="24422">
                  <c:v>38474</c:v>
                </c:pt>
                <c:pt idx="24423">
                  <c:v>38474</c:v>
                </c:pt>
                <c:pt idx="24424">
                  <c:v>38474</c:v>
                </c:pt>
                <c:pt idx="24425">
                  <c:v>38474</c:v>
                </c:pt>
                <c:pt idx="24426">
                  <c:v>38473</c:v>
                </c:pt>
                <c:pt idx="24427">
                  <c:v>38471</c:v>
                </c:pt>
                <c:pt idx="24428">
                  <c:v>38471</c:v>
                </c:pt>
                <c:pt idx="24429">
                  <c:v>38470</c:v>
                </c:pt>
                <c:pt idx="24430">
                  <c:v>38470</c:v>
                </c:pt>
                <c:pt idx="24431">
                  <c:v>38470</c:v>
                </c:pt>
                <c:pt idx="24432">
                  <c:v>38469</c:v>
                </c:pt>
                <c:pt idx="24433">
                  <c:v>38469</c:v>
                </c:pt>
                <c:pt idx="24434">
                  <c:v>38468</c:v>
                </c:pt>
                <c:pt idx="24435">
                  <c:v>38468</c:v>
                </c:pt>
                <c:pt idx="24436">
                  <c:v>38467</c:v>
                </c:pt>
                <c:pt idx="24437">
                  <c:v>38467</c:v>
                </c:pt>
                <c:pt idx="24438">
                  <c:v>38466</c:v>
                </c:pt>
                <c:pt idx="24439">
                  <c:v>38465</c:v>
                </c:pt>
                <c:pt idx="24440">
                  <c:v>38465</c:v>
                </c:pt>
                <c:pt idx="24441">
                  <c:v>38463</c:v>
                </c:pt>
                <c:pt idx="24442">
                  <c:v>38463</c:v>
                </c:pt>
                <c:pt idx="24443">
                  <c:v>38462</c:v>
                </c:pt>
                <c:pt idx="24444">
                  <c:v>38462</c:v>
                </c:pt>
                <c:pt idx="24445">
                  <c:v>38462</c:v>
                </c:pt>
                <c:pt idx="24446">
                  <c:v>38462</c:v>
                </c:pt>
                <c:pt idx="24447">
                  <c:v>38461</c:v>
                </c:pt>
                <c:pt idx="24448">
                  <c:v>38461</c:v>
                </c:pt>
                <c:pt idx="24449">
                  <c:v>38461</c:v>
                </c:pt>
                <c:pt idx="24450">
                  <c:v>38461</c:v>
                </c:pt>
                <c:pt idx="24451">
                  <c:v>38460</c:v>
                </c:pt>
                <c:pt idx="24452">
                  <c:v>38460</c:v>
                </c:pt>
                <c:pt idx="24453">
                  <c:v>38458</c:v>
                </c:pt>
                <c:pt idx="24454">
                  <c:v>38458</c:v>
                </c:pt>
                <c:pt idx="24455">
                  <c:v>38457</c:v>
                </c:pt>
                <c:pt idx="24456">
                  <c:v>38456</c:v>
                </c:pt>
                <c:pt idx="24457">
                  <c:v>38456</c:v>
                </c:pt>
                <c:pt idx="24458">
                  <c:v>38456</c:v>
                </c:pt>
                <c:pt idx="24459">
                  <c:v>38455</c:v>
                </c:pt>
                <c:pt idx="24460">
                  <c:v>38454</c:v>
                </c:pt>
                <c:pt idx="24461">
                  <c:v>38454</c:v>
                </c:pt>
                <c:pt idx="24462">
                  <c:v>38453</c:v>
                </c:pt>
                <c:pt idx="24463">
                  <c:v>38452</c:v>
                </c:pt>
                <c:pt idx="24464">
                  <c:v>38452</c:v>
                </c:pt>
                <c:pt idx="24465">
                  <c:v>38451</c:v>
                </c:pt>
                <c:pt idx="24466">
                  <c:v>38451</c:v>
                </c:pt>
                <c:pt idx="24467">
                  <c:v>38450</c:v>
                </c:pt>
                <c:pt idx="24468">
                  <c:v>38450</c:v>
                </c:pt>
                <c:pt idx="24469">
                  <c:v>38449</c:v>
                </c:pt>
                <c:pt idx="24470">
                  <c:v>38449</c:v>
                </c:pt>
                <c:pt idx="24471">
                  <c:v>38449</c:v>
                </c:pt>
                <c:pt idx="24472">
                  <c:v>38448</c:v>
                </c:pt>
                <c:pt idx="24473">
                  <c:v>38448</c:v>
                </c:pt>
                <c:pt idx="24474">
                  <c:v>38446</c:v>
                </c:pt>
                <c:pt idx="24475">
                  <c:v>38445</c:v>
                </c:pt>
                <c:pt idx="24476">
                  <c:v>38445</c:v>
                </c:pt>
                <c:pt idx="24477">
                  <c:v>38444</c:v>
                </c:pt>
                <c:pt idx="24478">
                  <c:v>38444</c:v>
                </c:pt>
                <c:pt idx="24479">
                  <c:v>38443</c:v>
                </c:pt>
                <c:pt idx="24480">
                  <c:v>38443</c:v>
                </c:pt>
                <c:pt idx="24481">
                  <c:v>38442</c:v>
                </c:pt>
                <c:pt idx="24482">
                  <c:v>38442</c:v>
                </c:pt>
                <c:pt idx="24483">
                  <c:v>38442</c:v>
                </c:pt>
                <c:pt idx="24484">
                  <c:v>38441</c:v>
                </c:pt>
                <c:pt idx="24485">
                  <c:v>38441</c:v>
                </c:pt>
                <c:pt idx="24486">
                  <c:v>38439</c:v>
                </c:pt>
                <c:pt idx="24487">
                  <c:v>38439</c:v>
                </c:pt>
                <c:pt idx="24488">
                  <c:v>38438</c:v>
                </c:pt>
                <c:pt idx="24489">
                  <c:v>38438</c:v>
                </c:pt>
                <c:pt idx="24490">
                  <c:v>38438</c:v>
                </c:pt>
                <c:pt idx="24491">
                  <c:v>38437</c:v>
                </c:pt>
                <c:pt idx="24492">
                  <c:v>38436</c:v>
                </c:pt>
                <c:pt idx="24493">
                  <c:v>38435</c:v>
                </c:pt>
                <c:pt idx="24494">
                  <c:v>38435</c:v>
                </c:pt>
                <c:pt idx="24495">
                  <c:v>38434</c:v>
                </c:pt>
                <c:pt idx="24496">
                  <c:v>38433</c:v>
                </c:pt>
                <c:pt idx="24497">
                  <c:v>38433</c:v>
                </c:pt>
                <c:pt idx="24498">
                  <c:v>38432</c:v>
                </c:pt>
                <c:pt idx="24499">
                  <c:v>38432</c:v>
                </c:pt>
                <c:pt idx="24500">
                  <c:v>38431</c:v>
                </c:pt>
                <c:pt idx="24501">
                  <c:v>38431</c:v>
                </c:pt>
                <c:pt idx="24502">
                  <c:v>38431</c:v>
                </c:pt>
                <c:pt idx="24503">
                  <c:v>38431</c:v>
                </c:pt>
                <c:pt idx="24504">
                  <c:v>38431</c:v>
                </c:pt>
                <c:pt idx="24505">
                  <c:v>38431</c:v>
                </c:pt>
                <c:pt idx="24506">
                  <c:v>38430</c:v>
                </c:pt>
                <c:pt idx="24507">
                  <c:v>38429</c:v>
                </c:pt>
                <c:pt idx="24508">
                  <c:v>38428</c:v>
                </c:pt>
                <c:pt idx="24509">
                  <c:v>38428</c:v>
                </c:pt>
                <c:pt idx="24510">
                  <c:v>38427</c:v>
                </c:pt>
                <c:pt idx="24511">
                  <c:v>38427</c:v>
                </c:pt>
                <c:pt idx="24512">
                  <c:v>38427</c:v>
                </c:pt>
                <c:pt idx="24513">
                  <c:v>38427</c:v>
                </c:pt>
                <c:pt idx="24514">
                  <c:v>38425</c:v>
                </c:pt>
                <c:pt idx="24515">
                  <c:v>38425</c:v>
                </c:pt>
                <c:pt idx="24516">
                  <c:v>38424</c:v>
                </c:pt>
                <c:pt idx="24517">
                  <c:v>38423</c:v>
                </c:pt>
                <c:pt idx="24518">
                  <c:v>38423</c:v>
                </c:pt>
                <c:pt idx="24519">
                  <c:v>38422</c:v>
                </c:pt>
                <c:pt idx="24520">
                  <c:v>38421</c:v>
                </c:pt>
                <c:pt idx="24521">
                  <c:v>38420</c:v>
                </c:pt>
                <c:pt idx="24522">
                  <c:v>38420</c:v>
                </c:pt>
                <c:pt idx="24523">
                  <c:v>38420</c:v>
                </c:pt>
                <c:pt idx="24524">
                  <c:v>38418</c:v>
                </c:pt>
                <c:pt idx="24525">
                  <c:v>38418</c:v>
                </c:pt>
                <c:pt idx="24526">
                  <c:v>38417</c:v>
                </c:pt>
                <c:pt idx="24527">
                  <c:v>38417</c:v>
                </c:pt>
                <c:pt idx="24528">
                  <c:v>38416</c:v>
                </c:pt>
                <c:pt idx="24529">
                  <c:v>38416</c:v>
                </c:pt>
                <c:pt idx="24530">
                  <c:v>38416</c:v>
                </c:pt>
                <c:pt idx="24531">
                  <c:v>38416</c:v>
                </c:pt>
                <c:pt idx="24532">
                  <c:v>38415</c:v>
                </c:pt>
                <c:pt idx="24533">
                  <c:v>38414</c:v>
                </c:pt>
                <c:pt idx="24534">
                  <c:v>38413</c:v>
                </c:pt>
                <c:pt idx="24535">
                  <c:v>38413</c:v>
                </c:pt>
                <c:pt idx="24536">
                  <c:v>38412</c:v>
                </c:pt>
                <c:pt idx="24537">
                  <c:v>38411</c:v>
                </c:pt>
                <c:pt idx="24538">
                  <c:v>38410</c:v>
                </c:pt>
                <c:pt idx="24539">
                  <c:v>38410</c:v>
                </c:pt>
                <c:pt idx="24540">
                  <c:v>38409</c:v>
                </c:pt>
                <c:pt idx="24541">
                  <c:v>38409</c:v>
                </c:pt>
                <c:pt idx="24542">
                  <c:v>38409</c:v>
                </c:pt>
                <c:pt idx="24543">
                  <c:v>38407</c:v>
                </c:pt>
                <c:pt idx="24544">
                  <c:v>38407</c:v>
                </c:pt>
                <c:pt idx="24545">
                  <c:v>38406</c:v>
                </c:pt>
                <c:pt idx="24546">
                  <c:v>38406</c:v>
                </c:pt>
                <c:pt idx="24547">
                  <c:v>38406</c:v>
                </c:pt>
                <c:pt idx="24548">
                  <c:v>38406</c:v>
                </c:pt>
                <c:pt idx="24549">
                  <c:v>38405</c:v>
                </c:pt>
                <c:pt idx="24550">
                  <c:v>38405</c:v>
                </c:pt>
                <c:pt idx="24551">
                  <c:v>38405</c:v>
                </c:pt>
                <c:pt idx="24552">
                  <c:v>38404</c:v>
                </c:pt>
                <c:pt idx="24553">
                  <c:v>38404</c:v>
                </c:pt>
                <c:pt idx="24554">
                  <c:v>38402</c:v>
                </c:pt>
                <c:pt idx="24555">
                  <c:v>38402</c:v>
                </c:pt>
                <c:pt idx="24556">
                  <c:v>38401</c:v>
                </c:pt>
                <c:pt idx="24557">
                  <c:v>38400</c:v>
                </c:pt>
                <c:pt idx="24558">
                  <c:v>38400</c:v>
                </c:pt>
                <c:pt idx="24559">
                  <c:v>38399</c:v>
                </c:pt>
                <c:pt idx="24560">
                  <c:v>38399</c:v>
                </c:pt>
                <c:pt idx="24561">
                  <c:v>38399</c:v>
                </c:pt>
                <c:pt idx="24562">
                  <c:v>38398</c:v>
                </c:pt>
                <c:pt idx="24563">
                  <c:v>38396</c:v>
                </c:pt>
                <c:pt idx="24564">
                  <c:v>38395</c:v>
                </c:pt>
                <c:pt idx="24565">
                  <c:v>38395</c:v>
                </c:pt>
                <c:pt idx="24566">
                  <c:v>38394</c:v>
                </c:pt>
                <c:pt idx="24567">
                  <c:v>38394</c:v>
                </c:pt>
                <c:pt idx="24568">
                  <c:v>38394</c:v>
                </c:pt>
                <c:pt idx="24569">
                  <c:v>38394</c:v>
                </c:pt>
                <c:pt idx="24570">
                  <c:v>38393</c:v>
                </c:pt>
                <c:pt idx="24571">
                  <c:v>38392</c:v>
                </c:pt>
                <c:pt idx="24572">
                  <c:v>38391</c:v>
                </c:pt>
                <c:pt idx="24573">
                  <c:v>38391</c:v>
                </c:pt>
                <c:pt idx="24574">
                  <c:v>38390</c:v>
                </c:pt>
                <c:pt idx="24575">
                  <c:v>38390</c:v>
                </c:pt>
                <c:pt idx="24576">
                  <c:v>38390</c:v>
                </c:pt>
                <c:pt idx="24577">
                  <c:v>38388</c:v>
                </c:pt>
                <c:pt idx="24578">
                  <c:v>38388</c:v>
                </c:pt>
                <c:pt idx="24579">
                  <c:v>38387</c:v>
                </c:pt>
                <c:pt idx="24580">
                  <c:v>38387</c:v>
                </c:pt>
                <c:pt idx="24581">
                  <c:v>38387</c:v>
                </c:pt>
                <c:pt idx="24582">
                  <c:v>38387</c:v>
                </c:pt>
                <c:pt idx="24583">
                  <c:v>38385</c:v>
                </c:pt>
                <c:pt idx="24584">
                  <c:v>38385</c:v>
                </c:pt>
                <c:pt idx="24585">
                  <c:v>38383</c:v>
                </c:pt>
                <c:pt idx="24586">
                  <c:v>38383</c:v>
                </c:pt>
                <c:pt idx="24587">
                  <c:v>38382</c:v>
                </c:pt>
                <c:pt idx="24588">
                  <c:v>38381</c:v>
                </c:pt>
                <c:pt idx="24589">
                  <c:v>38381</c:v>
                </c:pt>
                <c:pt idx="24590">
                  <c:v>38381</c:v>
                </c:pt>
                <c:pt idx="24591">
                  <c:v>38380</c:v>
                </c:pt>
                <c:pt idx="24592">
                  <c:v>38379</c:v>
                </c:pt>
                <c:pt idx="24593">
                  <c:v>38378</c:v>
                </c:pt>
                <c:pt idx="24594">
                  <c:v>38378</c:v>
                </c:pt>
                <c:pt idx="24595">
                  <c:v>38378</c:v>
                </c:pt>
                <c:pt idx="24596">
                  <c:v>38378</c:v>
                </c:pt>
                <c:pt idx="24597">
                  <c:v>38375</c:v>
                </c:pt>
                <c:pt idx="24598">
                  <c:v>38374</c:v>
                </c:pt>
                <c:pt idx="24599">
                  <c:v>38372</c:v>
                </c:pt>
                <c:pt idx="24600">
                  <c:v>38372</c:v>
                </c:pt>
                <c:pt idx="24601">
                  <c:v>38371</c:v>
                </c:pt>
                <c:pt idx="24602">
                  <c:v>38371</c:v>
                </c:pt>
                <c:pt idx="24603">
                  <c:v>38370</c:v>
                </c:pt>
                <c:pt idx="24604">
                  <c:v>38369</c:v>
                </c:pt>
                <c:pt idx="24605">
                  <c:v>38369</c:v>
                </c:pt>
                <c:pt idx="24606">
                  <c:v>38368</c:v>
                </c:pt>
                <c:pt idx="24607">
                  <c:v>38368</c:v>
                </c:pt>
                <c:pt idx="24608">
                  <c:v>38368</c:v>
                </c:pt>
                <c:pt idx="24609">
                  <c:v>38368</c:v>
                </c:pt>
                <c:pt idx="24610">
                  <c:v>38368</c:v>
                </c:pt>
                <c:pt idx="24611">
                  <c:v>38368</c:v>
                </c:pt>
                <c:pt idx="24612">
                  <c:v>38367</c:v>
                </c:pt>
                <c:pt idx="24613">
                  <c:v>38367</c:v>
                </c:pt>
                <c:pt idx="24614">
                  <c:v>38366</c:v>
                </c:pt>
                <c:pt idx="24615">
                  <c:v>38366</c:v>
                </c:pt>
                <c:pt idx="24616">
                  <c:v>38365</c:v>
                </c:pt>
                <c:pt idx="24617">
                  <c:v>38365</c:v>
                </c:pt>
                <c:pt idx="24618">
                  <c:v>38365</c:v>
                </c:pt>
                <c:pt idx="24619">
                  <c:v>38365</c:v>
                </c:pt>
                <c:pt idx="24620">
                  <c:v>38364</c:v>
                </c:pt>
                <c:pt idx="24621">
                  <c:v>38364</c:v>
                </c:pt>
                <c:pt idx="24622">
                  <c:v>38363</c:v>
                </c:pt>
                <c:pt idx="24623">
                  <c:v>38362</c:v>
                </c:pt>
                <c:pt idx="24624">
                  <c:v>38362</c:v>
                </c:pt>
                <c:pt idx="24625">
                  <c:v>38361</c:v>
                </c:pt>
                <c:pt idx="24626">
                  <c:v>38360</c:v>
                </c:pt>
                <c:pt idx="24627">
                  <c:v>38360</c:v>
                </c:pt>
                <c:pt idx="24628">
                  <c:v>38360</c:v>
                </c:pt>
                <c:pt idx="24629">
                  <c:v>38359</c:v>
                </c:pt>
                <c:pt idx="24630">
                  <c:v>38358</c:v>
                </c:pt>
                <c:pt idx="24631">
                  <c:v>38358</c:v>
                </c:pt>
                <c:pt idx="24632">
                  <c:v>38358</c:v>
                </c:pt>
                <c:pt idx="24633">
                  <c:v>38357</c:v>
                </c:pt>
                <c:pt idx="24634">
                  <c:v>38357</c:v>
                </c:pt>
                <c:pt idx="24635">
                  <c:v>38356</c:v>
                </c:pt>
                <c:pt idx="24636">
                  <c:v>38356</c:v>
                </c:pt>
                <c:pt idx="24637">
                  <c:v>38355</c:v>
                </c:pt>
                <c:pt idx="24638">
                  <c:v>38355</c:v>
                </c:pt>
                <c:pt idx="24639">
                  <c:v>38353</c:v>
                </c:pt>
                <c:pt idx="24640">
                  <c:v>38353</c:v>
                </c:pt>
                <c:pt idx="24641">
                  <c:v>38352</c:v>
                </c:pt>
                <c:pt idx="24642">
                  <c:v>38352</c:v>
                </c:pt>
                <c:pt idx="24643">
                  <c:v>38349</c:v>
                </c:pt>
                <c:pt idx="24644">
                  <c:v>38349</c:v>
                </c:pt>
                <c:pt idx="24645">
                  <c:v>38348</c:v>
                </c:pt>
                <c:pt idx="24646">
                  <c:v>38348</c:v>
                </c:pt>
                <c:pt idx="24647">
                  <c:v>38347</c:v>
                </c:pt>
                <c:pt idx="24648">
                  <c:v>38347</c:v>
                </c:pt>
                <c:pt idx="24649">
                  <c:v>38347</c:v>
                </c:pt>
                <c:pt idx="24650">
                  <c:v>38347</c:v>
                </c:pt>
                <c:pt idx="24651">
                  <c:v>38347</c:v>
                </c:pt>
                <c:pt idx="24652">
                  <c:v>38346</c:v>
                </c:pt>
                <c:pt idx="24653">
                  <c:v>38345</c:v>
                </c:pt>
                <c:pt idx="24654">
                  <c:v>38345</c:v>
                </c:pt>
                <c:pt idx="24655">
                  <c:v>38344</c:v>
                </c:pt>
                <c:pt idx="24656">
                  <c:v>38344</c:v>
                </c:pt>
                <c:pt idx="24657">
                  <c:v>38344</c:v>
                </c:pt>
                <c:pt idx="24658">
                  <c:v>38343</c:v>
                </c:pt>
                <c:pt idx="24659">
                  <c:v>38343</c:v>
                </c:pt>
                <c:pt idx="24660">
                  <c:v>38343</c:v>
                </c:pt>
                <c:pt idx="24661">
                  <c:v>38341</c:v>
                </c:pt>
                <c:pt idx="24662">
                  <c:v>38340</c:v>
                </c:pt>
                <c:pt idx="24663">
                  <c:v>38338</c:v>
                </c:pt>
                <c:pt idx="24664">
                  <c:v>38338</c:v>
                </c:pt>
                <c:pt idx="24665">
                  <c:v>38338</c:v>
                </c:pt>
                <c:pt idx="24666">
                  <c:v>38337</c:v>
                </c:pt>
                <c:pt idx="24667">
                  <c:v>38337</c:v>
                </c:pt>
                <c:pt idx="24668">
                  <c:v>38336</c:v>
                </c:pt>
                <c:pt idx="24669">
                  <c:v>38335</c:v>
                </c:pt>
                <c:pt idx="24670">
                  <c:v>38335</c:v>
                </c:pt>
                <c:pt idx="24671">
                  <c:v>38335</c:v>
                </c:pt>
                <c:pt idx="24672">
                  <c:v>38335</c:v>
                </c:pt>
                <c:pt idx="24673">
                  <c:v>38335</c:v>
                </c:pt>
                <c:pt idx="24674">
                  <c:v>38335</c:v>
                </c:pt>
                <c:pt idx="24675">
                  <c:v>38333</c:v>
                </c:pt>
                <c:pt idx="24676">
                  <c:v>38332</c:v>
                </c:pt>
                <c:pt idx="24677">
                  <c:v>38332</c:v>
                </c:pt>
                <c:pt idx="24678">
                  <c:v>38331</c:v>
                </c:pt>
                <c:pt idx="24679">
                  <c:v>38331</c:v>
                </c:pt>
                <c:pt idx="24680">
                  <c:v>38329</c:v>
                </c:pt>
                <c:pt idx="24681">
                  <c:v>38328</c:v>
                </c:pt>
                <c:pt idx="24682">
                  <c:v>38328</c:v>
                </c:pt>
                <c:pt idx="24683">
                  <c:v>38326</c:v>
                </c:pt>
                <c:pt idx="24684">
                  <c:v>38325</c:v>
                </c:pt>
                <c:pt idx="24685">
                  <c:v>38324</c:v>
                </c:pt>
                <c:pt idx="24686">
                  <c:v>38324</c:v>
                </c:pt>
                <c:pt idx="24687">
                  <c:v>38324</c:v>
                </c:pt>
                <c:pt idx="24688">
                  <c:v>38324</c:v>
                </c:pt>
                <c:pt idx="24689">
                  <c:v>38324</c:v>
                </c:pt>
                <c:pt idx="24690">
                  <c:v>38324</c:v>
                </c:pt>
                <c:pt idx="24691">
                  <c:v>38323</c:v>
                </c:pt>
                <c:pt idx="24692">
                  <c:v>38323</c:v>
                </c:pt>
                <c:pt idx="24693">
                  <c:v>38322</c:v>
                </c:pt>
                <c:pt idx="24694">
                  <c:v>38318</c:v>
                </c:pt>
                <c:pt idx="24695">
                  <c:v>38318</c:v>
                </c:pt>
                <c:pt idx="24696">
                  <c:v>38317</c:v>
                </c:pt>
                <c:pt idx="24697">
                  <c:v>38317</c:v>
                </c:pt>
                <c:pt idx="24698">
                  <c:v>38317</c:v>
                </c:pt>
                <c:pt idx="24699">
                  <c:v>38317</c:v>
                </c:pt>
                <c:pt idx="24700">
                  <c:v>38315</c:v>
                </c:pt>
                <c:pt idx="24701">
                  <c:v>38315</c:v>
                </c:pt>
                <c:pt idx="24702">
                  <c:v>38315</c:v>
                </c:pt>
                <c:pt idx="24703">
                  <c:v>38314</c:v>
                </c:pt>
                <c:pt idx="24704">
                  <c:v>38313</c:v>
                </c:pt>
                <c:pt idx="24705">
                  <c:v>38313</c:v>
                </c:pt>
                <c:pt idx="24706">
                  <c:v>38311</c:v>
                </c:pt>
                <c:pt idx="24707">
                  <c:v>38311</c:v>
                </c:pt>
                <c:pt idx="24708">
                  <c:v>38311</c:v>
                </c:pt>
                <c:pt idx="24709">
                  <c:v>38310</c:v>
                </c:pt>
                <c:pt idx="24710">
                  <c:v>38310</c:v>
                </c:pt>
                <c:pt idx="24711">
                  <c:v>38310</c:v>
                </c:pt>
                <c:pt idx="24712">
                  <c:v>38309</c:v>
                </c:pt>
                <c:pt idx="24713">
                  <c:v>38309</c:v>
                </c:pt>
                <c:pt idx="24714">
                  <c:v>38309</c:v>
                </c:pt>
                <c:pt idx="24715">
                  <c:v>38308</c:v>
                </c:pt>
                <c:pt idx="24716">
                  <c:v>38307</c:v>
                </c:pt>
                <c:pt idx="24717">
                  <c:v>38307</c:v>
                </c:pt>
                <c:pt idx="24718">
                  <c:v>38307</c:v>
                </c:pt>
                <c:pt idx="24719">
                  <c:v>38306</c:v>
                </c:pt>
                <c:pt idx="24720">
                  <c:v>38306</c:v>
                </c:pt>
                <c:pt idx="24721">
                  <c:v>38305</c:v>
                </c:pt>
                <c:pt idx="24722">
                  <c:v>38305</c:v>
                </c:pt>
                <c:pt idx="24723">
                  <c:v>38305</c:v>
                </c:pt>
                <c:pt idx="24724">
                  <c:v>38304</c:v>
                </c:pt>
                <c:pt idx="24725">
                  <c:v>38303</c:v>
                </c:pt>
                <c:pt idx="24726">
                  <c:v>38301</c:v>
                </c:pt>
                <c:pt idx="24727">
                  <c:v>38301</c:v>
                </c:pt>
                <c:pt idx="24728">
                  <c:v>38301</c:v>
                </c:pt>
                <c:pt idx="24729">
                  <c:v>38300</c:v>
                </c:pt>
                <c:pt idx="24730">
                  <c:v>38300</c:v>
                </c:pt>
                <c:pt idx="24731">
                  <c:v>38300</c:v>
                </c:pt>
                <c:pt idx="24732">
                  <c:v>38300</c:v>
                </c:pt>
                <c:pt idx="24733">
                  <c:v>38300</c:v>
                </c:pt>
                <c:pt idx="24734">
                  <c:v>38299</c:v>
                </c:pt>
                <c:pt idx="24735">
                  <c:v>38299</c:v>
                </c:pt>
                <c:pt idx="24736">
                  <c:v>38298</c:v>
                </c:pt>
                <c:pt idx="24737">
                  <c:v>38296</c:v>
                </c:pt>
                <c:pt idx="24738">
                  <c:v>38295</c:v>
                </c:pt>
                <c:pt idx="24739">
                  <c:v>38294</c:v>
                </c:pt>
                <c:pt idx="24740">
                  <c:v>38293</c:v>
                </c:pt>
                <c:pt idx="24741">
                  <c:v>38293</c:v>
                </c:pt>
                <c:pt idx="24742">
                  <c:v>38293</c:v>
                </c:pt>
                <c:pt idx="24743">
                  <c:v>38292</c:v>
                </c:pt>
                <c:pt idx="24744">
                  <c:v>38290</c:v>
                </c:pt>
                <c:pt idx="24745">
                  <c:v>38290</c:v>
                </c:pt>
                <c:pt idx="24746">
                  <c:v>38288</c:v>
                </c:pt>
                <c:pt idx="24747">
                  <c:v>38288</c:v>
                </c:pt>
                <c:pt idx="24748">
                  <c:v>38287</c:v>
                </c:pt>
                <c:pt idx="24749">
                  <c:v>38285</c:v>
                </c:pt>
                <c:pt idx="24750">
                  <c:v>38285</c:v>
                </c:pt>
                <c:pt idx="24751">
                  <c:v>38284</c:v>
                </c:pt>
                <c:pt idx="24752">
                  <c:v>38284</c:v>
                </c:pt>
                <c:pt idx="24753">
                  <c:v>38283</c:v>
                </c:pt>
                <c:pt idx="24754">
                  <c:v>38283</c:v>
                </c:pt>
                <c:pt idx="24755">
                  <c:v>38282</c:v>
                </c:pt>
                <c:pt idx="24756">
                  <c:v>38281</c:v>
                </c:pt>
                <c:pt idx="24757">
                  <c:v>38280</c:v>
                </c:pt>
                <c:pt idx="24758">
                  <c:v>38280</c:v>
                </c:pt>
                <c:pt idx="24759">
                  <c:v>38280</c:v>
                </c:pt>
                <c:pt idx="24760">
                  <c:v>38280</c:v>
                </c:pt>
                <c:pt idx="24761">
                  <c:v>38279</c:v>
                </c:pt>
                <c:pt idx="24762">
                  <c:v>38279</c:v>
                </c:pt>
                <c:pt idx="24763">
                  <c:v>38279</c:v>
                </c:pt>
                <c:pt idx="24764">
                  <c:v>38279</c:v>
                </c:pt>
                <c:pt idx="24765">
                  <c:v>38278</c:v>
                </c:pt>
                <c:pt idx="24766">
                  <c:v>38278</c:v>
                </c:pt>
                <c:pt idx="24767">
                  <c:v>38277</c:v>
                </c:pt>
                <c:pt idx="24768">
                  <c:v>38277</c:v>
                </c:pt>
                <c:pt idx="24769">
                  <c:v>38276</c:v>
                </c:pt>
                <c:pt idx="24770">
                  <c:v>38275</c:v>
                </c:pt>
                <c:pt idx="24771">
                  <c:v>38275</c:v>
                </c:pt>
                <c:pt idx="24772">
                  <c:v>38274</c:v>
                </c:pt>
                <c:pt idx="24773">
                  <c:v>38274</c:v>
                </c:pt>
                <c:pt idx="24774">
                  <c:v>38274</c:v>
                </c:pt>
                <c:pt idx="24775">
                  <c:v>38273</c:v>
                </c:pt>
                <c:pt idx="24776">
                  <c:v>38271</c:v>
                </c:pt>
                <c:pt idx="24777">
                  <c:v>38271</c:v>
                </c:pt>
                <c:pt idx="24778">
                  <c:v>38268</c:v>
                </c:pt>
                <c:pt idx="24779">
                  <c:v>38267</c:v>
                </c:pt>
                <c:pt idx="24780">
                  <c:v>38265</c:v>
                </c:pt>
                <c:pt idx="24781">
                  <c:v>38265</c:v>
                </c:pt>
                <c:pt idx="24782">
                  <c:v>38264</c:v>
                </c:pt>
                <c:pt idx="24783">
                  <c:v>38264</c:v>
                </c:pt>
                <c:pt idx="24784">
                  <c:v>38264</c:v>
                </c:pt>
                <c:pt idx="24785">
                  <c:v>38264</c:v>
                </c:pt>
                <c:pt idx="24786">
                  <c:v>38263</c:v>
                </c:pt>
                <c:pt idx="24787">
                  <c:v>38262</c:v>
                </c:pt>
                <c:pt idx="24788">
                  <c:v>38262</c:v>
                </c:pt>
                <c:pt idx="24789">
                  <c:v>38261</c:v>
                </c:pt>
                <c:pt idx="24790">
                  <c:v>38261</c:v>
                </c:pt>
                <c:pt idx="24791">
                  <c:v>38260</c:v>
                </c:pt>
                <c:pt idx="24792">
                  <c:v>38260</c:v>
                </c:pt>
                <c:pt idx="24793">
                  <c:v>38260</c:v>
                </c:pt>
                <c:pt idx="24794">
                  <c:v>38260</c:v>
                </c:pt>
                <c:pt idx="24795">
                  <c:v>38259</c:v>
                </c:pt>
                <c:pt idx="24796">
                  <c:v>38259</c:v>
                </c:pt>
                <c:pt idx="24797">
                  <c:v>38259</c:v>
                </c:pt>
                <c:pt idx="24798">
                  <c:v>38258</c:v>
                </c:pt>
                <c:pt idx="24799">
                  <c:v>38257</c:v>
                </c:pt>
                <c:pt idx="24800">
                  <c:v>38256</c:v>
                </c:pt>
                <c:pt idx="24801">
                  <c:v>38255</c:v>
                </c:pt>
                <c:pt idx="24802">
                  <c:v>38255</c:v>
                </c:pt>
                <c:pt idx="24803">
                  <c:v>38255</c:v>
                </c:pt>
                <c:pt idx="24804">
                  <c:v>38253</c:v>
                </c:pt>
                <c:pt idx="24805">
                  <c:v>38252</c:v>
                </c:pt>
                <c:pt idx="24806">
                  <c:v>38252</c:v>
                </c:pt>
                <c:pt idx="24807">
                  <c:v>38251</c:v>
                </c:pt>
                <c:pt idx="24808">
                  <c:v>38250</c:v>
                </c:pt>
                <c:pt idx="24809">
                  <c:v>38249</c:v>
                </c:pt>
                <c:pt idx="24810">
                  <c:v>38249</c:v>
                </c:pt>
                <c:pt idx="24811">
                  <c:v>38249</c:v>
                </c:pt>
                <c:pt idx="24812">
                  <c:v>38248</c:v>
                </c:pt>
                <c:pt idx="24813">
                  <c:v>38247</c:v>
                </c:pt>
                <c:pt idx="24814">
                  <c:v>38247</c:v>
                </c:pt>
                <c:pt idx="24815">
                  <c:v>38246</c:v>
                </c:pt>
                <c:pt idx="24816">
                  <c:v>38246</c:v>
                </c:pt>
                <c:pt idx="24817">
                  <c:v>38246</c:v>
                </c:pt>
                <c:pt idx="24818">
                  <c:v>38245</c:v>
                </c:pt>
                <c:pt idx="24819">
                  <c:v>38245</c:v>
                </c:pt>
                <c:pt idx="24820">
                  <c:v>38244</c:v>
                </c:pt>
                <c:pt idx="24821">
                  <c:v>38244</c:v>
                </c:pt>
                <c:pt idx="24822">
                  <c:v>38243</c:v>
                </c:pt>
                <c:pt idx="24823">
                  <c:v>38243</c:v>
                </c:pt>
                <c:pt idx="24824">
                  <c:v>38243</c:v>
                </c:pt>
                <c:pt idx="24825">
                  <c:v>38243</c:v>
                </c:pt>
                <c:pt idx="24826">
                  <c:v>38243</c:v>
                </c:pt>
                <c:pt idx="24827">
                  <c:v>38242</c:v>
                </c:pt>
                <c:pt idx="24828">
                  <c:v>38242</c:v>
                </c:pt>
                <c:pt idx="24829">
                  <c:v>38242</c:v>
                </c:pt>
                <c:pt idx="24830">
                  <c:v>38241</c:v>
                </c:pt>
                <c:pt idx="24831">
                  <c:v>38240</c:v>
                </c:pt>
                <c:pt idx="24832">
                  <c:v>38238</c:v>
                </c:pt>
                <c:pt idx="24833">
                  <c:v>38238</c:v>
                </c:pt>
                <c:pt idx="24834">
                  <c:v>38237</c:v>
                </c:pt>
                <c:pt idx="24835">
                  <c:v>38237</c:v>
                </c:pt>
                <c:pt idx="24836">
                  <c:v>38237</c:v>
                </c:pt>
                <c:pt idx="24837">
                  <c:v>38237</c:v>
                </c:pt>
                <c:pt idx="24838">
                  <c:v>38236</c:v>
                </c:pt>
                <c:pt idx="24839">
                  <c:v>38236</c:v>
                </c:pt>
                <c:pt idx="24840">
                  <c:v>38235</c:v>
                </c:pt>
                <c:pt idx="24841">
                  <c:v>38234</c:v>
                </c:pt>
                <c:pt idx="24842">
                  <c:v>38233</c:v>
                </c:pt>
                <c:pt idx="24843">
                  <c:v>38233</c:v>
                </c:pt>
                <c:pt idx="24844">
                  <c:v>38232</c:v>
                </c:pt>
                <c:pt idx="24845">
                  <c:v>38231</c:v>
                </c:pt>
                <c:pt idx="24846">
                  <c:v>38231</c:v>
                </c:pt>
                <c:pt idx="24847">
                  <c:v>38231</c:v>
                </c:pt>
                <c:pt idx="24848">
                  <c:v>38230</c:v>
                </c:pt>
                <c:pt idx="24849">
                  <c:v>38228</c:v>
                </c:pt>
                <c:pt idx="24850">
                  <c:v>38228</c:v>
                </c:pt>
                <c:pt idx="24851">
                  <c:v>38227</c:v>
                </c:pt>
                <c:pt idx="24852">
                  <c:v>38227</c:v>
                </c:pt>
                <c:pt idx="24853">
                  <c:v>38227</c:v>
                </c:pt>
                <c:pt idx="24854">
                  <c:v>38227</c:v>
                </c:pt>
                <c:pt idx="24855">
                  <c:v>38226</c:v>
                </c:pt>
                <c:pt idx="24856">
                  <c:v>38224</c:v>
                </c:pt>
                <c:pt idx="24857">
                  <c:v>38223</c:v>
                </c:pt>
                <c:pt idx="24858">
                  <c:v>38223</c:v>
                </c:pt>
                <c:pt idx="24859">
                  <c:v>38223</c:v>
                </c:pt>
                <c:pt idx="24860">
                  <c:v>38223</c:v>
                </c:pt>
                <c:pt idx="24861">
                  <c:v>38222</c:v>
                </c:pt>
                <c:pt idx="24862">
                  <c:v>38222</c:v>
                </c:pt>
                <c:pt idx="24863">
                  <c:v>38221</c:v>
                </c:pt>
                <c:pt idx="24864">
                  <c:v>38221</c:v>
                </c:pt>
                <c:pt idx="24865">
                  <c:v>38220</c:v>
                </c:pt>
                <c:pt idx="24866">
                  <c:v>38220</c:v>
                </c:pt>
                <c:pt idx="24867">
                  <c:v>38218</c:v>
                </c:pt>
                <c:pt idx="24868">
                  <c:v>38217</c:v>
                </c:pt>
                <c:pt idx="24869">
                  <c:v>38216</c:v>
                </c:pt>
                <c:pt idx="24870">
                  <c:v>38216</c:v>
                </c:pt>
                <c:pt idx="24871">
                  <c:v>38215</c:v>
                </c:pt>
                <c:pt idx="24872">
                  <c:v>38212</c:v>
                </c:pt>
                <c:pt idx="24873">
                  <c:v>38212</c:v>
                </c:pt>
                <c:pt idx="24874">
                  <c:v>38210</c:v>
                </c:pt>
                <c:pt idx="24875">
                  <c:v>38209</c:v>
                </c:pt>
                <c:pt idx="24876">
                  <c:v>38209</c:v>
                </c:pt>
                <c:pt idx="24877">
                  <c:v>38208</c:v>
                </c:pt>
                <c:pt idx="24878">
                  <c:v>38208</c:v>
                </c:pt>
                <c:pt idx="24879">
                  <c:v>38207</c:v>
                </c:pt>
                <c:pt idx="24880">
                  <c:v>38207</c:v>
                </c:pt>
                <c:pt idx="24881">
                  <c:v>38207</c:v>
                </c:pt>
                <c:pt idx="24882">
                  <c:v>38206</c:v>
                </c:pt>
                <c:pt idx="24883">
                  <c:v>38205</c:v>
                </c:pt>
                <c:pt idx="24884">
                  <c:v>38205</c:v>
                </c:pt>
                <c:pt idx="24885">
                  <c:v>38203</c:v>
                </c:pt>
                <c:pt idx="24886">
                  <c:v>38202</c:v>
                </c:pt>
                <c:pt idx="24887">
                  <c:v>38202</c:v>
                </c:pt>
                <c:pt idx="24888">
                  <c:v>38202</c:v>
                </c:pt>
                <c:pt idx="24889">
                  <c:v>38202</c:v>
                </c:pt>
                <c:pt idx="24890">
                  <c:v>38202</c:v>
                </c:pt>
                <c:pt idx="24891">
                  <c:v>38201</c:v>
                </c:pt>
                <c:pt idx="24892">
                  <c:v>38200</c:v>
                </c:pt>
                <c:pt idx="24893">
                  <c:v>38200</c:v>
                </c:pt>
                <c:pt idx="24894">
                  <c:v>38198</c:v>
                </c:pt>
                <c:pt idx="24895">
                  <c:v>38198</c:v>
                </c:pt>
                <c:pt idx="24896">
                  <c:v>38198</c:v>
                </c:pt>
                <c:pt idx="24897">
                  <c:v>38197</c:v>
                </c:pt>
                <c:pt idx="24898">
                  <c:v>38193</c:v>
                </c:pt>
                <c:pt idx="24899">
                  <c:v>38193</c:v>
                </c:pt>
                <c:pt idx="24900">
                  <c:v>38193</c:v>
                </c:pt>
                <c:pt idx="24901">
                  <c:v>38192</c:v>
                </c:pt>
                <c:pt idx="24902">
                  <c:v>38191</c:v>
                </c:pt>
                <c:pt idx="24903">
                  <c:v>38191</c:v>
                </c:pt>
                <c:pt idx="24904">
                  <c:v>38190</c:v>
                </c:pt>
                <c:pt idx="24905">
                  <c:v>38189</c:v>
                </c:pt>
                <c:pt idx="24906">
                  <c:v>38188</c:v>
                </c:pt>
                <c:pt idx="24907">
                  <c:v>38188</c:v>
                </c:pt>
                <c:pt idx="24908">
                  <c:v>38187</c:v>
                </c:pt>
                <c:pt idx="24909">
                  <c:v>38187</c:v>
                </c:pt>
                <c:pt idx="24910">
                  <c:v>38186</c:v>
                </c:pt>
                <c:pt idx="24911">
                  <c:v>38186</c:v>
                </c:pt>
                <c:pt idx="24912">
                  <c:v>38185</c:v>
                </c:pt>
                <c:pt idx="24913">
                  <c:v>38185</c:v>
                </c:pt>
                <c:pt idx="24914">
                  <c:v>38184</c:v>
                </c:pt>
                <c:pt idx="24915">
                  <c:v>38183</c:v>
                </c:pt>
                <c:pt idx="24916">
                  <c:v>38182</c:v>
                </c:pt>
                <c:pt idx="24917">
                  <c:v>38182</c:v>
                </c:pt>
                <c:pt idx="24918">
                  <c:v>38182</c:v>
                </c:pt>
                <c:pt idx="24919">
                  <c:v>38182</c:v>
                </c:pt>
                <c:pt idx="24920">
                  <c:v>38180</c:v>
                </c:pt>
                <c:pt idx="24921">
                  <c:v>38180</c:v>
                </c:pt>
                <c:pt idx="24922">
                  <c:v>38180</c:v>
                </c:pt>
                <c:pt idx="24923">
                  <c:v>38179</c:v>
                </c:pt>
                <c:pt idx="24924">
                  <c:v>38179</c:v>
                </c:pt>
                <c:pt idx="24925">
                  <c:v>38179</c:v>
                </c:pt>
                <c:pt idx="24926">
                  <c:v>38178</c:v>
                </c:pt>
                <c:pt idx="24927">
                  <c:v>38178</c:v>
                </c:pt>
                <c:pt idx="24928">
                  <c:v>38177</c:v>
                </c:pt>
                <c:pt idx="24929">
                  <c:v>38177</c:v>
                </c:pt>
                <c:pt idx="24930">
                  <c:v>38177</c:v>
                </c:pt>
                <c:pt idx="24931">
                  <c:v>38176</c:v>
                </c:pt>
                <c:pt idx="24932">
                  <c:v>38176</c:v>
                </c:pt>
                <c:pt idx="24933">
                  <c:v>38176</c:v>
                </c:pt>
                <c:pt idx="24934">
                  <c:v>38175</c:v>
                </c:pt>
                <c:pt idx="24935">
                  <c:v>38174</c:v>
                </c:pt>
                <c:pt idx="24936">
                  <c:v>38174</c:v>
                </c:pt>
                <c:pt idx="24937">
                  <c:v>38173</c:v>
                </c:pt>
                <c:pt idx="24938">
                  <c:v>38173</c:v>
                </c:pt>
                <c:pt idx="24939">
                  <c:v>38172</c:v>
                </c:pt>
                <c:pt idx="24940">
                  <c:v>38170</c:v>
                </c:pt>
                <c:pt idx="24941">
                  <c:v>38168</c:v>
                </c:pt>
                <c:pt idx="24942">
                  <c:v>38167</c:v>
                </c:pt>
                <c:pt idx="24943">
                  <c:v>38167</c:v>
                </c:pt>
                <c:pt idx="24944">
                  <c:v>38167</c:v>
                </c:pt>
                <c:pt idx="24945">
                  <c:v>38167</c:v>
                </c:pt>
                <c:pt idx="24946">
                  <c:v>38166</c:v>
                </c:pt>
                <c:pt idx="24947">
                  <c:v>38166</c:v>
                </c:pt>
                <c:pt idx="24948">
                  <c:v>38166</c:v>
                </c:pt>
                <c:pt idx="24949">
                  <c:v>38166</c:v>
                </c:pt>
                <c:pt idx="24950">
                  <c:v>38165</c:v>
                </c:pt>
                <c:pt idx="24951">
                  <c:v>38164</c:v>
                </c:pt>
                <c:pt idx="24952">
                  <c:v>38163</c:v>
                </c:pt>
                <c:pt idx="24953">
                  <c:v>38163</c:v>
                </c:pt>
                <c:pt idx="24954">
                  <c:v>38161</c:v>
                </c:pt>
                <c:pt idx="24955">
                  <c:v>38160</c:v>
                </c:pt>
                <c:pt idx="24956">
                  <c:v>38160</c:v>
                </c:pt>
                <c:pt idx="24957">
                  <c:v>38160</c:v>
                </c:pt>
                <c:pt idx="24958">
                  <c:v>38159</c:v>
                </c:pt>
                <c:pt idx="24959">
                  <c:v>38158</c:v>
                </c:pt>
                <c:pt idx="24960">
                  <c:v>38158</c:v>
                </c:pt>
                <c:pt idx="24961">
                  <c:v>38158</c:v>
                </c:pt>
                <c:pt idx="24962">
                  <c:v>38158</c:v>
                </c:pt>
                <c:pt idx="24963">
                  <c:v>38156</c:v>
                </c:pt>
                <c:pt idx="24964">
                  <c:v>38156</c:v>
                </c:pt>
                <c:pt idx="24965">
                  <c:v>38155</c:v>
                </c:pt>
                <c:pt idx="24966">
                  <c:v>38155</c:v>
                </c:pt>
                <c:pt idx="24967">
                  <c:v>38155</c:v>
                </c:pt>
                <c:pt idx="24968">
                  <c:v>38154</c:v>
                </c:pt>
                <c:pt idx="24969">
                  <c:v>38153</c:v>
                </c:pt>
                <c:pt idx="24970">
                  <c:v>38152</c:v>
                </c:pt>
                <c:pt idx="24971">
                  <c:v>38152</c:v>
                </c:pt>
                <c:pt idx="24972">
                  <c:v>38149</c:v>
                </c:pt>
                <c:pt idx="24973">
                  <c:v>38149</c:v>
                </c:pt>
                <c:pt idx="24974">
                  <c:v>38148</c:v>
                </c:pt>
                <c:pt idx="24975">
                  <c:v>38147</c:v>
                </c:pt>
                <c:pt idx="24976">
                  <c:v>38146</c:v>
                </c:pt>
                <c:pt idx="24977">
                  <c:v>38145</c:v>
                </c:pt>
                <c:pt idx="24978">
                  <c:v>38142</c:v>
                </c:pt>
                <c:pt idx="24979">
                  <c:v>38141</c:v>
                </c:pt>
                <c:pt idx="24980">
                  <c:v>38141</c:v>
                </c:pt>
                <c:pt idx="24981">
                  <c:v>38141</c:v>
                </c:pt>
                <c:pt idx="24982">
                  <c:v>38140</c:v>
                </c:pt>
                <c:pt idx="24983">
                  <c:v>38139</c:v>
                </c:pt>
                <c:pt idx="24984">
                  <c:v>38138</c:v>
                </c:pt>
                <c:pt idx="24985">
                  <c:v>38137</c:v>
                </c:pt>
                <c:pt idx="24986">
                  <c:v>38136</c:v>
                </c:pt>
                <c:pt idx="24987">
                  <c:v>38136</c:v>
                </c:pt>
                <c:pt idx="24988">
                  <c:v>38135</c:v>
                </c:pt>
                <c:pt idx="24989">
                  <c:v>38135</c:v>
                </c:pt>
                <c:pt idx="24990">
                  <c:v>38135</c:v>
                </c:pt>
                <c:pt idx="24991">
                  <c:v>38135</c:v>
                </c:pt>
                <c:pt idx="24992">
                  <c:v>38134</c:v>
                </c:pt>
                <c:pt idx="24993">
                  <c:v>38134</c:v>
                </c:pt>
                <c:pt idx="24994">
                  <c:v>38133</c:v>
                </c:pt>
                <c:pt idx="24995">
                  <c:v>38133</c:v>
                </c:pt>
                <c:pt idx="24996">
                  <c:v>38132</c:v>
                </c:pt>
                <c:pt idx="24997">
                  <c:v>38132</c:v>
                </c:pt>
                <c:pt idx="24998">
                  <c:v>38131</c:v>
                </c:pt>
                <c:pt idx="24999">
                  <c:v>38131</c:v>
                </c:pt>
                <c:pt idx="25000">
                  <c:v>38130</c:v>
                </c:pt>
                <c:pt idx="25001">
                  <c:v>38130</c:v>
                </c:pt>
                <c:pt idx="25002">
                  <c:v>38130</c:v>
                </c:pt>
                <c:pt idx="25003">
                  <c:v>38130</c:v>
                </c:pt>
                <c:pt idx="25004">
                  <c:v>38129</c:v>
                </c:pt>
                <c:pt idx="25005">
                  <c:v>38129</c:v>
                </c:pt>
                <c:pt idx="25006">
                  <c:v>38129</c:v>
                </c:pt>
                <c:pt idx="25007">
                  <c:v>38129</c:v>
                </c:pt>
                <c:pt idx="25008">
                  <c:v>38129</c:v>
                </c:pt>
                <c:pt idx="25009">
                  <c:v>38128</c:v>
                </c:pt>
                <c:pt idx="25010">
                  <c:v>38127</c:v>
                </c:pt>
                <c:pt idx="25011">
                  <c:v>38127</c:v>
                </c:pt>
                <c:pt idx="25012">
                  <c:v>38127</c:v>
                </c:pt>
                <c:pt idx="25013">
                  <c:v>38127</c:v>
                </c:pt>
                <c:pt idx="25014">
                  <c:v>38127</c:v>
                </c:pt>
                <c:pt idx="25015">
                  <c:v>38126</c:v>
                </c:pt>
                <c:pt idx="25016">
                  <c:v>38126</c:v>
                </c:pt>
                <c:pt idx="25017">
                  <c:v>38126</c:v>
                </c:pt>
                <c:pt idx="25018">
                  <c:v>38125</c:v>
                </c:pt>
                <c:pt idx="25019">
                  <c:v>38124</c:v>
                </c:pt>
                <c:pt idx="25020">
                  <c:v>38124</c:v>
                </c:pt>
                <c:pt idx="25021">
                  <c:v>38124</c:v>
                </c:pt>
                <c:pt idx="25022">
                  <c:v>38122</c:v>
                </c:pt>
                <c:pt idx="25023">
                  <c:v>38121</c:v>
                </c:pt>
                <c:pt idx="25024">
                  <c:v>38121</c:v>
                </c:pt>
                <c:pt idx="25025">
                  <c:v>38120</c:v>
                </c:pt>
                <c:pt idx="25026">
                  <c:v>38120</c:v>
                </c:pt>
                <c:pt idx="25027">
                  <c:v>38119</c:v>
                </c:pt>
                <c:pt idx="25028">
                  <c:v>38117</c:v>
                </c:pt>
                <c:pt idx="25029">
                  <c:v>38117</c:v>
                </c:pt>
                <c:pt idx="25030">
                  <c:v>38117</c:v>
                </c:pt>
                <c:pt idx="25031">
                  <c:v>38117</c:v>
                </c:pt>
                <c:pt idx="25032">
                  <c:v>38116</c:v>
                </c:pt>
                <c:pt idx="25033">
                  <c:v>38115</c:v>
                </c:pt>
                <c:pt idx="25034">
                  <c:v>38115</c:v>
                </c:pt>
                <c:pt idx="25035">
                  <c:v>38115</c:v>
                </c:pt>
                <c:pt idx="25036">
                  <c:v>38114</c:v>
                </c:pt>
                <c:pt idx="25037">
                  <c:v>38113</c:v>
                </c:pt>
                <c:pt idx="25038">
                  <c:v>38112</c:v>
                </c:pt>
                <c:pt idx="25039">
                  <c:v>38112</c:v>
                </c:pt>
                <c:pt idx="25040">
                  <c:v>38111</c:v>
                </c:pt>
                <c:pt idx="25041">
                  <c:v>38111</c:v>
                </c:pt>
                <c:pt idx="25042">
                  <c:v>38110</c:v>
                </c:pt>
                <c:pt idx="25043">
                  <c:v>38110</c:v>
                </c:pt>
                <c:pt idx="25044">
                  <c:v>38109</c:v>
                </c:pt>
                <c:pt idx="25045">
                  <c:v>38109</c:v>
                </c:pt>
                <c:pt idx="25046">
                  <c:v>38108</c:v>
                </c:pt>
                <c:pt idx="25047">
                  <c:v>38108</c:v>
                </c:pt>
                <c:pt idx="25048">
                  <c:v>38108</c:v>
                </c:pt>
                <c:pt idx="25049">
                  <c:v>38108</c:v>
                </c:pt>
                <c:pt idx="25050">
                  <c:v>38107</c:v>
                </c:pt>
                <c:pt idx="25051">
                  <c:v>38107</c:v>
                </c:pt>
                <c:pt idx="25052">
                  <c:v>38106</c:v>
                </c:pt>
                <c:pt idx="25053">
                  <c:v>38104</c:v>
                </c:pt>
                <c:pt idx="25054">
                  <c:v>38104</c:v>
                </c:pt>
                <c:pt idx="25055">
                  <c:v>38104</c:v>
                </c:pt>
                <c:pt idx="25056">
                  <c:v>38104</c:v>
                </c:pt>
                <c:pt idx="25057">
                  <c:v>38103</c:v>
                </c:pt>
                <c:pt idx="25058">
                  <c:v>38103</c:v>
                </c:pt>
                <c:pt idx="25059">
                  <c:v>38102</c:v>
                </c:pt>
                <c:pt idx="25060">
                  <c:v>38102</c:v>
                </c:pt>
                <c:pt idx="25061">
                  <c:v>38102</c:v>
                </c:pt>
                <c:pt idx="25062">
                  <c:v>38101</c:v>
                </c:pt>
                <c:pt idx="25063">
                  <c:v>38101</c:v>
                </c:pt>
                <c:pt idx="25064">
                  <c:v>38101</c:v>
                </c:pt>
                <c:pt idx="25065">
                  <c:v>38100</c:v>
                </c:pt>
                <c:pt idx="25066">
                  <c:v>38099</c:v>
                </c:pt>
                <c:pt idx="25067">
                  <c:v>38098</c:v>
                </c:pt>
                <c:pt idx="25068">
                  <c:v>38098</c:v>
                </c:pt>
                <c:pt idx="25069">
                  <c:v>38098</c:v>
                </c:pt>
                <c:pt idx="25070">
                  <c:v>38098</c:v>
                </c:pt>
                <c:pt idx="25071">
                  <c:v>38098</c:v>
                </c:pt>
                <c:pt idx="25072">
                  <c:v>38097</c:v>
                </c:pt>
                <c:pt idx="25073">
                  <c:v>38097</c:v>
                </c:pt>
                <c:pt idx="25074">
                  <c:v>38095</c:v>
                </c:pt>
                <c:pt idx="25075">
                  <c:v>38093</c:v>
                </c:pt>
                <c:pt idx="25076">
                  <c:v>38092</c:v>
                </c:pt>
                <c:pt idx="25077">
                  <c:v>38091</c:v>
                </c:pt>
                <c:pt idx="25078">
                  <c:v>38091</c:v>
                </c:pt>
                <c:pt idx="25079">
                  <c:v>38089</c:v>
                </c:pt>
                <c:pt idx="25080">
                  <c:v>38088</c:v>
                </c:pt>
                <c:pt idx="25081">
                  <c:v>38088</c:v>
                </c:pt>
                <c:pt idx="25082">
                  <c:v>38087</c:v>
                </c:pt>
                <c:pt idx="25083">
                  <c:v>38087</c:v>
                </c:pt>
                <c:pt idx="25084">
                  <c:v>38086</c:v>
                </c:pt>
                <c:pt idx="25085">
                  <c:v>38085</c:v>
                </c:pt>
                <c:pt idx="25086">
                  <c:v>38084</c:v>
                </c:pt>
                <c:pt idx="25087">
                  <c:v>38084</c:v>
                </c:pt>
                <c:pt idx="25088">
                  <c:v>38084</c:v>
                </c:pt>
                <c:pt idx="25089">
                  <c:v>38083</c:v>
                </c:pt>
                <c:pt idx="25090">
                  <c:v>38082</c:v>
                </c:pt>
                <c:pt idx="25091">
                  <c:v>38082</c:v>
                </c:pt>
                <c:pt idx="25092">
                  <c:v>38082</c:v>
                </c:pt>
                <c:pt idx="25093">
                  <c:v>38081</c:v>
                </c:pt>
                <c:pt idx="25094">
                  <c:v>38081</c:v>
                </c:pt>
                <c:pt idx="25095">
                  <c:v>38081</c:v>
                </c:pt>
                <c:pt idx="25096">
                  <c:v>38081</c:v>
                </c:pt>
                <c:pt idx="25097">
                  <c:v>38080</c:v>
                </c:pt>
                <c:pt idx="25098">
                  <c:v>38079</c:v>
                </c:pt>
                <c:pt idx="25099">
                  <c:v>38079</c:v>
                </c:pt>
                <c:pt idx="25100">
                  <c:v>38079</c:v>
                </c:pt>
                <c:pt idx="25101">
                  <c:v>38078</c:v>
                </c:pt>
                <c:pt idx="25102">
                  <c:v>38078</c:v>
                </c:pt>
                <c:pt idx="25103">
                  <c:v>38077</c:v>
                </c:pt>
                <c:pt idx="25104">
                  <c:v>38077</c:v>
                </c:pt>
                <c:pt idx="25105">
                  <c:v>38076</c:v>
                </c:pt>
                <c:pt idx="25106">
                  <c:v>38075</c:v>
                </c:pt>
                <c:pt idx="25107">
                  <c:v>38075</c:v>
                </c:pt>
                <c:pt idx="25108">
                  <c:v>38075</c:v>
                </c:pt>
                <c:pt idx="25109">
                  <c:v>38075</c:v>
                </c:pt>
                <c:pt idx="25110">
                  <c:v>38074</c:v>
                </c:pt>
                <c:pt idx="25111">
                  <c:v>38073</c:v>
                </c:pt>
                <c:pt idx="25112">
                  <c:v>38073</c:v>
                </c:pt>
                <c:pt idx="25113">
                  <c:v>38072</c:v>
                </c:pt>
                <c:pt idx="25114">
                  <c:v>38072</c:v>
                </c:pt>
                <c:pt idx="25115">
                  <c:v>38071</c:v>
                </c:pt>
                <c:pt idx="25116">
                  <c:v>38071</c:v>
                </c:pt>
                <c:pt idx="25117">
                  <c:v>38071</c:v>
                </c:pt>
                <c:pt idx="25118">
                  <c:v>38070</c:v>
                </c:pt>
                <c:pt idx="25119">
                  <c:v>38069</c:v>
                </c:pt>
                <c:pt idx="25120">
                  <c:v>38068</c:v>
                </c:pt>
                <c:pt idx="25121">
                  <c:v>38068</c:v>
                </c:pt>
                <c:pt idx="25122">
                  <c:v>38068</c:v>
                </c:pt>
                <c:pt idx="25123">
                  <c:v>38067</c:v>
                </c:pt>
                <c:pt idx="25124">
                  <c:v>38067</c:v>
                </c:pt>
                <c:pt idx="25125">
                  <c:v>38067</c:v>
                </c:pt>
                <c:pt idx="25126">
                  <c:v>38067</c:v>
                </c:pt>
                <c:pt idx="25127">
                  <c:v>38066</c:v>
                </c:pt>
                <c:pt idx="25128">
                  <c:v>38065</c:v>
                </c:pt>
                <c:pt idx="25129">
                  <c:v>38065</c:v>
                </c:pt>
                <c:pt idx="25130">
                  <c:v>38065</c:v>
                </c:pt>
                <c:pt idx="25131">
                  <c:v>38063</c:v>
                </c:pt>
                <c:pt idx="25132">
                  <c:v>38063</c:v>
                </c:pt>
                <c:pt idx="25133">
                  <c:v>38062</c:v>
                </c:pt>
                <c:pt idx="25134">
                  <c:v>38062</c:v>
                </c:pt>
                <c:pt idx="25135">
                  <c:v>38061</c:v>
                </c:pt>
                <c:pt idx="25136">
                  <c:v>38061</c:v>
                </c:pt>
                <c:pt idx="25137">
                  <c:v>38060</c:v>
                </c:pt>
                <c:pt idx="25138">
                  <c:v>38059</c:v>
                </c:pt>
                <c:pt idx="25139">
                  <c:v>38059</c:v>
                </c:pt>
                <c:pt idx="25140">
                  <c:v>38058</c:v>
                </c:pt>
                <c:pt idx="25141">
                  <c:v>38058</c:v>
                </c:pt>
                <c:pt idx="25142">
                  <c:v>38056</c:v>
                </c:pt>
                <c:pt idx="25143">
                  <c:v>38052</c:v>
                </c:pt>
                <c:pt idx="25144">
                  <c:v>38052</c:v>
                </c:pt>
                <c:pt idx="25145">
                  <c:v>38051</c:v>
                </c:pt>
                <c:pt idx="25146">
                  <c:v>38050</c:v>
                </c:pt>
                <c:pt idx="25147">
                  <c:v>38050</c:v>
                </c:pt>
                <c:pt idx="25148">
                  <c:v>38050</c:v>
                </c:pt>
                <c:pt idx="25149">
                  <c:v>38050</c:v>
                </c:pt>
                <c:pt idx="25150">
                  <c:v>38049</c:v>
                </c:pt>
                <c:pt idx="25151">
                  <c:v>38049</c:v>
                </c:pt>
                <c:pt idx="25152">
                  <c:v>38048</c:v>
                </c:pt>
                <c:pt idx="25153">
                  <c:v>38048</c:v>
                </c:pt>
                <c:pt idx="25154">
                  <c:v>38048</c:v>
                </c:pt>
                <c:pt idx="25155">
                  <c:v>38047</c:v>
                </c:pt>
                <c:pt idx="25156">
                  <c:v>38047</c:v>
                </c:pt>
                <c:pt idx="25157">
                  <c:v>38047</c:v>
                </c:pt>
                <c:pt idx="25158">
                  <c:v>38047</c:v>
                </c:pt>
                <c:pt idx="25159">
                  <c:v>38047</c:v>
                </c:pt>
                <c:pt idx="25160">
                  <c:v>38047</c:v>
                </c:pt>
                <c:pt idx="25161">
                  <c:v>38046</c:v>
                </c:pt>
                <c:pt idx="25162">
                  <c:v>38045</c:v>
                </c:pt>
                <c:pt idx="25163">
                  <c:v>38044</c:v>
                </c:pt>
                <c:pt idx="25164">
                  <c:v>38043</c:v>
                </c:pt>
                <c:pt idx="25165">
                  <c:v>38042</c:v>
                </c:pt>
                <c:pt idx="25166">
                  <c:v>38042</c:v>
                </c:pt>
                <c:pt idx="25167">
                  <c:v>38042</c:v>
                </c:pt>
                <c:pt idx="25168">
                  <c:v>38041</c:v>
                </c:pt>
                <c:pt idx="25169">
                  <c:v>38041</c:v>
                </c:pt>
                <c:pt idx="25170">
                  <c:v>38039</c:v>
                </c:pt>
                <c:pt idx="25171">
                  <c:v>38039</c:v>
                </c:pt>
                <c:pt idx="25172">
                  <c:v>38038</c:v>
                </c:pt>
                <c:pt idx="25173">
                  <c:v>38038</c:v>
                </c:pt>
                <c:pt idx="25174">
                  <c:v>38036</c:v>
                </c:pt>
                <c:pt idx="25175">
                  <c:v>38036</c:v>
                </c:pt>
                <c:pt idx="25176">
                  <c:v>38034</c:v>
                </c:pt>
                <c:pt idx="25177">
                  <c:v>38034</c:v>
                </c:pt>
                <c:pt idx="25178">
                  <c:v>38033</c:v>
                </c:pt>
                <c:pt idx="25179">
                  <c:v>38033</c:v>
                </c:pt>
                <c:pt idx="25180">
                  <c:v>38032</c:v>
                </c:pt>
                <c:pt idx="25181">
                  <c:v>38031</c:v>
                </c:pt>
                <c:pt idx="25182">
                  <c:v>38031</c:v>
                </c:pt>
                <c:pt idx="25183">
                  <c:v>38031</c:v>
                </c:pt>
                <c:pt idx="25184">
                  <c:v>38030</c:v>
                </c:pt>
                <c:pt idx="25185">
                  <c:v>38030</c:v>
                </c:pt>
                <c:pt idx="25186">
                  <c:v>38029</c:v>
                </c:pt>
                <c:pt idx="25187">
                  <c:v>38028</c:v>
                </c:pt>
                <c:pt idx="25188">
                  <c:v>38027</c:v>
                </c:pt>
                <c:pt idx="25189">
                  <c:v>38026</c:v>
                </c:pt>
                <c:pt idx="25190">
                  <c:v>38026</c:v>
                </c:pt>
                <c:pt idx="25191">
                  <c:v>38026</c:v>
                </c:pt>
                <c:pt idx="25192">
                  <c:v>38026</c:v>
                </c:pt>
                <c:pt idx="25193">
                  <c:v>38025</c:v>
                </c:pt>
                <c:pt idx="25194">
                  <c:v>38025</c:v>
                </c:pt>
                <c:pt idx="25195">
                  <c:v>38023</c:v>
                </c:pt>
                <c:pt idx="25196">
                  <c:v>38023</c:v>
                </c:pt>
                <c:pt idx="25197">
                  <c:v>38023</c:v>
                </c:pt>
                <c:pt idx="25198">
                  <c:v>38022</c:v>
                </c:pt>
                <c:pt idx="25199">
                  <c:v>38021</c:v>
                </c:pt>
                <c:pt idx="25200">
                  <c:v>38021</c:v>
                </c:pt>
                <c:pt idx="25201">
                  <c:v>38020</c:v>
                </c:pt>
                <c:pt idx="25202">
                  <c:v>38019</c:v>
                </c:pt>
                <c:pt idx="25203">
                  <c:v>38019</c:v>
                </c:pt>
                <c:pt idx="25204">
                  <c:v>38018</c:v>
                </c:pt>
                <c:pt idx="25205">
                  <c:v>38017</c:v>
                </c:pt>
                <c:pt idx="25206">
                  <c:v>38017</c:v>
                </c:pt>
                <c:pt idx="25207">
                  <c:v>38017</c:v>
                </c:pt>
                <c:pt idx="25208">
                  <c:v>38017</c:v>
                </c:pt>
                <c:pt idx="25209">
                  <c:v>38017</c:v>
                </c:pt>
                <c:pt idx="25210">
                  <c:v>38017</c:v>
                </c:pt>
                <c:pt idx="25211">
                  <c:v>38016</c:v>
                </c:pt>
                <c:pt idx="25212">
                  <c:v>38016</c:v>
                </c:pt>
                <c:pt idx="25213">
                  <c:v>38015</c:v>
                </c:pt>
                <c:pt idx="25214">
                  <c:v>38013</c:v>
                </c:pt>
                <c:pt idx="25215">
                  <c:v>38012</c:v>
                </c:pt>
                <c:pt idx="25216">
                  <c:v>38012</c:v>
                </c:pt>
                <c:pt idx="25217">
                  <c:v>38011</c:v>
                </c:pt>
                <c:pt idx="25218">
                  <c:v>38010</c:v>
                </c:pt>
                <c:pt idx="25219">
                  <c:v>38007</c:v>
                </c:pt>
                <c:pt idx="25220">
                  <c:v>38006</c:v>
                </c:pt>
                <c:pt idx="25221">
                  <c:v>38005</c:v>
                </c:pt>
                <c:pt idx="25222">
                  <c:v>38005</c:v>
                </c:pt>
                <c:pt idx="25223">
                  <c:v>38005</c:v>
                </c:pt>
                <c:pt idx="25224">
                  <c:v>38004</c:v>
                </c:pt>
                <c:pt idx="25225">
                  <c:v>38004</c:v>
                </c:pt>
                <c:pt idx="25226">
                  <c:v>38003</c:v>
                </c:pt>
                <c:pt idx="25227">
                  <c:v>38003</c:v>
                </c:pt>
                <c:pt idx="25228">
                  <c:v>38002</c:v>
                </c:pt>
                <c:pt idx="25229">
                  <c:v>38002</c:v>
                </c:pt>
                <c:pt idx="25230">
                  <c:v>38002</c:v>
                </c:pt>
                <c:pt idx="25231">
                  <c:v>38002</c:v>
                </c:pt>
                <c:pt idx="25232">
                  <c:v>38001</c:v>
                </c:pt>
                <c:pt idx="25233">
                  <c:v>38001</c:v>
                </c:pt>
                <c:pt idx="25234">
                  <c:v>38000</c:v>
                </c:pt>
                <c:pt idx="25235">
                  <c:v>37999</c:v>
                </c:pt>
                <c:pt idx="25236">
                  <c:v>37999</c:v>
                </c:pt>
                <c:pt idx="25237">
                  <c:v>37999</c:v>
                </c:pt>
                <c:pt idx="25238">
                  <c:v>37998</c:v>
                </c:pt>
                <c:pt idx="25239">
                  <c:v>37997</c:v>
                </c:pt>
                <c:pt idx="25240">
                  <c:v>37996</c:v>
                </c:pt>
                <c:pt idx="25241">
                  <c:v>37996</c:v>
                </c:pt>
                <c:pt idx="25242">
                  <c:v>37995</c:v>
                </c:pt>
                <c:pt idx="25243">
                  <c:v>37995</c:v>
                </c:pt>
                <c:pt idx="25244">
                  <c:v>37994</c:v>
                </c:pt>
                <c:pt idx="25245">
                  <c:v>37994</c:v>
                </c:pt>
                <c:pt idx="25246">
                  <c:v>37994</c:v>
                </c:pt>
                <c:pt idx="25247">
                  <c:v>37994</c:v>
                </c:pt>
                <c:pt idx="25248">
                  <c:v>37994</c:v>
                </c:pt>
                <c:pt idx="25249">
                  <c:v>37994</c:v>
                </c:pt>
                <c:pt idx="25250">
                  <c:v>37993</c:v>
                </c:pt>
                <c:pt idx="25251">
                  <c:v>37993</c:v>
                </c:pt>
                <c:pt idx="25252">
                  <c:v>37993</c:v>
                </c:pt>
                <c:pt idx="25253">
                  <c:v>37992</c:v>
                </c:pt>
                <c:pt idx="25254">
                  <c:v>37989</c:v>
                </c:pt>
                <c:pt idx="25255">
                  <c:v>37989</c:v>
                </c:pt>
                <c:pt idx="25256">
                  <c:v>37989</c:v>
                </c:pt>
                <c:pt idx="25257">
                  <c:v>37988</c:v>
                </c:pt>
                <c:pt idx="25258">
                  <c:v>37988</c:v>
                </c:pt>
                <c:pt idx="25259">
                  <c:v>37988</c:v>
                </c:pt>
                <c:pt idx="25260">
                  <c:v>37988</c:v>
                </c:pt>
                <c:pt idx="25261">
                  <c:v>37987</c:v>
                </c:pt>
                <c:pt idx="25262">
                  <c:v>37987</c:v>
                </c:pt>
                <c:pt idx="25263">
                  <c:v>37987</c:v>
                </c:pt>
                <c:pt idx="25264">
                  <c:v>37986</c:v>
                </c:pt>
                <c:pt idx="25265">
                  <c:v>37985</c:v>
                </c:pt>
                <c:pt idx="25266">
                  <c:v>37984</c:v>
                </c:pt>
                <c:pt idx="25267">
                  <c:v>37984</c:v>
                </c:pt>
                <c:pt idx="25268">
                  <c:v>37984</c:v>
                </c:pt>
                <c:pt idx="25269">
                  <c:v>37983</c:v>
                </c:pt>
                <c:pt idx="25270">
                  <c:v>37983</c:v>
                </c:pt>
                <c:pt idx="25271">
                  <c:v>37981</c:v>
                </c:pt>
                <c:pt idx="25272">
                  <c:v>37981</c:v>
                </c:pt>
                <c:pt idx="25273">
                  <c:v>37979</c:v>
                </c:pt>
                <c:pt idx="25274">
                  <c:v>37979</c:v>
                </c:pt>
                <c:pt idx="25275">
                  <c:v>37978</c:v>
                </c:pt>
                <c:pt idx="25276">
                  <c:v>37978</c:v>
                </c:pt>
                <c:pt idx="25277">
                  <c:v>37978</c:v>
                </c:pt>
                <c:pt idx="25278">
                  <c:v>37977</c:v>
                </c:pt>
                <c:pt idx="25279">
                  <c:v>37976</c:v>
                </c:pt>
                <c:pt idx="25280">
                  <c:v>37976</c:v>
                </c:pt>
                <c:pt idx="25281">
                  <c:v>37976</c:v>
                </c:pt>
                <c:pt idx="25282">
                  <c:v>37975</c:v>
                </c:pt>
                <c:pt idx="25283">
                  <c:v>37974</c:v>
                </c:pt>
                <c:pt idx="25284">
                  <c:v>37974</c:v>
                </c:pt>
                <c:pt idx="25285">
                  <c:v>37973</c:v>
                </c:pt>
                <c:pt idx="25286">
                  <c:v>37973</c:v>
                </c:pt>
                <c:pt idx="25287">
                  <c:v>37973</c:v>
                </c:pt>
                <c:pt idx="25288">
                  <c:v>37973</c:v>
                </c:pt>
                <c:pt idx="25289">
                  <c:v>37973</c:v>
                </c:pt>
                <c:pt idx="25290">
                  <c:v>37972</c:v>
                </c:pt>
                <c:pt idx="25291">
                  <c:v>37972</c:v>
                </c:pt>
                <c:pt idx="25292">
                  <c:v>37971</c:v>
                </c:pt>
                <c:pt idx="25293">
                  <c:v>37970</c:v>
                </c:pt>
                <c:pt idx="25294">
                  <c:v>37967</c:v>
                </c:pt>
                <c:pt idx="25295">
                  <c:v>37967</c:v>
                </c:pt>
                <c:pt idx="25296">
                  <c:v>37967</c:v>
                </c:pt>
                <c:pt idx="25297">
                  <c:v>37966</c:v>
                </c:pt>
                <c:pt idx="25298">
                  <c:v>37966</c:v>
                </c:pt>
                <c:pt idx="25299">
                  <c:v>37965</c:v>
                </c:pt>
                <c:pt idx="25300">
                  <c:v>37965</c:v>
                </c:pt>
                <c:pt idx="25301">
                  <c:v>37965</c:v>
                </c:pt>
                <c:pt idx="25302">
                  <c:v>37965</c:v>
                </c:pt>
                <c:pt idx="25303">
                  <c:v>37965</c:v>
                </c:pt>
                <c:pt idx="25304">
                  <c:v>37964</c:v>
                </c:pt>
                <c:pt idx="25305">
                  <c:v>37963</c:v>
                </c:pt>
                <c:pt idx="25306">
                  <c:v>37963</c:v>
                </c:pt>
                <c:pt idx="25307">
                  <c:v>37963</c:v>
                </c:pt>
                <c:pt idx="25308">
                  <c:v>37962</c:v>
                </c:pt>
                <c:pt idx="25309">
                  <c:v>37962</c:v>
                </c:pt>
                <c:pt idx="25310">
                  <c:v>37961</c:v>
                </c:pt>
                <c:pt idx="25311">
                  <c:v>37961</c:v>
                </c:pt>
                <c:pt idx="25312">
                  <c:v>37961</c:v>
                </c:pt>
                <c:pt idx="25313">
                  <c:v>37961</c:v>
                </c:pt>
                <c:pt idx="25314">
                  <c:v>37960</c:v>
                </c:pt>
                <c:pt idx="25315">
                  <c:v>37959</c:v>
                </c:pt>
                <c:pt idx="25316">
                  <c:v>37959</c:v>
                </c:pt>
                <c:pt idx="25317">
                  <c:v>37959</c:v>
                </c:pt>
                <c:pt idx="25318">
                  <c:v>37959</c:v>
                </c:pt>
                <c:pt idx="25319">
                  <c:v>37959</c:v>
                </c:pt>
                <c:pt idx="25320">
                  <c:v>37959</c:v>
                </c:pt>
                <c:pt idx="25321">
                  <c:v>37958</c:v>
                </c:pt>
                <c:pt idx="25322">
                  <c:v>37958</c:v>
                </c:pt>
                <c:pt idx="25323">
                  <c:v>37957</c:v>
                </c:pt>
                <c:pt idx="25324">
                  <c:v>37956</c:v>
                </c:pt>
                <c:pt idx="25325">
                  <c:v>37955</c:v>
                </c:pt>
                <c:pt idx="25326">
                  <c:v>37955</c:v>
                </c:pt>
                <c:pt idx="25327">
                  <c:v>37953</c:v>
                </c:pt>
                <c:pt idx="25328">
                  <c:v>37952</c:v>
                </c:pt>
                <c:pt idx="25329">
                  <c:v>37950</c:v>
                </c:pt>
                <c:pt idx="25330">
                  <c:v>37950</c:v>
                </c:pt>
                <c:pt idx="25331">
                  <c:v>37949</c:v>
                </c:pt>
                <c:pt idx="25332">
                  <c:v>37948</c:v>
                </c:pt>
                <c:pt idx="25333">
                  <c:v>37948</c:v>
                </c:pt>
                <c:pt idx="25334">
                  <c:v>37947</c:v>
                </c:pt>
                <c:pt idx="25335">
                  <c:v>37947</c:v>
                </c:pt>
                <c:pt idx="25336">
                  <c:v>37947</c:v>
                </c:pt>
                <c:pt idx="25337">
                  <c:v>37946</c:v>
                </c:pt>
                <c:pt idx="25338">
                  <c:v>37946</c:v>
                </c:pt>
                <c:pt idx="25339">
                  <c:v>37946</c:v>
                </c:pt>
                <c:pt idx="25340">
                  <c:v>37945</c:v>
                </c:pt>
                <c:pt idx="25341">
                  <c:v>37944</c:v>
                </c:pt>
                <c:pt idx="25342">
                  <c:v>37944</c:v>
                </c:pt>
                <c:pt idx="25343">
                  <c:v>37942</c:v>
                </c:pt>
                <c:pt idx="25344">
                  <c:v>37942</c:v>
                </c:pt>
                <c:pt idx="25345">
                  <c:v>37942</c:v>
                </c:pt>
                <c:pt idx="25346">
                  <c:v>37942</c:v>
                </c:pt>
                <c:pt idx="25347">
                  <c:v>37942</c:v>
                </c:pt>
                <c:pt idx="25348">
                  <c:v>37941</c:v>
                </c:pt>
                <c:pt idx="25349">
                  <c:v>37941</c:v>
                </c:pt>
                <c:pt idx="25350">
                  <c:v>37940</c:v>
                </c:pt>
                <c:pt idx="25351">
                  <c:v>37940</c:v>
                </c:pt>
                <c:pt idx="25352">
                  <c:v>37940</c:v>
                </c:pt>
                <c:pt idx="25353">
                  <c:v>37940</c:v>
                </c:pt>
                <c:pt idx="25354">
                  <c:v>37939</c:v>
                </c:pt>
                <c:pt idx="25355">
                  <c:v>37939</c:v>
                </c:pt>
                <c:pt idx="25356">
                  <c:v>37939</c:v>
                </c:pt>
                <c:pt idx="25357">
                  <c:v>37938</c:v>
                </c:pt>
                <c:pt idx="25358">
                  <c:v>37938</c:v>
                </c:pt>
                <c:pt idx="25359">
                  <c:v>37938</c:v>
                </c:pt>
                <c:pt idx="25360">
                  <c:v>37938</c:v>
                </c:pt>
                <c:pt idx="25361">
                  <c:v>37938</c:v>
                </c:pt>
                <c:pt idx="25362">
                  <c:v>37938</c:v>
                </c:pt>
                <c:pt idx="25363">
                  <c:v>37937</c:v>
                </c:pt>
                <c:pt idx="25364">
                  <c:v>37935</c:v>
                </c:pt>
                <c:pt idx="25365">
                  <c:v>37935</c:v>
                </c:pt>
                <c:pt idx="25366">
                  <c:v>37935</c:v>
                </c:pt>
                <c:pt idx="25367">
                  <c:v>37934</c:v>
                </c:pt>
                <c:pt idx="25368">
                  <c:v>37934</c:v>
                </c:pt>
                <c:pt idx="25369">
                  <c:v>37932</c:v>
                </c:pt>
                <c:pt idx="25370">
                  <c:v>37932</c:v>
                </c:pt>
                <c:pt idx="25371">
                  <c:v>37931</c:v>
                </c:pt>
                <c:pt idx="25372">
                  <c:v>37930</c:v>
                </c:pt>
                <c:pt idx="25373">
                  <c:v>37930</c:v>
                </c:pt>
                <c:pt idx="25374">
                  <c:v>37929</c:v>
                </c:pt>
                <c:pt idx="25375">
                  <c:v>37928</c:v>
                </c:pt>
                <c:pt idx="25376">
                  <c:v>37928</c:v>
                </c:pt>
                <c:pt idx="25377">
                  <c:v>37928</c:v>
                </c:pt>
                <c:pt idx="25378">
                  <c:v>37927</c:v>
                </c:pt>
                <c:pt idx="25379">
                  <c:v>37925</c:v>
                </c:pt>
                <c:pt idx="25380">
                  <c:v>37924</c:v>
                </c:pt>
                <c:pt idx="25381">
                  <c:v>37924</c:v>
                </c:pt>
                <c:pt idx="25382">
                  <c:v>37924</c:v>
                </c:pt>
                <c:pt idx="25383">
                  <c:v>37924</c:v>
                </c:pt>
                <c:pt idx="25384">
                  <c:v>37924</c:v>
                </c:pt>
                <c:pt idx="25385">
                  <c:v>37924</c:v>
                </c:pt>
                <c:pt idx="25386">
                  <c:v>37923</c:v>
                </c:pt>
                <c:pt idx="25387">
                  <c:v>37923</c:v>
                </c:pt>
                <c:pt idx="25388">
                  <c:v>37922</c:v>
                </c:pt>
                <c:pt idx="25389">
                  <c:v>37922</c:v>
                </c:pt>
                <c:pt idx="25390">
                  <c:v>37921</c:v>
                </c:pt>
                <c:pt idx="25391">
                  <c:v>37920</c:v>
                </c:pt>
                <c:pt idx="25392">
                  <c:v>37920</c:v>
                </c:pt>
                <c:pt idx="25393">
                  <c:v>37919</c:v>
                </c:pt>
                <c:pt idx="25394">
                  <c:v>37919</c:v>
                </c:pt>
                <c:pt idx="25395">
                  <c:v>37919</c:v>
                </c:pt>
                <c:pt idx="25396">
                  <c:v>37918</c:v>
                </c:pt>
                <c:pt idx="25397">
                  <c:v>37918</c:v>
                </c:pt>
                <c:pt idx="25398">
                  <c:v>37917</c:v>
                </c:pt>
                <c:pt idx="25399">
                  <c:v>37917</c:v>
                </c:pt>
                <c:pt idx="25400">
                  <c:v>37917</c:v>
                </c:pt>
                <c:pt idx="25401">
                  <c:v>37917</c:v>
                </c:pt>
                <c:pt idx="25402">
                  <c:v>37916</c:v>
                </c:pt>
                <c:pt idx="25403">
                  <c:v>37916</c:v>
                </c:pt>
                <c:pt idx="25404">
                  <c:v>37916</c:v>
                </c:pt>
                <c:pt idx="25405">
                  <c:v>37915</c:v>
                </c:pt>
                <c:pt idx="25406">
                  <c:v>37915</c:v>
                </c:pt>
                <c:pt idx="25407">
                  <c:v>37915</c:v>
                </c:pt>
                <c:pt idx="25408">
                  <c:v>37915</c:v>
                </c:pt>
                <c:pt idx="25409">
                  <c:v>37915</c:v>
                </c:pt>
                <c:pt idx="25410">
                  <c:v>37915</c:v>
                </c:pt>
                <c:pt idx="25411">
                  <c:v>37914</c:v>
                </c:pt>
                <c:pt idx="25412">
                  <c:v>37914</c:v>
                </c:pt>
                <c:pt idx="25413">
                  <c:v>37914</c:v>
                </c:pt>
                <c:pt idx="25414">
                  <c:v>37913</c:v>
                </c:pt>
                <c:pt idx="25415">
                  <c:v>37912</c:v>
                </c:pt>
                <c:pt idx="25416">
                  <c:v>37911</c:v>
                </c:pt>
                <c:pt idx="25417">
                  <c:v>37911</c:v>
                </c:pt>
                <c:pt idx="25418">
                  <c:v>37910</c:v>
                </c:pt>
                <c:pt idx="25419">
                  <c:v>37910</c:v>
                </c:pt>
                <c:pt idx="25420">
                  <c:v>37909</c:v>
                </c:pt>
                <c:pt idx="25421">
                  <c:v>37909</c:v>
                </c:pt>
                <c:pt idx="25422">
                  <c:v>37909</c:v>
                </c:pt>
                <c:pt idx="25423">
                  <c:v>37908</c:v>
                </c:pt>
                <c:pt idx="25424">
                  <c:v>37908</c:v>
                </c:pt>
                <c:pt idx="25425">
                  <c:v>37908</c:v>
                </c:pt>
                <c:pt idx="25426">
                  <c:v>37908</c:v>
                </c:pt>
                <c:pt idx="25427">
                  <c:v>37907</c:v>
                </c:pt>
                <c:pt idx="25428">
                  <c:v>37903</c:v>
                </c:pt>
                <c:pt idx="25429">
                  <c:v>37903</c:v>
                </c:pt>
                <c:pt idx="25430">
                  <c:v>37903</c:v>
                </c:pt>
                <c:pt idx="25431">
                  <c:v>37903</c:v>
                </c:pt>
                <c:pt idx="25432">
                  <c:v>37902</c:v>
                </c:pt>
                <c:pt idx="25433">
                  <c:v>37902</c:v>
                </c:pt>
                <c:pt idx="25434">
                  <c:v>37901</c:v>
                </c:pt>
                <c:pt idx="25435">
                  <c:v>37900</c:v>
                </c:pt>
                <c:pt idx="25436">
                  <c:v>37900</c:v>
                </c:pt>
                <c:pt idx="25437">
                  <c:v>37900</c:v>
                </c:pt>
                <c:pt idx="25438">
                  <c:v>37900</c:v>
                </c:pt>
                <c:pt idx="25439">
                  <c:v>37900</c:v>
                </c:pt>
                <c:pt idx="25440">
                  <c:v>37899</c:v>
                </c:pt>
                <c:pt idx="25441">
                  <c:v>37898</c:v>
                </c:pt>
                <c:pt idx="25442">
                  <c:v>37898</c:v>
                </c:pt>
                <c:pt idx="25443">
                  <c:v>37897</c:v>
                </c:pt>
                <c:pt idx="25444">
                  <c:v>37897</c:v>
                </c:pt>
                <c:pt idx="25445">
                  <c:v>37896</c:v>
                </c:pt>
                <c:pt idx="25446">
                  <c:v>37896</c:v>
                </c:pt>
                <c:pt idx="25447">
                  <c:v>37895</c:v>
                </c:pt>
                <c:pt idx="25448">
                  <c:v>37895</c:v>
                </c:pt>
                <c:pt idx="25449">
                  <c:v>37895</c:v>
                </c:pt>
                <c:pt idx="25450">
                  <c:v>37894</c:v>
                </c:pt>
                <c:pt idx="25451">
                  <c:v>37894</c:v>
                </c:pt>
                <c:pt idx="25452">
                  <c:v>37894</c:v>
                </c:pt>
                <c:pt idx="25453">
                  <c:v>37892</c:v>
                </c:pt>
                <c:pt idx="25454">
                  <c:v>37892</c:v>
                </c:pt>
                <c:pt idx="25455">
                  <c:v>37892</c:v>
                </c:pt>
                <c:pt idx="25456">
                  <c:v>37891</c:v>
                </c:pt>
                <c:pt idx="25457">
                  <c:v>37891</c:v>
                </c:pt>
                <c:pt idx="25458">
                  <c:v>37891</c:v>
                </c:pt>
                <c:pt idx="25459">
                  <c:v>37889</c:v>
                </c:pt>
                <c:pt idx="25460">
                  <c:v>37889</c:v>
                </c:pt>
                <c:pt idx="25461">
                  <c:v>37888</c:v>
                </c:pt>
                <c:pt idx="25462">
                  <c:v>37888</c:v>
                </c:pt>
                <c:pt idx="25463">
                  <c:v>37888</c:v>
                </c:pt>
                <c:pt idx="25464">
                  <c:v>37888</c:v>
                </c:pt>
                <c:pt idx="25465">
                  <c:v>37888</c:v>
                </c:pt>
                <c:pt idx="25466">
                  <c:v>37888</c:v>
                </c:pt>
                <c:pt idx="25467">
                  <c:v>37887</c:v>
                </c:pt>
                <c:pt idx="25468">
                  <c:v>37887</c:v>
                </c:pt>
                <c:pt idx="25469">
                  <c:v>37887</c:v>
                </c:pt>
                <c:pt idx="25470">
                  <c:v>37886</c:v>
                </c:pt>
                <c:pt idx="25471">
                  <c:v>37886</c:v>
                </c:pt>
                <c:pt idx="25472">
                  <c:v>37886</c:v>
                </c:pt>
                <c:pt idx="25473">
                  <c:v>37886</c:v>
                </c:pt>
                <c:pt idx="25474">
                  <c:v>37885</c:v>
                </c:pt>
                <c:pt idx="25475">
                  <c:v>37884</c:v>
                </c:pt>
                <c:pt idx="25476">
                  <c:v>37884</c:v>
                </c:pt>
                <c:pt idx="25477">
                  <c:v>37883</c:v>
                </c:pt>
                <c:pt idx="25478">
                  <c:v>37883</c:v>
                </c:pt>
                <c:pt idx="25479">
                  <c:v>37883</c:v>
                </c:pt>
                <c:pt idx="25480">
                  <c:v>37882</c:v>
                </c:pt>
                <c:pt idx="25481">
                  <c:v>37882</c:v>
                </c:pt>
                <c:pt idx="25482">
                  <c:v>37881</c:v>
                </c:pt>
                <c:pt idx="25483">
                  <c:v>37880</c:v>
                </c:pt>
                <c:pt idx="25484">
                  <c:v>37880</c:v>
                </c:pt>
                <c:pt idx="25485">
                  <c:v>37879</c:v>
                </c:pt>
                <c:pt idx="25486">
                  <c:v>37879</c:v>
                </c:pt>
                <c:pt idx="25487">
                  <c:v>37879</c:v>
                </c:pt>
                <c:pt idx="25488">
                  <c:v>37878</c:v>
                </c:pt>
                <c:pt idx="25489">
                  <c:v>37877</c:v>
                </c:pt>
                <c:pt idx="25490">
                  <c:v>37877</c:v>
                </c:pt>
                <c:pt idx="25491">
                  <c:v>37877</c:v>
                </c:pt>
                <c:pt idx="25492">
                  <c:v>37876</c:v>
                </c:pt>
                <c:pt idx="25493">
                  <c:v>37875</c:v>
                </c:pt>
                <c:pt idx="25494">
                  <c:v>37875</c:v>
                </c:pt>
                <c:pt idx="25495">
                  <c:v>37875</c:v>
                </c:pt>
                <c:pt idx="25496">
                  <c:v>37874</c:v>
                </c:pt>
                <c:pt idx="25497">
                  <c:v>37873</c:v>
                </c:pt>
                <c:pt idx="25498">
                  <c:v>37873</c:v>
                </c:pt>
                <c:pt idx="25499">
                  <c:v>37872</c:v>
                </c:pt>
                <c:pt idx="25500">
                  <c:v>37872</c:v>
                </c:pt>
                <c:pt idx="25501">
                  <c:v>37871</c:v>
                </c:pt>
                <c:pt idx="25502">
                  <c:v>37870</c:v>
                </c:pt>
                <c:pt idx="25503">
                  <c:v>37869</c:v>
                </c:pt>
                <c:pt idx="25504">
                  <c:v>37869</c:v>
                </c:pt>
                <c:pt idx="25505">
                  <c:v>37869</c:v>
                </c:pt>
                <c:pt idx="25506">
                  <c:v>37869</c:v>
                </c:pt>
                <c:pt idx="25507">
                  <c:v>37868</c:v>
                </c:pt>
                <c:pt idx="25508">
                  <c:v>37868</c:v>
                </c:pt>
                <c:pt idx="25509">
                  <c:v>37866</c:v>
                </c:pt>
                <c:pt idx="25510">
                  <c:v>37866</c:v>
                </c:pt>
                <c:pt idx="25511">
                  <c:v>37865</c:v>
                </c:pt>
                <c:pt idx="25512">
                  <c:v>37865</c:v>
                </c:pt>
                <c:pt idx="25513">
                  <c:v>37863</c:v>
                </c:pt>
                <c:pt idx="25514">
                  <c:v>37862</c:v>
                </c:pt>
                <c:pt idx="25515">
                  <c:v>37862</c:v>
                </c:pt>
                <c:pt idx="25516">
                  <c:v>37861</c:v>
                </c:pt>
                <c:pt idx="25517">
                  <c:v>37861</c:v>
                </c:pt>
                <c:pt idx="25518">
                  <c:v>37860</c:v>
                </c:pt>
                <c:pt idx="25519">
                  <c:v>37858</c:v>
                </c:pt>
                <c:pt idx="25520">
                  <c:v>37858</c:v>
                </c:pt>
                <c:pt idx="25521">
                  <c:v>37858</c:v>
                </c:pt>
                <c:pt idx="25522">
                  <c:v>37858</c:v>
                </c:pt>
                <c:pt idx="25523">
                  <c:v>37857</c:v>
                </c:pt>
                <c:pt idx="25524">
                  <c:v>37856</c:v>
                </c:pt>
                <c:pt idx="25525">
                  <c:v>37855</c:v>
                </c:pt>
                <c:pt idx="25526">
                  <c:v>37855</c:v>
                </c:pt>
                <c:pt idx="25527">
                  <c:v>37854</c:v>
                </c:pt>
                <c:pt idx="25528">
                  <c:v>37854</c:v>
                </c:pt>
                <c:pt idx="25529">
                  <c:v>37854</c:v>
                </c:pt>
                <c:pt idx="25530">
                  <c:v>37854</c:v>
                </c:pt>
                <c:pt idx="25531">
                  <c:v>37854</c:v>
                </c:pt>
                <c:pt idx="25532">
                  <c:v>37854</c:v>
                </c:pt>
                <c:pt idx="25533">
                  <c:v>37853</c:v>
                </c:pt>
                <c:pt idx="25534">
                  <c:v>37853</c:v>
                </c:pt>
                <c:pt idx="25535">
                  <c:v>37853</c:v>
                </c:pt>
                <c:pt idx="25536">
                  <c:v>37852</c:v>
                </c:pt>
                <c:pt idx="25537">
                  <c:v>37852</c:v>
                </c:pt>
                <c:pt idx="25538">
                  <c:v>37851</c:v>
                </c:pt>
                <c:pt idx="25539">
                  <c:v>37851</c:v>
                </c:pt>
                <c:pt idx="25540">
                  <c:v>37850</c:v>
                </c:pt>
                <c:pt idx="25541">
                  <c:v>37850</c:v>
                </c:pt>
                <c:pt idx="25542">
                  <c:v>37849</c:v>
                </c:pt>
                <c:pt idx="25543">
                  <c:v>37849</c:v>
                </c:pt>
                <c:pt idx="25544">
                  <c:v>37849</c:v>
                </c:pt>
                <c:pt idx="25545">
                  <c:v>37848</c:v>
                </c:pt>
                <c:pt idx="25546">
                  <c:v>37847</c:v>
                </c:pt>
                <c:pt idx="25547">
                  <c:v>37847</c:v>
                </c:pt>
                <c:pt idx="25548">
                  <c:v>37846</c:v>
                </c:pt>
                <c:pt idx="25549">
                  <c:v>37846</c:v>
                </c:pt>
                <c:pt idx="25550">
                  <c:v>37845</c:v>
                </c:pt>
                <c:pt idx="25551">
                  <c:v>37845</c:v>
                </c:pt>
                <c:pt idx="25552">
                  <c:v>37844</c:v>
                </c:pt>
                <c:pt idx="25553">
                  <c:v>37844</c:v>
                </c:pt>
                <c:pt idx="25554">
                  <c:v>37844</c:v>
                </c:pt>
                <c:pt idx="25555">
                  <c:v>37844</c:v>
                </c:pt>
                <c:pt idx="25556">
                  <c:v>37844</c:v>
                </c:pt>
                <c:pt idx="25557">
                  <c:v>37844</c:v>
                </c:pt>
                <c:pt idx="25558">
                  <c:v>37843</c:v>
                </c:pt>
                <c:pt idx="25559">
                  <c:v>37842</c:v>
                </c:pt>
                <c:pt idx="25560">
                  <c:v>37841</c:v>
                </c:pt>
                <c:pt idx="25561">
                  <c:v>37841</c:v>
                </c:pt>
                <c:pt idx="25562">
                  <c:v>37841</c:v>
                </c:pt>
                <c:pt idx="25563">
                  <c:v>37841</c:v>
                </c:pt>
                <c:pt idx="25564">
                  <c:v>37839</c:v>
                </c:pt>
                <c:pt idx="25565">
                  <c:v>37839</c:v>
                </c:pt>
                <c:pt idx="25566">
                  <c:v>37838</c:v>
                </c:pt>
                <c:pt idx="25567">
                  <c:v>37838</c:v>
                </c:pt>
                <c:pt idx="25568">
                  <c:v>37838</c:v>
                </c:pt>
                <c:pt idx="25569">
                  <c:v>37836</c:v>
                </c:pt>
                <c:pt idx="25570">
                  <c:v>37836</c:v>
                </c:pt>
                <c:pt idx="25571">
                  <c:v>37836</c:v>
                </c:pt>
                <c:pt idx="25572">
                  <c:v>37835</c:v>
                </c:pt>
                <c:pt idx="25573">
                  <c:v>37835</c:v>
                </c:pt>
                <c:pt idx="25574">
                  <c:v>37835</c:v>
                </c:pt>
                <c:pt idx="25575">
                  <c:v>37834</c:v>
                </c:pt>
                <c:pt idx="25576">
                  <c:v>37834</c:v>
                </c:pt>
                <c:pt idx="25577">
                  <c:v>37833</c:v>
                </c:pt>
                <c:pt idx="25578">
                  <c:v>37832</c:v>
                </c:pt>
                <c:pt idx="25579">
                  <c:v>37831</c:v>
                </c:pt>
                <c:pt idx="25580">
                  <c:v>37830</c:v>
                </c:pt>
                <c:pt idx="25581">
                  <c:v>37829</c:v>
                </c:pt>
                <c:pt idx="25582">
                  <c:v>37828</c:v>
                </c:pt>
                <c:pt idx="25583">
                  <c:v>37828</c:v>
                </c:pt>
                <c:pt idx="25584">
                  <c:v>37827</c:v>
                </c:pt>
                <c:pt idx="25585">
                  <c:v>37827</c:v>
                </c:pt>
                <c:pt idx="25586">
                  <c:v>37825</c:v>
                </c:pt>
                <c:pt idx="25587">
                  <c:v>37825</c:v>
                </c:pt>
                <c:pt idx="25588">
                  <c:v>37825</c:v>
                </c:pt>
                <c:pt idx="25589">
                  <c:v>37824</c:v>
                </c:pt>
                <c:pt idx="25590">
                  <c:v>37823</c:v>
                </c:pt>
                <c:pt idx="25591">
                  <c:v>37823</c:v>
                </c:pt>
                <c:pt idx="25592">
                  <c:v>37823</c:v>
                </c:pt>
                <c:pt idx="25593">
                  <c:v>37822</c:v>
                </c:pt>
                <c:pt idx="25594">
                  <c:v>37822</c:v>
                </c:pt>
                <c:pt idx="25595">
                  <c:v>37822</c:v>
                </c:pt>
                <c:pt idx="25596">
                  <c:v>37821</c:v>
                </c:pt>
                <c:pt idx="25597">
                  <c:v>37821</c:v>
                </c:pt>
                <c:pt idx="25598">
                  <c:v>37820</c:v>
                </c:pt>
                <c:pt idx="25599">
                  <c:v>37819</c:v>
                </c:pt>
                <c:pt idx="25600">
                  <c:v>37818</c:v>
                </c:pt>
                <c:pt idx="25601">
                  <c:v>37818</c:v>
                </c:pt>
                <c:pt idx="25602">
                  <c:v>37818</c:v>
                </c:pt>
                <c:pt idx="25603">
                  <c:v>37817</c:v>
                </c:pt>
                <c:pt idx="25604">
                  <c:v>37817</c:v>
                </c:pt>
                <c:pt idx="25605">
                  <c:v>37816</c:v>
                </c:pt>
                <c:pt idx="25606">
                  <c:v>37815</c:v>
                </c:pt>
                <c:pt idx="25607">
                  <c:v>37815</c:v>
                </c:pt>
                <c:pt idx="25608">
                  <c:v>37815</c:v>
                </c:pt>
                <c:pt idx="25609">
                  <c:v>37814</c:v>
                </c:pt>
                <c:pt idx="25610">
                  <c:v>37814</c:v>
                </c:pt>
                <c:pt idx="25611">
                  <c:v>37814</c:v>
                </c:pt>
                <c:pt idx="25612">
                  <c:v>37813</c:v>
                </c:pt>
                <c:pt idx="25613">
                  <c:v>37813</c:v>
                </c:pt>
                <c:pt idx="25614">
                  <c:v>37813</c:v>
                </c:pt>
                <c:pt idx="25615">
                  <c:v>37812</c:v>
                </c:pt>
                <c:pt idx="25616">
                  <c:v>37812</c:v>
                </c:pt>
                <c:pt idx="25617">
                  <c:v>37812</c:v>
                </c:pt>
                <c:pt idx="25618">
                  <c:v>37811</c:v>
                </c:pt>
                <c:pt idx="25619">
                  <c:v>37811</c:v>
                </c:pt>
                <c:pt idx="25620">
                  <c:v>37811</c:v>
                </c:pt>
                <c:pt idx="25621">
                  <c:v>37810</c:v>
                </c:pt>
                <c:pt idx="25622">
                  <c:v>37810</c:v>
                </c:pt>
                <c:pt idx="25623">
                  <c:v>37810</c:v>
                </c:pt>
                <c:pt idx="25624">
                  <c:v>37810</c:v>
                </c:pt>
                <c:pt idx="25625">
                  <c:v>37809</c:v>
                </c:pt>
                <c:pt idx="25626">
                  <c:v>37808</c:v>
                </c:pt>
                <c:pt idx="25627">
                  <c:v>37808</c:v>
                </c:pt>
                <c:pt idx="25628">
                  <c:v>37808</c:v>
                </c:pt>
                <c:pt idx="25629">
                  <c:v>37808</c:v>
                </c:pt>
                <c:pt idx="25630">
                  <c:v>37808</c:v>
                </c:pt>
                <c:pt idx="25631">
                  <c:v>37808</c:v>
                </c:pt>
                <c:pt idx="25632">
                  <c:v>37808</c:v>
                </c:pt>
                <c:pt idx="25633">
                  <c:v>37808</c:v>
                </c:pt>
                <c:pt idx="25634">
                  <c:v>37808</c:v>
                </c:pt>
                <c:pt idx="25635">
                  <c:v>37807</c:v>
                </c:pt>
                <c:pt idx="25636">
                  <c:v>37807</c:v>
                </c:pt>
                <c:pt idx="25637">
                  <c:v>37806</c:v>
                </c:pt>
                <c:pt idx="25638">
                  <c:v>37806</c:v>
                </c:pt>
                <c:pt idx="25639">
                  <c:v>37806</c:v>
                </c:pt>
                <c:pt idx="25640">
                  <c:v>37804</c:v>
                </c:pt>
                <c:pt idx="25641">
                  <c:v>37804</c:v>
                </c:pt>
                <c:pt idx="25642">
                  <c:v>37803</c:v>
                </c:pt>
                <c:pt idx="25643">
                  <c:v>37802</c:v>
                </c:pt>
                <c:pt idx="25644">
                  <c:v>37801</c:v>
                </c:pt>
                <c:pt idx="25645">
                  <c:v>37800</c:v>
                </c:pt>
                <c:pt idx="25646">
                  <c:v>37800</c:v>
                </c:pt>
                <c:pt idx="25647">
                  <c:v>37800</c:v>
                </c:pt>
                <c:pt idx="25648">
                  <c:v>37800</c:v>
                </c:pt>
                <c:pt idx="25649">
                  <c:v>37799</c:v>
                </c:pt>
                <c:pt idx="25650">
                  <c:v>37798</c:v>
                </c:pt>
                <c:pt idx="25651">
                  <c:v>37798</c:v>
                </c:pt>
                <c:pt idx="25652">
                  <c:v>37797</c:v>
                </c:pt>
                <c:pt idx="25653">
                  <c:v>37797</c:v>
                </c:pt>
                <c:pt idx="25654">
                  <c:v>37796</c:v>
                </c:pt>
                <c:pt idx="25655">
                  <c:v>37796</c:v>
                </c:pt>
                <c:pt idx="25656">
                  <c:v>37796</c:v>
                </c:pt>
                <c:pt idx="25657">
                  <c:v>37796</c:v>
                </c:pt>
                <c:pt idx="25658">
                  <c:v>37796</c:v>
                </c:pt>
                <c:pt idx="25659">
                  <c:v>37795</c:v>
                </c:pt>
                <c:pt idx="25660">
                  <c:v>37795</c:v>
                </c:pt>
                <c:pt idx="25661">
                  <c:v>37794</c:v>
                </c:pt>
                <c:pt idx="25662">
                  <c:v>37794</c:v>
                </c:pt>
                <c:pt idx="25663">
                  <c:v>37794</c:v>
                </c:pt>
                <c:pt idx="25664">
                  <c:v>37794</c:v>
                </c:pt>
                <c:pt idx="25665">
                  <c:v>37793</c:v>
                </c:pt>
                <c:pt idx="25666">
                  <c:v>37793</c:v>
                </c:pt>
                <c:pt idx="25667">
                  <c:v>37793</c:v>
                </c:pt>
                <c:pt idx="25668">
                  <c:v>37792</c:v>
                </c:pt>
                <c:pt idx="25669">
                  <c:v>37792</c:v>
                </c:pt>
                <c:pt idx="25670">
                  <c:v>37792</c:v>
                </c:pt>
                <c:pt idx="25671">
                  <c:v>37791</c:v>
                </c:pt>
                <c:pt idx="25672">
                  <c:v>37791</c:v>
                </c:pt>
                <c:pt idx="25673">
                  <c:v>37791</c:v>
                </c:pt>
                <c:pt idx="25674">
                  <c:v>37790</c:v>
                </c:pt>
                <c:pt idx="25675">
                  <c:v>37790</c:v>
                </c:pt>
                <c:pt idx="25676">
                  <c:v>37790</c:v>
                </c:pt>
                <c:pt idx="25677">
                  <c:v>37789</c:v>
                </c:pt>
                <c:pt idx="25678">
                  <c:v>37788</c:v>
                </c:pt>
                <c:pt idx="25679">
                  <c:v>37787</c:v>
                </c:pt>
                <c:pt idx="25680">
                  <c:v>37786</c:v>
                </c:pt>
                <c:pt idx="25681">
                  <c:v>37786</c:v>
                </c:pt>
                <c:pt idx="25682">
                  <c:v>37785</c:v>
                </c:pt>
                <c:pt idx="25683">
                  <c:v>37785</c:v>
                </c:pt>
                <c:pt idx="25684">
                  <c:v>37784</c:v>
                </c:pt>
                <c:pt idx="25685">
                  <c:v>37783</c:v>
                </c:pt>
                <c:pt idx="25686">
                  <c:v>37781</c:v>
                </c:pt>
                <c:pt idx="25687">
                  <c:v>37781</c:v>
                </c:pt>
                <c:pt idx="25688">
                  <c:v>37780</c:v>
                </c:pt>
                <c:pt idx="25689">
                  <c:v>37780</c:v>
                </c:pt>
                <c:pt idx="25690">
                  <c:v>37780</c:v>
                </c:pt>
                <c:pt idx="25691">
                  <c:v>37779</c:v>
                </c:pt>
                <c:pt idx="25692">
                  <c:v>37779</c:v>
                </c:pt>
                <c:pt idx="25693">
                  <c:v>37779</c:v>
                </c:pt>
                <c:pt idx="25694">
                  <c:v>37778</c:v>
                </c:pt>
                <c:pt idx="25695">
                  <c:v>37778</c:v>
                </c:pt>
                <c:pt idx="25696">
                  <c:v>37778</c:v>
                </c:pt>
                <c:pt idx="25697">
                  <c:v>37777</c:v>
                </c:pt>
                <c:pt idx="25698">
                  <c:v>37776</c:v>
                </c:pt>
                <c:pt idx="25699">
                  <c:v>37775</c:v>
                </c:pt>
                <c:pt idx="25700">
                  <c:v>37775</c:v>
                </c:pt>
                <c:pt idx="25701">
                  <c:v>37774</c:v>
                </c:pt>
                <c:pt idx="25702">
                  <c:v>37773</c:v>
                </c:pt>
                <c:pt idx="25703">
                  <c:v>37772</c:v>
                </c:pt>
                <c:pt idx="25704">
                  <c:v>37772</c:v>
                </c:pt>
                <c:pt idx="25705">
                  <c:v>37772</c:v>
                </c:pt>
                <c:pt idx="25706">
                  <c:v>37772</c:v>
                </c:pt>
                <c:pt idx="25707">
                  <c:v>37770</c:v>
                </c:pt>
                <c:pt idx="25708">
                  <c:v>37770</c:v>
                </c:pt>
                <c:pt idx="25709">
                  <c:v>37770</c:v>
                </c:pt>
                <c:pt idx="25710">
                  <c:v>37769</c:v>
                </c:pt>
                <c:pt idx="25711">
                  <c:v>37769</c:v>
                </c:pt>
                <c:pt idx="25712">
                  <c:v>37769</c:v>
                </c:pt>
                <c:pt idx="25713">
                  <c:v>37768</c:v>
                </c:pt>
                <c:pt idx="25714">
                  <c:v>37767</c:v>
                </c:pt>
                <c:pt idx="25715">
                  <c:v>37765</c:v>
                </c:pt>
                <c:pt idx="25716">
                  <c:v>37765</c:v>
                </c:pt>
                <c:pt idx="25717">
                  <c:v>37764</c:v>
                </c:pt>
                <c:pt idx="25718">
                  <c:v>37763</c:v>
                </c:pt>
                <c:pt idx="25719">
                  <c:v>37762</c:v>
                </c:pt>
                <c:pt idx="25720">
                  <c:v>37762</c:v>
                </c:pt>
                <c:pt idx="25721">
                  <c:v>37762</c:v>
                </c:pt>
                <c:pt idx="25722">
                  <c:v>37761</c:v>
                </c:pt>
                <c:pt idx="25723">
                  <c:v>37761</c:v>
                </c:pt>
                <c:pt idx="25724">
                  <c:v>37761</c:v>
                </c:pt>
                <c:pt idx="25725">
                  <c:v>37760</c:v>
                </c:pt>
                <c:pt idx="25726">
                  <c:v>37760</c:v>
                </c:pt>
                <c:pt idx="25727">
                  <c:v>37760</c:v>
                </c:pt>
                <c:pt idx="25728">
                  <c:v>37758</c:v>
                </c:pt>
                <c:pt idx="25729">
                  <c:v>37758</c:v>
                </c:pt>
                <c:pt idx="25730">
                  <c:v>37758</c:v>
                </c:pt>
                <c:pt idx="25731">
                  <c:v>37758</c:v>
                </c:pt>
                <c:pt idx="25732">
                  <c:v>37758</c:v>
                </c:pt>
                <c:pt idx="25733">
                  <c:v>37758</c:v>
                </c:pt>
                <c:pt idx="25734">
                  <c:v>37757</c:v>
                </c:pt>
                <c:pt idx="25735">
                  <c:v>37757</c:v>
                </c:pt>
                <c:pt idx="25736">
                  <c:v>37757</c:v>
                </c:pt>
                <c:pt idx="25737">
                  <c:v>37755</c:v>
                </c:pt>
                <c:pt idx="25738">
                  <c:v>37755</c:v>
                </c:pt>
                <c:pt idx="25739">
                  <c:v>37754</c:v>
                </c:pt>
                <c:pt idx="25740">
                  <c:v>37753</c:v>
                </c:pt>
                <c:pt idx="25741">
                  <c:v>37753</c:v>
                </c:pt>
                <c:pt idx="25742">
                  <c:v>37751</c:v>
                </c:pt>
                <c:pt idx="25743">
                  <c:v>37751</c:v>
                </c:pt>
                <c:pt idx="25744">
                  <c:v>37751</c:v>
                </c:pt>
                <c:pt idx="25745">
                  <c:v>37750</c:v>
                </c:pt>
                <c:pt idx="25746">
                  <c:v>37750</c:v>
                </c:pt>
                <c:pt idx="25747">
                  <c:v>37750</c:v>
                </c:pt>
                <c:pt idx="25748">
                  <c:v>37750</c:v>
                </c:pt>
                <c:pt idx="25749">
                  <c:v>37749</c:v>
                </c:pt>
                <c:pt idx="25750">
                  <c:v>37749</c:v>
                </c:pt>
                <c:pt idx="25751">
                  <c:v>37748</c:v>
                </c:pt>
                <c:pt idx="25752">
                  <c:v>37748</c:v>
                </c:pt>
                <c:pt idx="25753">
                  <c:v>37748</c:v>
                </c:pt>
                <c:pt idx="25754">
                  <c:v>37747</c:v>
                </c:pt>
                <c:pt idx="25755">
                  <c:v>37747</c:v>
                </c:pt>
                <c:pt idx="25756">
                  <c:v>37747</c:v>
                </c:pt>
                <c:pt idx="25757">
                  <c:v>37746</c:v>
                </c:pt>
                <c:pt idx="25758">
                  <c:v>37745</c:v>
                </c:pt>
                <c:pt idx="25759">
                  <c:v>37745</c:v>
                </c:pt>
                <c:pt idx="25760">
                  <c:v>37745</c:v>
                </c:pt>
                <c:pt idx="25761">
                  <c:v>37745</c:v>
                </c:pt>
                <c:pt idx="25762">
                  <c:v>37744</c:v>
                </c:pt>
                <c:pt idx="25763">
                  <c:v>37744</c:v>
                </c:pt>
                <c:pt idx="25764">
                  <c:v>37744</c:v>
                </c:pt>
                <c:pt idx="25765">
                  <c:v>37744</c:v>
                </c:pt>
                <c:pt idx="25766">
                  <c:v>37744</c:v>
                </c:pt>
                <c:pt idx="25767">
                  <c:v>37743</c:v>
                </c:pt>
                <c:pt idx="25768">
                  <c:v>37741</c:v>
                </c:pt>
                <c:pt idx="25769">
                  <c:v>37741</c:v>
                </c:pt>
                <c:pt idx="25770">
                  <c:v>37740</c:v>
                </c:pt>
                <c:pt idx="25771">
                  <c:v>37740</c:v>
                </c:pt>
                <c:pt idx="25772">
                  <c:v>37739</c:v>
                </c:pt>
                <c:pt idx="25773">
                  <c:v>37738</c:v>
                </c:pt>
                <c:pt idx="25774">
                  <c:v>37738</c:v>
                </c:pt>
                <c:pt idx="25775">
                  <c:v>37737</c:v>
                </c:pt>
                <c:pt idx="25776">
                  <c:v>37737</c:v>
                </c:pt>
                <c:pt idx="25777">
                  <c:v>37736</c:v>
                </c:pt>
                <c:pt idx="25778">
                  <c:v>37736</c:v>
                </c:pt>
                <c:pt idx="25779">
                  <c:v>37736</c:v>
                </c:pt>
                <c:pt idx="25780">
                  <c:v>37736</c:v>
                </c:pt>
                <c:pt idx="25781">
                  <c:v>37735</c:v>
                </c:pt>
                <c:pt idx="25782">
                  <c:v>37735</c:v>
                </c:pt>
                <c:pt idx="25783">
                  <c:v>37734</c:v>
                </c:pt>
                <c:pt idx="25784">
                  <c:v>37734</c:v>
                </c:pt>
                <c:pt idx="25785">
                  <c:v>37732</c:v>
                </c:pt>
                <c:pt idx="25786">
                  <c:v>37732</c:v>
                </c:pt>
                <c:pt idx="25787">
                  <c:v>37731</c:v>
                </c:pt>
                <c:pt idx="25788">
                  <c:v>37731</c:v>
                </c:pt>
                <c:pt idx="25789">
                  <c:v>37731</c:v>
                </c:pt>
                <c:pt idx="25790">
                  <c:v>37730</c:v>
                </c:pt>
                <c:pt idx="25791">
                  <c:v>37730</c:v>
                </c:pt>
                <c:pt idx="25792">
                  <c:v>37729</c:v>
                </c:pt>
                <c:pt idx="25793">
                  <c:v>37728</c:v>
                </c:pt>
                <c:pt idx="25794">
                  <c:v>37728</c:v>
                </c:pt>
                <c:pt idx="25795">
                  <c:v>37726</c:v>
                </c:pt>
                <c:pt idx="25796">
                  <c:v>37726</c:v>
                </c:pt>
                <c:pt idx="25797">
                  <c:v>37725</c:v>
                </c:pt>
                <c:pt idx="25798">
                  <c:v>37725</c:v>
                </c:pt>
                <c:pt idx="25799">
                  <c:v>37725</c:v>
                </c:pt>
                <c:pt idx="25800">
                  <c:v>37723</c:v>
                </c:pt>
                <c:pt idx="25801">
                  <c:v>37723</c:v>
                </c:pt>
                <c:pt idx="25802">
                  <c:v>37723</c:v>
                </c:pt>
                <c:pt idx="25803">
                  <c:v>37723</c:v>
                </c:pt>
                <c:pt idx="25804">
                  <c:v>37722</c:v>
                </c:pt>
                <c:pt idx="25805">
                  <c:v>37722</c:v>
                </c:pt>
                <c:pt idx="25806">
                  <c:v>37721</c:v>
                </c:pt>
                <c:pt idx="25807">
                  <c:v>37720</c:v>
                </c:pt>
                <c:pt idx="25808">
                  <c:v>37720</c:v>
                </c:pt>
                <c:pt idx="25809">
                  <c:v>37719</c:v>
                </c:pt>
                <c:pt idx="25810">
                  <c:v>37718</c:v>
                </c:pt>
                <c:pt idx="25811">
                  <c:v>37718</c:v>
                </c:pt>
                <c:pt idx="25812">
                  <c:v>37718</c:v>
                </c:pt>
                <c:pt idx="25813">
                  <c:v>37716</c:v>
                </c:pt>
                <c:pt idx="25814">
                  <c:v>37716</c:v>
                </c:pt>
                <c:pt idx="25815">
                  <c:v>37716</c:v>
                </c:pt>
                <c:pt idx="25816">
                  <c:v>37714</c:v>
                </c:pt>
                <c:pt idx="25817">
                  <c:v>37713</c:v>
                </c:pt>
                <c:pt idx="25818">
                  <c:v>37713</c:v>
                </c:pt>
                <c:pt idx="25819">
                  <c:v>37713</c:v>
                </c:pt>
                <c:pt idx="25820">
                  <c:v>37713</c:v>
                </c:pt>
                <c:pt idx="25821">
                  <c:v>37713</c:v>
                </c:pt>
                <c:pt idx="25822">
                  <c:v>37712</c:v>
                </c:pt>
                <c:pt idx="25823">
                  <c:v>37712</c:v>
                </c:pt>
                <c:pt idx="25824">
                  <c:v>37712</c:v>
                </c:pt>
                <c:pt idx="25825">
                  <c:v>37712</c:v>
                </c:pt>
                <c:pt idx="25826">
                  <c:v>37711</c:v>
                </c:pt>
                <c:pt idx="25827">
                  <c:v>37711</c:v>
                </c:pt>
                <c:pt idx="25828">
                  <c:v>37710</c:v>
                </c:pt>
                <c:pt idx="25829">
                  <c:v>37708</c:v>
                </c:pt>
                <c:pt idx="25830">
                  <c:v>37708</c:v>
                </c:pt>
                <c:pt idx="25831">
                  <c:v>37708</c:v>
                </c:pt>
                <c:pt idx="25832">
                  <c:v>37708</c:v>
                </c:pt>
                <c:pt idx="25833">
                  <c:v>37707</c:v>
                </c:pt>
                <c:pt idx="25834">
                  <c:v>37706</c:v>
                </c:pt>
                <c:pt idx="25835">
                  <c:v>37706</c:v>
                </c:pt>
                <c:pt idx="25836">
                  <c:v>37705</c:v>
                </c:pt>
                <c:pt idx="25837">
                  <c:v>37705</c:v>
                </c:pt>
                <c:pt idx="25838">
                  <c:v>37704</c:v>
                </c:pt>
                <c:pt idx="25839">
                  <c:v>37704</c:v>
                </c:pt>
                <c:pt idx="25840">
                  <c:v>37704</c:v>
                </c:pt>
                <c:pt idx="25841">
                  <c:v>37704</c:v>
                </c:pt>
                <c:pt idx="25842">
                  <c:v>37704</c:v>
                </c:pt>
                <c:pt idx="25843">
                  <c:v>37704</c:v>
                </c:pt>
                <c:pt idx="25844">
                  <c:v>37702</c:v>
                </c:pt>
                <c:pt idx="25845">
                  <c:v>37701</c:v>
                </c:pt>
                <c:pt idx="25846">
                  <c:v>37701</c:v>
                </c:pt>
                <c:pt idx="25847">
                  <c:v>37701</c:v>
                </c:pt>
                <c:pt idx="25848">
                  <c:v>37700</c:v>
                </c:pt>
                <c:pt idx="25849">
                  <c:v>37699</c:v>
                </c:pt>
                <c:pt idx="25850">
                  <c:v>37698</c:v>
                </c:pt>
                <c:pt idx="25851">
                  <c:v>37698</c:v>
                </c:pt>
                <c:pt idx="25852">
                  <c:v>37698</c:v>
                </c:pt>
                <c:pt idx="25853">
                  <c:v>37696</c:v>
                </c:pt>
                <c:pt idx="25854">
                  <c:v>37696</c:v>
                </c:pt>
                <c:pt idx="25855">
                  <c:v>37696</c:v>
                </c:pt>
                <c:pt idx="25856">
                  <c:v>37696</c:v>
                </c:pt>
                <c:pt idx="25857">
                  <c:v>37695</c:v>
                </c:pt>
                <c:pt idx="25858">
                  <c:v>37694</c:v>
                </c:pt>
                <c:pt idx="25859">
                  <c:v>37693</c:v>
                </c:pt>
                <c:pt idx="25860">
                  <c:v>37693</c:v>
                </c:pt>
                <c:pt idx="25861">
                  <c:v>37692</c:v>
                </c:pt>
                <c:pt idx="25862">
                  <c:v>37691</c:v>
                </c:pt>
                <c:pt idx="25863">
                  <c:v>37691</c:v>
                </c:pt>
                <c:pt idx="25864">
                  <c:v>37691</c:v>
                </c:pt>
                <c:pt idx="25865">
                  <c:v>37691</c:v>
                </c:pt>
                <c:pt idx="25866">
                  <c:v>37691</c:v>
                </c:pt>
                <c:pt idx="25867">
                  <c:v>37690</c:v>
                </c:pt>
                <c:pt idx="25868">
                  <c:v>37690</c:v>
                </c:pt>
                <c:pt idx="25869">
                  <c:v>37690</c:v>
                </c:pt>
                <c:pt idx="25870">
                  <c:v>37690</c:v>
                </c:pt>
                <c:pt idx="25871">
                  <c:v>37689</c:v>
                </c:pt>
                <c:pt idx="25872">
                  <c:v>37688</c:v>
                </c:pt>
                <c:pt idx="25873">
                  <c:v>37687</c:v>
                </c:pt>
                <c:pt idx="25874">
                  <c:v>37687</c:v>
                </c:pt>
                <c:pt idx="25875">
                  <c:v>37687</c:v>
                </c:pt>
                <c:pt idx="25876">
                  <c:v>37685</c:v>
                </c:pt>
                <c:pt idx="25877">
                  <c:v>37685</c:v>
                </c:pt>
                <c:pt idx="25878">
                  <c:v>37684</c:v>
                </c:pt>
                <c:pt idx="25879">
                  <c:v>37684</c:v>
                </c:pt>
                <c:pt idx="25880">
                  <c:v>37684</c:v>
                </c:pt>
                <c:pt idx="25881">
                  <c:v>37683</c:v>
                </c:pt>
                <c:pt idx="25882">
                  <c:v>37683</c:v>
                </c:pt>
                <c:pt idx="25883">
                  <c:v>37682</c:v>
                </c:pt>
                <c:pt idx="25884">
                  <c:v>37680</c:v>
                </c:pt>
                <c:pt idx="25885">
                  <c:v>37680</c:v>
                </c:pt>
                <c:pt idx="25886">
                  <c:v>37680</c:v>
                </c:pt>
                <c:pt idx="25887">
                  <c:v>37680</c:v>
                </c:pt>
                <c:pt idx="25888">
                  <c:v>37680</c:v>
                </c:pt>
                <c:pt idx="25889">
                  <c:v>37679</c:v>
                </c:pt>
                <c:pt idx="25890">
                  <c:v>37678</c:v>
                </c:pt>
                <c:pt idx="25891">
                  <c:v>37677</c:v>
                </c:pt>
                <c:pt idx="25892">
                  <c:v>37676</c:v>
                </c:pt>
                <c:pt idx="25893">
                  <c:v>37675</c:v>
                </c:pt>
                <c:pt idx="25894">
                  <c:v>37675</c:v>
                </c:pt>
                <c:pt idx="25895">
                  <c:v>37675</c:v>
                </c:pt>
                <c:pt idx="25896">
                  <c:v>37674</c:v>
                </c:pt>
                <c:pt idx="25897">
                  <c:v>37674</c:v>
                </c:pt>
                <c:pt idx="25898">
                  <c:v>37673</c:v>
                </c:pt>
                <c:pt idx="25899">
                  <c:v>37673</c:v>
                </c:pt>
                <c:pt idx="25900">
                  <c:v>37673</c:v>
                </c:pt>
                <c:pt idx="25901">
                  <c:v>37672</c:v>
                </c:pt>
                <c:pt idx="25902">
                  <c:v>37672</c:v>
                </c:pt>
                <c:pt idx="25903">
                  <c:v>37671</c:v>
                </c:pt>
                <c:pt idx="25904">
                  <c:v>37671</c:v>
                </c:pt>
                <c:pt idx="25905">
                  <c:v>37670</c:v>
                </c:pt>
                <c:pt idx="25906">
                  <c:v>37670</c:v>
                </c:pt>
                <c:pt idx="25907">
                  <c:v>37670</c:v>
                </c:pt>
                <c:pt idx="25908">
                  <c:v>37670</c:v>
                </c:pt>
                <c:pt idx="25909">
                  <c:v>37670</c:v>
                </c:pt>
                <c:pt idx="25910">
                  <c:v>37669</c:v>
                </c:pt>
                <c:pt idx="25911">
                  <c:v>37669</c:v>
                </c:pt>
                <c:pt idx="25912">
                  <c:v>37668</c:v>
                </c:pt>
                <c:pt idx="25913">
                  <c:v>37668</c:v>
                </c:pt>
                <c:pt idx="25914">
                  <c:v>37666</c:v>
                </c:pt>
                <c:pt idx="25915">
                  <c:v>37666</c:v>
                </c:pt>
                <c:pt idx="25916">
                  <c:v>37666</c:v>
                </c:pt>
                <c:pt idx="25917">
                  <c:v>37666</c:v>
                </c:pt>
                <c:pt idx="25918">
                  <c:v>37666</c:v>
                </c:pt>
                <c:pt idx="25919">
                  <c:v>37665</c:v>
                </c:pt>
                <c:pt idx="25920">
                  <c:v>37664</c:v>
                </c:pt>
                <c:pt idx="25921">
                  <c:v>37663</c:v>
                </c:pt>
                <c:pt idx="25922">
                  <c:v>37663</c:v>
                </c:pt>
                <c:pt idx="25923">
                  <c:v>37663</c:v>
                </c:pt>
                <c:pt idx="25924">
                  <c:v>37662</c:v>
                </c:pt>
                <c:pt idx="25925">
                  <c:v>37662</c:v>
                </c:pt>
                <c:pt idx="25926">
                  <c:v>37662</c:v>
                </c:pt>
                <c:pt idx="25927">
                  <c:v>37662</c:v>
                </c:pt>
                <c:pt idx="25928">
                  <c:v>37661</c:v>
                </c:pt>
                <c:pt idx="25929">
                  <c:v>37661</c:v>
                </c:pt>
                <c:pt idx="25930">
                  <c:v>37661</c:v>
                </c:pt>
                <c:pt idx="25931">
                  <c:v>37659</c:v>
                </c:pt>
                <c:pt idx="25932">
                  <c:v>37659</c:v>
                </c:pt>
                <c:pt idx="25933">
                  <c:v>37658</c:v>
                </c:pt>
                <c:pt idx="25934">
                  <c:v>37658</c:v>
                </c:pt>
                <c:pt idx="25935">
                  <c:v>37658</c:v>
                </c:pt>
                <c:pt idx="25936">
                  <c:v>37658</c:v>
                </c:pt>
                <c:pt idx="25937">
                  <c:v>37657</c:v>
                </c:pt>
                <c:pt idx="25938">
                  <c:v>37656</c:v>
                </c:pt>
                <c:pt idx="25939">
                  <c:v>37656</c:v>
                </c:pt>
                <c:pt idx="25940">
                  <c:v>37656</c:v>
                </c:pt>
                <c:pt idx="25941">
                  <c:v>37656</c:v>
                </c:pt>
                <c:pt idx="25942">
                  <c:v>37655</c:v>
                </c:pt>
                <c:pt idx="25943">
                  <c:v>37655</c:v>
                </c:pt>
                <c:pt idx="25944">
                  <c:v>37655</c:v>
                </c:pt>
                <c:pt idx="25945">
                  <c:v>37654</c:v>
                </c:pt>
                <c:pt idx="25946">
                  <c:v>37654</c:v>
                </c:pt>
                <c:pt idx="25947">
                  <c:v>37654</c:v>
                </c:pt>
                <c:pt idx="25948">
                  <c:v>37654</c:v>
                </c:pt>
                <c:pt idx="25949">
                  <c:v>37653</c:v>
                </c:pt>
                <c:pt idx="25950">
                  <c:v>37652</c:v>
                </c:pt>
                <c:pt idx="25951">
                  <c:v>37652</c:v>
                </c:pt>
                <c:pt idx="25952">
                  <c:v>37651</c:v>
                </c:pt>
                <c:pt idx="25953">
                  <c:v>37651</c:v>
                </c:pt>
                <c:pt idx="25954">
                  <c:v>37650</c:v>
                </c:pt>
                <c:pt idx="25955">
                  <c:v>37650</c:v>
                </c:pt>
                <c:pt idx="25956">
                  <c:v>37650</c:v>
                </c:pt>
                <c:pt idx="25957">
                  <c:v>37649</c:v>
                </c:pt>
                <c:pt idx="25958">
                  <c:v>37649</c:v>
                </c:pt>
                <c:pt idx="25959">
                  <c:v>37649</c:v>
                </c:pt>
                <c:pt idx="25960">
                  <c:v>37648</c:v>
                </c:pt>
                <c:pt idx="25961">
                  <c:v>37648</c:v>
                </c:pt>
                <c:pt idx="25962">
                  <c:v>37648</c:v>
                </c:pt>
                <c:pt idx="25963">
                  <c:v>37647</c:v>
                </c:pt>
                <c:pt idx="25964">
                  <c:v>37646</c:v>
                </c:pt>
                <c:pt idx="25965">
                  <c:v>37646</c:v>
                </c:pt>
                <c:pt idx="25966">
                  <c:v>37644</c:v>
                </c:pt>
                <c:pt idx="25967">
                  <c:v>37644</c:v>
                </c:pt>
                <c:pt idx="25968">
                  <c:v>37644</c:v>
                </c:pt>
                <c:pt idx="25969">
                  <c:v>37644</c:v>
                </c:pt>
                <c:pt idx="25970">
                  <c:v>37643</c:v>
                </c:pt>
                <c:pt idx="25971">
                  <c:v>37643</c:v>
                </c:pt>
                <c:pt idx="25972">
                  <c:v>37642</c:v>
                </c:pt>
                <c:pt idx="25973">
                  <c:v>37642</c:v>
                </c:pt>
                <c:pt idx="25974">
                  <c:v>37642</c:v>
                </c:pt>
                <c:pt idx="25975">
                  <c:v>37642</c:v>
                </c:pt>
                <c:pt idx="25976">
                  <c:v>37641</c:v>
                </c:pt>
                <c:pt idx="25977">
                  <c:v>37641</c:v>
                </c:pt>
                <c:pt idx="25978">
                  <c:v>37640</c:v>
                </c:pt>
                <c:pt idx="25979">
                  <c:v>37638</c:v>
                </c:pt>
                <c:pt idx="25980">
                  <c:v>37638</c:v>
                </c:pt>
                <c:pt idx="25981">
                  <c:v>37638</c:v>
                </c:pt>
                <c:pt idx="25982">
                  <c:v>37637</c:v>
                </c:pt>
                <c:pt idx="25983">
                  <c:v>37637</c:v>
                </c:pt>
                <c:pt idx="25984">
                  <c:v>37637</c:v>
                </c:pt>
                <c:pt idx="25985">
                  <c:v>37637</c:v>
                </c:pt>
                <c:pt idx="25986">
                  <c:v>37636</c:v>
                </c:pt>
                <c:pt idx="25987">
                  <c:v>37636</c:v>
                </c:pt>
                <c:pt idx="25988">
                  <c:v>37636</c:v>
                </c:pt>
                <c:pt idx="25989">
                  <c:v>37635</c:v>
                </c:pt>
                <c:pt idx="25990">
                  <c:v>37635</c:v>
                </c:pt>
                <c:pt idx="25991">
                  <c:v>37635</c:v>
                </c:pt>
                <c:pt idx="25992">
                  <c:v>37634</c:v>
                </c:pt>
                <c:pt idx="25993">
                  <c:v>37633</c:v>
                </c:pt>
                <c:pt idx="25994">
                  <c:v>37633</c:v>
                </c:pt>
                <c:pt idx="25995">
                  <c:v>37632</c:v>
                </c:pt>
                <c:pt idx="25996">
                  <c:v>37629</c:v>
                </c:pt>
                <c:pt idx="25997">
                  <c:v>37629</c:v>
                </c:pt>
                <c:pt idx="25998">
                  <c:v>37629</c:v>
                </c:pt>
                <c:pt idx="25999">
                  <c:v>37629</c:v>
                </c:pt>
                <c:pt idx="26000">
                  <c:v>37628</c:v>
                </c:pt>
                <c:pt idx="26001">
                  <c:v>37628</c:v>
                </c:pt>
                <c:pt idx="26002">
                  <c:v>37628</c:v>
                </c:pt>
                <c:pt idx="26003">
                  <c:v>37627</c:v>
                </c:pt>
                <c:pt idx="26004">
                  <c:v>37626</c:v>
                </c:pt>
                <c:pt idx="26005">
                  <c:v>37625</c:v>
                </c:pt>
                <c:pt idx="26006">
                  <c:v>37625</c:v>
                </c:pt>
                <c:pt idx="26007">
                  <c:v>37625</c:v>
                </c:pt>
                <c:pt idx="26008">
                  <c:v>37624</c:v>
                </c:pt>
                <c:pt idx="26009">
                  <c:v>37624</c:v>
                </c:pt>
                <c:pt idx="26010">
                  <c:v>37624</c:v>
                </c:pt>
                <c:pt idx="26011">
                  <c:v>37624</c:v>
                </c:pt>
                <c:pt idx="26012">
                  <c:v>37623</c:v>
                </c:pt>
                <c:pt idx="26013">
                  <c:v>37623</c:v>
                </c:pt>
                <c:pt idx="26014">
                  <c:v>37623</c:v>
                </c:pt>
                <c:pt idx="26015">
                  <c:v>37621</c:v>
                </c:pt>
                <c:pt idx="26016">
                  <c:v>37621</c:v>
                </c:pt>
                <c:pt idx="26017">
                  <c:v>37620</c:v>
                </c:pt>
                <c:pt idx="26018">
                  <c:v>37619</c:v>
                </c:pt>
                <c:pt idx="26019">
                  <c:v>37618</c:v>
                </c:pt>
                <c:pt idx="26020">
                  <c:v>37617</c:v>
                </c:pt>
                <c:pt idx="26021">
                  <c:v>37616</c:v>
                </c:pt>
                <c:pt idx="26022">
                  <c:v>37615</c:v>
                </c:pt>
                <c:pt idx="26023">
                  <c:v>37615</c:v>
                </c:pt>
                <c:pt idx="26024">
                  <c:v>37615</c:v>
                </c:pt>
                <c:pt idx="26025">
                  <c:v>37615</c:v>
                </c:pt>
                <c:pt idx="26026">
                  <c:v>37614</c:v>
                </c:pt>
                <c:pt idx="26027">
                  <c:v>37613</c:v>
                </c:pt>
                <c:pt idx="26028">
                  <c:v>37613</c:v>
                </c:pt>
                <c:pt idx="26029">
                  <c:v>37613</c:v>
                </c:pt>
                <c:pt idx="26030">
                  <c:v>37611</c:v>
                </c:pt>
                <c:pt idx="26031">
                  <c:v>37611</c:v>
                </c:pt>
                <c:pt idx="26032">
                  <c:v>37611</c:v>
                </c:pt>
                <c:pt idx="26033">
                  <c:v>37611</c:v>
                </c:pt>
                <c:pt idx="26034">
                  <c:v>37611</c:v>
                </c:pt>
                <c:pt idx="26035">
                  <c:v>37610</c:v>
                </c:pt>
                <c:pt idx="26036">
                  <c:v>37609</c:v>
                </c:pt>
                <c:pt idx="26037">
                  <c:v>37609</c:v>
                </c:pt>
                <c:pt idx="26038">
                  <c:v>37609</c:v>
                </c:pt>
                <c:pt idx="26039">
                  <c:v>37609</c:v>
                </c:pt>
                <c:pt idx="26040">
                  <c:v>37609</c:v>
                </c:pt>
                <c:pt idx="26041">
                  <c:v>37609</c:v>
                </c:pt>
                <c:pt idx="26042">
                  <c:v>37608</c:v>
                </c:pt>
                <c:pt idx="26043">
                  <c:v>37608</c:v>
                </c:pt>
                <c:pt idx="26044">
                  <c:v>37608</c:v>
                </c:pt>
                <c:pt idx="26045">
                  <c:v>37607</c:v>
                </c:pt>
                <c:pt idx="26046">
                  <c:v>37606</c:v>
                </c:pt>
                <c:pt idx="26047">
                  <c:v>37606</c:v>
                </c:pt>
                <c:pt idx="26048">
                  <c:v>37606</c:v>
                </c:pt>
                <c:pt idx="26049">
                  <c:v>37606</c:v>
                </c:pt>
                <c:pt idx="26050">
                  <c:v>37605</c:v>
                </c:pt>
                <c:pt idx="26051">
                  <c:v>37604</c:v>
                </c:pt>
                <c:pt idx="26052">
                  <c:v>37604</c:v>
                </c:pt>
                <c:pt idx="26053">
                  <c:v>37603</c:v>
                </c:pt>
                <c:pt idx="26054">
                  <c:v>37603</c:v>
                </c:pt>
                <c:pt idx="26055">
                  <c:v>37603</c:v>
                </c:pt>
                <c:pt idx="26056">
                  <c:v>37602</c:v>
                </c:pt>
                <c:pt idx="26057">
                  <c:v>37602</c:v>
                </c:pt>
                <c:pt idx="26058">
                  <c:v>37602</c:v>
                </c:pt>
                <c:pt idx="26059">
                  <c:v>37602</c:v>
                </c:pt>
                <c:pt idx="26060">
                  <c:v>37601</c:v>
                </c:pt>
                <c:pt idx="26061">
                  <c:v>37601</c:v>
                </c:pt>
                <c:pt idx="26062">
                  <c:v>37600</c:v>
                </c:pt>
                <c:pt idx="26063">
                  <c:v>37600</c:v>
                </c:pt>
                <c:pt idx="26064">
                  <c:v>37599</c:v>
                </c:pt>
                <c:pt idx="26065">
                  <c:v>37598</c:v>
                </c:pt>
                <c:pt idx="26066">
                  <c:v>37597</c:v>
                </c:pt>
                <c:pt idx="26067">
                  <c:v>37596</c:v>
                </c:pt>
                <c:pt idx="26068">
                  <c:v>37596</c:v>
                </c:pt>
                <c:pt idx="26069">
                  <c:v>37595</c:v>
                </c:pt>
                <c:pt idx="26070">
                  <c:v>37595</c:v>
                </c:pt>
                <c:pt idx="26071">
                  <c:v>37595</c:v>
                </c:pt>
                <c:pt idx="26072">
                  <c:v>37594</c:v>
                </c:pt>
                <c:pt idx="26073">
                  <c:v>37593</c:v>
                </c:pt>
                <c:pt idx="26074">
                  <c:v>37593</c:v>
                </c:pt>
                <c:pt idx="26075">
                  <c:v>37592</c:v>
                </c:pt>
                <c:pt idx="26076">
                  <c:v>37591</c:v>
                </c:pt>
                <c:pt idx="26077">
                  <c:v>37591</c:v>
                </c:pt>
                <c:pt idx="26078">
                  <c:v>37590</c:v>
                </c:pt>
                <c:pt idx="26079">
                  <c:v>37590</c:v>
                </c:pt>
                <c:pt idx="26080">
                  <c:v>37589</c:v>
                </c:pt>
                <c:pt idx="26081">
                  <c:v>37589</c:v>
                </c:pt>
                <c:pt idx="26082">
                  <c:v>37589</c:v>
                </c:pt>
                <c:pt idx="26083">
                  <c:v>37589</c:v>
                </c:pt>
                <c:pt idx="26084">
                  <c:v>37589</c:v>
                </c:pt>
                <c:pt idx="26085">
                  <c:v>37589</c:v>
                </c:pt>
                <c:pt idx="26086">
                  <c:v>37588</c:v>
                </c:pt>
                <c:pt idx="26087">
                  <c:v>37587</c:v>
                </c:pt>
                <c:pt idx="26088">
                  <c:v>37587</c:v>
                </c:pt>
                <c:pt idx="26089">
                  <c:v>37587</c:v>
                </c:pt>
                <c:pt idx="26090">
                  <c:v>37587</c:v>
                </c:pt>
                <c:pt idx="26091">
                  <c:v>37587</c:v>
                </c:pt>
                <c:pt idx="26092">
                  <c:v>37586</c:v>
                </c:pt>
                <c:pt idx="26093">
                  <c:v>37586</c:v>
                </c:pt>
                <c:pt idx="26094">
                  <c:v>37586</c:v>
                </c:pt>
                <c:pt idx="26095">
                  <c:v>37586</c:v>
                </c:pt>
                <c:pt idx="26096">
                  <c:v>37585</c:v>
                </c:pt>
                <c:pt idx="26097">
                  <c:v>37585</c:v>
                </c:pt>
                <c:pt idx="26098">
                  <c:v>37585</c:v>
                </c:pt>
                <c:pt idx="26099">
                  <c:v>37585</c:v>
                </c:pt>
                <c:pt idx="26100">
                  <c:v>37584</c:v>
                </c:pt>
                <c:pt idx="26101">
                  <c:v>37584</c:v>
                </c:pt>
                <c:pt idx="26102">
                  <c:v>37584</c:v>
                </c:pt>
                <c:pt idx="26103">
                  <c:v>37582</c:v>
                </c:pt>
                <c:pt idx="26104">
                  <c:v>37582</c:v>
                </c:pt>
                <c:pt idx="26105">
                  <c:v>37582</c:v>
                </c:pt>
                <c:pt idx="26106">
                  <c:v>37581</c:v>
                </c:pt>
                <c:pt idx="26107">
                  <c:v>37581</c:v>
                </c:pt>
                <c:pt idx="26108">
                  <c:v>37580</c:v>
                </c:pt>
                <c:pt idx="26109">
                  <c:v>37580</c:v>
                </c:pt>
                <c:pt idx="26110">
                  <c:v>37579</c:v>
                </c:pt>
                <c:pt idx="26111">
                  <c:v>37578</c:v>
                </c:pt>
                <c:pt idx="26112">
                  <c:v>37578</c:v>
                </c:pt>
                <c:pt idx="26113">
                  <c:v>37577</c:v>
                </c:pt>
                <c:pt idx="26114">
                  <c:v>37577</c:v>
                </c:pt>
                <c:pt idx="26115">
                  <c:v>37576</c:v>
                </c:pt>
                <c:pt idx="26116">
                  <c:v>37575</c:v>
                </c:pt>
                <c:pt idx="26117">
                  <c:v>37573</c:v>
                </c:pt>
                <c:pt idx="26118">
                  <c:v>37572</c:v>
                </c:pt>
                <c:pt idx="26119">
                  <c:v>37571</c:v>
                </c:pt>
                <c:pt idx="26120">
                  <c:v>37571</c:v>
                </c:pt>
                <c:pt idx="26121">
                  <c:v>37571</c:v>
                </c:pt>
                <c:pt idx="26122">
                  <c:v>37571</c:v>
                </c:pt>
                <c:pt idx="26123">
                  <c:v>37570</c:v>
                </c:pt>
                <c:pt idx="26124">
                  <c:v>37569</c:v>
                </c:pt>
                <c:pt idx="26125">
                  <c:v>37569</c:v>
                </c:pt>
                <c:pt idx="26126">
                  <c:v>37569</c:v>
                </c:pt>
                <c:pt idx="26127">
                  <c:v>37568</c:v>
                </c:pt>
                <c:pt idx="26128">
                  <c:v>37567</c:v>
                </c:pt>
                <c:pt idx="26129">
                  <c:v>37567</c:v>
                </c:pt>
                <c:pt idx="26130">
                  <c:v>37567</c:v>
                </c:pt>
                <c:pt idx="26131">
                  <c:v>37566</c:v>
                </c:pt>
                <c:pt idx="26132">
                  <c:v>37566</c:v>
                </c:pt>
                <c:pt idx="26133">
                  <c:v>37565</c:v>
                </c:pt>
                <c:pt idx="26134">
                  <c:v>37565</c:v>
                </c:pt>
                <c:pt idx="26135">
                  <c:v>37565</c:v>
                </c:pt>
                <c:pt idx="26136">
                  <c:v>37565</c:v>
                </c:pt>
                <c:pt idx="26137">
                  <c:v>37565</c:v>
                </c:pt>
                <c:pt idx="26138">
                  <c:v>37565</c:v>
                </c:pt>
                <c:pt idx="26139">
                  <c:v>37564</c:v>
                </c:pt>
                <c:pt idx="26140">
                  <c:v>37564</c:v>
                </c:pt>
                <c:pt idx="26141">
                  <c:v>37563</c:v>
                </c:pt>
                <c:pt idx="26142">
                  <c:v>37563</c:v>
                </c:pt>
                <c:pt idx="26143">
                  <c:v>37561</c:v>
                </c:pt>
                <c:pt idx="26144">
                  <c:v>37561</c:v>
                </c:pt>
                <c:pt idx="26145">
                  <c:v>37561</c:v>
                </c:pt>
                <c:pt idx="26146">
                  <c:v>37560</c:v>
                </c:pt>
                <c:pt idx="26147">
                  <c:v>37559</c:v>
                </c:pt>
                <c:pt idx="26148">
                  <c:v>37558</c:v>
                </c:pt>
                <c:pt idx="26149">
                  <c:v>37558</c:v>
                </c:pt>
                <c:pt idx="26150">
                  <c:v>37558</c:v>
                </c:pt>
                <c:pt idx="26151">
                  <c:v>37557</c:v>
                </c:pt>
                <c:pt idx="26152">
                  <c:v>37557</c:v>
                </c:pt>
                <c:pt idx="26153">
                  <c:v>37556</c:v>
                </c:pt>
                <c:pt idx="26154">
                  <c:v>37556</c:v>
                </c:pt>
                <c:pt idx="26155">
                  <c:v>37554</c:v>
                </c:pt>
                <c:pt idx="26156">
                  <c:v>37554</c:v>
                </c:pt>
                <c:pt idx="26157">
                  <c:v>37554</c:v>
                </c:pt>
                <c:pt idx="26158">
                  <c:v>37553</c:v>
                </c:pt>
                <c:pt idx="26159">
                  <c:v>37553</c:v>
                </c:pt>
                <c:pt idx="26160">
                  <c:v>37553</c:v>
                </c:pt>
                <c:pt idx="26161">
                  <c:v>37553</c:v>
                </c:pt>
                <c:pt idx="26162">
                  <c:v>37552</c:v>
                </c:pt>
                <c:pt idx="26163">
                  <c:v>37552</c:v>
                </c:pt>
                <c:pt idx="26164">
                  <c:v>37552</c:v>
                </c:pt>
                <c:pt idx="26165">
                  <c:v>37551</c:v>
                </c:pt>
                <c:pt idx="26166">
                  <c:v>37551</c:v>
                </c:pt>
                <c:pt idx="26167">
                  <c:v>37551</c:v>
                </c:pt>
                <c:pt idx="26168">
                  <c:v>37550</c:v>
                </c:pt>
                <c:pt idx="26169">
                  <c:v>37550</c:v>
                </c:pt>
                <c:pt idx="26170">
                  <c:v>37550</c:v>
                </c:pt>
                <c:pt idx="26171">
                  <c:v>37550</c:v>
                </c:pt>
                <c:pt idx="26172">
                  <c:v>37550</c:v>
                </c:pt>
                <c:pt idx="26173">
                  <c:v>37550</c:v>
                </c:pt>
                <c:pt idx="26174">
                  <c:v>37550</c:v>
                </c:pt>
                <c:pt idx="26175">
                  <c:v>37547</c:v>
                </c:pt>
                <c:pt idx="26176">
                  <c:v>37547</c:v>
                </c:pt>
                <c:pt idx="26177">
                  <c:v>37547</c:v>
                </c:pt>
                <c:pt idx="26178">
                  <c:v>37547</c:v>
                </c:pt>
                <c:pt idx="26179">
                  <c:v>37547</c:v>
                </c:pt>
                <c:pt idx="26180">
                  <c:v>37546</c:v>
                </c:pt>
                <c:pt idx="26181">
                  <c:v>37546</c:v>
                </c:pt>
                <c:pt idx="26182">
                  <c:v>37545</c:v>
                </c:pt>
                <c:pt idx="26183">
                  <c:v>37545</c:v>
                </c:pt>
                <c:pt idx="26184">
                  <c:v>37544</c:v>
                </c:pt>
                <c:pt idx="26185">
                  <c:v>37544</c:v>
                </c:pt>
                <c:pt idx="26186">
                  <c:v>37544</c:v>
                </c:pt>
                <c:pt idx="26187">
                  <c:v>37544</c:v>
                </c:pt>
                <c:pt idx="26188">
                  <c:v>37544</c:v>
                </c:pt>
                <c:pt idx="26189">
                  <c:v>37543</c:v>
                </c:pt>
                <c:pt idx="26190">
                  <c:v>37543</c:v>
                </c:pt>
                <c:pt idx="26191">
                  <c:v>37542</c:v>
                </c:pt>
                <c:pt idx="26192">
                  <c:v>37542</c:v>
                </c:pt>
                <c:pt idx="26193">
                  <c:v>37542</c:v>
                </c:pt>
                <c:pt idx="26194">
                  <c:v>37541</c:v>
                </c:pt>
                <c:pt idx="26195">
                  <c:v>37541</c:v>
                </c:pt>
                <c:pt idx="26196">
                  <c:v>37540</c:v>
                </c:pt>
                <c:pt idx="26197">
                  <c:v>37540</c:v>
                </c:pt>
                <c:pt idx="26198">
                  <c:v>37540</c:v>
                </c:pt>
                <c:pt idx="26199">
                  <c:v>37540</c:v>
                </c:pt>
                <c:pt idx="26200">
                  <c:v>37540</c:v>
                </c:pt>
                <c:pt idx="26201">
                  <c:v>37539</c:v>
                </c:pt>
                <c:pt idx="26202">
                  <c:v>37539</c:v>
                </c:pt>
                <c:pt idx="26203">
                  <c:v>37539</c:v>
                </c:pt>
                <c:pt idx="26204">
                  <c:v>37539</c:v>
                </c:pt>
                <c:pt idx="26205">
                  <c:v>37537</c:v>
                </c:pt>
                <c:pt idx="26206">
                  <c:v>37536</c:v>
                </c:pt>
                <c:pt idx="26207">
                  <c:v>37536</c:v>
                </c:pt>
                <c:pt idx="26208">
                  <c:v>37536</c:v>
                </c:pt>
                <c:pt idx="26209">
                  <c:v>37535</c:v>
                </c:pt>
                <c:pt idx="26210">
                  <c:v>37535</c:v>
                </c:pt>
                <c:pt idx="26211">
                  <c:v>37535</c:v>
                </c:pt>
                <c:pt idx="26212">
                  <c:v>37535</c:v>
                </c:pt>
                <c:pt idx="26213">
                  <c:v>37534</c:v>
                </c:pt>
                <c:pt idx="26214">
                  <c:v>37534</c:v>
                </c:pt>
                <c:pt idx="26215">
                  <c:v>37533</c:v>
                </c:pt>
                <c:pt idx="26216">
                  <c:v>37532</c:v>
                </c:pt>
                <c:pt idx="26217">
                  <c:v>37532</c:v>
                </c:pt>
                <c:pt idx="26218">
                  <c:v>37532</c:v>
                </c:pt>
                <c:pt idx="26219">
                  <c:v>37530</c:v>
                </c:pt>
                <c:pt idx="26220">
                  <c:v>37530</c:v>
                </c:pt>
                <c:pt idx="26221">
                  <c:v>37530</c:v>
                </c:pt>
                <c:pt idx="26222">
                  <c:v>37529</c:v>
                </c:pt>
                <c:pt idx="26223">
                  <c:v>37529</c:v>
                </c:pt>
                <c:pt idx="26224">
                  <c:v>37528</c:v>
                </c:pt>
                <c:pt idx="26225">
                  <c:v>37528</c:v>
                </c:pt>
                <c:pt idx="26226">
                  <c:v>37527</c:v>
                </c:pt>
                <c:pt idx="26227">
                  <c:v>37527</c:v>
                </c:pt>
                <c:pt idx="26228">
                  <c:v>37527</c:v>
                </c:pt>
                <c:pt idx="26229">
                  <c:v>37526</c:v>
                </c:pt>
                <c:pt idx="26230">
                  <c:v>37526</c:v>
                </c:pt>
                <c:pt idx="26231">
                  <c:v>37525</c:v>
                </c:pt>
                <c:pt idx="26232">
                  <c:v>37525</c:v>
                </c:pt>
                <c:pt idx="26233">
                  <c:v>37524</c:v>
                </c:pt>
                <c:pt idx="26234">
                  <c:v>37523</c:v>
                </c:pt>
                <c:pt idx="26235">
                  <c:v>37522</c:v>
                </c:pt>
                <c:pt idx="26236">
                  <c:v>37522</c:v>
                </c:pt>
                <c:pt idx="26237">
                  <c:v>37522</c:v>
                </c:pt>
                <c:pt idx="26238">
                  <c:v>37522</c:v>
                </c:pt>
                <c:pt idx="26239">
                  <c:v>37519</c:v>
                </c:pt>
                <c:pt idx="26240">
                  <c:v>37519</c:v>
                </c:pt>
                <c:pt idx="26241">
                  <c:v>37518</c:v>
                </c:pt>
                <c:pt idx="26242">
                  <c:v>37518</c:v>
                </c:pt>
                <c:pt idx="26243">
                  <c:v>37518</c:v>
                </c:pt>
                <c:pt idx="26244">
                  <c:v>37517</c:v>
                </c:pt>
                <c:pt idx="26245">
                  <c:v>37516</c:v>
                </c:pt>
                <c:pt idx="26246">
                  <c:v>37515</c:v>
                </c:pt>
                <c:pt idx="26247">
                  <c:v>37515</c:v>
                </c:pt>
                <c:pt idx="26248">
                  <c:v>37514</c:v>
                </c:pt>
                <c:pt idx="26249">
                  <c:v>37514</c:v>
                </c:pt>
                <c:pt idx="26250">
                  <c:v>37514</c:v>
                </c:pt>
                <c:pt idx="26251">
                  <c:v>37512</c:v>
                </c:pt>
                <c:pt idx="26252">
                  <c:v>37512</c:v>
                </c:pt>
                <c:pt idx="26253">
                  <c:v>37512</c:v>
                </c:pt>
                <c:pt idx="26254">
                  <c:v>37511</c:v>
                </c:pt>
                <c:pt idx="26255">
                  <c:v>37511</c:v>
                </c:pt>
                <c:pt idx="26256">
                  <c:v>37511</c:v>
                </c:pt>
                <c:pt idx="26257">
                  <c:v>37510</c:v>
                </c:pt>
                <c:pt idx="26258">
                  <c:v>37510</c:v>
                </c:pt>
                <c:pt idx="26259">
                  <c:v>37510</c:v>
                </c:pt>
                <c:pt idx="26260">
                  <c:v>37509</c:v>
                </c:pt>
                <c:pt idx="26261">
                  <c:v>37509</c:v>
                </c:pt>
                <c:pt idx="26262">
                  <c:v>37508</c:v>
                </c:pt>
                <c:pt idx="26263">
                  <c:v>37508</c:v>
                </c:pt>
                <c:pt idx="26264">
                  <c:v>37508</c:v>
                </c:pt>
                <c:pt idx="26265">
                  <c:v>37507</c:v>
                </c:pt>
                <c:pt idx="26266">
                  <c:v>37507</c:v>
                </c:pt>
                <c:pt idx="26267">
                  <c:v>37507</c:v>
                </c:pt>
                <c:pt idx="26268">
                  <c:v>37507</c:v>
                </c:pt>
                <c:pt idx="26269">
                  <c:v>37507</c:v>
                </c:pt>
                <c:pt idx="26270">
                  <c:v>37507</c:v>
                </c:pt>
                <c:pt idx="26271">
                  <c:v>37507</c:v>
                </c:pt>
                <c:pt idx="26272">
                  <c:v>37506</c:v>
                </c:pt>
                <c:pt idx="26273">
                  <c:v>37506</c:v>
                </c:pt>
                <c:pt idx="26274">
                  <c:v>37506</c:v>
                </c:pt>
                <c:pt idx="26275">
                  <c:v>37505</c:v>
                </c:pt>
                <c:pt idx="26276">
                  <c:v>37505</c:v>
                </c:pt>
                <c:pt idx="26277">
                  <c:v>37505</c:v>
                </c:pt>
                <c:pt idx="26278">
                  <c:v>37505</c:v>
                </c:pt>
                <c:pt idx="26279">
                  <c:v>37504</c:v>
                </c:pt>
                <c:pt idx="26280">
                  <c:v>37504</c:v>
                </c:pt>
                <c:pt idx="26281">
                  <c:v>37503</c:v>
                </c:pt>
                <c:pt idx="26282">
                  <c:v>37503</c:v>
                </c:pt>
                <c:pt idx="26283">
                  <c:v>37502</c:v>
                </c:pt>
                <c:pt idx="26284">
                  <c:v>37502</c:v>
                </c:pt>
                <c:pt idx="26285">
                  <c:v>37502</c:v>
                </c:pt>
                <c:pt idx="26286">
                  <c:v>37501</c:v>
                </c:pt>
                <c:pt idx="26287">
                  <c:v>37501</c:v>
                </c:pt>
                <c:pt idx="26288">
                  <c:v>37500</c:v>
                </c:pt>
                <c:pt idx="26289">
                  <c:v>37499</c:v>
                </c:pt>
                <c:pt idx="26290">
                  <c:v>37499</c:v>
                </c:pt>
                <c:pt idx="26291">
                  <c:v>37499</c:v>
                </c:pt>
                <c:pt idx="26292">
                  <c:v>37499</c:v>
                </c:pt>
                <c:pt idx="26293">
                  <c:v>37498</c:v>
                </c:pt>
                <c:pt idx="26294">
                  <c:v>37498</c:v>
                </c:pt>
                <c:pt idx="26295">
                  <c:v>37498</c:v>
                </c:pt>
                <c:pt idx="26296">
                  <c:v>37497</c:v>
                </c:pt>
                <c:pt idx="26297">
                  <c:v>37497</c:v>
                </c:pt>
                <c:pt idx="26298">
                  <c:v>37496</c:v>
                </c:pt>
                <c:pt idx="26299">
                  <c:v>37496</c:v>
                </c:pt>
                <c:pt idx="26300">
                  <c:v>37496</c:v>
                </c:pt>
                <c:pt idx="26301">
                  <c:v>37496</c:v>
                </c:pt>
                <c:pt idx="26302">
                  <c:v>37496</c:v>
                </c:pt>
                <c:pt idx="26303">
                  <c:v>37496</c:v>
                </c:pt>
                <c:pt idx="26304">
                  <c:v>37495</c:v>
                </c:pt>
                <c:pt idx="26305">
                  <c:v>37494</c:v>
                </c:pt>
                <c:pt idx="26306">
                  <c:v>37493</c:v>
                </c:pt>
                <c:pt idx="26307">
                  <c:v>37492</c:v>
                </c:pt>
                <c:pt idx="26308">
                  <c:v>37492</c:v>
                </c:pt>
                <c:pt idx="26309">
                  <c:v>37492</c:v>
                </c:pt>
                <c:pt idx="26310">
                  <c:v>37491</c:v>
                </c:pt>
                <c:pt idx="26311">
                  <c:v>37491</c:v>
                </c:pt>
                <c:pt idx="26312">
                  <c:v>37491</c:v>
                </c:pt>
                <c:pt idx="26313">
                  <c:v>37491</c:v>
                </c:pt>
                <c:pt idx="26314">
                  <c:v>37491</c:v>
                </c:pt>
                <c:pt idx="26315">
                  <c:v>37489</c:v>
                </c:pt>
                <c:pt idx="26316">
                  <c:v>37489</c:v>
                </c:pt>
                <c:pt idx="26317">
                  <c:v>37489</c:v>
                </c:pt>
                <c:pt idx="26318">
                  <c:v>37488</c:v>
                </c:pt>
                <c:pt idx="26319">
                  <c:v>37488</c:v>
                </c:pt>
                <c:pt idx="26320">
                  <c:v>37487</c:v>
                </c:pt>
                <c:pt idx="26321">
                  <c:v>37487</c:v>
                </c:pt>
                <c:pt idx="26322">
                  <c:v>37486</c:v>
                </c:pt>
                <c:pt idx="26323">
                  <c:v>37486</c:v>
                </c:pt>
                <c:pt idx="26324">
                  <c:v>37486</c:v>
                </c:pt>
                <c:pt idx="26325">
                  <c:v>37485</c:v>
                </c:pt>
                <c:pt idx="26326">
                  <c:v>37485</c:v>
                </c:pt>
                <c:pt idx="26327">
                  <c:v>37485</c:v>
                </c:pt>
                <c:pt idx="26328">
                  <c:v>37484</c:v>
                </c:pt>
                <c:pt idx="26329">
                  <c:v>37484</c:v>
                </c:pt>
                <c:pt idx="26330">
                  <c:v>37483</c:v>
                </c:pt>
                <c:pt idx="26331">
                  <c:v>37483</c:v>
                </c:pt>
                <c:pt idx="26332">
                  <c:v>37482</c:v>
                </c:pt>
                <c:pt idx="26333">
                  <c:v>37482</c:v>
                </c:pt>
                <c:pt idx="26334">
                  <c:v>37481</c:v>
                </c:pt>
                <c:pt idx="26335">
                  <c:v>37480</c:v>
                </c:pt>
                <c:pt idx="26336">
                  <c:v>37479</c:v>
                </c:pt>
                <c:pt idx="26337">
                  <c:v>37479</c:v>
                </c:pt>
                <c:pt idx="26338">
                  <c:v>37479</c:v>
                </c:pt>
                <c:pt idx="26339">
                  <c:v>37479</c:v>
                </c:pt>
                <c:pt idx="26340">
                  <c:v>37478</c:v>
                </c:pt>
                <c:pt idx="26341">
                  <c:v>37478</c:v>
                </c:pt>
                <c:pt idx="26342">
                  <c:v>37477</c:v>
                </c:pt>
                <c:pt idx="26343">
                  <c:v>37477</c:v>
                </c:pt>
                <c:pt idx="26344">
                  <c:v>37477</c:v>
                </c:pt>
                <c:pt idx="26345">
                  <c:v>37476</c:v>
                </c:pt>
                <c:pt idx="26346">
                  <c:v>37476</c:v>
                </c:pt>
                <c:pt idx="26347">
                  <c:v>37476</c:v>
                </c:pt>
                <c:pt idx="26348">
                  <c:v>37474</c:v>
                </c:pt>
                <c:pt idx="26349">
                  <c:v>37473</c:v>
                </c:pt>
                <c:pt idx="26350">
                  <c:v>37472</c:v>
                </c:pt>
                <c:pt idx="26351">
                  <c:v>37472</c:v>
                </c:pt>
                <c:pt idx="26352">
                  <c:v>37471</c:v>
                </c:pt>
                <c:pt idx="26353">
                  <c:v>37471</c:v>
                </c:pt>
                <c:pt idx="26354">
                  <c:v>37471</c:v>
                </c:pt>
                <c:pt idx="26355">
                  <c:v>37470</c:v>
                </c:pt>
                <c:pt idx="26356">
                  <c:v>37470</c:v>
                </c:pt>
                <c:pt idx="26357">
                  <c:v>37470</c:v>
                </c:pt>
                <c:pt idx="26358">
                  <c:v>37470</c:v>
                </c:pt>
                <c:pt idx="26359">
                  <c:v>37469</c:v>
                </c:pt>
                <c:pt idx="26360">
                  <c:v>37468</c:v>
                </c:pt>
                <c:pt idx="26361">
                  <c:v>37467</c:v>
                </c:pt>
                <c:pt idx="26362">
                  <c:v>37467</c:v>
                </c:pt>
                <c:pt idx="26363">
                  <c:v>37466</c:v>
                </c:pt>
                <c:pt idx="26364">
                  <c:v>37465</c:v>
                </c:pt>
                <c:pt idx="26365">
                  <c:v>37464</c:v>
                </c:pt>
                <c:pt idx="26366">
                  <c:v>37463</c:v>
                </c:pt>
                <c:pt idx="26367">
                  <c:v>37462</c:v>
                </c:pt>
                <c:pt idx="26368">
                  <c:v>37462</c:v>
                </c:pt>
                <c:pt idx="26369">
                  <c:v>37462</c:v>
                </c:pt>
                <c:pt idx="26370">
                  <c:v>37461</c:v>
                </c:pt>
                <c:pt idx="26371">
                  <c:v>37461</c:v>
                </c:pt>
                <c:pt idx="26372">
                  <c:v>37461</c:v>
                </c:pt>
                <c:pt idx="26373">
                  <c:v>37461</c:v>
                </c:pt>
                <c:pt idx="26374">
                  <c:v>37460</c:v>
                </c:pt>
                <c:pt idx="26375">
                  <c:v>37460</c:v>
                </c:pt>
                <c:pt idx="26376">
                  <c:v>37459</c:v>
                </c:pt>
                <c:pt idx="26377">
                  <c:v>37459</c:v>
                </c:pt>
                <c:pt idx="26378">
                  <c:v>37457</c:v>
                </c:pt>
                <c:pt idx="26379">
                  <c:v>37457</c:v>
                </c:pt>
                <c:pt idx="26380">
                  <c:v>37457</c:v>
                </c:pt>
                <c:pt idx="26381">
                  <c:v>37456</c:v>
                </c:pt>
                <c:pt idx="26382">
                  <c:v>37455</c:v>
                </c:pt>
                <c:pt idx="26383">
                  <c:v>37455</c:v>
                </c:pt>
                <c:pt idx="26384">
                  <c:v>37455</c:v>
                </c:pt>
                <c:pt idx="26385">
                  <c:v>37455</c:v>
                </c:pt>
                <c:pt idx="26386">
                  <c:v>37454</c:v>
                </c:pt>
                <c:pt idx="26387">
                  <c:v>37454</c:v>
                </c:pt>
                <c:pt idx="26388">
                  <c:v>37454</c:v>
                </c:pt>
                <c:pt idx="26389">
                  <c:v>37454</c:v>
                </c:pt>
                <c:pt idx="26390">
                  <c:v>37452</c:v>
                </c:pt>
                <c:pt idx="26391">
                  <c:v>37452</c:v>
                </c:pt>
                <c:pt idx="26392">
                  <c:v>37452</c:v>
                </c:pt>
                <c:pt idx="26393">
                  <c:v>37452</c:v>
                </c:pt>
                <c:pt idx="26394">
                  <c:v>37452</c:v>
                </c:pt>
                <c:pt idx="26395">
                  <c:v>37452</c:v>
                </c:pt>
                <c:pt idx="26396">
                  <c:v>37451</c:v>
                </c:pt>
                <c:pt idx="26397">
                  <c:v>37451</c:v>
                </c:pt>
                <c:pt idx="26398">
                  <c:v>37450</c:v>
                </c:pt>
                <c:pt idx="26399">
                  <c:v>37450</c:v>
                </c:pt>
                <c:pt idx="26400">
                  <c:v>37450</c:v>
                </c:pt>
                <c:pt idx="26401">
                  <c:v>37449</c:v>
                </c:pt>
                <c:pt idx="26402">
                  <c:v>37449</c:v>
                </c:pt>
                <c:pt idx="26403">
                  <c:v>37449</c:v>
                </c:pt>
                <c:pt idx="26404">
                  <c:v>37449</c:v>
                </c:pt>
                <c:pt idx="26405">
                  <c:v>37448</c:v>
                </c:pt>
                <c:pt idx="26406">
                  <c:v>37448</c:v>
                </c:pt>
                <c:pt idx="26407">
                  <c:v>37448</c:v>
                </c:pt>
                <c:pt idx="26408">
                  <c:v>37448</c:v>
                </c:pt>
                <c:pt idx="26409">
                  <c:v>37448</c:v>
                </c:pt>
                <c:pt idx="26410">
                  <c:v>37447</c:v>
                </c:pt>
                <c:pt idx="26411">
                  <c:v>37447</c:v>
                </c:pt>
                <c:pt idx="26412">
                  <c:v>37446</c:v>
                </c:pt>
                <c:pt idx="26413">
                  <c:v>37446</c:v>
                </c:pt>
                <c:pt idx="26414">
                  <c:v>37445</c:v>
                </c:pt>
                <c:pt idx="26415">
                  <c:v>37445</c:v>
                </c:pt>
                <c:pt idx="26416">
                  <c:v>37444</c:v>
                </c:pt>
                <c:pt idx="26417">
                  <c:v>37442</c:v>
                </c:pt>
                <c:pt idx="26418">
                  <c:v>37442</c:v>
                </c:pt>
                <c:pt idx="26419">
                  <c:v>37441</c:v>
                </c:pt>
                <c:pt idx="26420">
                  <c:v>37441</c:v>
                </c:pt>
                <c:pt idx="26421">
                  <c:v>37441</c:v>
                </c:pt>
                <c:pt idx="26422">
                  <c:v>37440</c:v>
                </c:pt>
                <c:pt idx="26423">
                  <c:v>37440</c:v>
                </c:pt>
                <c:pt idx="26424">
                  <c:v>37440</c:v>
                </c:pt>
                <c:pt idx="26425">
                  <c:v>37440</c:v>
                </c:pt>
                <c:pt idx="26426">
                  <c:v>37439</c:v>
                </c:pt>
                <c:pt idx="26427">
                  <c:v>37439</c:v>
                </c:pt>
                <c:pt idx="26428">
                  <c:v>37439</c:v>
                </c:pt>
                <c:pt idx="26429">
                  <c:v>37439</c:v>
                </c:pt>
                <c:pt idx="26430">
                  <c:v>37438</c:v>
                </c:pt>
                <c:pt idx="26431">
                  <c:v>37438</c:v>
                </c:pt>
                <c:pt idx="26432">
                  <c:v>37437</c:v>
                </c:pt>
                <c:pt idx="26433">
                  <c:v>37437</c:v>
                </c:pt>
                <c:pt idx="26434">
                  <c:v>37436</c:v>
                </c:pt>
                <c:pt idx="26435">
                  <c:v>37436</c:v>
                </c:pt>
                <c:pt idx="26436">
                  <c:v>37434</c:v>
                </c:pt>
                <c:pt idx="26437">
                  <c:v>37434</c:v>
                </c:pt>
                <c:pt idx="26438">
                  <c:v>37433</c:v>
                </c:pt>
                <c:pt idx="26439">
                  <c:v>37433</c:v>
                </c:pt>
                <c:pt idx="26440">
                  <c:v>37432</c:v>
                </c:pt>
                <c:pt idx="26441">
                  <c:v>37432</c:v>
                </c:pt>
                <c:pt idx="26442">
                  <c:v>37431</c:v>
                </c:pt>
                <c:pt idx="26443">
                  <c:v>37431</c:v>
                </c:pt>
                <c:pt idx="26444">
                  <c:v>37430</c:v>
                </c:pt>
                <c:pt idx="26445">
                  <c:v>37429</c:v>
                </c:pt>
                <c:pt idx="26446">
                  <c:v>37429</c:v>
                </c:pt>
                <c:pt idx="26447">
                  <c:v>37428</c:v>
                </c:pt>
                <c:pt idx="26448">
                  <c:v>37427</c:v>
                </c:pt>
                <c:pt idx="26449">
                  <c:v>37427</c:v>
                </c:pt>
                <c:pt idx="26450">
                  <c:v>37427</c:v>
                </c:pt>
                <c:pt idx="26451">
                  <c:v>37427</c:v>
                </c:pt>
                <c:pt idx="26452">
                  <c:v>37426</c:v>
                </c:pt>
                <c:pt idx="26453">
                  <c:v>37426</c:v>
                </c:pt>
                <c:pt idx="26454">
                  <c:v>37426</c:v>
                </c:pt>
                <c:pt idx="26455">
                  <c:v>37426</c:v>
                </c:pt>
                <c:pt idx="26456">
                  <c:v>37424</c:v>
                </c:pt>
                <c:pt idx="26457">
                  <c:v>37423</c:v>
                </c:pt>
                <c:pt idx="26458">
                  <c:v>37423</c:v>
                </c:pt>
                <c:pt idx="26459">
                  <c:v>37423</c:v>
                </c:pt>
                <c:pt idx="26460">
                  <c:v>37423</c:v>
                </c:pt>
                <c:pt idx="26461">
                  <c:v>37422</c:v>
                </c:pt>
                <c:pt idx="26462">
                  <c:v>37422</c:v>
                </c:pt>
                <c:pt idx="26463">
                  <c:v>37422</c:v>
                </c:pt>
                <c:pt idx="26464">
                  <c:v>37422</c:v>
                </c:pt>
                <c:pt idx="26465">
                  <c:v>37421</c:v>
                </c:pt>
                <c:pt idx="26466">
                  <c:v>37421</c:v>
                </c:pt>
                <c:pt idx="26467">
                  <c:v>37420</c:v>
                </c:pt>
                <c:pt idx="26468">
                  <c:v>37420</c:v>
                </c:pt>
                <c:pt idx="26469">
                  <c:v>37420</c:v>
                </c:pt>
                <c:pt idx="26470">
                  <c:v>37420</c:v>
                </c:pt>
                <c:pt idx="26471">
                  <c:v>37419</c:v>
                </c:pt>
                <c:pt idx="26472">
                  <c:v>37419</c:v>
                </c:pt>
                <c:pt idx="26473">
                  <c:v>37419</c:v>
                </c:pt>
                <c:pt idx="26474">
                  <c:v>37417</c:v>
                </c:pt>
                <c:pt idx="26475">
                  <c:v>37416</c:v>
                </c:pt>
                <c:pt idx="26476">
                  <c:v>37415</c:v>
                </c:pt>
                <c:pt idx="26477">
                  <c:v>37415</c:v>
                </c:pt>
                <c:pt idx="26478">
                  <c:v>37415</c:v>
                </c:pt>
                <c:pt idx="26479">
                  <c:v>37414</c:v>
                </c:pt>
                <c:pt idx="26480">
                  <c:v>37414</c:v>
                </c:pt>
                <c:pt idx="26481">
                  <c:v>37414</c:v>
                </c:pt>
                <c:pt idx="26482">
                  <c:v>37413</c:v>
                </c:pt>
                <c:pt idx="26483">
                  <c:v>37413</c:v>
                </c:pt>
                <c:pt idx="26484">
                  <c:v>37413</c:v>
                </c:pt>
                <c:pt idx="26485">
                  <c:v>37410</c:v>
                </c:pt>
                <c:pt idx="26486">
                  <c:v>37410</c:v>
                </c:pt>
                <c:pt idx="26487">
                  <c:v>37409</c:v>
                </c:pt>
                <c:pt idx="26488">
                  <c:v>37409</c:v>
                </c:pt>
                <c:pt idx="26489">
                  <c:v>37409</c:v>
                </c:pt>
                <c:pt idx="26490">
                  <c:v>37408</c:v>
                </c:pt>
                <c:pt idx="26491">
                  <c:v>37408</c:v>
                </c:pt>
                <c:pt idx="26492">
                  <c:v>37408</c:v>
                </c:pt>
                <c:pt idx="26493">
                  <c:v>37407</c:v>
                </c:pt>
                <c:pt idx="26494">
                  <c:v>37407</c:v>
                </c:pt>
                <c:pt idx="26495">
                  <c:v>37407</c:v>
                </c:pt>
                <c:pt idx="26496">
                  <c:v>37407</c:v>
                </c:pt>
                <c:pt idx="26497">
                  <c:v>37406</c:v>
                </c:pt>
                <c:pt idx="26498">
                  <c:v>37406</c:v>
                </c:pt>
                <c:pt idx="26499">
                  <c:v>37405</c:v>
                </c:pt>
                <c:pt idx="26500">
                  <c:v>37404</c:v>
                </c:pt>
                <c:pt idx="26501">
                  <c:v>37404</c:v>
                </c:pt>
                <c:pt idx="26502">
                  <c:v>37403</c:v>
                </c:pt>
                <c:pt idx="26503">
                  <c:v>37403</c:v>
                </c:pt>
                <c:pt idx="26504">
                  <c:v>37403</c:v>
                </c:pt>
                <c:pt idx="26505">
                  <c:v>37402</c:v>
                </c:pt>
                <c:pt idx="26506">
                  <c:v>37402</c:v>
                </c:pt>
                <c:pt idx="26507">
                  <c:v>37402</c:v>
                </c:pt>
                <c:pt idx="26508">
                  <c:v>37401</c:v>
                </c:pt>
                <c:pt idx="26509">
                  <c:v>37401</c:v>
                </c:pt>
                <c:pt idx="26510">
                  <c:v>37401</c:v>
                </c:pt>
                <c:pt idx="26511">
                  <c:v>37400</c:v>
                </c:pt>
                <c:pt idx="26512">
                  <c:v>37399</c:v>
                </c:pt>
                <c:pt idx="26513">
                  <c:v>37399</c:v>
                </c:pt>
                <c:pt idx="26514">
                  <c:v>37398</c:v>
                </c:pt>
                <c:pt idx="26515">
                  <c:v>37397</c:v>
                </c:pt>
                <c:pt idx="26516">
                  <c:v>37397</c:v>
                </c:pt>
                <c:pt idx="26517">
                  <c:v>37397</c:v>
                </c:pt>
                <c:pt idx="26518">
                  <c:v>37396</c:v>
                </c:pt>
                <c:pt idx="26519">
                  <c:v>37396</c:v>
                </c:pt>
                <c:pt idx="26520">
                  <c:v>37395</c:v>
                </c:pt>
                <c:pt idx="26521">
                  <c:v>37395</c:v>
                </c:pt>
                <c:pt idx="26522">
                  <c:v>37394</c:v>
                </c:pt>
                <c:pt idx="26523">
                  <c:v>37394</c:v>
                </c:pt>
                <c:pt idx="26524">
                  <c:v>37394</c:v>
                </c:pt>
                <c:pt idx="26525">
                  <c:v>37393</c:v>
                </c:pt>
                <c:pt idx="26526">
                  <c:v>37392</c:v>
                </c:pt>
                <c:pt idx="26527">
                  <c:v>37392</c:v>
                </c:pt>
                <c:pt idx="26528">
                  <c:v>37392</c:v>
                </c:pt>
                <c:pt idx="26529">
                  <c:v>37392</c:v>
                </c:pt>
                <c:pt idx="26530">
                  <c:v>37391</c:v>
                </c:pt>
                <c:pt idx="26531">
                  <c:v>37391</c:v>
                </c:pt>
                <c:pt idx="26532">
                  <c:v>37391</c:v>
                </c:pt>
                <c:pt idx="26533">
                  <c:v>37390</c:v>
                </c:pt>
                <c:pt idx="26534">
                  <c:v>37389</c:v>
                </c:pt>
                <c:pt idx="26535">
                  <c:v>37389</c:v>
                </c:pt>
                <c:pt idx="26536">
                  <c:v>37388</c:v>
                </c:pt>
                <c:pt idx="26537">
                  <c:v>37387</c:v>
                </c:pt>
                <c:pt idx="26538">
                  <c:v>37386</c:v>
                </c:pt>
                <c:pt idx="26539">
                  <c:v>37386</c:v>
                </c:pt>
                <c:pt idx="26540">
                  <c:v>37385</c:v>
                </c:pt>
                <c:pt idx="26541">
                  <c:v>37383</c:v>
                </c:pt>
                <c:pt idx="26542">
                  <c:v>37383</c:v>
                </c:pt>
                <c:pt idx="26543">
                  <c:v>37382</c:v>
                </c:pt>
                <c:pt idx="26544">
                  <c:v>37382</c:v>
                </c:pt>
                <c:pt idx="26545">
                  <c:v>37381</c:v>
                </c:pt>
                <c:pt idx="26546">
                  <c:v>37381</c:v>
                </c:pt>
                <c:pt idx="26547">
                  <c:v>37381</c:v>
                </c:pt>
                <c:pt idx="26548">
                  <c:v>37381</c:v>
                </c:pt>
                <c:pt idx="26549">
                  <c:v>37381</c:v>
                </c:pt>
                <c:pt idx="26550">
                  <c:v>37380</c:v>
                </c:pt>
                <c:pt idx="26551">
                  <c:v>37380</c:v>
                </c:pt>
                <c:pt idx="26552">
                  <c:v>37380</c:v>
                </c:pt>
                <c:pt idx="26553">
                  <c:v>37380</c:v>
                </c:pt>
                <c:pt idx="26554">
                  <c:v>37379</c:v>
                </c:pt>
                <c:pt idx="26555">
                  <c:v>37379</c:v>
                </c:pt>
                <c:pt idx="26556">
                  <c:v>37379</c:v>
                </c:pt>
                <c:pt idx="26557">
                  <c:v>37378</c:v>
                </c:pt>
                <c:pt idx="26558">
                  <c:v>37378</c:v>
                </c:pt>
                <c:pt idx="26559">
                  <c:v>37377</c:v>
                </c:pt>
                <c:pt idx="26560">
                  <c:v>37377</c:v>
                </c:pt>
                <c:pt idx="26561">
                  <c:v>37377</c:v>
                </c:pt>
                <c:pt idx="26562">
                  <c:v>37376</c:v>
                </c:pt>
                <c:pt idx="26563">
                  <c:v>37376</c:v>
                </c:pt>
                <c:pt idx="26564">
                  <c:v>37375</c:v>
                </c:pt>
                <c:pt idx="26565">
                  <c:v>37375</c:v>
                </c:pt>
                <c:pt idx="26566">
                  <c:v>37375</c:v>
                </c:pt>
                <c:pt idx="26567">
                  <c:v>37375</c:v>
                </c:pt>
                <c:pt idx="26568">
                  <c:v>37375</c:v>
                </c:pt>
                <c:pt idx="26569">
                  <c:v>37375</c:v>
                </c:pt>
                <c:pt idx="26570">
                  <c:v>37375</c:v>
                </c:pt>
                <c:pt idx="26571">
                  <c:v>37375</c:v>
                </c:pt>
                <c:pt idx="26572">
                  <c:v>37375</c:v>
                </c:pt>
                <c:pt idx="26573">
                  <c:v>37374</c:v>
                </c:pt>
                <c:pt idx="26574">
                  <c:v>37374</c:v>
                </c:pt>
                <c:pt idx="26575">
                  <c:v>37373</c:v>
                </c:pt>
                <c:pt idx="26576">
                  <c:v>37373</c:v>
                </c:pt>
                <c:pt idx="26577">
                  <c:v>37373</c:v>
                </c:pt>
                <c:pt idx="26578">
                  <c:v>37372</c:v>
                </c:pt>
                <c:pt idx="26579">
                  <c:v>37372</c:v>
                </c:pt>
                <c:pt idx="26580">
                  <c:v>37372</c:v>
                </c:pt>
                <c:pt idx="26581">
                  <c:v>37371</c:v>
                </c:pt>
                <c:pt idx="26582">
                  <c:v>37371</c:v>
                </c:pt>
                <c:pt idx="26583">
                  <c:v>37371</c:v>
                </c:pt>
                <c:pt idx="26584">
                  <c:v>37370</c:v>
                </c:pt>
                <c:pt idx="26585">
                  <c:v>37369</c:v>
                </c:pt>
                <c:pt idx="26586">
                  <c:v>37369</c:v>
                </c:pt>
                <c:pt idx="26587">
                  <c:v>37369</c:v>
                </c:pt>
                <c:pt idx="26588">
                  <c:v>37369</c:v>
                </c:pt>
                <c:pt idx="26589">
                  <c:v>37369</c:v>
                </c:pt>
                <c:pt idx="26590">
                  <c:v>37367</c:v>
                </c:pt>
                <c:pt idx="26591">
                  <c:v>37366</c:v>
                </c:pt>
                <c:pt idx="26592">
                  <c:v>37366</c:v>
                </c:pt>
                <c:pt idx="26593">
                  <c:v>37366</c:v>
                </c:pt>
                <c:pt idx="26594">
                  <c:v>37365</c:v>
                </c:pt>
                <c:pt idx="26595">
                  <c:v>37365</c:v>
                </c:pt>
                <c:pt idx="26596">
                  <c:v>37365</c:v>
                </c:pt>
                <c:pt idx="26597">
                  <c:v>37363</c:v>
                </c:pt>
                <c:pt idx="26598">
                  <c:v>37362</c:v>
                </c:pt>
                <c:pt idx="26599">
                  <c:v>37362</c:v>
                </c:pt>
                <c:pt idx="26600">
                  <c:v>37361</c:v>
                </c:pt>
                <c:pt idx="26601">
                  <c:v>37361</c:v>
                </c:pt>
                <c:pt idx="26602">
                  <c:v>37361</c:v>
                </c:pt>
                <c:pt idx="26603">
                  <c:v>37361</c:v>
                </c:pt>
                <c:pt idx="26604">
                  <c:v>37361</c:v>
                </c:pt>
                <c:pt idx="26605">
                  <c:v>37361</c:v>
                </c:pt>
                <c:pt idx="26606">
                  <c:v>37360</c:v>
                </c:pt>
                <c:pt idx="26607">
                  <c:v>37360</c:v>
                </c:pt>
                <c:pt idx="26608">
                  <c:v>37358</c:v>
                </c:pt>
                <c:pt idx="26609">
                  <c:v>37358</c:v>
                </c:pt>
                <c:pt idx="26610">
                  <c:v>37358</c:v>
                </c:pt>
                <c:pt idx="26611">
                  <c:v>37357</c:v>
                </c:pt>
                <c:pt idx="26612">
                  <c:v>37357</c:v>
                </c:pt>
                <c:pt idx="26613">
                  <c:v>37356</c:v>
                </c:pt>
                <c:pt idx="26614">
                  <c:v>37356</c:v>
                </c:pt>
                <c:pt idx="26615">
                  <c:v>37355</c:v>
                </c:pt>
                <c:pt idx="26616">
                  <c:v>37355</c:v>
                </c:pt>
                <c:pt idx="26617">
                  <c:v>37354</c:v>
                </c:pt>
                <c:pt idx="26618">
                  <c:v>37354</c:v>
                </c:pt>
                <c:pt idx="26619">
                  <c:v>37353</c:v>
                </c:pt>
                <c:pt idx="26620">
                  <c:v>37353</c:v>
                </c:pt>
                <c:pt idx="26621">
                  <c:v>37353</c:v>
                </c:pt>
                <c:pt idx="26622">
                  <c:v>37352</c:v>
                </c:pt>
                <c:pt idx="26623">
                  <c:v>37352</c:v>
                </c:pt>
                <c:pt idx="26624">
                  <c:v>37352</c:v>
                </c:pt>
                <c:pt idx="26625">
                  <c:v>37351</c:v>
                </c:pt>
                <c:pt idx="26626">
                  <c:v>37350</c:v>
                </c:pt>
                <c:pt idx="26627">
                  <c:v>37350</c:v>
                </c:pt>
                <c:pt idx="26628">
                  <c:v>37350</c:v>
                </c:pt>
                <c:pt idx="26629">
                  <c:v>37349</c:v>
                </c:pt>
                <c:pt idx="26630">
                  <c:v>37349</c:v>
                </c:pt>
                <c:pt idx="26631">
                  <c:v>37349</c:v>
                </c:pt>
                <c:pt idx="26632">
                  <c:v>37348</c:v>
                </c:pt>
                <c:pt idx="26633">
                  <c:v>37348</c:v>
                </c:pt>
                <c:pt idx="26634">
                  <c:v>37348</c:v>
                </c:pt>
                <c:pt idx="26635">
                  <c:v>37347</c:v>
                </c:pt>
                <c:pt idx="26636">
                  <c:v>37347</c:v>
                </c:pt>
                <c:pt idx="26637">
                  <c:v>37347</c:v>
                </c:pt>
                <c:pt idx="26638">
                  <c:v>37346</c:v>
                </c:pt>
                <c:pt idx="26639">
                  <c:v>37345</c:v>
                </c:pt>
                <c:pt idx="26640">
                  <c:v>37345</c:v>
                </c:pt>
                <c:pt idx="26641">
                  <c:v>37345</c:v>
                </c:pt>
                <c:pt idx="26642">
                  <c:v>37345</c:v>
                </c:pt>
                <c:pt idx="26643">
                  <c:v>37344</c:v>
                </c:pt>
                <c:pt idx="26644">
                  <c:v>37344</c:v>
                </c:pt>
                <c:pt idx="26645">
                  <c:v>37344</c:v>
                </c:pt>
                <c:pt idx="26646">
                  <c:v>37344</c:v>
                </c:pt>
                <c:pt idx="26647">
                  <c:v>37343</c:v>
                </c:pt>
                <c:pt idx="26648">
                  <c:v>37342</c:v>
                </c:pt>
                <c:pt idx="26649">
                  <c:v>37342</c:v>
                </c:pt>
                <c:pt idx="26650">
                  <c:v>37341</c:v>
                </c:pt>
                <c:pt idx="26651">
                  <c:v>37341</c:v>
                </c:pt>
                <c:pt idx="26652">
                  <c:v>37340</c:v>
                </c:pt>
                <c:pt idx="26653">
                  <c:v>37340</c:v>
                </c:pt>
                <c:pt idx="26654">
                  <c:v>37340</c:v>
                </c:pt>
                <c:pt idx="26655">
                  <c:v>37340</c:v>
                </c:pt>
                <c:pt idx="26656">
                  <c:v>37340</c:v>
                </c:pt>
                <c:pt idx="26657">
                  <c:v>37339</c:v>
                </c:pt>
                <c:pt idx="26658">
                  <c:v>37339</c:v>
                </c:pt>
                <c:pt idx="26659">
                  <c:v>37339</c:v>
                </c:pt>
                <c:pt idx="26660">
                  <c:v>37339</c:v>
                </c:pt>
                <c:pt idx="26661">
                  <c:v>37339</c:v>
                </c:pt>
                <c:pt idx="26662">
                  <c:v>37338</c:v>
                </c:pt>
                <c:pt idx="26663">
                  <c:v>37338</c:v>
                </c:pt>
                <c:pt idx="26664">
                  <c:v>37338</c:v>
                </c:pt>
                <c:pt idx="26665">
                  <c:v>37337</c:v>
                </c:pt>
                <c:pt idx="26666">
                  <c:v>37337</c:v>
                </c:pt>
                <c:pt idx="26667">
                  <c:v>37337</c:v>
                </c:pt>
                <c:pt idx="26668">
                  <c:v>37336</c:v>
                </c:pt>
                <c:pt idx="26669">
                  <c:v>37336</c:v>
                </c:pt>
                <c:pt idx="26670">
                  <c:v>37336</c:v>
                </c:pt>
                <c:pt idx="26671">
                  <c:v>37336</c:v>
                </c:pt>
                <c:pt idx="26672">
                  <c:v>37335</c:v>
                </c:pt>
                <c:pt idx="26673">
                  <c:v>37335</c:v>
                </c:pt>
                <c:pt idx="26674">
                  <c:v>37335</c:v>
                </c:pt>
                <c:pt idx="26675">
                  <c:v>37334</c:v>
                </c:pt>
                <c:pt idx="26676">
                  <c:v>37334</c:v>
                </c:pt>
                <c:pt idx="26677">
                  <c:v>37334</c:v>
                </c:pt>
                <c:pt idx="26678">
                  <c:v>37334</c:v>
                </c:pt>
                <c:pt idx="26679">
                  <c:v>37333</c:v>
                </c:pt>
                <c:pt idx="26680">
                  <c:v>37332</c:v>
                </c:pt>
                <c:pt idx="26681">
                  <c:v>37332</c:v>
                </c:pt>
                <c:pt idx="26682">
                  <c:v>37332</c:v>
                </c:pt>
                <c:pt idx="26683">
                  <c:v>37331</c:v>
                </c:pt>
                <c:pt idx="26684">
                  <c:v>37329</c:v>
                </c:pt>
                <c:pt idx="26685">
                  <c:v>37329</c:v>
                </c:pt>
                <c:pt idx="26686">
                  <c:v>37329</c:v>
                </c:pt>
                <c:pt idx="26687">
                  <c:v>37329</c:v>
                </c:pt>
                <c:pt idx="26688">
                  <c:v>37328</c:v>
                </c:pt>
                <c:pt idx="26689">
                  <c:v>37327</c:v>
                </c:pt>
                <c:pt idx="26690">
                  <c:v>37327</c:v>
                </c:pt>
                <c:pt idx="26691">
                  <c:v>37327</c:v>
                </c:pt>
                <c:pt idx="26692">
                  <c:v>37326</c:v>
                </c:pt>
                <c:pt idx="26693">
                  <c:v>37326</c:v>
                </c:pt>
                <c:pt idx="26694">
                  <c:v>37325</c:v>
                </c:pt>
                <c:pt idx="26695">
                  <c:v>37325</c:v>
                </c:pt>
                <c:pt idx="26696">
                  <c:v>37324</c:v>
                </c:pt>
                <c:pt idx="26697">
                  <c:v>37324</c:v>
                </c:pt>
                <c:pt idx="26698">
                  <c:v>37324</c:v>
                </c:pt>
                <c:pt idx="26699">
                  <c:v>37324</c:v>
                </c:pt>
                <c:pt idx="26700">
                  <c:v>37324</c:v>
                </c:pt>
                <c:pt idx="26701">
                  <c:v>37323</c:v>
                </c:pt>
                <c:pt idx="26702">
                  <c:v>37323</c:v>
                </c:pt>
                <c:pt idx="26703">
                  <c:v>37323</c:v>
                </c:pt>
                <c:pt idx="26704">
                  <c:v>37322</c:v>
                </c:pt>
                <c:pt idx="26705">
                  <c:v>37322</c:v>
                </c:pt>
                <c:pt idx="26706">
                  <c:v>37321</c:v>
                </c:pt>
                <c:pt idx="26707">
                  <c:v>37321</c:v>
                </c:pt>
                <c:pt idx="26708">
                  <c:v>37320</c:v>
                </c:pt>
                <c:pt idx="26709">
                  <c:v>37320</c:v>
                </c:pt>
                <c:pt idx="26710">
                  <c:v>37320</c:v>
                </c:pt>
                <c:pt idx="26711">
                  <c:v>37319</c:v>
                </c:pt>
                <c:pt idx="26712">
                  <c:v>37319</c:v>
                </c:pt>
                <c:pt idx="26713">
                  <c:v>37318</c:v>
                </c:pt>
                <c:pt idx="26714">
                  <c:v>37318</c:v>
                </c:pt>
                <c:pt idx="26715">
                  <c:v>37318</c:v>
                </c:pt>
                <c:pt idx="26716">
                  <c:v>37318</c:v>
                </c:pt>
                <c:pt idx="26717">
                  <c:v>37317</c:v>
                </c:pt>
                <c:pt idx="26718">
                  <c:v>37317</c:v>
                </c:pt>
                <c:pt idx="26719">
                  <c:v>37317</c:v>
                </c:pt>
                <c:pt idx="26720">
                  <c:v>37316</c:v>
                </c:pt>
                <c:pt idx="26721">
                  <c:v>37316</c:v>
                </c:pt>
                <c:pt idx="26722">
                  <c:v>37314</c:v>
                </c:pt>
                <c:pt idx="26723">
                  <c:v>37314</c:v>
                </c:pt>
                <c:pt idx="26724">
                  <c:v>37314</c:v>
                </c:pt>
                <c:pt idx="26725">
                  <c:v>37314</c:v>
                </c:pt>
                <c:pt idx="26726">
                  <c:v>37314</c:v>
                </c:pt>
                <c:pt idx="26727">
                  <c:v>37314</c:v>
                </c:pt>
                <c:pt idx="26728">
                  <c:v>37314</c:v>
                </c:pt>
                <c:pt idx="26729">
                  <c:v>37313</c:v>
                </c:pt>
                <c:pt idx="26730">
                  <c:v>37312</c:v>
                </c:pt>
                <c:pt idx="26731">
                  <c:v>37311</c:v>
                </c:pt>
                <c:pt idx="26732">
                  <c:v>37310</c:v>
                </c:pt>
                <c:pt idx="26733">
                  <c:v>37309</c:v>
                </c:pt>
                <c:pt idx="26734">
                  <c:v>37309</c:v>
                </c:pt>
                <c:pt idx="26735">
                  <c:v>37308</c:v>
                </c:pt>
                <c:pt idx="26736">
                  <c:v>37308</c:v>
                </c:pt>
                <c:pt idx="26737">
                  <c:v>37308</c:v>
                </c:pt>
                <c:pt idx="26738">
                  <c:v>37308</c:v>
                </c:pt>
                <c:pt idx="26739">
                  <c:v>37308</c:v>
                </c:pt>
                <c:pt idx="26740">
                  <c:v>37307</c:v>
                </c:pt>
                <c:pt idx="26741">
                  <c:v>37307</c:v>
                </c:pt>
                <c:pt idx="26742">
                  <c:v>37306</c:v>
                </c:pt>
                <c:pt idx="26743">
                  <c:v>37306</c:v>
                </c:pt>
                <c:pt idx="26744">
                  <c:v>37306</c:v>
                </c:pt>
                <c:pt idx="26745">
                  <c:v>37304</c:v>
                </c:pt>
                <c:pt idx="26746">
                  <c:v>37304</c:v>
                </c:pt>
                <c:pt idx="26747">
                  <c:v>37304</c:v>
                </c:pt>
                <c:pt idx="26748">
                  <c:v>37303</c:v>
                </c:pt>
                <c:pt idx="26749">
                  <c:v>37302</c:v>
                </c:pt>
                <c:pt idx="26750">
                  <c:v>37302</c:v>
                </c:pt>
                <c:pt idx="26751">
                  <c:v>37302</c:v>
                </c:pt>
                <c:pt idx="26752">
                  <c:v>37302</c:v>
                </c:pt>
                <c:pt idx="26753">
                  <c:v>37302</c:v>
                </c:pt>
                <c:pt idx="26754">
                  <c:v>37302</c:v>
                </c:pt>
                <c:pt idx="26755">
                  <c:v>37302</c:v>
                </c:pt>
                <c:pt idx="26756">
                  <c:v>37301</c:v>
                </c:pt>
                <c:pt idx="26757">
                  <c:v>37301</c:v>
                </c:pt>
                <c:pt idx="26758">
                  <c:v>37299</c:v>
                </c:pt>
                <c:pt idx="26759">
                  <c:v>37299</c:v>
                </c:pt>
                <c:pt idx="26760">
                  <c:v>37299</c:v>
                </c:pt>
                <c:pt idx="26761">
                  <c:v>37299</c:v>
                </c:pt>
                <c:pt idx="26762">
                  <c:v>37299</c:v>
                </c:pt>
                <c:pt idx="26763">
                  <c:v>37298</c:v>
                </c:pt>
                <c:pt idx="26764">
                  <c:v>37298</c:v>
                </c:pt>
                <c:pt idx="26765">
                  <c:v>37298</c:v>
                </c:pt>
                <c:pt idx="26766">
                  <c:v>37296</c:v>
                </c:pt>
                <c:pt idx="26767">
                  <c:v>37295</c:v>
                </c:pt>
                <c:pt idx="26768">
                  <c:v>37295</c:v>
                </c:pt>
                <c:pt idx="26769">
                  <c:v>37295</c:v>
                </c:pt>
                <c:pt idx="26770">
                  <c:v>37295</c:v>
                </c:pt>
                <c:pt idx="26771">
                  <c:v>37295</c:v>
                </c:pt>
                <c:pt idx="26772">
                  <c:v>37295</c:v>
                </c:pt>
                <c:pt idx="26773">
                  <c:v>37294</c:v>
                </c:pt>
                <c:pt idx="26774">
                  <c:v>37294</c:v>
                </c:pt>
                <c:pt idx="26775">
                  <c:v>37294</c:v>
                </c:pt>
                <c:pt idx="26776">
                  <c:v>37293</c:v>
                </c:pt>
                <c:pt idx="26777">
                  <c:v>37293</c:v>
                </c:pt>
                <c:pt idx="26778">
                  <c:v>37293</c:v>
                </c:pt>
                <c:pt idx="26779">
                  <c:v>37293</c:v>
                </c:pt>
                <c:pt idx="26780">
                  <c:v>37292</c:v>
                </c:pt>
                <c:pt idx="26781">
                  <c:v>37292</c:v>
                </c:pt>
                <c:pt idx="26782">
                  <c:v>37292</c:v>
                </c:pt>
                <c:pt idx="26783">
                  <c:v>37292</c:v>
                </c:pt>
                <c:pt idx="26784">
                  <c:v>37292</c:v>
                </c:pt>
                <c:pt idx="26785">
                  <c:v>37292</c:v>
                </c:pt>
                <c:pt idx="26786">
                  <c:v>37291</c:v>
                </c:pt>
                <c:pt idx="26787">
                  <c:v>37291</c:v>
                </c:pt>
                <c:pt idx="26788">
                  <c:v>37291</c:v>
                </c:pt>
                <c:pt idx="26789">
                  <c:v>37291</c:v>
                </c:pt>
                <c:pt idx="26790">
                  <c:v>37290</c:v>
                </c:pt>
                <c:pt idx="26791">
                  <c:v>37290</c:v>
                </c:pt>
                <c:pt idx="26792">
                  <c:v>37289</c:v>
                </c:pt>
                <c:pt idx="26793">
                  <c:v>37289</c:v>
                </c:pt>
                <c:pt idx="26794">
                  <c:v>37288</c:v>
                </c:pt>
                <c:pt idx="26795">
                  <c:v>37288</c:v>
                </c:pt>
                <c:pt idx="26796">
                  <c:v>37286</c:v>
                </c:pt>
                <c:pt idx="26797">
                  <c:v>37286</c:v>
                </c:pt>
                <c:pt idx="26798">
                  <c:v>37286</c:v>
                </c:pt>
                <c:pt idx="26799">
                  <c:v>37285</c:v>
                </c:pt>
                <c:pt idx="26800">
                  <c:v>37285</c:v>
                </c:pt>
                <c:pt idx="26801">
                  <c:v>37285</c:v>
                </c:pt>
                <c:pt idx="26802">
                  <c:v>37285</c:v>
                </c:pt>
                <c:pt idx="26803">
                  <c:v>37284</c:v>
                </c:pt>
                <c:pt idx="26804">
                  <c:v>37283</c:v>
                </c:pt>
                <c:pt idx="26805">
                  <c:v>37283</c:v>
                </c:pt>
                <c:pt idx="26806">
                  <c:v>37281</c:v>
                </c:pt>
                <c:pt idx="26807">
                  <c:v>37281</c:v>
                </c:pt>
                <c:pt idx="26808">
                  <c:v>37280</c:v>
                </c:pt>
                <c:pt idx="26809">
                  <c:v>37280</c:v>
                </c:pt>
                <c:pt idx="26810">
                  <c:v>37279</c:v>
                </c:pt>
                <c:pt idx="26811">
                  <c:v>37279</c:v>
                </c:pt>
                <c:pt idx="26812">
                  <c:v>37279</c:v>
                </c:pt>
                <c:pt idx="26813">
                  <c:v>37279</c:v>
                </c:pt>
                <c:pt idx="26814">
                  <c:v>37279</c:v>
                </c:pt>
                <c:pt idx="26815">
                  <c:v>37279</c:v>
                </c:pt>
                <c:pt idx="26816">
                  <c:v>37278</c:v>
                </c:pt>
                <c:pt idx="26817">
                  <c:v>37278</c:v>
                </c:pt>
                <c:pt idx="26818">
                  <c:v>37277</c:v>
                </c:pt>
                <c:pt idx="26819">
                  <c:v>37276</c:v>
                </c:pt>
                <c:pt idx="26820">
                  <c:v>37276</c:v>
                </c:pt>
                <c:pt idx="26821">
                  <c:v>37276</c:v>
                </c:pt>
                <c:pt idx="26822">
                  <c:v>37275</c:v>
                </c:pt>
                <c:pt idx="26823">
                  <c:v>37275</c:v>
                </c:pt>
                <c:pt idx="26824">
                  <c:v>37274</c:v>
                </c:pt>
                <c:pt idx="26825">
                  <c:v>37274</c:v>
                </c:pt>
                <c:pt idx="26826">
                  <c:v>37274</c:v>
                </c:pt>
                <c:pt idx="26827">
                  <c:v>37273</c:v>
                </c:pt>
                <c:pt idx="26828">
                  <c:v>37273</c:v>
                </c:pt>
                <c:pt idx="26829">
                  <c:v>37273</c:v>
                </c:pt>
                <c:pt idx="26830">
                  <c:v>37271</c:v>
                </c:pt>
                <c:pt idx="26831">
                  <c:v>37271</c:v>
                </c:pt>
                <c:pt idx="26832">
                  <c:v>37271</c:v>
                </c:pt>
                <c:pt idx="26833">
                  <c:v>37271</c:v>
                </c:pt>
                <c:pt idx="26834">
                  <c:v>37269</c:v>
                </c:pt>
                <c:pt idx="26835">
                  <c:v>37268</c:v>
                </c:pt>
                <c:pt idx="26836">
                  <c:v>37267</c:v>
                </c:pt>
                <c:pt idx="26837">
                  <c:v>37266</c:v>
                </c:pt>
                <c:pt idx="26838">
                  <c:v>37266</c:v>
                </c:pt>
                <c:pt idx="26839">
                  <c:v>37266</c:v>
                </c:pt>
                <c:pt idx="26840">
                  <c:v>37265</c:v>
                </c:pt>
                <c:pt idx="26841">
                  <c:v>37265</c:v>
                </c:pt>
                <c:pt idx="26842">
                  <c:v>37264</c:v>
                </c:pt>
                <c:pt idx="26843">
                  <c:v>37263</c:v>
                </c:pt>
                <c:pt idx="26844">
                  <c:v>37262</c:v>
                </c:pt>
                <c:pt idx="26845">
                  <c:v>37262</c:v>
                </c:pt>
                <c:pt idx="26846">
                  <c:v>37261</c:v>
                </c:pt>
                <c:pt idx="26847">
                  <c:v>37260</c:v>
                </c:pt>
                <c:pt idx="26848">
                  <c:v>37260</c:v>
                </c:pt>
                <c:pt idx="26849">
                  <c:v>37260</c:v>
                </c:pt>
                <c:pt idx="26850">
                  <c:v>37259</c:v>
                </c:pt>
                <c:pt idx="26851">
                  <c:v>37259</c:v>
                </c:pt>
                <c:pt idx="26852">
                  <c:v>37259</c:v>
                </c:pt>
                <c:pt idx="26853">
                  <c:v>37259</c:v>
                </c:pt>
                <c:pt idx="26854">
                  <c:v>37259</c:v>
                </c:pt>
                <c:pt idx="26855">
                  <c:v>37258</c:v>
                </c:pt>
                <c:pt idx="26856">
                  <c:v>37258</c:v>
                </c:pt>
                <c:pt idx="26857">
                  <c:v>37258</c:v>
                </c:pt>
                <c:pt idx="26858">
                  <c:v>37258</c:v>
                </c:pt>
                <c:pt idx="26859">
                  <c:v>37257</c:v>
                </c:pt>
                <c:pt idx="26860">
                  <c:v>37257</c:v>
                </c:pt>
                <c:pt idx="26861">
                  <c:v>37256</c:v>
                </c:pt>
                <c:pt idx="26862">
                  <c:v>37256</c:v>
                </c:pt>
                <c:pt idx="26863">
                  <c:v>37256</c:v>
                </c:pt>
                <c:pt idx="26864">
                  <c:v>37255</c:v>
                </c:pt>
                <c:pt idx="26865">
                  <c:v>37255</c:v>
                </c:pt>
                <c:pt idx="26866">
                  <c:v>37255</c:v>
                </c:pt>
                <c:pt idx="26867">
                  <c:v>37254</c:v>
                </c:pt>
                <c:pt idx="26868">
                  <c:v>37254</c:v>
                </c:pt>
                <c:pt idx="26869">
                  <c:v>37254</c:v>
                </c:pt>
                <c:pt idx="26870">
                  <c:v>37254</c:v>
                </c:pt>
                <c:pt idx="26871">
                  <c:v>37253</c:v>
                </c:pt>
                <c:pt idx="26872">
                  <c:v>37252</c:v>
                </c:pt>
                <c:pt idx="26873">
                  <c:v>37252</c:v>
                </c:pt>
                <c:pt idx="26874">
                  <c:v>37251</c:v>
                </c:pt>
                <c:pt idx="26875">
                  <c:v>37251</c:v>
                </c:pt>
                <c:pt idx="26876">
                  <c:v>37251</c:v>
                </c:pt>
                <c:pt idx="26877">
                  <c:v>37250</c:v>
                </c:pt>
                <c:pt idx="26878">
                  <c:v>37250</c:v>
                </c:pt>
                <c:pt idx="26879">
                  <c:v>37249</c:v>
                </c:pt>
                <c:pt idx="26880">
                  <c:v>37248</c:v>
                </c:pt>
                <c:pt idx="26881">
                  <c:v>37248</c:v>
                </c:pt>
                <c:pt idx="26882">
                  <c:v>37248</c:v>
                </c:pt>
                <c:pt idx="26883">
                  <c:v>37248</c:v>
                </c:pt>
                <c:pt idx="26884">
                  <c:v>37248</c:v>
                </c:pt>
                <c:pt idx="26885">
                  <c:v>37247</c:v>
                </c:pt>
                <c:pt idx="26886">
                  <c:v>37247</c:v>
                </c:pt>
                <c:pt idx="26887">
                  <c:v>37247</c:v>
                </c:pt>
                <c:pt idx="26888">
                  <c:v>37247</c:v>
                </c:pt>
                <c:pt idx="26889">
                  <c:v>37246</c:v>
                </c:pt>
                <c:pt idx="26890">
                  <c:v>37246</c:v>
                </c:pt>
                <c:pt idx="26891">
                  <c:v>37246</c:v>
                </c:pt>
                <c:pt idx="26892">
                  <c:v>37246</c:v>
                </c:pt>
                <c:pt idx="26893">
                  <c:v>37245</c:v>
                </c:pt>
                <c:pt idx="26894">
                  <c:v>37244</c:v>
                </c:pt>
                <c:pt idx="26895">
                  <c:v>37243</c:v>
                </c:pt>
                <c:pt idx="26896">
                  <c:v>37243</c:v>
                </c:pt>
                <c:pt idx="26897">
                  <c:v>37243</c:v>
                </c:pt>
                <c:pt idx="26898">
                  <c:v>37243</c:v>
                </c:pt>
                <c:pt idx="26899">
                  <c:v>37243</c:v>
                </c:pt>
                <c:pt idx="26900">
                  <c:v>37243</c:v>
                </c:pt>
                <c:pt idx="26901">
                  <c:v>37242</c:v>
                </c:pt>
                <c:pt idx="26902">
                  <c:v>37242</c:v>
                </c:pt>
                <c:pt idx="26903">
                  <c:v>37241</c:v>
                </c:pt>
                <c:pt idx="26904">
                  <c:v>37241</c:v>
                </c:pt>
                <c:pt idx="26905">
                  <c:v>37240</c:v>
                </c:pt>
                <c:pt idx="26906">
                  <c:v>37240</c:v>
                </c:pt>
                <c:pt idx="26907">
                  <c:v>37240</c:v>
                </c:pt>
                <c:pt idx="26908">
                  <c:v>37240</c:v>
                </c:pt>
                <c:pt idx="26909">
                  <c:v>37239</c:v>
                </c:pt>
                <c:pt idx="26910">
                  <c:v>37239</c:v>
                </c:pt>
                <c:pt idx="26911">
                  <c:v>37238</c:v>
                </c:pt>
                <c:pt idx="26912">
                  <c:v>37238</c:v>
                </c:pt>
                <c:pt idx="26913">
                  <c:v>37238</c:v>
                </c:pt>
                <c:pt idx="26914">
                  <c:v>37237</c:v>
                </c:pt>
                <c:pt idx="26915">
                  <c:v>37237</c:v>
                </c:pt>
                <c:pt idx="26916">
                  <c:v>37237</c:v>
                </c:pt>
                <c:pt idx="26917">
                  <c:v>37237</c:v>
                </c:pt>
                <c:pt idx="26918">
                  <c:v>37236</c:v>
                </c:pt>
                <c:pt idx="26919">
                  <c:v>37236</c:v>
                </c:pt>
                <c:pt idx="26920">
                  <c:v>37234</c:v>
                </c:pt>
                <c:pt idx="26921">
                  <c:v>37231</c:v>
                </c:pt>
                <c:pt idx="26922">
                  <c:v>37231</c:v>
                </c:pt>
                <c:pt idx="26923">
                  <c:v>37231</c:v>
                </c:pt>
                <c:pt idx="26924">
                  <c:v>37230</c:v>
                </c:pt>
                <c:pt idx="26925">
                  <c:v>37230</c:v>
                </c:pt>
                <c:pt idx="26926">
                  <c:v>37230</c:v>
                </c:pt>
                <c:pt idx="26927">
                  <c:v>37230</c:v>
                </c:pt>
                <c:pt idx="26928">
                  <c:v>37229</c:v>
                </c:pt>
                <c:pt idx="26929">
                  <c:v>37229</c:v>
                </c:pt>
                <c:pt idx="26930">
                  <c:v>37229</c:v>
                </c:pt>
                <c:pt idx="26931">
                  <c:v>37228</c:v>
                </c:pt>
                <c:pt idx="26932">
                  <c:v>37228</c:v>
                </c:pt>
                <c:pt idx="26933">
                  <c:v>37226</c:v>
                </c:pt>
                <c:pt idx="26934">
                  <c:v>37225</c:v>
                </c:pt>
                <c:pt idx="26935">
                  <c:v>37225</c:v>
                </c:pt>
                <c:pt idx="26936">
                  <c:v>37225</c:v>
                </c:pt>
                <c:pt idx="26937">
                  <c:v>37225</c:v>
                </c:pt>
                <c:pt idx="26938">
                  <c:v>37225</c:v>
                </c:pt>
                <c:pt idx="26939">
                  <c:v>37224</c:v>
                </c:pt>
                <c:pt idx="26940">
                  <c:v>37224</c:v>
                </c:pt>
                <c:pt idx="26941">
                  <c:v>37224</c:v>
                </c:pt>
                <c:pt idx="26942">
                  <c:v>37224</c:v>
                </c:pt>
                <c:pt idx="26943">
                  <c:v>37224</c:v>
                </c:pt>
                <c:pt idx="26944">
                  <c:v>37224</c:v>
                </c:pt>
                <c:pt idx="26945">
                  <c:v>37223</c:v>
                </c:pt>
                <c:pt idx="26946">
                  <c:v>37223</c:v>
                </c:pt>
                <c:pt idx="26947">
                  <c:v>37223</c:v>
                </c:pt>
                <c:pt idx="26948">
                  <c:v>37223</c:v>
                </c:pt>
                <c:pt idx="26949">
                  <c:v>37223</c:v>
                </c:pt>
                <c:pt idx="26950">
                  <c:v>37223</c:v>
                </c:pt>
                <c:pt idx="26951">
                  <c:v>37223</c:v>
                </c:pt>
                <c:pt idx="26952">
                  <c:v>37222</c:v>
                </c:pt>
                <c:pt idx="26953">
                  <c:v>37221</c:v>
                </c:pt>
                <c:pt idx="26954">
                  <c:v>37221</c:v>
                </c:pt>
                <c:pt idx="26955">
                  <c:v>37221</c:v>
                </c:pt>
                <c:pt idx="26956">
                  <c:v>37220</c:v>
                </c:pt>
                <c:pt idx="26957">
                  <c:v>37220</c:v>
                </c:pt>
                <c:pt idx="26958">
                  <c:v>37219</c:v>
                </c:pt>
                <c:pt idx="26959">
                  <c:v>37219</c:v>
                </c:pt>
                <c:pt idx="26960">
                  <c:v>37218</c:v>
                </c:pt>
                <c:pt idx="26961">
                  <c:v>37218</c:v>
                </c:pt>
                <c:pt idx="26962">
                  <c:v>37218</c:v>
                </c:pt>
                <c:pt idx="26963">
                  <c:v>37218</c:v>
                </c:pt>
                <c:pt idx="26964">
                  <c:v>37218</c:v>
                </c:pt>
                <c:pt idx="26965">
                  <c:v>37216</c:v>
                </c:pt>
                <c:pt idx="26966">
                  <c:v>37215</c:v>
                </c:pt>
                <c:pt idx="26967">
                  <c:v>37214</c:v>
                </c:pt>
                <c:pt idx="26968">
                  <c:v>37214</c:v>
                </c:pt>
                <c:pt idx="26969">
                  <c:v>37214</c:v>
                </c:pt>
                <c:pt idx="26970">
                  <c:v>37214</c:v>
                </c:pt>
                <c:pt idx="26971">
                  <c:v>37212</c:v>
                </c:pt>
                <c:pt idx="26972">
                  <c:v>37211</c:v>
                </c:pt>
                <c:pt idx="26973">
                  <c:v>37211</c:v>
                </c:pt>
                <c:pt idx="26974">
                  <c:v>37211</c:v>
                </c:pt>
                <c:pt idx="26975">
                  <c:v>37211</c:v>
                </c:pt>
                <c:pt idx="26976">
                  <c:v>37211</c:v>
                </c:pt>
                <c:pt idx="26977">
                  <c:v>37211</c:v>
                </c:pt>
                <c:pt idx="26978">
                  <c:v>37211</c:v>
                </c:pt>
                <c:pt idx="26979">
                  <c:v>37211</c:v>
                </c:pt>
                <c:pt idx="26980">
                  <c:v>37211</c:v>
                </c:pt>
                <c:pt idx="26981">
                  <c:v>37210</c:v>
                </c:pt>
                <c:pt idx="26982">
                  <c:v>37209</c:v>
                </c:pt>
                <c:pt idx="26983">
                  <c:v>37209</c:v>
                </c:pt>
                <c:pt idx="26984">
                  <c:v>37209</c:v>
                </c:pt>
                <c:pt idx="26985">
                  <c:v>37208</c:v>
                </c:pt>
                <c:pt idx="26986">
                  <c:v>37208</c:v>
                </c:pt>
                <c:pt idx="26987">
                  <c:v>37208</c:v>
                </c:pt>
                <c:pt idx="26988">
                  <c:v>37207</c:v>
                </c:pt>
                <c:pt idx="26989">
                  <c:v>37207</c:v>
                </c:pt>
                <c:pt idx="26990">
                  <c:v>37206</c:v>
                </c:pt>
                <c:pt idx="26991">
                  <c:v>37206</c:v>
                </c:pt>
                <c:pt idx="26992">
                  <c:v>37204</c:v>
                </c:pt>
                <c:pt idx="26993">
                  <c:v>37204</c:v>
                </c:pt>
                <c:pt idx="26994">
                  <c:v>37203</c:v>
                </c:pt>
                <c:pt idx="26995">
                  <c:v>37203</c:v>
                </c:pt>
                <c:pt idx="26996">
                  <c:v>37203</c:v>
                </c:pt>
                <c:pt idx="26997">
                  <c:v>37203</c:v>
                </c:pt>
                <c:pt idx="26998">
                  <c:v>37202</c:v>
                </c:pt>
                <c:pt idx="26999">
                  <c:v>37202</c:v>
                </c:pt>
                <c:pt idx="27000">
                  <c:v>37202</c:v>
                </c:pt>
                <c:pt idx="27001">
                  <c:v>37201</c:v>
                </c:pt>
                <c:pt idx="27002">
                  <c:v>37200</c:v>
                </c:pt>
                <c:pt idx="27003">
                  <c:v>37200</c:v>
                </c:pt>
                <c:pt idx="27004">
                  <c:v>37199</c:v>
                </c:pt>
                <c:pt idx="27005">
                  <c:v>37198</c:v>
                </c:pt>
                <c:pt idx="27006">
                  <c:v>37197</c:v>
                </c:pt>
                <c:pt idx="27007">
                  <c:v>37197</c:v>
                </c:pt>
                <c:pt idx="27008">
                  <c:v>37197</c:v>
                </c:pt>
                <c:pt idx="27009">
                  <c:v>37197</c:v>
                </c:pt>
                <c:pt idx="27010">
                  <c:v>37196</c:v>
                </c:pt>
                <c:pt idx="27011">
                  <c:v>37196</c:v>
                </c:pt>
                <c:pt idx="27012">
                  <c:v>37196</c:v>
                </c:pt>
                <c:pt idx="27013">
                  <c:v>37195</c:v>
                </c:pt>
                <c:pt idx="27014">
                  <c:v>37193</c:v>
                </c:pt>
                <c:pt idx="27015">
                  <c:v>37192</c:v>
                </c:pt>
                <c:pt idx="27016">
                  <c:v>37192</c:v>
                </c:pt>
                <c:pt idx="27017">
                  <c:v>37191</c:v>
                </c:pt>
                <c:pt idx="27018">
                  <c:v>37189</c:v>
                </c:pt>
                <c:pt idx="27019">
                  <c:v>37189</c:v>
                </c:pt>
                <c:pt idx="27020">
                  <c:v>37189</c:v>
                </c:pt>
                <c:pt idx="27021">
                  <c:v>37189</c:v>
                </c:pt>
                <c:pt idx="27022">
                  <c:v>37189</c:v>
                </c:pt>
                <c:pt idx="27023">
                  <c:v>37189</c:v>
                </c:pt>
                <c:pt idx="27024">
                  <c:v>37188</c:v>
                </c:pt>
                <c:pt idx="27025">
                  <c:v>37188</c:v>
                </c:pt>
                <c:pt idx="27026">
                  <c:v>37188</c:v>
                </c:pt>
                <c:pt idx="27027">
                  <c:v>37187</c:v>
                </c:pt>
                <c:pt idx="27028">
                  <c:v>37187</c:v>
                </c:pt>
                <c:pt idx="27029">
                  <c:v>37186</c:v>
                </c:pt>
                <c:pt idx="27030">
                  <c:v>37186</c:v>
                </c:pt>
                <c:pt idx="27031">
                  <c:v>37186</c:v>
                </c:pt>
                <c:pt idx="27032">
                  <c:v>37186</c:v>
                </c:pt>
                <c:pt idx="27033">
                  <c:v>37185</c:v>
                </c:pt>
                <c:pt idx="27034">
                  <c:v>37185</c:v>
                </c:pt>
                <c:pt idx="27035">
                  <c:v>37185</c:v>
                </c:pt>
                <c:pt idx="27036">
                  <c:v>37184</c:v>
                </c:pt>
                <c:pt idx="27037">
                  <c:v>37183</c:v>
                </c:pt>
                <c:pt idx="27038">
                  <c:v>37183</c:v>
                </c:pt>
                <c:pt idx="27039">
                  <c:v>37183</c:v>
                </c:pt>
                <c:pt idx="27040">
                  <c:v>37183</c:v>
                </c:pt>
                <c:pt idx="27041">
                  <c:v>37180</c:v>
                </c:pt>
                <c:pt idx="27042">
                  <c:v>37180</c:v>
                </c:pt>
                <c:pt idx="27043">
                  <c:v>37180</c:v>
                </c:pt>
                <c:pt idx="27044">
                  <c:v>37180</c:v>
                </c:pt>
                <c:pt idx="27045">
                  <c:v>37178</c:v>
                </c:pt>
                <c:pt idx="27046">
                  <c:v>37177</c:v>
                </c:pt>
                <c:pt idx="27047">
                  <c:v>37177</c:v>
                </c:pt>
                <c:pt idx="27048">
                  <c:v>37176</c:v>
                </c:pt>
                <c:pt idx="27049">
                  <c:v>37176</c:v>
                </c:pt>
                <c:pt idx="27050">
                  <c:v>37175</c:v>
                </c:pt>
                <c:pt idx="27051">
                  <c:v>37175</c:v>
                </c:pt>
                <c:pt idx="27052">
                  <c:v>37175</c:v>
                </c:pt>
                <c:pt idx="27053">
                  <c:v>37175</c:v>
                </c:pt>
                <c:pt idx="27054">
                  <c:v>37173</c:v>
                </c:pt>
                <c:pt idx="27055">
                  <c:v>37172</c:v>
                </c:pt>
                <c:pt idx="27056">
                  <c:v>37171</c:v>
                </c:pt>
                <c:pt idx="27057">
                  <c:v>37171</c:v>
                </c:pt>
                <c:pt idx="27058">
                  <c:v>37171</c:v>
                </c:pt>
                <c:pt idx="27059">
                  <c:v>37171</c:v>
                </c:pt>
                <c:pt idx="27060">
                  <c:v>37170</c:v>
                </c:pt>
                <c:pt idx="27061">
                  <c:v>37170</c:v>
                </c:pt>
                <c:pt idx="27062">
                  <c:v>37169</c:v>
                </c:pt>
                <c:pt idx="27063">
                  <c:v>37169</c:v>
                </c:pt>
                <c:pt idx="27064">
                  <c:v>37169</c:v>
                </c:pt>
                <c:pt idx="27065">
                  <c:v>37169</c:v>
                </c:pt>
                <c:pt idx="27066">
                  <c:v>37168</c:v>
                </c:pt>
                <c:pt idx="27067">
                  <c:v>37168</c:v>
                </c:pt>
                <c:pt idx="27068">
                  <c:v>37168</c:v>
                </c:pt>
                <c:pt idx="27069">
                  <c:v>37167</c:v>
                </c:pt>
                <c:pt idx="27070">
                  <c:v>37167</c:v>
                </c:pt>
                <c:pt idx="27071">
                  <c:v>37167</c:v>
                </c:pt>
                <c:pt idx="27072">
                  <c:v>37167</c:v>
                </c:pt>
                <c:pt idx="27073">
                  <c:v>37167</c:v>
                </c:pt>
                <c:pt idx="27074">
                  <c:v>37166</c:v>
                </c:pt>
                <c:pt idx="27075">
                  <c:v>37166</c:v>
                </c:pt>
                <c:pt idx="27076">
                  <c:v>37166</c:v>
                </c:pt>
                <c:pt idx="27077">
                  <c:v>37166</c:v>
                </c:pt>
                <c:pt idx="27078">
                  <c:v>37166</c:v>
                </c:pt>
                <c:pt idx="27079">
                  <c:v>37166</c:v>
                </c:pt>
                <c:pt idx="27080">
                  <c:v>37165</c:v>
                </c:pt>
                <c:pt idx="27081">
                  <c:v>37165</c:v>
                </c:pt>
                <c:pt idx="27082">
                  <c:v>37165</c:v>
                </c:pt>
                <c:pt idx="27083">
                  <c:v>37164</c:v>
                </c:pt>
                <c:pt idx="27084">
                  <c:v>37163</c:v>
                </c:pt>
                <c:pt idx="27085">
                  <c:v>37163</c:v>
                </c:pt>
                <c:pt idx="27086">
                  <c:v>37163</c:v>
                </c:pt>
                <c:pt idx="27087">
                  <c:v>37163</c:v>
                </c:pt>
                <c:pt idx="27088">
                  <c:v>37162</c:v>
                </c:pt>
                <c:pt idx="27089">
                  <c:v>37162</c:v>
                </c:pt>
                <c:pt idx="27090">
                  <c:v>37162</c:v>
                </c:pt>
                <c:pt idx="27091">
                  <c:v>37161</c:v>
                </c:pt>
                <c:pt idx="27092">
                  <c:v>37160</c:v>
                </c:pt>
                <c:pt idx="27093">
                  <c:v>37160</c:v>
                </c:pt>
                <c:pt idx="27094">
                  <c:v>37160</c:v>
                </c:pt>
                <c:pt idx="27095">
                  <c:v>37160</c:v>
                </c:pt>
                <c:pt idx="27096">
                  <c:v>37160</c:v>
                </c:pt>
                <c:pt idx="27097">
                  <c:v>37160</c:v>
                </c:pt>
                <c:pt idx="27098">
                  <c:v>37159</c:v>
                </c:pt>
                <c:pt idx="27099">
                  <c:v>37159</c:v>
                </c:pt>
                <c:pt idx="27100">
                  <c:v>37158</c:v>
                </c:pt>
                <c:pt idx="27101">
                  <c:v>37158</c:v>
                </c:pt>
                <c:pt idx="27102">
                  <c:v>37158</c:v>
                </c:pt>
                <c:pt idx="27103">
                  <c:v>37158</c:v>
                </c:pt>
                <c:pt idx="27104">
                  <c:v>37156</c:v>
                </c:pt>
                <c:pt idx="27105">
                  <c:v>37156</c:v>
                </c:pt>
                <c:pt idx="27106">
                  <c:v>37155</c:v>
                </c:pt>
                <c:pt idx="27107">
                  <c:v>37154</c:v>
                </c:pt>
                <c:pt idx="27108">
                  <c:v>37154</c:v>
                </c:pt>
                <c:pt idx="27109">
                  <c:v>37153</c:v>
                </c:pt>
                <c:pt idx="27110">
                  <c:v>37153</c:v>
                </c:pt>
                <c:pt idx="27111">
                  <c:v>37152</c:v>
                </c:pt>
                <c:pt idx="27112">
                  <c:v>37152</c:v>
                </c:pt>
                <c:pt idx="27113">
                  <c:v>37152</c:v>
                </c:pt>
                <c:pt idx="27114">
                  <c:v>37152</c:v>
                </c:pt>
                <c:pt idx="27115">
                  <c:v>37151</c:v>
                </c:pt>
                <c:pt idx="27116">
                  <c:v>37151</c:v>
                </c:pt>
                <c:pt idx="27117">
                  <c:v>37151</c:v>
                </c:pt>
                <c:pt idx="27118">
                  <c:v>37150</c:v>
                </c:pt>
                <c:pt idx="27119">
                  <c:v>37150</c:v>
                </c:pt>
                <c:pt idx="27120">
                  <c:v>37150</c:v>
                </c:pt>
                <c:pt idx="27121">
                  <c:v>37149</c:v>
                </c:pt>
                <c:pt idx="27122">
                  <c:v>37149</c:v>
                </c:pt>
                <c:pt idx="27123">
                  <c:v>37149</c:v>
                </c:pt>
                <c:pt idx="27124">
                  <c:v>37148</c:v>
                </c:pt>
                <c:pt idx="27125">
                  <c:v>37148</c:v>
                </c:pt>
                <c:pt idx="27126">
                  <c:v>37148</c:v>
                </c:pt>
                <c:pt idx="27127">
                  <c:v>37148</c:v>
                </c:pt>
                <c:pt idx="27128">
                  <c:v>37147</c:v>
                </c:pt>
                <c:pt idx="27129">
                  <c:v>37147</c:v>
                </c:pt>
                <c:pt idx="27130">
                  <c:v>37147</c:v>
                </c:pt>
                <c:pt idx="27131">
                  <c:v>37147</c:v>
                </c:pt>
                <c:pt idx="27132">
                  <c:v>37145</c:v>
                </c:pt>
                <c:pt idx="27133">
                  <c:v>37145</c:v>
                </c:pt>
                <c:pt idx="27134">
                  <c:v>37145</c:v>
                </c:pt>
                <c:pt idx="27135">
                  <c:v>37145</c:v>
                </c:pt>
                <c:pt idx="27136">
                  <c:v>37145</c:v>
                </c:pt>
                <c:pt idx="27137">
                  <c:v>37144</c:v>
                </c:pt>
                <c:pt idx="27138">
                  <c:v>37143</c:v>
                </c:pt>
                <c:pt idx="27139">
                  <c:v>37143</c:v>
                </c:pt>
                <c:pt idx="27140">
                  <c:v>37143</c:v>
                </c:pt>
                <c:pt idx="27141">
                  <c:v>37142</c:v>
                </c:pt>
                <c:pt idx="27142">
                  <c:v>37141</c:v>
                </c:pt>
                <c:pt idx="27143">
                  <c:v>37141</c:v>
                </c:pt>
                <c:pt idx="27144">
                  <c:v>37141</c:v>
                </c:pt>
                <c:pt idx="27145">
                  <c:v>37141</c:v>
                </c:pt>
                <c:pt idx="27146">
                  <c:v>37141</c:v>
                </c:pt>
                <c:pt idx="27147">
                  <c:v>37140</c:v>
                </c:pt>
                <c:pt idx="27148">
                  <c:v>37140</c:v>
                </c:pt>
                <c:pt idx="27149">
                  <c:v>37139</c:v>
                </c:pt>
                <c:pt idx="27150">
                  <c:v>37139</c:v>
                </c:pt>
                <c:pt idx="27151">
                  <c:v>37138</c:v>
                </c:pt>
                <c:pt idx="27152">
                  <c:v>37138</c:v>
                </c:pt>
                <c:pt idx="27153">
                  <c:v>37137</c:v>
                </c:pt>
                <c:pt idx="27154">
                  <c:v>37136</c:v>
                </c:pt>
                <c:pt idx="27155">
                  <c:v>37136</c:v>
                </c:pt>
                <c:pt idx="27156">
                  <c:v>37136</c:v>
                </c:pt>
                <c:pt idx="27157">
                  <c:v>37135</c:v>
                </c:pt>
                <c:pt idx="27158">
                  <c:v>37135</c:v>
                </c:pt>
                <c:pt idx="27159">
                  <c:v>37134</c:v>
                </c:pt>
                <c:pt idx="27160">
                  <c:v>37134</c:v>
                </c:pt>
                <c:pt idx="27161">
                  <c:v>37133</c:v>
                </c:pt>
                <c:pt idx="27162">
                  <c:v>37133</c:v>
                </c:pt>
                <c:pt idx="27163">
                  <c:v>37133</c:v>
                </c:pt>
                <c:pt idx="27164">
                  <c:v>37131</c:v>
                </c:pt>
                <c:pt idx="27165">
                  <c:v>37131</c:v>
                </c:pt>
                <c:pt idx="27166">
                  <c:v>37131</c:v>
                </c:pt>
                <c:pt idx="27167">
                  <c:v>37130</c:v>
                </c:pt>
                <c:pt idx="27168">
                  <c:v>37130</c:v>
                </c:pt>
                <c:pt idx="27169">
                  <c:v>37130</c:v>
                </c:pt>
                <c:pt idx="27170">
                  <c:v>37130</c:v>
                </c:pt>
                <c:pt idx="27171">
                  <c:v>37130</c:v>
                </c:pt>
                <c:pt idx="27172">
                  <c:v>37130</c:v>
                </c:pt>
                <c:pt idx="27173">
                  <c:v>37130</c:v>
                </c:pt>
                <c:pt idx="27174">
                  <c:v>37129</c:v>
                </c:pt>
                <c:pt idx="27175">
                  <c:v>37129</c:v>
                </c:pt>
                <c:pt idx="27176">
                  <c:v>37129</c:v>
                </c:pt>
                <c:pt idx="27177">
                  <c:v>37129</c:v>
                </c:pt>
                <c:pt idx="27178">
                  <c:v>37128</c:v>
                </c:pt>
                <c:pt idx="27179">
                  <c:v>37127</c:v>
                </c:pt>
                <c:pt idx="27180">
                  <c:v>37127</c:v>
                </c:pt>
                <c:pt idx="27181">
                  <c:v>37127</c:v>
                </c:pt>
                <c:pt idx="27182">
                  <c:v>37127</c:v>
                </c:pt>
                <c:pt idx="27183">
                  <c:v>37126</c:v>
                </c:pt>
                <c:pt idx="27184">
                  <c:v>37126</c:v>
                </c:pt>
                <c:pt idx="27185">
                  <c:v>37125</c:v>
                </c:pt>
                <c:pt idx="27186">
                  <c:v>37124</c:v>
                </c:pt>
                <c:pt idx="27187">
                  <c:v>37124</c:v>
                </c:pt>
                <c:pt idx="27188">
                  <c:v>37124</c:v>
                </c:pt>
                <c:pt idx="27189">
                  <c:v>37124</c:v>
                </c:pt>
                <c:pt idx="27190">
                  <c:v>37123</c:v>
                </c:pt>
                <c:pt idx="27191">
                  <c:v>37123</c:v>
                </c:pt>
                <c:pt idx="27192">
                  <c:v>37123</c:v>
                </c:pt>
                <c:pt idx="27193">
                  <c:v>37123</c:v>
                </c:pt>
                <c:pt idx="27194">
                  <c:v>37122</c:v>
                </c:pt>
                <c:pt idx="27195">
                  <c:v>37122</c:v>
                </c:pt>
                <c:pt idx="27196">
                  <c:v>37122</c:v>
                </c:pt>
                <c:pt idx="27197">
                  <c:v>37122</c:v>
                </c:pt>
                <c:pt idx="27198">
                  <c:v>37122</c:v>
                </c:pt>
                <c:pt idx="27199">
                  <c:v>37122</c:v>
                </c:pt>
                <c:pt idx="27200">
                  <c:v>37121</c:v>
                </c:pt>
                <c:pt idx="27201">
                  <c:v>37121</c:v>
                </c:pt>
                <c:pt idx="27202">
                  <c:v>37121</c:v>
                </c:pt>
                <c:pt idx="27203">
                  <c:v>37120</c:v>
                </c:pt>
                <c:pt idx="27204">
                  <c:v>37120</c:v>
                </c:pt>
                <c:pt idx="27205">
                  <c:v>37120</c:v>
                </c:pt>
                <c:pt idx="27206">
                  <c:v>37119</c:v>
                </c:pt>
                <c:pt idx="27207">
                  <c:v>37119</c:v>
                </c:pt>
                <c:pt idx="27208">
                  <c:v>37118</c:v>
                </c:pt>
                <c:pt idx="27209">
                  <c:v>37118</c:v>
                </c:pt>
                <c:pt idx="27210">
                  <c:v>37118</c:v>
                </c:pt>
                <c:pt idx="27211">
                  <c:v>37118</c:v>
                </c:pt>
                <c:pt idx="27212">
                  <c:v>37117</c:v>
                </c:pt>
                <c:pt idx="27213">
                  <c:v>37117</c:v>
                </c:pt>
                <c:pt idx="27214">
                  <c:v>37116</c:v>
                </c:pt>
                <c:pt idx="27215">
                  <c:v>37116</c:v>
                </c:pt>
                <c:pt idx="27216">
                  <c:v>37116</c:v>
                </c:pt>
                <c:pt idx="27217">
                  <c:v>37115</c:v>
                </c:pt>
                <c:pt idx="27218">
                  <c:v>37115</c:v>
                </c:pt>
                <c:pt idx="27219">
                  <c:v>37115</c:v>
                </c:pt>
                <c:pt idx="27220">
                  <c:v>37114</c:v>
                </c:pt>
                <c:pt idx="27221">
                  <c:v>37114</c:v>
                </c:pt>
                <c:pt idx="27222">
                  <c:v>37114</c:v>
                </c:pt>
                <c:pt idx="27223">
                  <c:v>37114</c:v>
                </c:pt>
                <c:pt idx="27224">
                  <c:v>37113</c:v>
                </c:pt>
                <c:pt idx="27225">
                  <c:v>37113</c:v>
                </c:pt>
                <c:pt idx="27226">
                  <c:v>37112</c:v>
                </c:pt>
                <c:pt idx="27227">
                  <c:v>37112</c:v>
                </c:pt>
                <c:pt idx="27228">
                  <c:v>37112</c:v>
                </c:pt>
                <c:pt idx="27229">
                  <c:v>37111</c:v>
                </c:pt>
                <c:pt idx="27230">
                  <c:v>37110</c:v>
                </c:pt>
                <c:pt idx="27231">
                  <c:v>37110</c:v>
                </c:pt>
                <c:pt idx="27232">
                  <c:v>37110</c:v>
                </c:pt>
                <c:pt idx="27233">
                  <c:v>37109</c:v>
                </c:pt>
                <c:pt idx="27234">
                  <c:v>37108</c:v>
                </c:pt>
                <c:pt idx="27235">
                  <c:v>37108</c:v>
                </c:pt>
                <c:pt idx="27236">
                  <c:v>37108</c:v>
                </c:pt>
                <c:pt idx="27237">
                  <c:v>37107</c:v>
                </c:pt>
                <c:pt idx="27238">
                  <c:v>37107</c:v>
                </c:pt>
                <c:pt idx="27239">
                  <c:v>37106</c:v>
                </c:pt>
                <c:pt idx="27240">
                  <c:v>37106</c:v>
                </c:pt>
                <c:pt idx="27241">
                  <c:v>37104</c:v>
                </c:pt>
                <c:pt idx="27242">
                  <c:v>37104</c:v>
                </c:pt>
                <c:pt idx="27243">
                  <c:v>37104</c:v>
                </c:pt>
                <c:pt idx="27244">
                  <c:v>37104</c:v>
                </c:pt>
                <c:pt idx="27245">
                  <c:v>37103</c:v>
                </c:pt>
                <c:pt idx="27246">
                  <c:v>37103</c:v>
                </c:pt>
                <c:pt idx="27247">
                  <c:v>37103</c:v>
                </c:pt>
                <c:pt idx="27248">
                  <c:v>37103</c:v>
                </c:pt>
                <c:pt idx="27249">
                  <c:v>37102</c:v>
                </c:pt>
                <c:pt idx="27250">
                  <c:v>37101</c:v>
                </c:pt>
                <c:pt idx="27251">
                  <c:v>37101</c:v>
                </c:pt>
                <c:pt idx="27252">
                  <c:v>37101</c:v>
                </c:pt>
                <c:pt idx="27253">
                  <c:v>37100</c:v>
                </c:pt>
                <c:pt idx="27254">
                  <c:v>37100</c:v>
                </c:pt>
                <c:pt idx="27255">
                  <c:v>37099</c:v>
                </c:pt>
                <c:pt idx="27256">
                  <c:v>37099</c:v>
                </c:pt>
                <c:pt idx="27257">
                  <c:v>37099</c:v>
                </c:pt>
                <c:pt idx="27258">
                  <c:v>37099</c:v>
                </c:pt>
                <c:pt idx="27259">
                  <c:v>37099</c:v>
                </c:pt>
                <c:pt idx="27260">
                  <c:v>37099</c:v>
                </c:pt>
                <c:pt idx="27261">
                  <c:v>37098</c:v>
                </c:pt>
                <c:pt idx="27262">
                  <c:v>37098</c:v>
                </c:pt>
                <c:pt idx="27263">
                  <c:v>37097</c:v>
                </c:pt>
                <c:pt idx="27264">
                  <c:v>37097</c:v>
                </c:pt>
                <c:pt idx="27265">
                  <c:v>37097</c:v>
                </c:pt>
                <c:pt idx="27266">
                  <c:v>37095</c:v>
                </c:pt>
                <c:pt idx="27267">
                  <c:v>37094</c:v>
                </c:pt>
                <c:pt idx="27268">
                  <c:v>37094</c:v>
                </c:pt>
                <c:pt idx="27269">
                  <c:v>37093</c:v>
                </c:pt>
                <c:pt idx="27270">
                  <c:v>37092</c:v>
                </c:pt>
                <c:pt idx="27271">
                  <c:v>37091</c:v>
                </c:pt>
                <c:pt idx="27272">
                  <c:v>37091</c:v>
                </c:pt>
                <c:pt idx="27273">
                  <c:v>37091</c:v>
                </c:pt>
                <c:pt idx="27274">
                  <c:v>37091</c:v>
                </c:pt>
                <c:pt idx="27275">
                  <c:v>37090</c:v>
                </c:pt>
                <c:pt idx="27276">
                  <c:v>37090</c:v>
                </c:pt>
                <c:pt idx="27277">
                  <c:v>37089</c:v>
                </c:pt>
                <c:pt idx="27278">
                  <c:v>37089</c:v>
                </c:pt>
                <c:pt idx="27279">
                  <c:v>37089</c:v>
                </c:pt>
                <c:pt idx="27280">
                  <c:v>37089</c:v>
                </c:pt>
                <c:pt idx="27281">
                  <c:v>37088</c:v>
                </c:pt>
                <c:pt idx="27282">
                  <c:v>37088</c:v>
                </c:pt>
                <c:pt idx="27283">
                  <c:v>37088</c:v>
                </c:pt>
                <c:pt idx="27284">
                  <c:v>37088</c:v>
                </c:pt>
                <c:pt idx="27285">
                  <c:v>37088</c:v>
                </c:pt>
                <c:pt idx="27286">
                  <c:v>37088</c:v>
                </c:pt>
                <c:pt idx="27287">
                  <c:v>37087</c:v>
                </c:pt>
                <c:pt idx="27288">
                  <c:v>37087</c:v>
                </c:pt>
                <c:pt idx="27289">
                  <c:v>37086</c:v>
                </c:pt>
                <c:pt idx="27290">
                  <c:v>37086</c:v>
                </c:pt>
                <c:pt idx="27291">
                  <c:v>37086</c:v>
                </c:pt>
                <c:pt idx="27292">
                  <c:v>37086</c:v>
                </c:pt>
                <c:pt idx="27293">
                  <c:v>37086</c:v>
                </c:pt>
                <c:pt idx="27294">
                  <c:v>37086</c:v>
                </c:pt>
                <c:pt idx="27295">
                  <c:v>37085</c:v>
                </c:pt>
                <c:pt idx="27296">
                  <c:v>37085</c:v>
                </c:pt>
                <c:pt idx="27297">
                  <c:v>37084</c:v>
                </c:pt>
                <c:pt idx="27298">
                  <c:v>37084</c:v>
                </c:pt>
                <c:pt idx="27299">
                  <c:v>37084</c:v>
                </c:pt>
                <c:pt idx="27300">
                  <c:v>37083</c:v>
                </c:pt>
                <c:pt idx="27301">
                  <c:v>37083</c:v>
                </c:pt>
                <c:pt idx="27302">
                  <c:v>37083</c:v>
                </c:pt>
                <c:pt idx="27303">
                  <c:v>37082</c:v>
                </c:pt>
                <c:pt idx="27304">
                  <c:v>37082</c:v>
                </c:pt>
                <c:pt idx="27305">
                  <c:v>37081</c:v>
                </c:pt>
                <c:pt idx="27306">
                  <c:v>37081</c:v>
                </c:pt>
                <c:pt idx="27307">
                  <c:v>37080</c:v>
                </c:pt>
                <c:pt idx="27308">
                  <c:v>37080</c:v>
                </c:pt>
                <c:pt idx="27309">
                  <c:v>37080</c:v>
                </c:pt>
                <c:pt idx="27310">
                  <c:v>37079</c:v>
                </c:pt>
                <c:pt idx="27311">
                  <c:v>37079</c:v>
                </c:pt>
                <c:pt idx="27312">
                  <c:v>37078</c:v>
                </c:pt>
                <c:pt idx="27313">
                  <c:v>37078</c:v>
                </c:pt>
                <c:pt idx="27314">
                  <c:v>37078</c:v>
                </c:pt>
                <c:pt idx="27315">
                  <c:v>37078</c:v>
                </c:pt>
                <c:pt idx="27316">
                  <c:v>37077</c:v>
                </c:pt>
                <c:pt idx="27317">
                  <c:v>37077</c:v>
                </c:pt>
                <c:pt idx="27318">
                  <c:v>37077</c:v>
                </c:pt>
                <c:pt idx="27319">
                  <c:v>37076</c:v>
                </c:pt>
                <c:pt idx="27320">
                  <c:v>37076</c:v>
                </c:pt>
                <c:pt idx="27321">
                  <c:v>37075</c:v>
                </c:pt>
                <c:pt idx="27322">
                  <c:v>37074</c:v>
                </c:pt>
                <c:pt idx="27323">
                  <c:v>37074</c:v>
                </c:pt>
                <c:pt idx="27324">
                  <c:v>37073</c:v>
                </c:pt>
                <c:pt idx="27325">
                  <c:v>37073</c:v>
                </c:pt>
                <c:pt idx="27326">
                  <c:v>37073</c:v>
                </c:pt>
                <c:pt idx="27327">
                  <c:v>37073</c:v>
                </c:pt>
                <c:pt idx="27328">
                  <c:v>37073</c:v>
                </c:pt>
                <c:pt idx="27329">
                  <c:v>37073</c:v>
                </c:pt>
                <c:pt idx="27330">
                  <c:v>37072</c:v>
                </c:pt>
                <c:pt idx="27331">
                  <c:v>37072</c:v>
                </c:pt>
                <c:pt idx="27332">
                  <c:v>37072</c:v>
                </c:pt>
                <c:pt idx="27333">
                  <c:v>37072</c:v>
                </c:pt>
                <c:pt idx="27334">
                  <c:v>37071</c:v>
                </c:pt>
                <c:pt idx="27335">
                  <c:v>37070</c:v>
                </c:pt>
                <c:pt idx="27336">
                  <c:v>37069</c:v>
                </c:pt>
                <c:pt idx="27337">
                  <c:v>37069</c:v>
                </c:pt>
                <c:pt idx="27338">
                  <c:v>37069</c:v>
                </c:pt>
                <c:pt idx="27339">
                  <c:v>37068</c:v>
                </c:pt>
                <c:pt idx="27340">
                  <c:v>37068</c:v>
                </c:pt>
                <c:pt idx="27341">
                  <c:v>37068</c:v>
                </c:pt>
                <c:pt idx="27342">
                  <c:v>37067</c:v>
                </c:pt>
                <c:pt idx="27343">
                  <c:v>37067</c:v>
                </c:pt>
                <c:pt idx="27344">
                  <c:v>37067</c:v>
                </c:pt>
                <c:pt idx="27345">
                  <c:v>37066</c:v>
                </c:pt>
                <c:pt idx="27346">
                  <c:v>37065</c:v>
                </c:pt>
                <c:pt idx="27347">
                  <c:v>37065</c:v>
                </c:pt>
                <c:pt idx="27348">
                  <c:v>37065</c:v>
                </c:pt>
                <c:pt idx="27349">
                  <c:v>37063</c:v>
                </c:pt>
                <c:pt idx="27350">
                  <c:v>37061</c:v>
                </c:pt>
                <c:pt idx="27351">
                  <c:v>37061</c:v>
                </c:pt>
                <c:pt idx="27352">
                  <c:v>37060</c:v>
                </c:pt>
                <c:pt idx="27353">
                  <c:v>37060</c:v>
                </c:pt>
                <c:pt idx="27354">
                  <c:v>37060</c:v>
                </c:pt>
                <c:pt idx="27355">
                  <c:v>37059</c:v>
                </c:pt>
                <c:pt idx="27356">
                  <c:v>37059</c:v>
                </c:pt>
                <c:pt idx="27357">
                  <c:v>37058</c:v>
                </c:pt>
                <c:pt idx="27358">
                  <c:v>37058</c:v>
                </c:pt>
                <c:pt idx="27359">
                  <c:v>37058</c:v>
                </c:pt>
                <c:pt idx="27360">
                  <c:v>37058</c:v>
                </c:pt>
                <c:pt idx="27361">
                  <c:v>37058</c:v>
                </c:pt>
                <c:pt idx="27362">
                  <c:v>37058</c:v>
                </c:pt>
                <c:pt idx="27363">
                  <c:v>37058</c:v>
                </c:pt>
                <c:pt idx="27364">
                  <c:v>37057</c:v>
                </c:pt>
                <c:pt idx="27365">
                  <c:v>37056</c:v>
                </c:pt>
                <c:pt idx="27366">
                  <c:v>37056</c:v>
                </c:pt>
                <c:pt idx="27367">
                  <c:v>37056</c:v>
                </c:pt>
                <c:pt idx="27368">
                  <c:v>37056</c:v>
                </c:pt>
                <c:pt idx="27369">
                  <c:v>37056</c:v>
                </c:pt>
                <c:pt idx="27370">
                  <c:v>37056</c:v>
                </c:pt>
                <c:pt idx="27371">
                  <c:v>37055</c:v>
                </c:pt>
                <c:pt idx="27372">
                  <c:v>37055</c:v>
                </c:pt>
                <c:pt idx="27373">
                  <c:v>37054</c:v>
                </c:pt>
                <c:pt idx="27374">
                  <c:v>37054</c:v>
                </c:pt>
                <c:pt idx="27375">
                  <c:v>37054</c:v>
                </c:pt>
                <c:pt idx="27376">
                  <c:v>37053</c:v>
                </c:pt>
                <c:pt idx="27377">
                  <c:v>37051</c:v>
                </c:pt>
                <c:pt idx="27378">
                  <c:v>37051</c:v>
                </c:pt>
                <c:pt idx="27379">
                  <c:v>37051</c:v>
                </c:pt>
                <c:pt idx="27380">
                  <c:v>37051</c:v>
                </c:pt>
                <c:pt idx="27381">
                  <c:v>37051</c:v>
                </c:pt>
                <c:pt idx="27382">
                  <c:v>37050</c:v>
                </c:pt>
                <c:pt idx="27383">
                  <c:v>37050</c:v>
                </c:pt>
                <c:pt idx="27384">
                  <c:v>37050</c:v>
                </c:pt>
                <c:pt idx="27385">
                  <c:v>37050</c:v>
                </c:pt>
                <c:pt idx="27386">
                  <c:v>37050</c:v>
                </c:pt>
                <c:pt idx="27387">
                  <c:v>37049</c:v>
                </c:pt>
                <c:pt idx="27388">
                  <c:v>37049</c:v>
                </c:pt>
                <c:pt idx="27389">
                  <c:v>37049</c:v>
                </c:pt>
                <c:pt idx="27390">
                  <c:v>37046</c:v>
                </c:pt>
                <c:pt idx="27391">
                  <c:v>37046</c:v>
                </c:pt>
                <c:pt idx="27392">
                  <c:v>37045</c:v>
                </c:pt>
                <c:pt idx="27393">
                  <c:v>37045</c:v>
                </c:pt>
                <c:pt idx="27394">
                  <c:v>37045</c:v>
                </c:pt>
                <c:pt idx="27395">
                  <c:v>37045</c:v>
                </c:pt>
                <c:pt idx="27396">
                  <c:v>37045</c:v>
                </c:pt>
                <c:pt idx="27397">
                  <c:v>37044</c:v>
                </c:pt>
                <c:pt idx="27398">
                  <c:v>37044</c:v>
                </c:pt>
                <c:pt idx="27399">
                  <c:v>37044</c:v>
                </c:pt>
                <c:pt idx="27400">
                  <c:v>37044</c:v>
                </c:pt>
                <c:pt idx="27401">
                  <c:v>37043</c:v>
                </c:pt>
                <c:pt idx="27402">
                  <c:v>37043</c:v>
                </c:pt>
                <c:pt idx="27403">
                  <c:v>37043</c:v>
                </c:pt>
                <c:pt idx="27404">
                  <c:v>37042</c:v>
                </c:pt>
                <c:pt idx="27405">
                  <c:v>37041</c:v>
                </c:pt>
                <c:pt idx="27406">
                  <c:v>37041</c:v>
                </c:pt>
                <c:pt idx="27407">
                  <c:v>37040</c:v>
                </c:pt>
                <c:pt idx="27408">
                  <c:v>37040</c:v>
                </c:pt>
                <c:pt idx="27409">
                  <c:v>37039</c:v>
                </c:pt>
                <c:pt idx="27410">
                  <c:v>37039</c:v>
                </c:pt>
                <c:pt idx="27411">
                  <c:v>37039</c:v>
                </c:pt>
                <c:pt idx="27412">
                  <c:v>37039</c:v>
                </c:pt>
                <c:pt idx="27413">
                  <c:v>37038</c:v>
                </c:pt>
                <c:pt idx="27414">
                  <c:v>37038</c:v>
                </c:pt>
                <c:pt idx="27415">
                  <c:v>37038</c:v>
                </c:pt>
                <c:pt idx="27416">
                  <c:v>37038</c:v>
                </c:pt>
                <c:pt idx="27417">
                  <c:v>37037</c:v>
                </c:pt>
                <c:pt idx="27418">
                  <c:v>37037</c:v>
                </c:pt>
                <c:pt idx="27419">
                  <c:v>37037</c:v>
                </c:pt>
                <c:pt idx="27420">
                  <c:v>37037</c:v>
                </c:pt>
                <c:pt idx="27421">
                  <c:v>37036</c:v>
                </c:pt>
                <c:pt idx="27422">
                  <c:v>37035</c:v>
                </c:pt>
                <c:pt idx="27423">
                  <c:v>37035</c:v>
                </c:pt>
                <c:pt idx="27424">
                  <c:v>37034</c:v>
                </c:pt>
                <c:pt idx="27425">
                  <c:v>37034</c:v>
                </c:pt>
                <c:pt idx="27426">
                  <c:v>37034</c:v>
                </c:pt>
                <c:pt idx="27427">
                  <c:v>37034</c:v>
                </c:pt>
                <c:pt idx="27428">
                  <c:v>37033</c:v>
                </c:pt>
                <c:pt idx="27429">
                  <c:v>37033</c:v>
                </c:pt>
                <c:pt idx="27430">
                  <c:v>37032</c:v>
                </c:pt>
                <c:pt idx="27431">
                  <c:v>37031</c:v>
                </c:pt>
                <c:pt idx="27432">
                  <c:v>37031</c:v>
                </c:pt>
                <c:pt idx="27433">
                  <c:v>37031</c:v>
                </c:pt>
                <c:pt idx="27434">
                  <c:v>37030</c:v>
                </c:pt>
                <c:pt idx="27435">
                  <c:v>37030</c:v>
                </c:pt>
                <c:pt idx="27436">
                  <c:v>37029</c:v>
                </c:pt>
                <c:pt idx="27437">
                  <c:v>37029</c:v>
                </c:pt>
                <c:pt idx="27438">
                  <c:v>37028</c:v>
                </c:pt>
                <c:pt idx="27439">
                  <c:v>37028</c:v>
                </c:pt>
                <c:pt idx="27440">
                  <c:v>37028</c:v>
                </c:pt>
                <c:pt idx="27441">
                  <c:v>37027</c:v>
                </c:pt>
                <c:pt idx="27442">
                  <c:v>37027</c:v>
                </c:pt>
                <c:pt idx="27443">
                  <c:v>37027</c:v>
                </c:pt>
                <c:pt idx="27444">
                  <c:v>37027</c:v>
                </c:pt>
                <c:pt idx="27445">
                  <c:v>37027</c:v>
                </c:pt>
                <c:pt idx="27446">
                  <c:v>37026</c:v>
                </c:pt>
                <c:pt idx="27447">
                  <c:v>37024</c:v>
                </c:pt>
                <c:pt idx="27448">
                  <c:v>37023</c:v>
                </c:pt>
                <c:pt idx="27449">
                  <c:v>37022</c:v>
                </c:pt>
                <c:pt idx="27450">
                  <c:v>37022</c:v>
                </c:pt>
                <c:pt idx="27451">
                  <c:v>37022</c:v>
                </c:pt>
                <c:pt idx="27452">
                  <c:v>37022</c:v>
                </c:pt>
                <c:pt idx="27453">
                  <c:v>37021</c:v>
                </c:pt>
                <c:pt idx="27454">
                  <c:v>37021</c:v>
                </c:pt>
                <c:pt idx="27455">
                  <c:v>37021</c:v>
                </c:pt>
                <c:pt idx="27456">
                  <c:v>37019</c:v>
                </c:pt>
                <c:pt idx="27457">
                  <c:v>37019</c:v>
                </c:pt>
                <c:pt idx="27458">
                  <c:v>37018</c:v>
                </c:pt>
                <c:pt idx="27459">
                  <c:v>37018</c:v>
                </c:pt>
                <c:pt idx="27460">
                  <c:v>37018</c:v>
                </c:pt>
                <c:pt idx="27461">
                  <c:v>37018</c:v>
                </c:pt>
                <c:pt idx="27462">
                  <c:v>37017</c:v>
                </c:pt>
                <c:pt idx="27463">
                  <c:v>37016</c:v>
                </c:pt>
                <c:pt idx="27464">
                  <c:v>37016</c:v>
                </c:pt>
                <c:pt idx="27465">
                  <c:v>37016</c:v>
                </c:pt>
                <c:pt idx="27466">
                  <c:v>37015</c:v>
                </c:pt>
                <c:pt idx="27467">
                  <c:v>37015</c:v>
                </c:pt>
                <c:pt idx="27468">
                  <c:v>37015</c:v>
                </c:pt>
                <c:pt idx="27469">
                  <c:v>37015</c:v>
                </c:pt>
                <c:pt idx="27470">
                  <c:v>37014</c:v>
                </c:pt>
                <c:pt idx="27471">
                  <c:v>37014</c:v>
                </c:pt>
                <c:pt idx="27472">
                  <c:v>37013</c:v>
                </c:pt>
                <c:pt idx="27473">
                  <c:v>37012</c:v>
                </c:pt>
                <c:pt idx="27474">
                  <c:v>37012</c:v>
                </c:pt>
                <c:pt idx="27475">
                  <c:v>37012</c:v>
                </c:pt>
                <c:pt idx="27476">
                  <c:v>37011</c:v>
                </c:pt>
                <c:pt idx="27477">
                  <c:v>37011</c:v>
                </c:pt>
                <c:pt idx="27478">
                  <c:v>37011</c:v>
                </c:pt>
                <c:pt idx="27479">
                  <c:v>37011</c:v>
                </c:pt>
                <c:pt idx="27480">
                  <c:v>37010</c:v>
                </c:pt>
                <c:pt idx="27481">
                  <c:v>37010</c:v>
                </c:pt>
                <c:pt idx="27482">
                  <c:v>37010</c:v>
                </c:pt>
                <c:pt idx="27483">
                  <c:v>37009</c:v>
                </c:pt>
                <c:pt idx="27484">
                  <c:v>37009</c:v>
                </c:pt>
                <c:pt idx="27485">
                  <c:v>37008</c:v>
                </c:pt>
                <c:pt idx="27486">
                  <c:v>37008</c:v>
                </c:pt>
                <c:pt idx="27487">
                  <c:v>37007</c:v>
                </c:pt>
                <c:pt idx="27488">
                  <c:v>37007</c:v>
                </c:pt>
                <c:pt idx="27489">
                  <c:v>37007</c:v>
                </c:pt>
                <c:pt idx="27490">
                  <c:v>37006</c:v>
                </c:pt>
                <c:pt idx="27491">
                  <c:v>37006</c:v>
                </c:pt>
                <c:pt idx="27492">
                  <c:v>37005</c:v>
                </c:pt>
                <c:pt idx="27493">
                  <c:v>37004</c:v>
                </c:pt>
                <c:pt idx="27494">
                  <c:v>37004</c:v>
                </c:pt>
                <c:pt idx="27495">
                  <c:v>37003</c:v>
                </c:pt>
                <c:pt idx="27496">
                  <c:v>37002</c:v>
                </c:pt>
                <c:pt idx="27497">
                  <c:v>37002</c:v>
                </c:pt>
                <c:pt idx="27498">
                  <c:v>37001</c:v>
                </c:pt>
                <c:pt idx="27499">
                  <c:v>37001</c:v>
                </c:pt>
                <c:pt idx="27500">
                  <c:v>37000</c:v>
                </c:pt>
                <c:pt idx="27501">
                  <c:v>37000</c:v>
                </c:pt>
                <c:pt idx="27502">
                  <c:v>36999</c:v>
                </c:pt>
                <c:pt idx="27503">
                  <c:v>36999</c:v>
                </c:pt>
                <c:pt idx="27504">
                  <c:v>36999</c:v>
                </c:pt>
                <c:pt idx="27505">
                  <c:v>36999</c:v>
                </c:pt>
                <c:pt idx="27506">
                  <c:v>36999</c:v>
                </c:pt>
                <c:pt idx="27507">
                  <c:v>36999</c:v>
                </c:pt>
                <c:pt idx="27508">
                  <c:v>36999</c:v>
                </c:pt>
                <c:pt idx="27509">
                  <c:v>36998</c:v>
                </c:pt>
                <c:pt idx="27510">
                  <c:v>36998</c:v>
                </c:pt>
                <c:pt idx="27511">
                  <c:v>36998</c:v>
                </c:pt>
                <c:pt idx="27512">
                  <c:v>36997</c:v>
                </c:pt>
                <c:pt idx="27513">
                  <c:v>36996</c:v>
                </c:pt>
                <c:pt idx="27514">
                  <c:v>36995</c:v>
                </c:pt>
                <c:pt idx="27515">
                  <c:v>36995</c:v>
                </c:pt>
                <c:pt idx="27516">
                  <c:v>36994</c:v>
                </c:pt>
                <c:pt idx="27517">
                  <c:v>36994</c:v>
                </c:pt>
                <c:pt idx="27518">
                  <c:v>36994</c:v>
                </c:pt>
                <c:pt idx="27519">
                  <c:v>36994</c:v>
                </c:pt>
                <c:pt idx="27520">
                  <c:v>36993</c:v>
                </c:pt>
                <c:pt idx="27521">
                  <c:v>36993</c:v>
                </c:pt>
                <c:pt idx="27522">
                  <c:v>36993</c:v>
                </c:pt>
                <c:pt idx="27523">
                  <c:v>36992</c:v>
                </c:pt>
                <c:pt idx="27524">
                  <c:v>36992</c:v>
                </c:pt>
                <c:pt idx="27525">
                  <c:v>36992</c:v>
                </c:pt>
                <c:pt idx="27526">
                  <c:v>36990</c:v>
                </c:pt>
                <c:pt idx="27527">
                  <c:v>36990</c:v>
                </c:pt>
                <c:pt idx="27528">
                  <c:v>36990</c:v>
                </c:pt>
                <c:pt idx="27529">
                  <c:v>36989</c:v>
                </c:pt>
                <c:pt idx="27530">
                  <c:v>36987</c:v>
                </c:pt>
                <c:pt idx="27531">
                  <c:v>36986</c:v>
                </c:pt>
                <c:pt idx="27532">
                  <c:v>36986</c:v>
                </c:pt>
                <c:pt idx="27533">
                  <c:v>36986</c:v>
                </c:pt>
                <c:pt idx="27534">
                  <c:v>36985</c:v>
                </c:pt>
                <c:pt idx="27535">
                  <c:v>36985</c:v>
                </c:pt>
                <c:pt idx="27536">
                  <c:v>36985</c:v>
                </c:pt>
                <c:pt idx="27537">
                  <c:v>36985</c:v>
                </c:pt>
                <c:pt idx="27538">
                  <c:v>36984</c:v>
                </c:pt>
                <c:pt idx="27539">
                  <c:v>36984</c:v>
                </c:pt>
                <c:pt idx="27540">
                  <c:v>36983</c:v>
                </c:pt>
                <c:pt idx="27541">
                  <c:v>36983</c:v>
                </c:pt>
                <c:pt idx="27542">
                  <c:v>36983</c:v>
                </c:pt>
                <c:pt idx="27543">
                  <c:v>36983</c:v>
                </c:pt>
                <c:pt idx="27544">
                  <c:v>36982</c:v>
                </c:pt>
                <c:pt idx="27545">
                  <c:v>36982</c:v>
                </c:pt>
                <c:pt idx="27546">
                  <c:v>36982</c:v>
                </c:pt>
                <c:pt idx="27547">
                  <c:v>36981</c:v>
                </c:pt>
                <c:pt idx="27548">
                  <c:v>36981</c:v>
                </c:pt>
                <c:pt idx="27549">
                  <c:v>36980</c:v>
                </c:pt>
                <c:pt idx="27550">
                  <c:v>36980</c:v>
                </c:pt>
                <c:pt idx="27551">
                  <c:v>36980</c:v>
                </c:pt>
                <c:pt idx="27552">
                  <c:v>36980</c:v>
                </c:pt>
                <c:pt idx="27553">
                  <c:v>36980</c:v>
                </c:pt>
                <c:pt idx="27554">
                  <c:v>36979</c:v>
                </c:pt>
                <c:pt idx="27555">
                  <c:v>36979</c:v>
                </c:pt>
                <c:pt idx="27556">
                  <c:v>36978</c:v>
                </c:pt>
                <c:pt idx="27557">
                  <c:v>36978</c:v>
                </c:pt>
                <c:pt idx="27558">
                  <c:v>36978</c:v>
                </c:pt>
                <c:pt idx="27559">
                  <c:v>36978</c:v>
                </c:pt>
                <c:pt idx="27560">
                  <c:v>36978</c:v>
                </c:pt>
                <c:pt idx="27561">
                  <c:v>36977</c:v>
                </c:pt>
                <c:pt idx="27562">
                  <c:v>36977</c:v>
                </c:pt>
                <c:pt idx="27563">
                  <c:v>36976</c:v>
                </c:pt>
                <c:pt idx="27564">
                  <c:v>36976</c:v>
                </c:pt>
                <c:pt idx="27565">
                  <c:v>36976</c:v>
                </c:pt>
                <c:pt idx="27566">
                  <c:v>36975</c:v>
                </c:pt>
                <c:pt idx="27567">
                  <c:v>36975</c:v>
                </c:pt>
                <c:pt idx="27568">
                  <c:v>36974</c:v>
                </c:pt>
                <c:pt idx="27569">
                  <c:v>36974</c:v>
                </c:pt>
                <c:pt idx="27570">
                  <c:v>36973</c:v>
                </c:pt>
                <c:pt idx="27571">
                  <c:v>36972</c:v>
                </c:pt>
                <c:pt idx="27572">
                  <c:v>36972</c:v>
                </c:pt>
                <c:pt idx="27573">
                  <c:v>36972</c:v>
                </c:pt>
                <c:pt idx="27574">
                  <c:v>36971</c:v>
                </c:pt>
                <c:pt idx="27575">
                  <c:v>36970</c:v>
                </c:pt>
                <c:pt idx="27576">
                  <c:v>36969</c:v>
                </c:pt>
                <c:pt idx="27577">
                  <c:v>36969</c:v>
                </c:pt>
                <c:pt idx="27578">
                  <c:v>36969</c:v>
                </c:pt>
                <c:pt idx="27579">
                  <c:v>36969</c:v>
                </c:pt>
                <c:pt idx="27580">
                  <c:v>36968</c:v>
                </c:pt>
                <c:pt idx="27581">
                  <c:v>36968</c:v>
                </c:pt>
                <c:pt idx="27582">
                  <c:v>36968</c:v>
                </c:pt>
                <c:pt idx="27583">
                  <c:v>36968</c:v>
                </c:pt>
                <c:pt idx="27584">
                  <c:v>36968</c:v>
                </c:pt>
                <c:pt idx="27585">
                  <c:v>36968</c:v>
                </c:pt>
                <c:pt idx="27586">
                  <c:v>36967</c:v>
                </c:pt>
                <c:pt idx="27587">
                  <c:v>36966</c:v>
                </c:pt>
                <c:pt idx="27588">
                  <c:v>36966</c:v>
                </c:pt>
                <c:pt idx="27589">
                  <c:v>36966</c:v>
                </c:pt>
                <c:pt idx="27590">
                  <c:v>36965</c:v>
                </c:pt>
                <c:pt idx="27591">
                  <c:v>36965</c:v>
                </c:pt>
                <c:pt idx="27592">
                  <c:v>36964</c:v>
                </c:pt>
                <c:pt idx="27593">
                  <c:v>36964</c:v>
                </c:pt>
                <c:pt idx="27594">
                  <c:v>36964</c:v>
                </c:pt>
                <c:pt idx="27595">
                  <c:v>36963</c:v>
                </c:pt>
                <c:pt idx="27596">
                  <c:v>36963</c:v>
                </c:pt>
                <c:pt idx="27597">
                  <c:v>36962</c:v>
                </c:pt>
                <c:pt idx="27598">
                  <c:v>36962</c:v>
                </c:pt>
                <c:pt idx="27599">
                  <c:v>36961</c:v>
                </c:pt>
                <c:pt idx="27600">
                  <c:v>36961</c:v>
                </c:pt>
                <c:pt idx="27601">
                  <c:v>36960</c:v>
                </c:pt>
                <c:pt idx="27602">
                  <c:v>36960</c:v>
                </c:pt>
                <c:pt idx="27603">
                  <c:v>36960</c:v>
                </c:pt>
                <c:pt idx="27604">
                  <c:v>36960</c:v>
                </c:pt>
                <c:pt idx="27605">
                  <c:v>36960</c:v>
                </c:pt>
                <c:pt idx="27606">
                  <c:v>36960</c:v>
                </c:pt>
                <c:pt idx="27607">
                  <c:v>36960</c:v>
                </c:pt>
                <c:pt idx="27608">
                  <c:v>36959</c:v>
                </c:pt>
                <c:pt idx="27609">
                  <c:v>36959</c:v>
                </c:pt>
                <c:pt idx="27610">
                  <c:v>36959</c:v>
                </c:pt>
                <c:pt idx="27611">
                  <c:v>36959</c:v>
                </c:pt>
                <c:pt idx="27612">
                  <c:v>36958</c:v>
                </c:pt>
                <c:pt idx="27613">
                  <c:v>36958</c:v>
                </c:pt>
                <c:pt idx="27614">
                  <c:v>36958</c:v>
                </c:pt>
                <c:pt idx="27615">
                  <c:v>36958</c:v>
                </c:pt>
                <c:pt idx="27616">
                  <c:v>36957</c:v>
                </c:pt>
                <c:pt idx="27617">
                  <c:v>36957</c:v>
                </c:pt>
                <c:pt idx="27618">
                  <c:v>36957</c:v>
                </c:pt>
                <c:pt idx="27619">
                  <c:v>36957</c:v>
                </c:pt>
                <c:pt idx="27620">
                  <c:v>36956</c:v>
                </c:pt>
                <c:pt idx="27621">
                  <c:v>36956</c:v>
                </c:pt>
                <c:pt idx="27622">
                  <c:v>36956</c:v>
                </c:pt>
                <c:pt idx="27623">
                  <c:v>36956</c:v>
                </c:pt>
                <c:pt idx="27624">
                  <c:v>36956</c:v>
                </c:pt>
                <c:pt idx="27625">
                  <c:v>36955</c:v>
                </c:pt>
                <c:pt idx="27626">
                  <c:v>36955</c:v>
                </c:pt>
                <c:pt idx="27627">
                  <c:v>36955</c:v>
                </c:pt>
                <c:pt idx="27628">
                  <c:v>36955</c:v>
                </c:pt>
                <c:pt idx="27629">
                  <c:v>36954</c:v>
                </c:pt>
                <c:pt idx="27630">
                  <c:v>36954</c:v>
                </c:pt>
                <c:pt idx="27631">
                  <c:v>36954</c:v>
                </c:pt>
                <c:pt idx="27632">
                  <c:v>36954</c:v>
                </c:pt>
                <c:pt idx="27633">
                  <c:v>36954</c:v>
                </c:pt>
                <c:pt idx="27634">
                  <c:v>36954</c:v>
                </c:pt>
                <c:pt idx="27635">
                  <c:v>36953</c:v>
                </c:pt>
                <c:pt idx="27636">
                  <c:v>36953</c:v>
                </c:pt>
                <c:pt idx="27637">
                  <c:v>36953</c:v>
                </c:pt>
                <c:pt idx="27638">
                  <c:v>36953</c:v>
                </c:pt>
                <c:pt idx="27639">
                  <c:v>36952</c:v>
                </c:pt>
                <c:pt idx="27640">
                  <c:v>36952</c:v>
                </c:pt>
                <c:pt idx="27641">
                  <c:v>36952</c:v>
                </c:pt>
                <c:pt idx="27642">
                  <c:v>36952</c:v>
                </c:pt>
                <c:pt idx="27643">
                  <c:v>36951</c:v>
                </c:pt>
                <c:pt idx="27644">
                  <c:v>36951</c:v>
                </c:pt>
                <c:pt idx="27645">
                  <c:v>36951</c:v>
                </c:pt>
                <c:pt idx="27646">
                  <c:v>36950</c:v>
                </c:pt>
                <c:pt idx="27647">
                  <c:v>36950</c:v>
                </c:pt>
                <c:pt idx="27648">
                  <c:v>36950</c:v>
                </c:pt>
                <c:pt idx="27649">
                  <c:v>36949</c:v>
                </c:pt>
                <c:pt idx="27650">
                  <c:v>36949</c:v>
                </c:pt>
                <c:pt idx="27651">
                  <c:v>36949</c:v>
                </c:pt>
                <c:pt idx="27652">
                  <c:v>36949</c:v>
                </c:pt>
                <c:pt idx="27653">
                  <c:v>36949</c:v>
                </c:pt>
                <c:pt idx="27654">
                  <c:v>36949</c:v>
                </c:pt>
                <c:pt idx="27655">
                  <c:v>36949</c:v>
                </c:pt>
                <c:pt idx="27656">
                  <c:v>36948</c:v>
                </c:pt>
                <c:pt idx="27657">
                  <c:v>36948</c:v>
                </c:pt>
                <c:pt idx="27658">
                  <c:v>36947</c:v>
                </c:pt>
                <c:pt idx="27659">
                  <c:v>36947</c:v>
                </c:pt>
                <c:pt idx="27660">
                  <c:v>36947</c:v>
                </c:pt>
                <c:pt idx="27661">
                  <c:v>36946</c:v>
                </c:pt>
                <c:pt idx="27662">
                  <c:v>36946</c:v>
                </c:pt>
                <c:pt idx="27663">
                  <c:v>36946</c:v>
                </c:pt>
                <c:pt idx="27664">
                  <c:v>36946</c:v>
                </c:pt>
                <c:pt idx="27665">
                  <c:v>36946</c:v>
                </c:pt>
                <c:pt idx="27666">
                  <c:v>36945</c:v>
                </c:pt>
                <c:pt idx="27667">
                  <c:v>36945</c:v>
                </c:pt>
                <c:pt idx="27668">
                  <c:v>36945</c:v>
                </c:pt>
                <c:pt idx="27669">
                  <c:v>36944</c:v>
                </c:pt>
                <c:pt idx="27670">
                  <c:v>36944</c:v>
                </c:pt>
                <c:pt idx="27671">
                  <c:v>36944</c:v>
                </c:pt>
                <c:pt idx="27672">
                  <c:v>36943</c:v>
                </c:pt>
                <c:pt idx="27673">
                  <c:v>36943</c:v>
                </c:pt>
                <c:pt idx="27674">
                  <c:v>36943</c:v>
                </c:pt>
                <c:pt idx="27675">
                  <c:v>36942</c:v>
                </c:pt>
                <c:pt idx="27676">
                  <c:v>36942</c:v>
                </c:pt>
                <c:pt idx="27677">
                  <c:v>36942</c:v>
                </c:pt>
                <c:pt idx="27678">
                  <c:v>36941</c:v>
                </c:pt>
                <c:pt idx="27679">
                  <c:v>36941</c:v>
                </c:pt>
                <c:pt idx="27680">
                  <c:v>36940</c:v>
                </c:pt>
                <c:pt idx="27681">
                  <c:v>36940</c:v>
                </c:pt>
                <c:pt idx="27682">
                  <c:v>36940</c:v>
                </c:pt>
                <c:pt idx="27683">
                  <c:v>36940</c:v>
                </c:pt>
                <c:pt idx="27684">
                  <c:v>36939</c:v>
                </c:pt>
                <c:pt idx="27685">
                  <c:v>36939</c:v>
                </c:pt>
                <c:pt idx="27686">
                  <c:v>36939</c:v>
                </c:pt>
                <c:pt idx="27687">
                  <c:v>36937</c:v>
                </c:pt>
                <c:pt idx="27688">
                  <c:v>36937</c:v>
                </c:pt>
                <c:pt idx="27689">
                  <c:v>36936</c:v>
                </c:pt>
                <c:pt idx="27690">
                  <c:v>36936</c:v>
                </c:pt>
                <c:pt idx="27691">
                  <c:v>36935</c:v>
                </c:pt>
                <c:pt idx="27692">
                  <c:v>36935</c:v>
                </c:pt>
                <c:pt idx="27693">
                  <c:v>36935</c:v>
                </c:pt>
                <c:pt idx="27694">
                  <c:v>36934</c:v>
                </c:pt>
                <c:pt idx="27695">
                  <c:v>36934</c:v>
                </c:pt>
                <c:pt idx="27696">
                  <c:v>36934</c:v>
                </c:pt>
                <c:pt idx="27697">
                  <c:v>36934</c:v>
                </c:pt>
                <c:pt idx="27698">
                  <c:v>36934</c:v>
                </c:pt>
                <c:pt idx="27699">
                  <c:v>36933</c:v>
                </c:pt>
                <c:pt idx="27700">
                  <c:v>36933</c:v>
                </c:pt>
                <c:pt idx="27701">
                  <c:v>36932</c:v>
                </c:pt>
                <c:pt idx="27702">
                  <c:v>36932</c:v>
                </c:pt>
                <c:pt idx="27703">
                  <c:v>36932</c:v>
                </c:pt>
                <c:pt idx="27704">
                  <c:v>36931</c:v>
                </c:pt>
                <c:pt idx="27705">
                  <c:v>36931</c:v>
                </c:pt>
                <c:pt idx="27706">
                  <c:v>36930</c:v>
                </c:pt>
                <c:pt idx="27707">
                  <c:v>36930</c:v>
                </c:pt>
                <c:pt idx="27708">
                  <c:v>36929</c:v>
                </c:pt>
                <c:pt idx="27709">
                  <c:v>36929</c:v>
                </c:pt>
                <c:pt idx="27710">
                  <c:v>36928</c:v>
                </c:pt>
                <c:pt idx="27711">
                  <c:v>36928</c:v>
                </c:pt>
                <c:pt idx="27712">
                  <c:v>36927</c:v>
                </c:pt>
                <c:pt idx="27713">
                  <c:v>36927</c:v>
                </c:pt>
                <c:pt idx="27714">
                  <c:v>36927</c:v>
                </c:pt>
                <c:pt idx="27715">
                  <c:v>36925</c:v>
                </c:pt>
                <c:pt idx="27716">
                  <c:v>36925</c:v>
                </c:pt>
                <c:pt idx="27717">
                  <c:v>36925</c:v>
                </c:pt>
                <c:pt idx="27718">
                  <c:v>36925</c:v>
                </c:pt>
                <c:pt idx="27719">
                  <c:v>36925</c:v>
                </c:pt>
                <c:pt idx="27720">
                  <c:v>36925</c:v>
                </c:pt>
                <c:pt idx="27721">
                  <c:v>36925</c:v>
                </c:pt>
                <c:pt idx="27722">
                  <c:v>36924</c:v>
                </c:pt>
                <c:pt idx="27723">
                  <c:v>36924</c:v>
                </c:pt>
                <c:pt idx="27724">
                  <c:v>36924</c:v>
                </c:pt>
                <c:pt idx="27725">
                  <c:v>36922</c:v>
                </c:pt>
                <c:pt idx="27726">
                  <c:v>36922</c:v>
                </c:pt>
                <c:pt idx="27727">
                  <c:v>36922</c:v>
                </c:pt>
                <c:pt idx="27728">
                  <c:v>36922</c:v>
                </c:pt>
                <c:pt idx="27729">
                  <c:v>36922</c:v>
                </c:pt>
                <c:pt idx="27730">
                  <c:v>36921</c:v>
                </c:pt>
                <c:pt idx="27731">
                  <c:v>36921</c:v>
                </c:pt>
                <c:pt idx="27732">
                  <c:v>36921</c:v>
                </c:pt>
                <c:pt idx="27733">
                  <c:v>36921</c:v>
                </c:pt>
                <c:pt idx="27734">
                  <c:v>36920</c:v>
                </c:pt>
                <c:pt idx="27735">
                  <c:v>36919</c:v>
                </c:pt>
                <c:pt idx="27736">
                  <c:v>36919</c:v>
                </c:pt>
                <c:pt idx="27737">
                  <c:v>36918</c:v>
                </c:pt>
                <c:pt idx="27738">
                  <c:v>36917</c:v>
                </c:pt>
                <c:pt idx="27739">
                  <c:v>36917</c:v>
                </c:pt>
                <c:pt idx="27740">
                  <c:v>36917</c:v>
                </c:pt>
                <c:pt idx="27741">
                  <c:v>36917</c:v>
                </c:pt>
                <c:pt idx="27742">
                  <c:v>36916</c:v>
                </c:pt>
                <c:pt idx="27743">
                  <c:v>36916</c:v>
                </c:pt>
                <c:pt idx="27744">
                  <c:v>36916</c:v>
                </c:pt>
                <c:pt idx="27745">
                  <c:v>36916</c:v>
                </c:pt>
                <c:pt idx="27746">
                  <c:v>36915</c:v>
                </c:pt>
                <c:pt idx="27747">
                  <c:v>36915</c:v>
                </c:pt>
                <c:pt idx="27748">
                  <c:v>36915</c:v>
                </c:pt>
                <c:pt idx="27749">
                  <c:v>36915</c:v>
                </c:pt>
                <c:pt idx="27750">
                  <c:v>36915</c:v>
                </c:pt>
                <c:pt idx="27751">
                  <c:v>36914</c:v>
                </c:pt>
                <c:pt idx="27752">
                  <c:v>36914</c:v>
                </c:pt>
                <c:pt idx="27753">
                  <c:v>36914</c:v>
                </c:pt>
                <c:pt idx="27754">
                  <c:v>36913</c:v>
                </c:pt>
                <c:pt idx="27755">
                  <c:v>36913</c:v>
                </c:pt>
                <c:pt idx="27756">
                  <c:v>36913</c:v>
                </c:pt>
                <c:pt idx="27757">
                  <c:v>36911</c:v>
                </c:pt>
                <c:pt idx="27758">
                  <c:v>36911</c:v>
                </c:pt>
                <c:pt idx="27759">
                  <c:v>36911</c:v>
                </c:pt>
                <c:pt idx="27760">
                  <c:v>36910</c:v>
                </c:pt>
                <c:pt idx="27761">
                  <c:v>36910</c:v>
                </c:pt>
                <c:pt idx="27762">
                  <c:v>36910</c:v>
                </c:pt>
                <c:pt idx="27763">
                  <c:v>36910</c:v>
                </c:pt>
                <c:pt idx="27764">
                  <c:v>36909</c:v>
                </c:pt>
                <c:pt idx="27765">
                  <c:v>36909</c:v>
                </c:pt>
                <c:pt idx="27766">
                  <c:v>36909</c:v>
                </c:pt>
                <c:pt idx="27767">
                  <c:v>36909</c:v>
                </c:pt>
                <c:pt idx="27768">
                  <c:v>36909</c:v>
                </c:pt>
                <c:pt idx="27769">
                  <c:v>36908</c:v>
                </c:pt>
                <c:pt idx="27770">
                  <c:v>36908</c:v>
                </c:pt>
                <c:pt idx="27771">
                  <c:v>36908</c:v>
                </c:pt>
                <c:pt idx="27772">
                  <c:v>36907</c:v>
                </c:pt>
                <c:pt idx="27773">
                  <c:v>36907</c:v>
                </c:pt>
                <c:pt idx="27774">
                  <c:v>36907</c:v>
                </c:pt>
                <c:pt idx="27775">
                  <c:v>36906</c:v>
                </c:pt>
                <c:pt idx="27776">
                  <c:v>36906</c:v>
                </c:pt>
                <c:pt idx="27777">
                  <c:v>36906</c:v>
                </c:pt>
                <c:pt idx="27778">
                  <c:v>36906</c:v>
                </c:pt>
                <c:pt idx="27779">
                  <c:v>36906</c:v>
                </c:pt>
                <c:pt idx="27780">
                  <c:v>36905</c:v>
                </c:pt>
                <c:pt idx="27781">
                  <c:v>36904</c:v>
                </c:pt>
                <c:pt idx="27782">
                  <c:v>36904</c:v>
                </c:pt>
                <c:pt idx="27783">
                  <c:v>36904</c:v>
                </c:pt>
                <c:pt idx="27784">
                  <c:v>36904</c:v>
                </c:pt>
                <c:pt idx="27785">
                  <c:v>36904</c:v>
                </c:pt>
                <c:pt idx="27786">
                  <c:v>36904</c:v>
                </c:pt>
                <c:pt idx="27787">
                  <c:v>36903</c:v>
                </c:pt>
                <c:pt idx="27788">
                  <c:v>36903</c:v>
                </c:pt>
                <c:pt idx="27789">
                  <c:v>36903</c:v>
                </c:pt>
                <c:pt idx="27790">
                  <c:v>36903</c:v>
                </c:pt>
                <c:pt idx="27791">
                  <c:v>36903</c:v>
                </c:pt>
                <c:pt idx="27792">
                  <c:v>36902</c:v>
                </c:pt>
                <c:pt idx="27793">
                  <c:v>36902</c:v>
                </c:pt>
                <c:pt idx="27794">
                  <c:v>36901</c:v>
                </c:pt>
                <c:pt idx="27795">
                  <c:v>36901</c:v>
                </c:pt>
                <c:pt idx="27796">
                  <c:v>36901</c:v>
                </c:pt>
                <c:pt idx="27797">
                  <c:v>36900</c:v>
                </c:pt>
                <c:pt idx="27798">
                  <c:v>36900</c:v>
                </c:pt>
                <c:pt idx="27799">
                  <c:v>36900</c:v>
                </c:pt>
                <c:pt idx="27800">
                  <c:v>36900</c:v>
                </c:pt>
                <c:pt idx="27801">
                  <c:v>36900</c:v>
                </c:pt>
                <c:pt idx="27802">
                  <c:v>36899</c:v>
                </c:pt>
                <c:pt idx="27803">
                  <c:v>36899</c:v>
                </c:pt>
                <c:pt idx="27804">
                  <c:v>36898</c:v>
                </c:pt>
                <c:pt idx="27805">
                  <c:v>36896</c:v>
                </c:pt>
                <c:pt idx="27806">
                  <c:v>36896</c:v>
                </c:pt>
                <c:pt idx="27807">
                  <c:v>36896</c:v>
                </c:pt>
                <c:pt idx="27808">
                  <c:v>36896</c:v>
                </c:pt>
                <c:pt idx="27809">
                  <c:v>36895</c:v>
                </c:pt>
                <c:pt idx="27810">
                  <c:v>36895</c:v>
                </c:pt>
                <c:pt idx="27811">
                  <c:v>36895</c:v>
                </c:pt>
                <c:pt idx="27812">
                  <c:v>36895</c:v>
                </c:pt>
                <c:pt idx="27813">
                  <c:v>36894</c:v>
                </c:pt>
                <c:pt idx="27814">
                  <c:v>36894</c:v>
                </c:pt>
                <c:pt idx="27815">
                  <c:v>36893</c:v>
                </c:pt>
                <c:pt idx="27816">
                  <c:v>36893</c:v>
                </c:pt>
                <c:pt idx="27817">
                  <c:v>36892</c:v>
                </c:pt>
                <c:pt idx="27818">
                  <c:v>36892</c:v>
                </c:pt>
                <c:pt idx="27819">
                  <c:v>36892</c:v>
                </c:pt>
                <c:pt idx="27820">
                  <c:v>36892</c:v>
                </c:pt>
                <c:pt idx="27821">
                  <c:v>36891</c:v>
                </c:pt>
                <c:pt idx="27822">
                  <c:v>36891</c:v>
                </c:pt>
                <c:pt idx="27823">
                  <c:v>36891</c:v>
                </c:pt>
                <c:pt idx="27824">
                  <c:v>36891</c:v>
                </c:pt>
                <c:pt idx="27825">
                  <c:v>36891</c:v>
                </c:pt>
                <c:pt idx="27826">
                  <c:v>36891</c:v>
                </c:pt>
                <c:pt idx="27827">
                  <c:v>36890</c:v>
                </c:pt>
                <c:pt idx="27828">
                  <c:v>36890</c:v>
                </c:pt>
                <c:pt idx="27829">
                  <c:v>36889</c:v>
                </c:pt>
                <c:pt idx="27830">
                  <c:v>36889</c:v>
                </c:pt>
                <c:pt idx="27831">
                  <c:v>36889</c:v>
                </c:pt>
                <c:pt idx="27832">
                  <c:v>36889</c:v>
                </c:pt>
                <c:pt idx="27833">
                  <c:v>36889</c:v>
                </c:pt>
                <c:pt idx="27834">
                  <c:v>36888</c:v>
                </c:pt>
                <c:pt idx="27835">
                  <c:v>36887</c:v>
                </c:pt>
                <c:pt idx="27836">
                  <c:v>36887</c:v>
                </c:pt>
                <c:pt idx="27837">
                  <c:v>36886</c:v>
                </c:pt>
                <c:pt idx="27838">
                  <c:v>36886</c:v>
                </c:pt>
                <c:pt idx="27839">
                  <c:v>36885</c:v>
                </c:pt>
                <c:pt idx="27840">
                  <c:v>36885</c:v>
                </c:pt>
                <c:pt idx="27841">
                  <c:v>36885</c:v>
                </c:pt>
                <c:pt idx="27842">
                  <c:v>36885</c:v>
                </c:pt>
                <c:pt idx="27843">
                  <c:v>36884</c:v>
                </c:pt>
                <c:pt idx="27844">
                  <c:v>36884</c:v>
                </c:pt>
                <c:pt idx="27845">
                  <c:v>36884</c:v>
                </c:pt>
                <c:pt idx="27846">
                  <c:v>36883</c:v>
                </c:pt>
                <c:pt idx="27847">
                  <c:v>36882</c:v>
                </c:pt>
                <c:pt idx="27848">
                  <c:v>36882</c:v>
                </c:pt>
                <c:pt idx="27849">
                  <c:v>36882</c:v>
                </c:pt>
                <c:pt idx="27850">
                  <c:v>36881</c:v>
                </c:pt>
                <c:pt idx="27851">
                  <c:v>36881</c:v>
                </c:pt>
                <c:pt idx="27852">
                  <c:v>36881</c:v>
                </c:pt>
                <c:pt idx="27853">
                  <c:v>36881</c:v>
                </c:pt>
                <c:pt idx="27854">
                  <c:v>36880</c:v>
                </c:pt>
                <c:pt idx="27855">
                  <c:v>36880</c:v>
                </c:pt>
                <c:pt idx="27856">
                  <c:v>36879</c:v>
                </c:pt>
                <c:pt idx="27857">
                  <c:v>36879</c:v>
                </c:pt>
                <c:pt idx="27858">
                  <c:v>36878</c:v>
                </c:pt>
                <c:pt idx="27859">
                  <c:v>36876</c:v>
                </c:pt>
                <c:pt idx="27860">
                  <c:v>36876</c:v>
                </c:pt>
                <c:pt idx="27861">
                  <c:v>36874</c:v>
                </c:pt>
                <c:pt idx="27862">
                  <c:v>36873</c:v>
                </c:pt>
                <c:pt idx="27863">
                  <c:v>36873</c:v>
                </c:pt>
                <c:pt idx="27864">
                  <c:v>36873</c:v>
                </c:pt>
                <c:pt idx="27865">
                  <c:v>36872</c:v>
                </c:pt>
                <c:pt idx="27866">
                  <c:v>36872</c:v>
                </c:pt>
                <c:pt idx="27867">
                  <c:v>36872</c:v>
                </c:pt>
                <c:pt idx="27868">
                  <c:v>36872</c:v>
                </c:pt>
                <c:pt idx="27869">
                  <c:v>36871</c:v>
                </c:pt>
                <c:pt idx="27870">
                  <c:v>36871</c:v>
                </c:pt>
                <c:pt idx="27871">
                  <c:v>36871</c:v>
                </c:pt>
                <c:pt idx="27872">
                  <c:v>36871</c:v>
                </c:pt>
                <c:pt idx="27873">
                  <c:v>36871</c:v>
                </c:pt>
                <c:pt idx="27874">
                  <c:v>36870</c:v>
                </c:pt>
                <c:pt idx="27875">
                  <c:v>36870</c:v>
                </c:pt>
                <c:pt idx="27876">
                  <c:v>36870</c:v>
                </c:pt>
                <c:pt idx="27877">
                  <c:v>36870</c:v>
                </c:pt>
                <c:pt idx="27878">
                  <c:v>36869</c:v>
                </c:pt>
                <c:pt idx="27879">
                  <c:v>36868</c:v>
                </c:pt>
                <c:pt idx="27880">
                  <c:v>36868</c:v>
                </c:pt>
                <c:pt idx="27881">
                  <c:v>36868</c:v>
                </c:pt>
                <c:pt idx="27882">
                  <c:v>36868</c:v>
                </c:pt>
                <c:pt idx="27883">
                  <c:v>36867</c:v>
                </c:pt>
                <c:pt idx="27884">
                  <c:v>36867</c:v>
                </c:pt>
                <c:pt idx="27885">
                  <c:v>36867</c:v>
                </c:pt>
                <c:pt idx="27886">
                  <c:v>36867</c:v>
                </c:pt>
                <c:pt idx="27887">
                  <c:v>36866</c:v>
                </c:pt>
                <c:pt idx="27888">
                  <c:v>36866</c:v>
                </c:pt>
                <c:pt idx="27889">
                  <c:v>36866</c:v>
                </c:pt>
                <c:pt idx="27890">
                  <c:v>36866</c:v>
                </c:pt>
                <c:pt idx="27891">
                  <c:v>36866</c:v>
                </c:pt>
                <c:pt idx="27892">
                  <c:v>36866</c:v>
                </c:pt>
                <c:pt idx="27893">
                  <c:v>36865</c:v>
                </c:pt>
                <c:pt idx="27894">
                  <c:v>36865</c:v>
                </c:pt>
                <c:pt idx="27895">
                  <c:v>36865</c:v>
                </c:pt>
                <c:pt idx="27896">
                  <c:v>36865</c:v>
                </c:pt>
                <c:pt idx="27897">
                  <c:v>36864</c:v>
                </c:pt>
                <c:pt idx="27898">
                  <c:v>36863</c:v>
                </c:pt>
                <c:pt idx="27899">
                  <c:v>36863</c:v>
                </c:pt>
                <c:pt idx="27900">
                  <c:v>36863</c:v>
                </c:pt>
                <c:pt idx="27901">
                  <c:v>36863</c:v>
                </c:pt>
                <c:pt idx="27902">
                  <c:v>36862</c:v>
                </c:pt>
                <c:pt idx="27903">
                  <c:v>36862</c:v>
                </c:pt>
                <c:pt idx="27904">
                  <c:v>36861</c:v>
                </c:pt>
                <c:pt idx="27905">
                  <c:v>36860</c:v>
                </c:pt>
                <c:pt idx="27906">
                  <c:v>36860</c:v>
                </c:pt>
                <c:pt idx="27907">
                  <c:v>36860</c:v>
                </c:pt>
                <c:pt idx="27908">
                  <c:v>36860</c:v>
                </c:pt>
                <c:pt idx="27909">
                  <c:v>36860</c:v>
                </c:pt>
                <c:pt idx="27910">
                  <c:v>36859</c:v>
                </c:pt>
                <c:pt idx="27911">
                  <c:v>36858</c:v>
                </c:pt>
                <c:pt idx="27912">
                  <c:v>36858</c:v>
                </c:pt>
                <c:pt idx="27913">
                  <c:v>36858</c:v>
                </c:pt>
                <c:pt idx="27914">
                  <c:v>36858</c:v>
                </c:pt>
                <c:pt idx="27915">
                  <c:v>36857</c:v>
                </c:pt>
                <c:pt idx="27916">
                  <c:v>36857</c:v>
                </c:pt>
                <c:pt idx="27917">
                  <c:v>36856</c:v>
                </c:pt>
                <c:pt idx="27918">
                  <c:v>36856</c:v>
                </c:pt>
                <c:pt idx="27919">
                  <c:v>36856</c:v>
                </c:pt>
                <c:pt idx="27920">
                  <c:v>36855</c:v>
                </c:pt>
                <c:pt idx="27921">
                  <c:v>36855</c:v>
                </c:pt>
                <c:pt idx="27922">
                  <c:v>36854</c:v>
                </c:pt>
                <c:pt idx="27923">
                  <c:v>36854</c:v>
                </c:pt>
                <c:pt idx="27924">
                  <c:v>36854</c:v>
                </c:pt>
                <c:pt idx="27925">
                  <c:v>36853</c:v>
                </c:pt>
                <c:pt idx="27926">
                  <c:v>36853</c:v>
                </c:pt>
                <c:pt idx="27927">
                  <c:v>36852</c:v>
                </c:pt>
                <c:pt idx="27928">
                  <c:v>36852</c:v>
                </c:pt>
                <c:pt idx="27929">
                  <c:v>36851</c:v>
                </c:pt>
                <c:pt idx="27930">
                  <c:v>36851</c:v>
                </c:pt>
                <c:pt idx="27931">
                  <c:v>36850</c:v>
                </c:pt>
                <c:pt idx="27932">
                  <c:v>36850</c:v>
                </c:pt>
                <c:pt idx="27933">
                  <c:v>36850</c:v>
                </c:pt>
                <c:pt idx="27934">
                  <c:v>36850</c:v>
                </c:pt>
                <c:pt idx="27935">
                  <c:v>36849</c:v>
                </c:pt>
                <c:pt idx="27936">
                  <c:v>36849</c:v>
                </c:pt>
                <c:pt idx="27937">
                  <c:v>36849</c:v>
                </c:pt>
                <c:pt idx="27938">
                  <c:v>36848</c:v>
                </c:pt>
                <c:pt idx="27939">
                  <c:v>36848</c:v>
                </c:pt>
                <c:pt idx="27940">
                  <c:v>36848</c:v>
                </c:pt>
                <c:pt idx="27941">
                  <c:v>36848</c:v>
                </c:pt>
                <c:pt idx="27942">
                  <c:v>36848</c:v>
                </c:pt>
                <c:pt idx="27943">
                  <c:v>36847</c:v>
                </c:pt>
                <c:pt idx="27944">
                  <c:v>36847</c:v>
                </c:pt>
                <c:pt idx="27945">
                  <c:v>36847</c:v>
                </c:pt>
                <c:pt idx="27946">
                  <c:v>36846</c:v>
                </c:pt>
                <c:pt idx="27947">
                  <c:v>36844</c:v>
                </c:pt>
                <c:pt idx="27948">
                  <c:v>36844</c:v>
                </c:pt>
                <c:pt idx="27949">
                  <c:v>36843</c:v>
                </c:pt>
                <c:pt idx="27950">
                  <c:v>36842</c:v>
                </c:pt>
                <c:pt idx="27951">
                  <c:v>36842</c:v>
                </c:pt>
                <c:pt idx="27952">
                  <c:v>36841</c:v>
                </c:pt>
                <c:pt idx="27953">
                  <c:v>36841</c:v>
                </c:pt>
                <c:pt idx="27954">
                  <c:v>36840</c:v>
                </c:pt>
                <c:pt idx="27955">
                  <c:v>36840</c:v>
                </c:pt>
                <c:pt idx="27956">
                  <c:v>36839</c:v>
                </c:pt>
                <c:pt idx="27957">
                  <c:v>36839</c:v>
                </c:pt>
                <c:pt idx="27958">
                  <c:v>36839</c:v>
                </c:pt>
                <c:pt idx="27959">
                  <c:v>36839</c:v>
                </c:pt>
                <c:pt idx="27960">
                  <c:v>36838</c:v>
                </c:pt>
                <c:pt idx="27961">
                  <c:v>36838</c:v>
                </c:pt>
                <c:pt idx="27962">
                  <c:v>36838</c:v>
                </c:pt>
                <c:pt idx="27963">
                  <c:v>36838</c:v>
                </c:pt>
                <c:pt idx="27964">
                  <c:v>36837</c:v>
                </c:pt>
                <c:pt idx="27965">
                  <c:v>36837</c:v>
                </c:pt>
                <c:pt idx="27966">
                  <c:v>36837</c:v>
                </c:pt>
                <c:pt idx="27967">
                  <c:v>36837</c:v>
                </c:pt>
                <c:pt idx="27968">
                  <c:v>36837</c:v>
                </c:pt>
                <c:pt idx="27969">
                  <c:v>36837</c:v>
                </c:pt>
                <c:pt idx="27970">
                  <c:v>36836</c:v>
                </c:pt>
                <c:pt idx="27971">
                  <c:v>36836</c:v>
                </c:pt>
                <c:pt idx="27972">
                  <c:v>36836</c:v>
                </c:pt>
                <c:pt idx="27973">
                  <c:v>36836</c:v>
                </c:pt>
                <c:pt idx="27974">
                  <c:v>36834</c:v>
                </c:pt>
                <c:pt idx="27975">
                  <c:v>36834</c:v>
                </c:pt>
                <c:pt idx="27976">
                  <c:v>36834</c:v>
                </c:pt>
                <c:pt idx="27977">
                  <c:v>36834</c:v>
                </c:pt>
                <c:pt idx="27978">
                  <c:v>36833</c:v>
                </c:pt>
                <c:pt idx="27979">
                  <c:v>36833</c:v>
                </c:pt>
                <c:pt idx="27980">
                  <c:v>36832</c:v>
                </c:pt>
                <c:pt idx="27981">
                  <c:v>36832</c:v>
                </c:pt>
                <c:pt idx="27982">
                  <c:v>36832</c:v>
                </c:pt>
                <c:pt idx="27983">
                  <c:v>36831</c:v>
                </c:pt>
                <c:pt idx="27984">
                  <c:v>36831</c:v>
                </c:pt>
                <c:pt idx="27985">
                  <c:v>36831</c:v>
                </c:pt>
                <c:pt idx="27986">
                  <c:v>36830</c:v>
                </c:pt>
                <c:pt idx="27987">
                  <c:v>36830</c:v>
                </c:pt>
                <c:pt idx="27988">
                  <c:v>36829</c:v>
                </c:pt>
                <c:pt idx="27989">
                  <c:v>36828</c:v>
                </c:pt>
                <c:pt idx="27990">
                  <c:v>36828</c:v>
                </c:pt>
                <c:pt idx="27991">
                  <c:v>36827</c:v>
                </c:pt>
                <c:pt idx="27992">
                  <c:v>36827</c:v>
                </c:pt>
                <c:pt idx="27993">
                  <c:v>36827</c:v>
                </c:pt>
                <c:pt idx="27994">
                  <c:v>36826</c:v>
                </c:pt>
                <c:pt idx="27995">
                  <c:v>36826</c:v>
                </c:pt>
                <c:pt idx="27996">
                  <c:v>36825</c:v>
                </c:pt>
                <c:pt idx="27997">
                  <c:v>36825</c:v>
                </c:pt>
                <c:pt idx="27998">
                  <c:v>36824</c:v>
                </c:pt>
                <c:pt idx="27999">
                  <c:v>36823</c:v>
                </c:pt>
                <c:pt idx="28000">
                  <c:v>36823</c:v>
                </c:pt>
                <c:pt idx="28001">
                  <c:v>36823</c:v>
                </c:pt>
                <c:pt idx="28002">
                  <c:v>36822</c:v>
                </c:pt>
                <c:pt idx="28003">
                  <c:v>36822</c:v>
                </c:pt>
                <c:pt idx="28004">
                  <c:v>36822</c:v>
                </c:pt>
                <c:pt idx="28005">
                  <c:v>36822</c:v>
                </c:pt>
                <c:pt idx="28006">
                  <c:v>36822</c:v>
                </c:pt>
                <c:pt idx="28007">
                  <c:v>36822</c:v>
                </c:pt>
                <c:pt idx="28008">
                  <c:v>36822</c:v>
                </c:pt>
                <c:pt idx="28009">
                  <c:v>36821</c:v>
                </c:pt>
                <c:pt idx="28010">
                  <c:v>36821</c:v>
                </c:pt>
                <c:pt idx="28011">
                  <c:v>36820</c:v>
                </c:pt>
                <c:pt idx="28012">
                  <c:v>36820</c:v>
                </c:pt>
                <c:pt idx="28013">
                  <c:v>36820</c:v>
                </c:pt>
                <c:pt idx="28014">
                  <c:v>36820</c:v>
                </c:pt>
                <c:pt idx="28015">
                  <c:v>36819</c:v>
                </c:pt>
                <c:pt idx="28016">
                  <c:v>36819</c:v>
                </c:pt>
                <c:pt idx="28017">
                  <c:v>36819</c:v>
                </c:pt>
                <c:pt idx="28018">
                  <c:v>36818</c:v>
                </c:pt>
                <c:pt idx="28019">
                  <c:v>36818</c:v>
                </c:pt>
                <c:pt idx="28020">
                  <c:v>36818</c:v>
                </c:pt>
                <c:pt idx="28021">
                  <c:v>36817</c:v>
                </c:pt>
                <c:pt idx="28022">
                  <c:v>36817</c:v>
                </c:pt>
                <c:pt idx="28023">
                  <c:v>36816</c:v>
                </c:pt>
                <c:pt idx="28024">
                  <c:v>36816</c:v>
                </c:pt>
                <c:pt idx="28025">
                  <c:v>36816</c:v>
                </c:pt>
                <c:pt idx="28026">
                  <c:v>36816</c:v>
                </c:pt>
                <c:pt idx="28027">
                  <c:v>36815</c:v>
                </c:pt>
                <c:pt idx="28028">
                  <c:v>36815</c:v>
                </c:pt>
                <c:pt idx="28029">
                  <c:v>36815</c:v>
                </c:pt>
                <c:pt idx="28030">
                  <c:v>36815</c:v>
                </c:pt>
                <c:pt idx="28031">
                  <c:v>36815</c:v>
                </c:pt>
                <c:pt idx="28032">
                  <c:v>36814</c:v>
                </c:pt>
                <c:pt idx="28033">
                  <c:v>36814</c:v>
                </c:pt>
                <c:pt idx="28034">
                  <c:v>36813</c:v>
                </c:pt>
                <c:pt idx="28035">
                  <c:v>36813</c:v>
                </c:pt>
                <c:pt idx="28036">
                  <c:v>36812</c:v>
                </c:pt>
                <c:pt idx="28037">
                  <c:v>36811</c:v>
                </c:pt>
                <c:pt idx="28038">
                  <c:v>36811</c:v>
                </c:pt>
                <c:pt idx="28039">
                  <c:v>36811</c:v>
                </c:pt>
                <c:pt idx="28040">
                  <c:v>36811</c:v>
                </c:pt>
                <c:pt idx="28041">
                  <c:v>36810</c:v>
                </c:pt>
                <c:pt idx="28042">
                  <c:v>36810</c:v>
                </c:pt>
                <c:pt idx="28043">
                  <c:v>36810</c:v>
                </c:pt>
                <c:pt idx="28044">
                  <c:v>36810</c:v>
                </c:pt>
                <c:pt idx="28045">
                  <c:v>36809</c:v>
                </c:pt>
                <c:pt idx="28046">
                  <c:v>36809</c:v>
                </c:pt>
                <c:pt idx="28047">
                  <c:v>36808</c:v>
                </c:pt>
                <c:pt idx="28048">
                  <c:v>36808</c:v>
                </c:pt>
                <c:pt idx="28049">
                  <c:v>36808</c:v>
                </c:pt>
                <c:pt idx="28050">
                  <c:v>36808</c:v>
                </c:pt>
                <c:pt idx="28051">
                  <c:v>36807</c:v>
                </c:pt>
                <c:pt idx="28052">
                  <c:v>36806</c:v>
                </c:pt>
                <c:pt idx="28053">
                  <c:v>36806</c:v>
                </c:pt>
                <c:pt idx="28054">
                  <c:v>36806</c:v>
                </c:pt>
                <c:pt idx="28055">
                  <c:v>36805</c:v>
                </c:pt>
                <c:pt idx="28056">
                  <c:v>36805</c:v>
                </c:pt>
                <c:pt idx="28057">
                  <c:v>36804</c:v>
                </c:pt>
                <c:pt idx="28058">
                  <c:v>36804</c:v>
                </c:pt>
                <c:pt idx="28059">
                  <c:v>36804</c:v>
                </c:pt>
                <c:pt idx="28060">
                  <c:v>36804</c:v>
                </c:pt>
                <c:pt idx="28061">
                  <c:v>36803</c:v>
                </c:pt>
                <c:pt idx="28062">
                  <c:v>36803</c:v>
                </c:pt>
                <c:pt idx="28063">
                  <c:v>36803</c:v>
                </c:pt>
                <c:pt idx="28064">
                  <c:v>36802</c:v>
                </c:pt>
                <c:pt idx="28065">
                  <c:v>36802</c:v>
                </c:pt>
                <c:pt idx="28066">
                  <c:v>36802</c:v>
                </c:pt>
                <c:pt idx="28067">
                  <c:v>36802</c:v>
                </c:pt>
                <c:pt idx="28068">
                  <c:v>36802</c:v>
                </c:pt>
                <c:pt idx="28069">
                  <c:v>36801</c:v>
                </c:pt>
                <c:pt idx="28070">
                  <c:v>36801</c:v>
                </c:pt>
                <c:pt idx="28071">
                  <c:v>36801</c:v>
                </c:pt>
                <c:pt idx="28072">
                  <c:v>36801</c:v>
                </c:pt>
                <c:pt idx="28073">
                  <c:v>36800</c:v>
                </c:pt>
                <c:pt idx="28074">
                  <c:v>36799</c:v>
                </c:pt>
                <c:pt idx="28075">
                  <c:v>36798</c:v>
                </c:pt>
                <c:pt idx="28076">
                  <c:v>36797</c:v>
                </c:pt>
                <c:pt idx="28077">
                  <c:v>36797</c:v>
                </c:pt>
                <c:pt idx="28078">
                  <c:v>36797</c:v>
                </c:pt>
                <c:pt idx="28079">
                  <c:v>36796</c:v>
                </c:pt>
                <c:pt idx="28080">
                  <c:v>36795</c:v>
                </c:pt>
                <c:pt idx="28081">
                  <c:v>36794</c:v>
                </c:pt>
                <c:pt idx="28082">
                  <c:v>36794</c:v>
                </c:pt>
                <c:pt idx="28083">
                  <c:v>36793</c:v>
                </c:pt>
                <c:pt idx="28084">
                  <c:v>36793</c:v>
                </c:pt>
                <c:pt idx="28085">
                  <c:v>36793</c:v>
                </c:pt>
                <c:pt idx="28086">
                  <c:v>36793</c:v>
                </c:pt>
                <c:pt idx="28087">
                  <c:v>36792</c:v>
                </c:pt>
                <c:pt idx="28088">
                  <c:v>36792</c:v>
                </c:pt>
                <c:pt idx="28089">
                  <c:v>36792</c:v>
                </c:pt>
                <c:pt idx="28090">
                  <c:v>36792</c:v>
                </c:pt>
                <c:pt idx="28091">
                  <c:v>36791</c:v>
                </c:pt>
                <c:pt idx="28092">
                  <c:v>36791</c:v>
                </c:pt>
                <c:pt idx="28093">
                  <c:v>36791</c:v>
                </c:pt>
                <c:pt idx="28094">
                  <c:v>36791</c:v>
                </c:pt>
                <c:pt idx="28095">
                  <c:v>36791</c:v>
                </c:pt>
                <c:pt idx="28096">
                  <c:v>36790</c:v>
                </c:pt>
                <c:pt idx="28097">
                  <c:v>36790</c:v>
                </c:pt>
                <c:pt idx="28098">
                  <c:v>36790</c:v>
                </c:pt>
                <c:pt idx="28099">
                  <c:v>36790</c:v>
                </c:pt>
                <c:pt idx="28100">
                  <c:v>36789</c:v>
                </c:pt>
                <c:pt idx="28101">
                  <c:v>36789</c:v>
                </c:pt>
                <c:pt idx="28102">
                  <c:v>36789</c:v>
                </c:pt>
                <c:pt idx="28103">
                  <c:v>36788</c:v>
                </c:pt>
                <c:pt idx="28104">
                  <c:v>36787</c:v>
                </c:pt>
                <c:pt idx="28105">
                  <c:v>36787</c:v>
                </c:pt>
                <c:pt idx="28106">
                  <c:v>36787</c:v>
                </c:pt>
                <c:pt idx="28107">
                  <c:v>36787</c:v>
                </c:pt>
                <c:pt idx="28108">
                  <c:v>36784</c:v>
                </c:pt>
                <c:pt idx="28109">
                  <c:v>36784</c:v>
                </c:pt>
                <c:pt idx="28110">
                  <c:v>36784</c:v>
                </c:pt>
                <c:pt idx="28111">
                  <c:v>36784</c:v>
                </c:pt>
                <c:pt idx="28112">
                  <c:v>36783</c:v>
                </c:pt>
                <c:pt idx="28113">
                  <c:v>36783</c:v>
                </c:pt>
                <c:pt idx="28114">
                  <c:v>36783</c:v>
                </c:pt>
                <c:pt idx="28115">
                  <c:v>36782</c:v>
                </c:pt>
                <c:pt idx="28116">
                  <c:v>36782</c:v>
                </c:pt>
                <c:pt idx="28117">
                  <c:v>36782</c:v>
                </c:pt>
                <c:pt idx="28118">
                  <c:v>36781</c:v>
                </c:pt>
                <c:pt idx="28119">
                  <c:v>36781</c:v>
                </c:pt>
                <c:pt idx="28120">
                  <c:v>36781</c:v>
                </c:pt>
                <c:pt idx="28121">
                  <c:v>36780</c:v>
                </c:pt>
                <c:pt idx="28122">
                  <c:v>36780</c:v>
                </c:pt>
                <c:pt idx="28123">
                  <c:v>36780</c:v>
                </c:pt>
                <c:pt idx="28124">
                  <c:v>36779</c:v>
                </c:pt>
                <c:pt idx="28125">
                  <c:v>36779</c:v>
                </c:pt>
                <c:pt idx="28126">
                  <c:v>36778</c:v>
                </c:pt>
                <c:pt idx="28127">
                  <c:v>36778</c:v>
                </c:pt>
                <c:pt idx="28128">
                  <c:v>36778</c:v>
                </c:pt>
                <c:pt idx="28129">
                  <c:v>36777</c:v>
                </c:pt>
                <c:pt idx="28130">
                  <c:v>36777</c:v>
                </c:pt>
                <c:pt idx="28131">
                  <c:v>36777</c:v>
                </c:pt>
                <c:pt idx="28132">
                  <c:v>36777</c:v>
                </c:pt>
                <c:pt idx="28133">
                  <c:v>36776</c:v>
                </c:pt>
                <c:pt idx="28134">
                  <c:v>36776</c:v>
                </c:pt>
                <c:pt idx="28135">
                  <c:v>36776</c:v>
                </c:pt>
                <c:pt idx="28136">
                  <c:v>36775</c:v>
                </c:pt>
                <c:pt idx="28137">
                  <c:v>36774</c:v>
                </c:pt>
                <c:pt idx="28138">
                  <c:v>36773</c:v>
                </c:pt>
                <c:pt idx="28139">
                  <c:v>36773</c:v>
                </c:pt>
                <c:pt idx="28140">
                  <c:v>36773</c:v>
                </c:pt>
                <c:pt idx="28141">
                  <c:v>36773</c:v>
                </c:pt>
                <c:pt idx="28142">
                  <c:v>36773</c:v>
                </c:pt>
                <c:pt idx="28143">
                  <c:v>36772</c:v>
                </c:pt>
                <c:pt idx="28144">
                  <c:v>36772</c:v>
                </c:pt>
                <c:pt idx="28145">
                  <c:v>36772</c:v>
                </c:pt>
                <c:pt idx="28146">
                  <c:v>36772</c:v>
                </c:pt>
                <c:pt idx="28147">
                  <c:v>36771</c:v>
                </c:pt>
                <c:pt idx="28148">
                  <c:v>36771</c:v>
                </c:pt>
                <c:pt idx="28149">
                  <c:v>36770</c:v>
                </c:pt>
                <c:pt idx="28150">
                  <c:v>36770</c:v>
                </c:pt>
                <c:pt idx="28151">
                  <c:v>36770</c:v>
                </c:pt>
                <c:pt idx="28152">
                  <c:v>36770</c:v>
                </c:pt>
                <c:pt idx="28153">
                  <c:v>36769</c:v>
                </c:pt>
                <c:pt idx="28154">
                  <c:v>36769</c:v>
                </c:pt>
                <c:pt idx="28155">
                  <c:v>36768</c:v>
                </c:pt>
                <c:pt idx="28156">
                  <c:v>36768</c:v>
                </c:pt>
                <c:pt idx="28157">
                  <c:v>36767</c:v>
                </c:pt>
                <c:pt idx="28158">
                  <c:v>36767</c:v>
                </c:pt>
                <c:pt idx="28159">
                  <c:v>36766</c:v>
                </c:pt>
                <c:pt idx="28160">
                  <c:v>36766</c:v>
                </c:pt>
                <c:pt idx="28161">
                  <c:v>36766</c:v>
                </c:pt>
                <c:pt idx="28162">
                  <c:v>36766</c:v>
                </c:pt>
                <c:pt idx="28163">
                  <c:v>36765</c:v>
                </c:pt>
                <c:pt idx="28164">
                  <c:v>36765</c:v>
                </c:pt>
                <c:pt idx="28165">
                  <c:v>36765</c:v>
                </c:pt>
                <c:pt idx="28166">
                  <c:v>36765</c:v>
                </c:pt>
                <c:pt idx="28167">
                  <c:v>36764</c:v>
                </c:pt>
                <c:pt idx="28168">
                  <c:v>36763</c:v>
                </c:pt>
                <c:pt idx="28169">
                  <c:v>36763</c:v>
                </c:pt>
                <c:pt idx="28170">
                  <c:v>36763</c:v>
                </c:pt>
                <c:pt idx="28171">
                  <c:v>36762</c:v>
                </c:pt>
                <c:pt idx="28172">
                  <c:v>36762</c:v>
                </c:pt>
                <c:pt idx="28173">
                  <c:v>36761</c:v>
                </c:pt>
                <c:pt idx="28174">
                  <c:v>36761</c:v>
                </c:pt>
                <c:pt idx="28175">
                  <c:v>36761</c:v>
                </c:pt>
                <c:pt idx="28176">
                  <c:v>36760</c:v>
                </c:pt>
                <c:pt idx="28177">
                  <c:v>36760</c:v>
                </c:pt>
                <c:pt idx="28178">
                  <c:v>36759</c:v>
                </c:pt>
                <c:pt idx="28179">
                  <c:v>36759</c:v>
                </c:pt>
                <c:pt idx="28180">
                  <c:v>36759</c:v>
                </c:pt>
                <c:pt idx="28181">
                  <c:v>36759</c:v>
                </c:pt>
                <c:pt idx="28182">
                  <c:v>36758</c:v>
                </c:pt>
                <c:pt idx="28183">
                  <c:v>36758</c:v>
                </c:pt>
                <c:pt idx="28184">
                  <c:v>36758</c:v>
                </c:pt>
                <c:pt idx="28185">
                  <c:v>36757</c:v>
                </c:pt>
                <c:pt idx="28186">
                  <c:v>36757</c:v>
                </c:pt>
                <c:pt idx="28187">
                  <c:v>36757</c:v>
                </c:pt>
                <c:pt idx="28188">
                  <c:v>36757</c:v>
                </c:pt>
                <c:pt idx="28189">
                  <c:v>36757</c:v>
                </c:pt>
                <c:pt idx="28190">
                  <c:v>36756</c:v>
                </c:pt>
                <c:pt idx="28191">
                  <c:v>36756</c:v>
                </c:pt>
                <c:pt idx="28192">
                  <c:v>36755</c:v>
                </c:pt>
                <c:pt idx="28193">
                  <c:v>36755</c:v>
                </c:pt>
                <c:pt idx="28194">
                  <c:v>36755</c:v>
                </c:pt>
                <c:pt idx="28195">
                  <c:v>36754</c:v>
                </c:pt>
                <c:pt idx="28196">
                  <c:v>36754</c:v>
                </c:pt>
                <c:pt idx="28197">
                  <c:v>36753</c:v>
                </c:pt>
                <c:pt idx="28198">
                  <c:v>36753</c:v>
                </c:pt>
                <c:pt idx="28199">
                  <c:v>36753</c:v>
                </c:pt>
                <c:pt idx="28200">
                  <c:v>36752</c:v>
                </c:pt>
                <c:pt idx="28201">
                  <c:v>36752</c:v>
                </c:pt>
                <c:pt idx="28202">
                  <c:v>36752</c:v>
                </c:pt>
                <c:pt idx="28203">
                  <c:v>36751</c:v>
                </c:pt>
                <c:pt idx="28204">
                  <c:v>36751</c:v>
                </c:pt>
                <c:pt idx="28205">
                  <c:v>36751</c:v>
                </c:pt>
                <c:pt idx="28206">
                  <c:v>36750</c:v>
                </c:pt>
                <c:pt idx="28207">
                  <c:v>36750</c:v>
                </c:pt>
                <c:pt idx="28208">
                  <c:v>36749</c:v>
                </c:pt>
                <c:pt idx="28209">
                  <c:v>36749</c:v>
                </c:pt>
                <c:pt idx="28210">
                  <c:v>36749</c:v>
                </c:pt>
                <c:pt idx="28211">
                  <c:v>36748</c:v>
                </c:pt>
                <c:pt idx="28212">
                  <c:v>36748</c:v>
                </c:pt>
                <c:pt idx="28213">
                  <c:v>36748</c:v>
                </c:pt>
                <c:pt idx="28214">
                  <c:v>36747</c:v>
                </c:pt>
                <c:pt idx="28215">
                  <c:v>36747</c:v>
                </c:pt>
                <c:pt idx="28216">
                  <c:v>36747</c:v>
                </c:pt>
                <c:pt idx="28217">
                  <c:v>36746</c:v>
                </c:pt>
                <c:pt idx="28218">
                  <c:v>36746</c:v>
                </c:pt>
                <c:pt idx="28219">
                  <c:v>36746</c:v>
                </c:pt>
                <c:pt idx="28220">
                  <c:v>36746</c:v>
                </c:pt>
                <c:pt idx="28221">
                  <c:v>36745</c:v>
                </c:pt>
                <c:pt idx="28222">
                  <c:v>36745</c:v>
                </c:pt>
                <c:pt idx="28223">
                  <c:v>36745</c:v>
                </c:pt>
                <c:pt idx="28224">
                  <c:v>36745</c:v>
                </c:pt>
                <c:pt idx="28225">
                  <c:v>36745</c:v>
                </c:pt>
                <c:pt idx="28226">
                  <c:v>36745</c:v>
                </c:pt>
                <c:pt idx="28227">
                  <c:v>36745</c:v>
                </c:pt>
                <c:pt idx="28228">
                  <c:v>36744</c:v>
                </c:pt>
                <c:pt idx="28229">
                  <c:v>36744</c:v>
                </c:pt>
                <c:pt idx="28230">
                  <c:v>36743</c:v>
                </c:pt>
                <c:pt idx="28231">
                  <c:v>36743</c:v>
                </c:pt>
                <c:pt idx="28232">
                  <c:v>36743</c:v>
                </c:pt>
                <c:pt idx="28233">
                  <c:v>36743</c:v>
                </c:pt>
                <c:pt idx="28234">
                  <c:v>36743</c:v>
                </c:pt>
                <c:pt idx="28235">
                  <c:v>36743</c:v>
                </c:pt>
                <c:pt idx="28236">
                  <c:v>36742</c:v>
                </c:pt>
                <c:pt idx="28237">
                  <c:v>36742</c:v>
                </c:pt>
                <c:pt idx="28238">
                  <c:v>36741</c:v>
                </c:pt>
                <c:pt idx="28239">
                  <c:v>36740</c:v>
                </c:pt>
                <c:pt idx="28240">
                  <c:v>36740</c:v>
                </c:pt>
                <c:pt idx="28241">
                  <c:v>36738</c:v>
                </c:pt>
                <c:pt idx="28242">
                  <c:v>36738</c:v>
                </c:pt>
                <c:pt idx="28243">
                  <c:v>36738</c:v>
                </c:pt>
                <c:pt idx="28244">
                  <c:v>36738</c:v>
                </c:pt>
                <c:pt idx="28245">
                  <c:v>36737</c:v>
                </c:pt>
                <c:pt idx="28246">
                  <c:v>36737</c:v>
                </c:pt>
                <c:pt idx="28247">
                  <c:v>36737</c:v>
                </c:pt>
                <c:pt idx="28248">
                  <c:v>36737</c:v>
                </c:pt>
                <c:pt idx="28249">
                  <c:v>36737</c:v>
                </c:pt>
                <c:pt idx="28250">
                  <c:v>36736</c:v>
                </c:pt>
                <c:pt idx="28251">
                  <c:v>36736</c:v>
                </c:pt>
                <c:pt idx="28252">
                  <c:v>36736</c:v>
                </c:pt>
                <c:pt idx="28253">
                  <c:v>36736</c:v>
                </c:pt>
                <c:pt idx="28254">
                  <c:v>36736</c:v>
                </c:pt>
                <c:pt idx="28255">
                  <c:v>36735</c:v>
                </c:pt>
                <c:pt idx="28256">
                  <c:v>36735</c:v>
                </c:pt>
                <c:pt idx="28257">
                  <c:v>36735</c:v>
                </c:pt>
                <c:pt idx="28258">
                  <c:v>36735</c:v>
                </c:pt>
                <c:pt idx="28259">
                  <c:v>36734</c:v>
                </c:pt>
                <c:pt idx="28260">
                  <c:v>36734</c:v>
                </c:pt>
                <c:pt idx="28261">
                  <c:v>36734</c:v>
                </c:pt>
                <c:pt idx="28262">
                  <c:v>36734</c:v>
                </c:pt>
                <c:pt idx="28263">
                  <c:v>36733</c:v>
                </c:pt>
                <c:pt idx="28264">
                  <c:v>36733</c:v>
                </c:pt>
                <c:pt idx="28265">
                  <c:v>36732</c:v>
                </c:pt>
                <c:pt idx="28266">
                  <c:v>36732</c:v>
                </c:pt>
                <c:pt idx="28267">
                  <c:v>36731</c:v>
                </c:pt>
                <c:pt idx="28268">
                  <c:v>36731</c:v>
                </c:pt>
                <c:pt idx="28269">
                  <c:v>36731</c:v>
                </c:pt>
                <c:pt idx="28270">
                  <c:v>36731</c:v>
                </c:pt>
                <c:pt idx="28271">
                  <c:v>36731</c:v>
                </c:pt>
                <c:pt idx="28272">
                  <c:v>36731</c:v>
                </c:pt>
                <c:pt idx="28273">
                  <c:v>36731</c:v>
                </c:pt>
                <c:pt idx="28274">
                  <c:v>36731</c:v>
                </c:pt>
                <c:pt idx="28275">
                  <c:v>36730</c:v>
                </c:pt>
                <c:pt idx="28276">
                  <c:v>36730</c:v>
                </c:pt>
                <c:pt idx="28277">
                  <c:v>36730</c:v>
                </c:pt>
                <c:pt idx="28278">
                  <c:v>36729</c:v>
                </c:pt>
                <c:pt idx="28279">
                  <c:v>36729</c:v>
                </c:pt>
                <c:pt idx="28280">
                  <c:v>36729</c:v>
                </c:pt>
                <c:pt idx="28281">
                  <c:v>36729</c:v>
                </c:pt>
                <c:pt idx="28282">
                  <c:v>36729</c:v>
                </c:pt>
                <c:pt idx="28283">
                  <c:v>36728</c:v>
                </c:pt>
                <c:pt idx="28284">
                  <c:v>36728</c:v>
                </c:pt>
                <c:pt idx="28285">
                  <c:v>36728</c:v>
                </c:pt>
                <c:pt idx="28286">
                  <c:v>36727</c:v>
                </c:pt>
                <c:pt idx="28287">
                  <c:v>36726</c:v>
                </c:pt>
                <c:pt idx="28288">
                  <c:v>36725</c:v>
                </c:pt>
                <c:pt idx="28289">
                  <c:v>36725</c:v>
                </c:pt>
                <c:pt idx="28290">
                  <c:v>36725</c:v>
                </c:pt>
                <c:pt idx="28291">
                  <c:v>36725</c:v>
                </c:pt>
                <c:pt idx="28292">
                  <c:v>36725</c:v>
                </c:pt>
                <c:pt idx="28293">
                  <c:v>36725</c:v>
                </c:pt>
                <c:pt idx="28294">
                  <c:v>36725</c:v>
                </c:pt>
                <c:pt idx="28295">
                  <c:v>36725</c:v>
                </c:pt>
                <c:pt idx="28296">
                  <c:v>36724</c:v>
                </c:pt>
                <c:pt idx="28297">
                  <c:v>36724</c:v>
                </c:pt>
                <c:pt idx="28298">
                  <c:v>36724</c:v>
                </c:pt>
                <c:pt idx="28299">
                  <c:v>36722</c:v>
                </c:pt>
                <c:pt idx="28300">
                  <c:v>36722</c:v>
                </c:pt>
                <c:pt idx="28301">
                  <c:v>36722</c:v>
                </c:pt>
                <c:pt idx="28302">
                  <c:v>36721</c:v>
                </c:pt>
                <c:pt idx="28303">
                  <c:v>36721</c:v>
                </c:pt>
                <c:pt idx="28304">
                  <c:v>36720</c:v>
                </c:pt>
                <c:pt idx="28305">
                  <c:v>36720</c:v>
                </c:pt>
                <c:pt idx="28306">
                  <c:v>36719</c:v>
                </c:pt>
                <c:pt idx="28307">
                  <c:v>36719</c:v>
                </c:pt>
                <c:pt idx="28308">
                  <c:v>36719</c:v>
                </c:pt>
                <c:pt idx="28309">
                  <c:v>36718</c:v>
                </c:pt>
                <c:pt idx="28310">
                  <c:v>36718</c:v>
                </c:pt>
                <c:pt idx="28311">
                  <c:v>36718</c:v>
                </c:pt>
                <c:pt idx="28312">
                  <c:v>36718</c:v>
                </c:pt>
                <c:pt idx="28313">
                  <c:v>36718</c:v>
                </c:pt>
                <c:pt idx="28314">
                  <c:v>36718</c:v>
                </c:pt>
                <c:pt idx="28315">
                  <c:v>36718</c:v>
                </c:pt>
                <c:pt idx="28316">
                  <c:v>36718</c:v>
                </c:pt>
                <c:pt idx="28317">
                  <c:v>36718</c:v>
                </c:pt>
                <c:pt idx="28318">
                  <c:v>36717</c:v>
                </c:pt>
                <c:pt idx="28319">
                  <c:v>36717</c:v>
                </c:pt>
                <c:pt idx="28320">
                  <c:v>36717</c:v>
                </c:pt>
                <c:pt idx="28321">
                  <c:v>36716</c:v>
                </c:pt>
                <c:pt idx="28322">
                  <c:v>36714</c:v>
                </c:pt>
                <c:pt idx="28323">
                  <c:v>36713</c:v>
                </c:pt>
                <c:pt idx="28324">
                  <c:v>36713</c:v>
                </c:pt>
                <c:pt idx="28325">
                  <c:v>36713</c:v>
                </c:pt>
                <c:pt idx="28326">
                  <c:v>36713</c:v>
                </c:pt>
                <c:pt idx="28327">
                  <c:v>36713</c:v>
                </c:pt>
                <c:pt idx="28328">
                  <c:v>36712</c:v>
                </c:pt>
                <c:pt idx="28329">
                  <c:v>36712</c:v>
                </c:pt>
                <c:pt idx="28330">
                  <c:v>36712</c:v>
                </c:pt>
                <c:pt idx="28331">
                  <c:v>36712</c:v>
                </c:pt>
                <c:pt idx="28332">
                  <c:v>36710</c:v>
                </c:pt>
                <c:pt idx="28333">
                  <c:v>36710</c:v>
                </c:pt>
                <c:pt idx="28334">
                  <c:v>36709</c:v>
                </c:pt>
                <c:pt idx="28335">
                  <c:v>36709</c:v>
                </c:pt>
                <c:pt idx="28336">
                  <c:v>36709</c:v>
                </c:pt>
                <c:pt idx="28337">
                  <c:v>36709</c:v>
                </c:pt>
                <c:pt idx="28338">
                  <c:v>36709</c:v>
                </c:pt>
                <c:pt idx="28339">
                  <c:v>36708</c:v>
                </c:pt>
                <c:pt idx="28340">
                  <c:v>36708</c:v>
                </c:pt>
                <c:pt idx="28341">
                  <c:v>36708</c:v>
                </c:pt>
                <c:pt idx="28342">
                  <c:v>36707</c:v>
                </c:pt>
                <c:pt idx="28343">
                  <c:v>36707</c:v>
                </c:pt>
                <c:pt idx="28344">
                  <c:v>36707</c:v>
                </c:pt>
                <c:pt idx="28345">
                  <c:v>36707</c:v>
                </c:pt>
                <c:pt idx="28346">
                  <c:v>36707</c:v>
                </c:pt>
                <c:pt idx="28347">
                  <c:v>36706</c:v>
                </c:pt>
                <c:pt idx="28348">
                  <c:v>36706</c:v>
                </c:pt>
                <c:pt idx="28349">
                  <c:v>36706</c:v>
                </c:pt>
                <c:pt idx="28350">
                  <c:v>36706</c:v>
                </c:pt>
                <c:pt idx="28351">
                  <c:v>36705</c:v>
                </c:pt>
                <c:pt idx="28352">
                  <c:v>36705</c:v>
                </c:pt>
                <c:pt idx="28353">
                  <c:v>36704</c:v>
                </c:pt>
                <c:pt idx="28354">
                  <c:v>36704</c:v>
                </c:pt>
                <c:pt idx="28355">
                  <c:v>36703</c:v>
                </c:pt>
                <c:pt idx="28356">
                  <c:v>36702</c:v>
                </c:pt>
                <c:pt idx="28357">
                  <c:v>36702</c:v>
                </c:pt>
                <c:pt idx="28358">
                  <c:v>36702</c:v>
                </c:pt>
                <c:pt idx="28359">
                  <c:v>36701</c:v>
                </c:pt>
                <c:pt idx="28360">
                  <c:v>36700</c:v>
                </c:pt>
                <c:pt idx="28361">
                  <c:v>36700</c:v>
                </c:pt>
                <c:pt idx="28362">
                  <c:v>36699</c:v>
                </c:pt>
                <c:pt idx="28363">
                  <c:v>36698</c:v>
                </c:pt>
                <c:pt idx="28364">
                  <c:v>36698</c:v>
                </c:pt>
                <c:pt idx="28365">
                  <c:v>36697</c:v>
                </c:pt>
                <c:pt idx="28366">
                  <c:v>36697</c:v>
                </c:pt>
                <c:pt idx="28367">
                  <c:v>36696</c:v>
                </c:pt>
                <c:pt idx="28368">
                  <c:v>36695</c:v>
                </c:pt>
                <c:pt idx="28369">
                  <c:v>36695</c:v>
                </c:pt>
                <c:pt idx="28370">
                  <c:v>36695</c:v>
                </c:pt>
                <c:pt idx="28371">
                  <c:v>36694</c:v>
                </c:pt>
                <c:pt idx="28372">
                  <c:v>36694</c:v>
                </c:pt>
                <c:pt idx="28373">
                  <c:v>36693</c:v>
                </c:pt>
                <c:pt idx="28374">
                  <c:v>36693</c:v>
                </c:pt>
                <c:pt idx="28375">
                  <c:v>36693</c:v>
                </c:pt>
                <c:pt idx="28376">
                  <c:v>36693</c:v>
                </c:pt>
                <c:pt idx="28377">
                  <c:v>36692</c:v>
                </c:pt>
                <c:pt idx="28378">
                  <c:v>36692</c:v>
                </c:pt>
                <c:pt idx="28379">
                  <c:v>36692</c:v>
                </c:pt>
                <c:pt idx="28380">
                  <c:v>36692</c:v>
                </c:pt>
                <c:pt idx="28381">
                  <c:v>36692</c:v>
                </c:pt>
                <c:pt idx="28382">
                  <c:v>36692</c:v>
                </c:pt>
                <c:pt idx="28383">
                  <c:v>36691</c:v>
                </c:pt>
                <c:pt idx="28384">
                  <c:v>36690</c:v>
                </c:pt>
                <c:pt idx="28385">
                  <c:v>36689</c:v>
                </c:pt>
                <c:pt idx="28386">
                  <c:v>36689</c:v>
                </c:pt>
                <c:pt idx="28387">
                  <c:v>36689</c:v>
                </c:pt>
                <c:pt idx="28388">
                  <c:v>36688</c:v>
                </c:pt>
                <c:pt idx="28389">
                  <c:v>36688</c:v>
                </c:pt>
                <c:pt idx="28390">
                  <c:v>36687</c:v>
                </c:pt>
                <c:pt idx="28391">
                  <c:v>36687</c:v>
                </c:pt>
                <c:pt idx="28392">
                  <c:v>36687</c:v>
                </c:pt>
                <c:pt idx="28393">
                  <c:v>36687</c:v>
                </c:pt>
                <c:pt idx="28394">
                  <c:v>36686</c:v>
                </c:pt>
                <c:pt idx="28395">
                  <c:v>36686</c:v>
                </c:pt>
                <c:pt idx="28396">
                  <c:v>36686</c:v>
                </c:pt>
                <c:pt idx="28397">
                  <c:v>36685</c:v>
                </c:pt>
                <c:pt idx="28398">
                  <c:v>36685</c:v>
                </c:pt>
                <c:pt idx="28399">
                  <c:v>36684</c:v>
                </c:pt>
                <c:pt idx="28400">
                  <c:v>36684</c:v>
                </c:pt>
                <c:pt idx="28401">
                  <c:v>36683</c:v>
                </c:pt>
                <c:pt idx="28402">
                  <c:v>36683</c:v>
                </c:pt>
                <c:pt idx="28403">
                  <c:v>36683</c:v>
                </c:pt>
                <c:pt idx="28404">
                  <c:v>36682</c:v>
                </c:pt>
                <c:pt idx="28405">
                  <c:v>36682</c:v>
                </c:pt>
                <c:pt idx="28406">
                  <c:v>36682</c:v>
                </c:pt>
                <c:pt idx="28407">
                  <c:v>36682</c:v>
                </c:pt>
                <c:pt idx="28408">
                  <c:v>36682</c:v>
                </c:pt>
                <c:pt idx="28409">
                  <c:v>36682</c:v>
                </c:pt>
                <c:pt idx="28410">
                  <c:v>36681</c:v>
                </c:pt>
                <c:pt idx="28411">
                  <c:v>36679</c:v>
                </c:pt>
                <c:pt idx="28412">
                  <c:v>36679</c:v>
                </c:pt>
                <c:pt idx="28413">
                  <c:v>36679</c:v>
                </c:pt>
                <c:pt idx="28414">
                  <c:v>36679</c:v>
                </c:pt>
                <c:pt idx="28415">
                  <c:v>36679</c:v>
                </c:pt>
                <c:pt idx="28416">
                  <c:v>36679</c:v>
                </c:pt>
                <c:pt idx="28417">
                  <c:v>36678</c:v>
                </c:pt>
                <c:pt idx="28418">
                  <c:v>36678</c:v>
                </c:pt>
                <c:pt idx="28419">
                  <c:v>36678</c:v>
                </c:pt>
                <c:pt idx="28420">
                  <c:v>36677</c:v>
                </c:pt>
                <c:pt idx="28421">
                  <c:v>36677</c:v>
                </c:pt>
                <c:pt idx="28422">
                  <c:v>36676</c:v>
                </c:pt>
                <c:pt idx="28423">
                  <c:v>36675</c:v>
                </c:pt>
                <c:pt idx="28424">
                  <c:v>36675</c:v>
                </c:pt>
                <c:pt idx="28425">
                  <c:v>36674</c:v>
                </c:pt>
                <c:pt idx="28426">
                  <c:v>36673</c:v>
                </c:pt>
                <c:pt idx="28427">
                  <c:v>36672</c:v>
                </c:pt>
                <c:pt idx="28428">
                  <c:v>36671</c:v>
                </c:pt>
                <c:pt idx="28429">
                  <c:v>36671</c:v>
                </c:pt>
                <c:pt idx="28430">
                  <c:v>36671</c:v>
                </c:pt>
                <c:pt idx="28431">
                  <c:v>36671</c:v>
                </c:pt>
                <c:pt idx="28432">
                  <c:v>36670</c:v>
                </c:pt>
                <c:pt idx="28433">
                  <c:v>36670</c:v>
                </c:pt>
                <c:pt idx="28434">
                  <c:v>36670</c:v>
                </c:pt>
                <c:pt idx="28435">
                  <c:v>36670</c:v>
                </c:pt>
                <c:pt idx="28436">
                  <c:v>36669</c:v>
                </c:pt>
                <c:pt idx="28437">
                  <c:v>36669</c:v>
                </c:pt>
                <c:pt idx="28438">
                  <c:v>36669</c:v>
                </c:pt>
                <c:pt idx="28439">
                  <c:v>36669</c:v>
                </c:pt>
                <c:pt idx="28440">
                  <c:v>36668</c:v>
                </c:pt>
                <c:pt idx="28441">
                  <c:v>36668</c:v>
                </c:pt>
                <c:pt idx="28442">
                  <c:v>36667</c:v>
                </c:pt>
                <c:pt idx="28443">
                  <c:v>36667</c:v>
                </c:pt>
                <c:pt idx="28444">
                  <c:v>36667</c:v>
                </c:pt>
                <c:pt idx="28445">
                  <c:v>36667</c:v>
                </c:pt>
                <c:pt idx="28446">
                  <c:v>36666</c:v>
                </c:pt>
                <c:pt idx="28447">
                  <c:v>36666</c:v>
                </c:pt>
                <c:pt idx="28448">
                  <c:v>36666</c:v>
                </c:pt>
                <c:pt idx="28449">
                  <c:v>36666</c:v>
                </c:pt>
                <c:pt idx="28450">
                  <c:v>36666</c:v>
                </c:pt>
                <c:pt idx="28451">
                  <c:v>36666</c:v>
                </c:pt>
                <c:pt idx="28452">
                  <c:v>36665</c:v>
                </c:pt>
                <c:pt idx="28453">
                  <c:v>36665</c:v>
                </c:pt>
                <c:pt idx="28454">
                  <c:v>36665</c:v>
                </c:pt>
                <c:pt idx="28455">
                  <c:v>36665</c:v>
                </c:pt>
                <c:pt idx="28456">
                  <c:v>36665</c:v>
                </c:pt>
                <c:pt idx="28457">
                  <c:v>36665</c:v>
                </c:pt>
                <c:pt idx="28458">
                  <c:v>36664</c:v>
                </c:pt>
                <c:pt idx="28459">
                  <c:v>36664</c:v>
                </c:pt>
                <c:pt idx="28460">
                  <c:v>36663</c:v>
                </c:pt>
                <c:pt idx="28461">
                  <c:v>36662</c:v>
                </c:pt>
                <c:pt idx="28462">
                  <c:v>36662</c:v>
                </c:pt>
                <c:pt idx="28463">
                  <c:v>36661</c:v>
                </c:pt>
                <c:pt idx="28464">
                  <c:v>36661</c:v>
                </c:pt>
                <c:pt idx="28465">
                  <c:v>36661</c:v>
                </c:pt>
                <c:pt idx="28466">
                  <c:v>36661</c:v>
                </c:pt>
                <c:pt idx="28467">
                  <c:v>36660</c:v>
                </c:pt>
                <c:pt idx="28468">
                  <c:v>36660</c:v>
                </c:pt>
                <c:pt idx="28469">
                  <c:v>36660</c:v>
                </c:pt>
                <c:pt idx="28470">
                  <c:v>36659</c:v>
                </c:pt>
                <c:pt idx="28471">
                  <c:v>36659</c:v>
                </c:pt>
                <c:pt idx="28472">
                  <c:v>36659</c:v>
                </c:pt>
                <c:pt idx="28473">
                  <c:v>36659</c:v>
                </c:pt>
                <c:pt idx="28474">
                  <c:v>36659</c:v>
                </c:pt>
                <c:pt idx="28475">
                  <c:v>36659</c:v>
                </c:pt>
                <c:pt idx="28476">
                  <c:v>36659</c:v>
                </c:pt>
                <c:pt idx="28477">
                  <c:v>36657</c:v>
                </c:pt>
                <c:pt idx="28478">
                  <c:v>36657</c:v>
                </c:pt>
                <c:pt idx="28479">
                  <c:v>36656</c:v>
                </c:pt>
                <c:pt idx="28480">
                  <c:v>36656</c:v>
                </c:pt>
                <c:pt idx="28481">
                  <c:v>36656</c:v>
                </c:pt>
                <c:pt idx="28482">
                  <c:v>36656</c:v>
                </c:pt>
                <c:pt idx="28483">
                  <c:v>36655</c:v>
                </c:pt>
                <c:pt idx="28484">
                  <c:v>36655</c:v>
                </c:pt>
                <c:pt idx="28485">
                  <c:v>36655</c:v>
                </c:pt>
                <c:pt idx="28486">
                  <c:v>36654</c:v>
                </c:pt>
                <c:pt idx="28487">
                  <c:v>36654</c:v>
                </c:pt>
                <c:pt idx="28488">
                  <c:v>36654</c:v>
                </c:pt>
                <c:pt idx="28489">
                  <c:v>36654</c:v>
                </c:pt>
                <c:pt idx="28490">
                  <c:v>36654</c:v>
                </c:pt>
                <c:pt idx="28491">
                  <c:v>36653</c:v>
                </c:pt>
                <c:pt idx="28492">
                  <c:v>36653</c:v>
                </c:pt>
                <c:pt idx="28493">
                  <c:v>36653</c:v>
                </c:pt>
                <c:pt idx="28494">
                  <c:v>36652</c:v>
                </c:pt>
                <c:pt idx="28495">
                  <c:v>36652</c:v>
                </c:pt>
                <c:pt idx="28496">
                  <c:v>36652</c:v>
                </c:pt>
                <c:pt idx="28497">
                  <c:v>36652</c:v>
                </c:pt>
                <c:pt idx="28498">
                  <c:v>36652</c:v>
                </c:pt>
                <c:pt idx="28499">
                  <c:v>36651</c:v>
                </c:pt>
                <c:pt idx="28500">
                  <c:v>36651</c:v>
                </c:pt>
                <c:pt idx="28501">
                  <c:v>36650</c:v>
                </c:pt>
                <c:pt idx="28502">
                  <c:v>36650</c:v>
                </c:pt>
                <c:pt idx="28503">
                  <c:v>36650</c:v>
                </c:pt>
                <c:pt idx="28504">
                  <c:v>36650</c:v>
                </c:pt>
                <c:pt idx="28505">
                  <c:v>36649</c:v>
                </c:pt>
                <c:pt idx="28506">
                  <c:v>36649</c:v>
                </c:pt>
                <c:pt idx="28507">
                  <c:v>36649</c:v>
                </c:pt>
                <c:pt idx="28508">
                  <c:v>36649</c:v>
                </c:pt>
                <c:pt idx="28509">
                  <c:v>36648</c:v>
                </c:pt>
                <c:pt idx="28510">
                  <c:v>36648</c:v>
                </c:pt>
                <c:pt idx="28511">
                  <c:v>36647</c:v>
                </c:pt>
                <c:pt idx="28512">
                  <c:v>36647</c:v>
                </c:pt>
                <c:pt idx="28513">
                  <c:v>36646</c:v>
                </c:pt>
                <c:pt idx="28514">
                  <c:v>36646</c:v>
                </c:pt>
                <c:pt idx="28515">
                  <c:v>36646</c:v>
                </c:pt>
                <c:pt idx="28516">
                  <c:v>36646</c:v>
                </c:pt>
                <c:pt idx="28517">
                  <c:v>36646</c:v>
                </c:pt>
                <c:pt idx="28518">
                  <c:v>36645</c:v>
                </c:pt>
                <c:pt idx="28519">
                  <c:v>36645</c:v>
                </c:pt>
                <c:pt idx="28520">
                  <c:v>36645</c:v>
                </c:pt>
                <c:pt idx="28521">
                  <c:v>36645</c:v>
                </c:pt>
                <c:pt idx="28522">
                  <c:v>36645</c:v>
                </c:pt>
                <c:pt idx="28523">
                  <c:v>36645</c:v>
                </c:pt>
                <c:pt idx="28524">
                  <c:v>36645</c:v>
                </c:pt>
                <c:pt idx="28525">
                  <c:v>36644</c:v>
                </c:pt>
                <c:pt idx="28526">
                  <c:v>36644</c:v>
                </c:pt>
                <c:pt idx="28527">
                  <c:v>36644</c:v>
                </c:pt>
                <c:pt idx="28528">
                  <c:v>36644</c:v>
                </c:pt>
                <c:pt idx="28529">
                  <c:v>36644</c:v>
                </c:pt>
                <c:pt idx="28530">
                  <c:v>36642</c:v>
                </c:pt>
                <c:pt idx="28531">
                  <c:v>36642</c:v>
                </c:pt>
                <c:pt idx="28532">
                  <c:v>36641</c:v>
                </c:pt>
                <c:pt idx="28533">
                  <c:v>36640</c:v>
                </c:pt>
                <c:pt idx="28534">
                  <c:v>36640</c:v>
                </c:pt>
                <c:pt idx="28535">
                  <c:v>36640</c:v>
                </c:pt>
                <c:pt idx="28536">
                  <c:v>36640</c:v>
                </c:pt>
                <c:pt idx="28537">
                  <c:v>36639</c:v>
                </c:pt>
                <c:pt idx="28538">
                  <c:v>36639</c:v>
                </c:pt>
                <c:pt idx="28539">
                  <c:v>36639</c:v>
                </c:pt>
                <c:pt idx="28540">
                  <c:v>36639</c:v>
                </c:pt>
                <c:pt idx="28541">
                  <c:v>36639</c:v>
                </c:pt>
                <c:pt idx="28542">
                  <c:v>36639</c:v>
                </c:pt>
                <c:pt idx="28543">
                  <c:v>36639</c:v>
                </c:pt>
                <c:pt idx="28544">
                  <c:v>36638</c:v>
                </c:pt>
                <c:pt idx="28545">
                  <c:v>36638</c:v>
                </c:pt>
                <c:pt idx="28546">
                  <c:v>36637</c:v>
                </c:pt>
                <c:pt idx="28547">
                  <c:v>36637</c:v>
                </c:pt>
                <c:pt idx="28548">
                  <c:v>36636</c:v>
                </c:pt>
                <c:pt idx="28549">
                  <c:v>36635</c:v>
                </c:pt>
                <c:pt idx="28550">
                  <c:v>36634</c:v>
                </c:pt>
                <c:pt idx="28551">
                  <c:v>36634</c:v>
                </c:pt>
                <c:pt idx="28552">
                  <c:v>36633</c:v>
                </c:pt>
                <c:pt idx="28553">
                  <c:v>36633</c:v>
                </c:pt>
                <c:pt idx="28554">
                  <c:v>36633</c:v>
                </c:pt>
                <c:pt idx="28555">
                  <c:v>36633</c:v>
                </c:pt>
                <c:pt idx="28556">
                  <c:v>36632</c:v>
                </c:pt>
                <c:pt idx="28557">
                  <c:v>36632</c:v>
                </c:pt>
                <c:pt idx="28558">
                  <c:v>36632</c:v>
                </c:pt>
                <c:pt idx="28559">
                  <c:v>36631</c:v>
                </c:pt>
                <c:pt idx="28560">
                  <c:v>36631</c:v>
                </c:pt>
                <c:pt idx="28561">
                  <c:v>36631</c:v>
                </c:pt>
                <c:pt idx="28562">
                  <c:v>36631</c:v>
                </c:pt>
                <c:pt idx="28563">
                  <c:v>36630</c:v>
                </c:pt>
                <c:pt idx="28564">
                  <c:v>36630</c:v>
                </c:pt>
                <c:pt idx="28565">
                  <c:v>36630</c:v>
                </c:pt>
                <c:pt idx="28566">
                  <c:v>36630</c:v>
                </c:pt>
                <c:pt idx="28567">
                  <c:v>36629</c:v>
                </c:pt>
                <c:pt idx="28568">
                  <c:v>36629</c:v>
                </c:pt>
                <c:pt idx="28569">
                  <c:v>36629</c:v>
                </c:pt>
                <c:pt idx="28570">
                  <c:v>36628</c:v>
                </c:pt>
                <c:pt idx="28571">
                  <c:v>36628</c:v>
                </c:pt>
                <c:pt idx="28572">
                  <c:v>36628</c:v>
                </c:pt>
                <c:pt idx="28573">
                  <c:v>36627</c:v>
                </c:pt>
                <c:pt idx="28574">
                  <c:v>36627</c:v>
                </c:pt>
                <c:pt idx="28575">
                  <c:v>36627</c:v>
                </c:pt>
                <c:pt idx="28576">
                  <c:v>36627</c:v>
                </c:pt>
                <c:pt idx="28577">
                  <c:v>36627</c:v>
                </c:pt>
                <c:pt idx="28578">
                  <c:v>36627</c:v>
                </c:pt>
                <c:pt idx="28579">
                  <c:v>36626</c:v>
                </c:pt>
                <c:pt idx="28580">
                  <c:v>36626</c:v>
                </c:pt>
                <c:pt idx="28581">
                  <c:v>36626</c:v>
                </c:pt>
                <c:pt idx="28582">
                  <c:v>36625</c:v>
                </c:pt>
                <c:pt idx="28583">
                  <c:v>36625</c:v>
                </c:pt>
                <c:pt idx="28584">
                  <c:v>36625</c:v>
                </c:pt>
                <c:pt idx="28585">
                  <c:v>36625</c:v>
                </c:pt>
                <c:pt idx="28586">
                  <c:v>36625</c:v>
                </c:pt>
                <c:pt idx="28587">
                  <c:v>36624</c:v>
                </c:pt>
                <c:pt idx="28588">
                  <c:v>36623</c:v>
                </c:pt>
                <c:pt idx="28589">
                  <c:v>36622</c:v>
                </c:pt>
                <c:pt idx="28590">
                  <c:v>36622</c:v>
                </c:pt>
                <c:pt idx="28591">
                  <c:v>36622</c:v>
                </c:pt>
                <c:pt idx="28592">
                  <c:v>36622</c:v>
                </c:pt>
                <c:pt idx="28593">
                  <c:v>36622</c:v>
                </c:pt>
                <c:pt idx="28594">
                  <c:v>36622</c:v>
                </c:pt>
                <c:pt idx="28595">
                  <c:v>36620</c:v>
                </c:pt>
                <c:pt idx="28596">
                  <c:v>36620</c:v>
                </c:pt>
                <c:pt idx="28597">
                  <c:v>36619</c:v>
                </c:pt>
                <c:pt idx="28598">
                  <c:v>36619</c:v>
                </c:pt>
                <c:pt idx="28599">
                  <c:v>36619</c:v>
                </c:pt>
                <c:pt idx="28600">
                  <c:v>36618</c:v>
                </c:pt>
                <c:pt idx="28601">
                  <c:v>36618</c:v>
                </c:pt>
                <c:pt idx="28602">
                  <c:v>36617</c:v>
                </c:pt>
                <c:pt idx="28603">
                  <c:v>36617</c:v>
                </c:pt>
                <c:pt idx="28604">
                  <c:v>36617</c:v>
                </c:pt>
                <c:pt idx="28605">
                  <c:v>36617</c:v>
                </c:pt>
                <c:pt idx="28606">
                  <c:v>36616</c:v>
                </c:pt>
                <c:pt idx="28607">
                  <c:v>36615</c:v>
                </c:pt>
                <c:pt idx="28608">
                  <c:v>36615</c:v>
                </c:pt>
                <c:pt idx="28609">
                  <c:v>36615</c:v>
                </c:pt>
                <c:pt idx="28610">
                  <c:v>36615</c:v>
                </c:pt>
                <c:pt idx="28611">
                  <c:v>36614</c:v>
                </c:pt>
                <c:pt idx="28612">
                  <c:v>36614</c:v>
                </c:pt>
                <c:pt idx="28613">
                  <c:v>36614</c:v>
                </c:pt>
                <c:pt idx="28614">
                  <c:v>36611</c:v>
                </c:pt>
                <c:pt idx="28615">
                  <c:v>36611</c:v>
                </c:pt>
                <c:pt idx="28616">
                  <c:v>36611</c:v>
                </c:pt>
                <c:pt idx="28617">
                  <c:v>36611</c:v>
                </c:pt>
                <c:pt idx="28618">
                  <c:v>36610</c:v>
                </c:pt>
                <c:pt idx="28619">
                  <c:v>36610</c:v>
                </c:pt>
                <c:pt idx="28620">
                  <c:v>36610</c:v>
                </c:pt>
                <c:pt idx="28621">
                  <c:v>36610</c:v>
                </c:pt>
                <c:pt idx="28622">
                  <c:v>36607</c:v>
                </c:pt>
                <c:pt idx="28623">
                  <c:v>36606</c:v>
                </c:pt>
                <c:pt idx="28624">
                  <c:v>36606</c:v>
                </c:pt>
                <c:pt idx="28625">
                  <c:v>36606</c:v>
                </c:pt>
                <c:pt idx="28626">
                  <c:v>36606</c:v>
                </c:pt>
                <c:pt idx="28627">
                  <c:v>36605</c:v>
                </c:pt>
                <c:pt idx="28628">
                  <c:v>36604</c:v>
                </c:pt>
                <c:pt idx="28629">
                  <c:v>36604</c:v>
                </c:pt>
                <c:pt idx="28630">
                  <c:v>36604</c:v>
                </c:pt>
                <c:pt idx="28631">
                  <c:v>36604</c:v>
                </c:pt>
                <c:pt idx="28632">
                  <c:v>36603</c:v>
                </c:pt>
                <c:pt idx="28633">
                  <c:v>36603</c:v>
                </c:pt>
                <c:pt idx="28634">
                  <c:v>36603</c:v>
                </c:pt>
                <c:pt idx="28635">
                  <c:v>36603</c:v>
                </c:pt>
                <c:pt idx="28636">
                  <c:v>36603</c:v>
                </c:pt>
                <c:pt idx="28637">
                  <c:v>36603</c:v>
                </c:pt>
                <c:pt idx="28638">
                  <c:v>36602</c:v>
                </c:pt>
                <c:pt idx="28639">
                  <c:v>36601</c:v>
                </c:pt>
                <c:pt idx="28640">
                  <c:v>36601</c:v>
                </c:pt>
                <c:pt idx="28641">
                  <c:v>36601</c:v>
                </c:pt>
                <c:pt idx="28642">
                  <c:v>36600</c:v>
                </c:pt>
                <c:pt idx="28643">
                  <c:v>36600</c:v>
                </c:pt>
                <c:pt idx="28644">
                  <c:v>36600</c:v>
                </c:pt>
                <c:pt idx="28645">
                  <c:v>36599</c:v>
                </c:pt>
                <c:pt idx="28646">
                  <c:v>36599</c:v>
                </c:pt>
                <c:pt idx="28647">
                  <c:v>36599</c:v>
                </c:pt>
                <c:pt idx="28648">
                  <c:v>36598</c:v>
                </c:pt>
                <c:pt idx="28649">
                  <c:v>36598</c:v>
                </c:pt>
                <c:pt idx="28650">
                  <c:v>36598</c:v>
                </c:pt>
                <c:pt idx="28651">
                  <c:v>36598</c:v>
                </c:pt>
                <c:pt idx="28652">
                  <c:v>36597</c:v>
                </c:pt>
                <c:pt idx="28653">
                  <c:v>36597</c:v>
                </c:pt>
                <c:pt idx="28654">
                  <c:v>36597</c:v>
                </c:pt>
                <c:pt idx="28655">
                  <c:v>36597</c:v>
                </c:pt>
                <c:pt idx="28656">
                  <c:v>36596</c:v>
                </c:pt>
                <c:pt idx="28657">
                  <c:v>36596</c:v>
                </c:pt>
                <c:pt idx="28658">
                  <c:v>36596</c:v>
                </c:pt>
                <c:pt idx="28659">
                  <c:v>36596</c:v>
                </c:pt>
                <c:pt idx="28660">
                  <c:v>36596</c:v>
                </c:pt>
                <c:pt idx="28661">
                  <c:v>36596</c:v>
                </c:pt>
                <c:pt idx="28662">
                  <c:v>36595</c:v>
                </c:pt>
                <c:pt idx="28663">
                  <c:v>36595</c:v>
                </c:pt>
                <c:pt idx="28664">
                  <c:v>36595</c:v>
                </c:pt>
                <c:pt idx="28665">
                  <c:v>36595</c:v>
                </c:pt>
                <c:pt idx="28666">
                  <c:v>36595</c:v>
                </c:pt>
                <c:pt idx="28667">
                  <c:v>36594</c:v>
                </c:pt>
                <c:pt idx="28668">
                  <c:v>36594</c:v>
                </c:pt>
                <c:pt idx="28669">
                  <c:v>36594</c:v>
                </c:pt>
                <c:pt idx="28670">
                  <c:v>36593</c:v>
                </c:pt>
                <c:pt idx="28671">
                  <c:v>36593</c:v>
                </c:pt>
                <c:pt idx="28672">
                  <c:v>36593</c:v>
                </c:pt>
                <c:pt idx="28673">
                  <c:v>36593</c:v>
                </c:pt>
                <c:pt idx="28674">
                  <c:v>36592</c:v>
                </c:pt>
                <c:pt idx="28675">
                  <c:v>36591</c:v>
                </c:pt>
                <c:pt idx="28676">
                  <c:v>36591</c:v>
                </c:pt>
                <c:pt idx="28677">
                  <c:v>36591</c:v>
                </c:pt>
                <c:pt idx="28678">
                  <c:v>36591</c:v>
                </c:pt>
                <c:pt idx="28679">
                  <c:v>36591</c:v>
                </c:pt>
                <c:pt idx="28680">
                  <c:v>36591</c:v>
                </c:pt>
                <c:pt idx="28681">
                  <c:v>36591</c:v>
                </c:pt>
                <c:pt idx="28682">
                  <c:v>36591</c:v>
                </c:pt>
                <c:pt idx="28683">
                  <c:v>36590</c:v>
                </c:pt>
                <c:pt idx="28684">
                  <c:v>36590</c:v>
                </c:pt>
                <c:pt idx="28685">
                  <c:v>36590</c:v>
                </c:pt>
                <c:pt idx="28686">
                  <c:v>36590</c:v>
                </c:pt>
                <c:pt idx="28687">
                  <c:v>36590</c:v>
                </c:pt>
                <c:pt idx="28688">
                  <c:v>36589</c:v>
                </c:pt>
                <c:pt idx="28689">
                  <c:v>36589</c:v>
                </c:pt>
                <c:pt idx="28690">
                  <c:v>36589</c:v>
                </c:pt>
                <c:pt idx="28691">
                  <c:v>36589</c:v>
                </c:pt>
                <c:pt idx="28692">
                  <c:v>36588</c:v>
                </c:pt>
                <c:pt idx="28693">
                  <c:v>36588</c:v>
                </c:pt>
                <c:pt idx="28694">
                  <c:v>36587</c:v>
                </c:pt>
                <c:pt idx="28695">
                  <c:v>36587</c:v>
                </c:pt>
                <c:pt idx="28696">
                  <c:v>36587</c:v>
                </c:pt>
                <c:pt idx="28697">
                  <c:v>36587</c:v>
                </c:pt>
                <c:pt idx="28698">
                  <c:v>36586</c:v>
                </c:pt>
                <c:pt idx="28699">
                  <c:v>36586</c:v>
                </c:pt>
                <c:pt idx="28700">
                  <c:v>36586</c:v>
                </c:pt>
                <c:pt idx="28701">
                  <c:v>36586</c:v>
                </c:pt>
                <c:pt idx="28702">
                  <c:v>36586</c:v>
                </c:pt>
                <c:pt idx="28703">
                  <c:v>36586</c:v>
                </c:pt>
                <c:pt idx="28704">
                  <c:v>36585</c:v>
                </c:pt>
                <c:pt idx="28705">
                  <c:v>36585</c:v>
                </c:pt>
                <c:pt idx="28706">
                  <c:v>36585</c:v>
                </c:pt>
                <c:pt idx="28707">
                  <c:v>36584</c:v>
                </c:pt>
                <c:pt idx="28708">
                  <c:v>36584</c:v>
                </c:pt>
                <c:pt idx="28709">
                  <c:v>36584</c:v>
                </c:pt>
                <c:pt idx="28710">
                  <c:v>36584</c:v>
                </c:pt>
                <c:pt idx="28711">
                  <c:v>36584</c:v>
                </c:pt>
                <c:pt idx="28712">
                  <c:v>36584</c:v>
                </c:pt>
                <c:pt idx="28713">
                  <c:v>36583</c:v>
                </c:pt>
                <c:pt idx="28714">
                  <c:v>36582</c:v>
                </c:pt>
                <c:pt idx="28715">
                  <c:v>36582</c:v>
                </c:pt>
                <c:pt idx="28716">
                  <c:v>36581</c:v>
                </c:pt>
                <c:pt idx="28717">
                  <c:v>36581</c:v>
                </c:pt>
                <c:pt idx="28718">
                  <c:v>36581</c:v>
                </c:pt>
                <c:pt idx="28719">
                  <c:v>36580</c:v>
                </c:pt>
                <c:pt idx="28720">
                  <c:v>36580</c:v>
                </c:pt>
                <c:pt idx="28721">
                  <c:v>36580</c:v>
                </c:pt>
                <c:pt idx="28722">
                  <c:v>36580</c:v>
                </c:pt>
                <c:pt idx="28723">
                  <c:v>36580</c:v>
                </c:pt>
                <c:pt idx="28724">
                  <c:v>36579</c:v>
                </c:pt>
                <c:pt idx="28725">
                  <c:v>36579</c:v>
                </c:pt>
                <c:pt idx="28726">
                  <c:v>36579</c:v>
                </c:pt>
                <c:pt idx="28727">
                  <c:v>36579</c:v>
                </c:pt>
                <c:pt idx="28728">
                  <c:v>36578</c:v>
                </c:pt>
                <c:pt idx="28729">
                  <c:v>36577</c:v>
                </c:pt>
                <c:pt idx="28730">
                  <c:v>36577</c:v>
                </c:pt>
                <c:pt idx="28731">
                  <c:v>36577</c:v>
                </c:pt>
                <c:pt idx="28732">
                  <c:v>36576</c:v>
                </c:pt>
                <c:pt idx="28733">
                  <c:v>36576</c:v>
                </c:pt>
                <c:pt idx="28734">
                  <c:v>36576</c:v>
                </c:pt>
                <c:pt idx="28735">
                  <c:v>36576</c:v>
                </c:pt>
                <c:pt idx="28736">
                  <c:v>36575</c:v>
                </c:pt>
                <c:pt idx="28737">
                  <c:v>36575</c:v>
                </c:pt>
                <c:pt idx="28738">
                  <c:v>36574</c:v>
                </c:pt>
                <c:pt idx="28739">
                  <c:v>36574</c:v>
                </c:pt>
                <c:pt idx="28740">
                  <c:v>36573</c:v>
                </c:pt>
                <c:pt idx="28741">
                  <c:v>36573</c:v>
                </c:pt>
                <c:pt idx="28742">
                  <c:v>36573</c:v>
                </c:pt>
                <c:pt idx="28743">
                  <c:v>36573</c:v>
                </c:pt>
                <c:pt idx="28744">
                  <c:v>36573</c:v>
                </c:pt>
                <c:pt idx="28745">
                  <c:v>36573</c:v>
                </c:pt>
                <c:pt idx="28746">
                  <c:v>36572</c:v>
                </c:pt>
                <c:pt idx="28747">
                  <c:v>36572</c:v>
                </c:pt>
                <c:pt idx="28748">
                  <c:v>36572</c:v>
                </c:pt>
                <c:pt idx="28749">
                  <c:v>36571</c:v>
                </c:pt>
                <c:pt idx="28750">
                  <c:v>36571</c:v>
                </c:pt>
                <c:pt idx="28751">
                  <c:v>36570</c:v>
                </c:pt>
                <c:pt idx="28752">
                  <c:v>36570</c:v>
                </c:pt>
                <c:pt idx="28753">
                  <c:v>36570</c:v>
                </c:pt>
                <c:pt idx="28754">
                  <c:v>36570</c:v>
                </c:pt>
                <c:pt idx="28755">
                  <c:v>36568</c:v>
                </c:pt>
                <c:pt idx="28756">
                  <c:v>36568</c:v>
                </c:pt>
                <c:pt idx="28757">
                  <c:v>36568</c:v>
                </c:pt>
                <c:pt idx="28758">
                  <c:v>36567</c:v>
                </c:pt>
                <c:pt idx="28759">
                  <c:v>36567</c:v>
                </c:pt>
                <c:pt idx="28760">
                  <c:v>36567</c:v>
                </c:pt>
                <c:pt idx="28761">
                  <c:v>36567</c:v>
                </c:pt>
                <c:pt idx="28762">
                  <c:v>36566</c:v>
                </c:pt>
                <c:pt idx="28763">
                  <c:v>36566</c:v>
                </c:pt>
                <c:pt idx="28764">
                  <c:v>36566</c:v>
                </c:pt>
                <c:pt idx="28765">
                  <c:v>36566</c:v>
                </c:pt>
                <c:pt idx="28766">
                  <c:v>36566</c:v>
                </c:pt>
                <c:pt idx="28767">
                  <c:v>36565</c:v>
                </c:pt>
                <c:pt idx="28768">
                  <c:v>36565</c:v>
                </c:pt>
                <c:pt idx="28769">
                  <c:v>36564</c:v>
                </c:pt>
                <c:pt idx="28770">
                  <c:v>36564</c:v>
                </c:pt>
                <c:pt idx="28771">
                  <c:v>36563</c:v>
                </c:pt>
                <c:pt idx="28772">
                  <c:v>36563</c:v>
                </c:pt>
                <c:pt idx="28773">
                  <c:v>36563</c:v>
                </c:pt>
                <c:pt idx="28774">
                  <c:v>36563</c:v>
                </c:pt>
                <c:pt idx="28775">
                  <c:v>36562</c:v>
                </c:pt>
                <c:pt idx="28776">
                  <c:v>36562</c:v>
                </c:pt>
                <c:pt idx="28777">
                  <c:v>36562</c:v>
                </c:pt>
                <c:pt idx="28778">
                  <c:v>36562</c:v>
                </c:pt>
                <c:pt idx="28779">
                  <c:v>36562</c:v>
                </c:pt>
                <c:pt idx="28780">
                  <c:v>36562</c:v>
                </c:pt>
                <c:pt idx="28781">
                  <c:v>36561</c:v>
                </c:pt>
                <c:pt idx="28782">
                  <c:v>36561</c:v>
                </c:pt>
                <c:pt idx="28783">
                  <c:v>36559</c:v>
                </c:pt>
                <c:pt idx="28784">
                  <c:v>36559</c:v>
                </c:pt>
                <c:pt idx="28785">
                  <c:v>36558</c:v>
                </c:pt>
                <c:pt idx="28786">
                  <c:v>36558</c:v>
                </c:pt>
                <c:pt idx="28787">
                  <c:v>36558</c:v>
                </c:pt>
                <c:pt idx="28788">
                  <c:v>36558</c:v>
                </c:pt>
                <c:pt idx="28789">
                  <c:v>36557</c:v>
                </c:pt>
                <c:pt idx="28790">
                  <c:v>36556</c:v>
                </c:pt>
                <c:pt idx="28791">
                  <c:v>36555</c:v>
                </c:pt>
                <c:pt idx="28792">
                  <c:v>36555</c:v>
                </c:pt>
                <c:pt idx="28793">
                  <c:v>36555</c:v>
                </c:pt>
                <c:pt idx="28794">
                  <c:v>36553</c:v>
                </c:pt>
                <c:pt idx="28795">
                  <c:v>36553</c:v>
                </c:pt>
                <c:pt idx="28796">
                  <c:v>36553</c:v>
                </c:pt>
                <c:pt idx="28797">
                  <c:v>36553</c:v>
                </c:pt>
                <c:pt idx="28798">
                  <c:v>36553</c:v>
                </c:pt>
                <c:pt idx="28799">
                  <c:v>36552</c:v>
                </c:pt>
                <c:pt idx="28800">
                  <c:v>36552</c:v>
                </c:pt>
                <c:pt idx="28801">
                  <c:v>36551</c:v>
                </c:pt>
                <c:pt idx="28802">
                  <c:v>36551</c:v>
                </c:pt>
                <c:pt idx="28803">
                  <c:v>36551</c:v>
                </c:pt>
                <c:pt idx="28804">
                  <c:v>36551</c:v>
                </c:pt>
                <c:pt idx="28805">
                  <c:v>36550</c:v>
                </c:pt>
                <c:pt idx="28806">
                  <c:v>36549</c:v>
                </c:pt>
                <c:pt idx="28807">
                  <c:v>36549</c:v>
                </c:pt>
                <c:pt idx="28808">
                  <c:v>36548</c:v>
                </c:pt>
                <c:pt idx="28809">
                  <c:v>36548</c:v>
                </c:pt>
                <c:pt idx="28810">
                  <c:v>36548</c:v>
                </c:pt>
                <c:pt idx="28811">
                  <c:v>36548</c:v>
                </c:pt>
                <c:pt idx="28812">
                  <c:v>36547</c:v>
                </c:pt>
                <c:pt idx="28813">
                  <c:v>36547</c:v>
                </c:pt>
                <c:pt idx="28814">
                  <c:v>36546</c:v>
                </c:pt>
                <c:pt idx="28815">
                  <c:v>36546</c:v>
                </c:pt>
                <c:pt idx="28816">
                  <c:v>36546</c:v>
                </c:pt>
                <c:pt idx="28817">
                  <c:v>36546</c:v>
                </c:pt>
                <c:pt idx="28818">
                  <c:v>36545</c:v>
                </c:pt>
                <c:pt idx="28819">
                  <c:v>36545</c:v>
                </c:pt>
                <c:pt idx="28820">
                  <c:v>36545</c:v>
                </c:pt>
                <c:pt idx="28821">
                  <c:v>36545</c:v>
                </c:pt>
                <c:pt idx="28822">
                  <c:v>36545</c:v>
                </c:pt>
                <c:pt idx="28823">
                  <c:v>36545</c:v>
                </c:pt>
                <c:pt idx="28824">
                  <c:v>36544</c:v>
                </c:pt>
                <c:pt idx="28825">
                  <c:v>36544</c:v>
                </c:pt>
                <c:pt idx="28826">
                  <c:v>36543</c:v>
                </c:pt>
                <c:pt idx="28827">
                  <c:v>36543</c:v>
                </c:pt>
                <c:pt idx="28828">
                  <c:v>36543</c:v>
                </c:pt>
                <c:pt idx="28829">
                  <c:v>36543</c:v>
                </c:pt>
                <c:pt idx="28830">
                  <c:v>36542</c:v>
                </c:pt>
                <c:pt idx="28831">
                  <c:v>36542</c:v>
                </c:pt>
                <c:pt idx="28832">
                  <c:v>36542</c:v>
                </c:pt>
                <c:pt idx="28833">
                  <c:v>36542</c:v>
                </c:pt>
                <c:pt idx="28834">
                  <c:v>36542</c:v>
                </c:pt>
                <c:pt idx="28835">
                  <c:v>36542</c:v>
                </c:pt>
                <c:pt idx="28836">
                  <c:v>36542</c:v>
                </c:pt>
                <c:pt idx="28837">
                  <c:v>36542</c:v>
                </c:pt>
                <c:pt idx="28838">
                  <c:v>36542</c:v>
                </c:pt>
                <c:pt idx="28839">
                  <c:v>36541</c:v>
                </c:pt>
                <c:pt idx="28840">
                  <c:v>36541</c:v>
                </c:pt>
                <c:pt idx="28841">
                  <c:v>36541</c:v>
                </c:pt>
                <c:pt idx="28842">
                  <c:v>36541</c:v>
                </c:pt>
                <c:pt idx="28843">
                  <c:v>36540</c:v>
                </c:pt>
                <c:pt idx="28844">
                  <c:v>36539</c:v>
                </c:pt>
                <c:pt idx="28845">
                  <c:v>36539</c:v>
                </c:pt>
                <c:pt idx="28846">
                  <c:v>36538</c:v>
                </c:pt>
                <c:pt idx="28847">
                  <c:v>36538</c:v>
                </c:pt>
                <c:pt idx="28848">
                  <c:v>36538</c:v>
                </c:pt>
                <c:pt idx="28849">
                  <c:v>36538</c:v>
                </c:pt>
                <c:pt idx="28850">
                  <c:v>36537</c:v>
                </c:pt>
                <c:pt idx="28851">
                  <c:v>36537</c:v>
                </c:pt>
                <c:pt idx="28852">
                  <c:v>36537</c:v>
                </c:pt>
                <c:pt idx="28853">
                  <c:v>36537</c:v>
                </c:pt>
                <c:pt idx="28854">
                  <c:v>36536</c:v>
                </c:pt>
                <c:pt idx="28855">
                  <c:v>36536</c:v>
                </c:pt>
                <c:pt idx="28856">
                  <c:v>36536</c:v>
                </c:pt>
                <c:pt idx="28857">
                  <c:v>36536</c:v>
                </c:pt>
                <c:pt idx="28858">
                  <c:v>36536</c:v>
                </c:pt>
                <c:pt idx="28859">
                  <c:v>36536</c:v>
                </c:pt>
                <c:pt idx="28860">
                  <c:v>36535</c:v>
                </c:pt>
                <c:pt idx="28861">
                  <c:v>36535</c:v>
                </c:pt>
                <c:pt idx="28862">
                  <c:v>36535</c:v>
                </c:pt>
                <c:pt idx="28863">
                  <c:v>36535</c:v>
                </c:pt>
                <c:pt idx="28864">
                  <c:v>36534</c:v>
                </c:pt>
                <c:pt idx="28865">
                  <c:v>36534</c:v>
                </c:pt>
                <c:pt idx="28866">
                  <c:v>36534</c:v>
                </c:pt>
                <c:pt idx="28867">
                  <c:v>36533</c:v>
                </c:pt>
                <c:pt idx="28868">
                  <c:v>36533</c:v>
                </c:pt>
                <c:pt idx="28869">
                  <c:v>36532</c:v>
                </c:pt>
                <c:pt idx="28870">
                  <c:v>36532</c:v>
                </c:pt>
                <c:pt idx="28871">
                  <c:v>36532</c:v>
                </c:pt>
                <c:pt idx="28872">
                  <c:v>36531</c:v>
                </c:pt>
                <c:pt idx="28873">
                  <c:v>36531</c:v>
                </c:pt>
                <c:pt idx="28874">
                  <c:v>36531</c:v>
                </c:pt>
                <c:pt idx="28875">
                  <c:v>36530</c:v>
                </c:pt>
                <c:pt idx="28876">
                  <c:v>36530</c:v>
                </c:pt>
                <c:pt idx="28877">
                  <c:v>36530</c:v>
                </c:pt>
                <c:pt idx="28878">
                  <c:v>36529</c:v>
                </c:pt>
                <c:pt idx="28879">
                  <c:v>36529</c:v>
                </c:pt>
                <c:pt idx="28880">
                  <c:v>36529</c:v>
                </c:pt>
                <c:pt idx="28881">
                  <c:v>36529</c:v>
                </c:pt>
                <c:pt idx="28882">
                  <c:v>36529</c:v>
                </c:pt>
                <c:pt idx="28883">
                  <c:v>36529</c:v>
                </c:pt>
                <c:pt idx="28884">
                  <c:v>36529</c:v>
                </c:pt>
                <c:pt idx="28885">
                  <c:v>36528</c:v>
                </c:pt>
                <c:pt idx="28886">
                  <c:v>36528</c:v>
                </c:pt>
                <c:pt idx="28887">
                  <c:v>36528</c:v>
                </c:pt>
                <c:pt idx="28888">
                  <c:v>36528</c:v>
                </c:pt>
                <c:pt idx="28889">
                  <c:v>36528</c:v>
                </c:pt>
                <c:pt idx="28890">
                  <c:v>36527</c:v>
                </c:pt>
                <c:pt idx="28891">
                  <c:v>36527</c:v>
                </c:pt>
                <c:pt idx="28892">
                  <c:v>36527</c:v>
                </c:pt>
                <c:pt idx="28893">
                  <c:v>36527</c:v>
                </c:pt>
                <c:pt idx="28894">
                  <c:v>36526</c:v>
                </c:pt>
                <c:pt idx="28895">
                  <c:v>36526</c:v>
                </c:pt>
                <c:pt idx="28896">
                  <c:v>36526</c:v>
                </c:pt>
                <c:pt idx="28897">
                  <c:v>36526</c:v>
                </c:pt>
                <c:pt idx="28898">
                  <c:v>36525</c:v>
                </c:pt>
                <c:pt idx="28899">
                  <c:v>36525</c:v>
                </c:pt>
                <c:pt idx="28900">
                  <c:v>36525</c:v>
                </c:pt>
                <c:pt idx="28901">
                  <c:v>36525</c:v>
                </c:pt>
                <c:pt idx="28902">
                  <c:v>36524</c:v>
                </c:pt>
                <c:pt idx="28903">
                  <c:v>36524</c:v>
                </c:pt>
                <c:pt idx="28904">
                  <c:v>36524</c:v>
                </c:pt>
                <c:pt idx="28905">
                  <c:v>36524</c:v>
                </c:pt>
                <c:pt idx="28906">
                  <c:v>36523</c:v>
                </c:pt>
                <c:pt idx="28907">
                  <c:v>36523</c:v>
                </c:pt>
                <c:pt idx="28908">
                  <c:v>36522</c:v>
                </c:pt>
                <c:pt idx="28909">
                  <c:v>36522</c:v>
                </c:pt>
                <c:pt idx="28910">
                  <c:v>36522</c:v>
                </c:pt>
                <c:pt idx="28911">
                  <c:v>36522</c:v>
                </c:pt>
                <c:pt idx="28912">
                  <c:v>36521</c:v>
                </c:pt>
                <c:pt idx="28913">
                  <c:v>36521</c:v>
                </c:pt>
                <c:pt idx="28914">
                  <c:v>36520</c:v>
                </c:pt>
                <c:pt idx="28915">
                  <c:v>36520</c:v>
                </c:pt>
                <c:pt idx="28916">
                  <c:v>36520</c:v>
                </c:pt>
                <c:pt idx="28917">
                  <c:v>36519</c:v>
                </c:pt>
                <c:pt idx="28918">
                  <c:v>36519</c:v>
                </c:pt>
                <c:pt idx="28919">
                  <c:v>36519</c:v>
                </c:pt>
                <c:pt idx="28920">
                  <c:v>36519</c:v>
                </c:pt>
                <c:pt idx="28921">
                  <c:v>36519</c:v>
                </c:pt>
                <c:pt idx="28922">
                  <c:v>36519</c:v>
                </c:pt>
                <c:pt idx="28923">
                  <c:v>36518</c:v>
                </c:pt>
                <c:pt idx="28924">
                  <c:v>36517</c:v>
                </c:pt>
                <c:pt idx="28925">
                  <c:v>36517</c:v>
                </c:pt>
                <c:pt idx="28926">
                  <c:v>36517</c:v>
                </c:pt>
                <c:pt idx="28927">
                  <c:v>36517</c:v>
                </c:pt>
                <c:pt idx="28928">
                  <c:v>36516</c:v>
                </c:pt>
                <c:pt idx="28929">
                  <c:v>36516</c:v>
                </c:pt>
                <c:pt idx="28930">
                  <c:v>36516</c:v>
                </c:pt>
                <c:pt idx="28931">
                  <c:v>36516</c:v>
                </c:pt>
                <c:pt idx="28932">
                  <c:v>36516</c:v>
                </c:pt>
                <c:pt idx="28933">
                  <c:v>36516</c:v>
                </c:pt>
                <c:pt idx="28934">
                  <c:v>36515</c:v>
                </c:pt>
                <c:pt idx="28935">
                  <c:v>36515</c:v>
                </c:pt>
                <c:pt idx="28936">
                  <c:v>36514</c:v>
                </c:pt>
                <c:pt idx="28937">
                  <c:v>36513</c:v>
                </c:pt>
                <c:pt idx="28938">
                  <c:v>36513</c:v>
                </c:pt>
                <c:pt idx="28939">
                  <c:v>36512</c:v>
                </c:pt>
                <c:pt idx="28940">
                  <c:v>36511</c:v>
                </c:pt>
                <c:pt idx="28941">
                  <c:v>36511</c:v>
                </c:pt>
                <c:pt idx="28942">
                  <c:v>36511</c:v>
                </c:pt>
                <c:pt idx="28943">
                  <c:v>36510</c:v>
                </c:pt>
                <c:pt idx="28944">
                  <c:v>36510</c:v>
                </c:pt>
                <c:pt idx="28945">
                  <c:v>36510</c:v>
                </c:pt>
                <c:pt idx="28946">
                  <c:v>36509</c:v>
                </c:pt>
                <c:pt idx="28947">
                  <c:v>36509</c:v>
                </c:pt>
                <c:pt idx="28948">
                  <c:v>36509</c:v>
                </c:pt>
                <c:pt idx="28949">
                  <c:v>36509</c:v>
                </c:pt>
                <c:pt idx="28950">
                  <c:v>36509</c:v>
                </c:pt>
                <c:pt idx="28951">
                  <c:v>36509</c:v>
                </c:pt>
                <c:pt idx="28952">
                  <c:v>36509</c:v>
                </c:pt>
                <c:pt idx="28953">
                  <c:v>36508</c:v>
                </c:pt>
                <c:pt idx="28954">
                  <c:v>36506</c:v>
                </c:pt>
                <c:pt idx="28955">
                  <c:v>36506</c:v>
                </c:pt>
                <c:pt idx="28956">
                  <c:v>36506</c:v>
                </c:pt>
                <c:pt idx="28957">
                  <c:v>36505</c:v>
                </c:pt>
                <c:pt idx="28958">
                  <c:v>36505</c:v>
                </c:pt>
                <c:pt idx="28959">
                  <c:v>36505</c:v>
                </c:pt>
                <c:pt idx="28960">
                  <c:v>36505</c:v>
                </c:pt>
                <c:pt idx="28961">
                  <c:v>36505</c:v>
                </c:pt>
                <c:pt idx="28962">
                  <c:v>36505</c:v>
                </c:pt>
                <c:pt idx="28963">
                  <c:v>36505</c:v>
                </c:pt>
                <c:pt idx="28964">
                  <c:v>36504</c:v>
                </c:pt>
                <c:pt idx="28965">
                  <c:v>36504</c:v>
                </c:pt>
                <c:pt idx="28966">
                  <c:v>36504</c:v>
                </c:pt>
                <c:pt idx="28967">
                  <c:v>36504</c:v>
                </c:pt>
                <c:pt idx="28968">
                  <c:v>36504</c:v>
                </c:pt>
                <c:pt idx="28969">
                  <c:v>36504</c:v>
                </c:pt>
                <c:pt idx="28970">
                  <c:v>36502</c:v>
                </c:pt>
                <c:pt idx="28971">
                  <c:v>36501</c:v>
                </c:pt>
                <c:pt idx="28972">
                  <c:v>36501</c:v>
                </c:pt>
                <c:pt idx="28973">
                  <c:v>36500</c:v>
                </c:pt>
                <c:pt idx="28974">
                  <c:v>36500</c:v>
                </c:pt>
                <c:pt idx="28975">
                  <c:v>36499</c:v>
                </c:pt>
                <c:pt idx="28976">
                  <c:v>36499</c:v>
                </c:pt>
                <c:pt idx="28977">
                  <c:v>36499</c:v>
                </c:pt>
                <c:pt idx="28978">
                  <c:v>36499</c:v>
                </c:pt>
                <c:pt idx="28979">
                  <c:v>36498</c:v>
                </c:pt>
                <c:pt idx="28980">
                  <c:v>36498</c:v>
                </c:pt>
                <c:pt idx="28981">
                  <c:v>36497</c:v>
                </c:pt>
                <c:pt idx="28982">
                  <c:v>36497</c:v>
                </c:pt>
                <c:pt idx="28983">
                  <c:v>36496</c:v>
                </c:pt>
                <c:pt idx="28984">
                  <c:v>36495</c:v>
                </c:pt>
                <c:pt idx="28985">
                  <c:v>36495</c:v>
                </c:pt>
                <c:pt idx="28986">
                  <c:v>36495</c:v>
                </c:pt>
                <c:pt idx="28987">
                  <c:v>36495</c:v>
                </c:pt>
                <c:pt idx="28988">
                  <c:v>36494</c:v>
                </c:pt>
                <c:pt idx="28989">
                  <c:v>36494</c:v>
                </c:pt>
                <c:pt idx="28990">
                  <c:v>36493</c:v>
                </c:pt>
                <c:pt idx="28991">
                  <c:v>36493</c:v>
                </c:pt>
                <c:pt idx="28992">
                  <c:v>36493</c:v>
                </c:pt>
                <c:pt idx="28993">
                  <c:v>36492</c:v>
                </c:pt>
                <c:pt idx="28994">
                  <c:v>36492</c:v>
                </c:pt>
                <c:pt idx="28995">
                  <c:v>36491</c:v>
                </c:pt>
                <c:pt idx="28996">
                  <c:v>36491</c:v>
                </c:pt>
                <c:pt idx="28997">
                  <c:v>36491</c:v>
                </c:pt>
                <c:pt idx="28998">
                  <c:v>36491</c:v>
                </c:pt>
                <c:pt idx="28999">
                  <c:v>36491</c:v>
                </c:pt>
                <c:pt idx="29000">
                  <c:v>36491</c:v>
                </c:pt>
                <c:pt idx="29001">
                  <c:v>36490</c:v>
                </c:pt>
                <c:pt idx="29002">
                  <c:v>36490</c:v>
                </c:pt>
                <c:pt idx="29003">
                  <c:v>36490</c:v>
                </c:pt>
                <c:pt idx="29004">
                  <c:v>36490</c:v>
                </c:pt>
                <c:pt idx="29005">
                  <c:v>36489</c:v>
                </c:pt>
                <c:pt idx="29006">
                  <c:v>36489</c:v>
                </c:pt>
                <c:pt idx="29007">
                  <c:v>36489</c:v>
                </c:pt>
                <c:pt idx="29008">
                  <c:v>36489</c:v>
                </c:pt>
                <c:pt idx="29009">
                  <c:v>36489</c:v>
                </c:pt>
                <c:pt idx="29010">
                  <c:v>36489</c:v>
                </c:pt>
                <c:pt idx="29011">
                  <c:v>36489</c:v>
                </c:pt>
                <c:pt idx="29012">
                  <c:v>36488</c:v>
                </c:pt>
                <c:pt idx="29013">
                  <c:v>36488</c:v>
                </c:pt>
                <c:pt idx="29014">
                  <c:v>36487</c:v>
                </c:pt>
                <c:pt idx="29015">
                  <c:v>36487</c:v>
                </c:pt>
                <c:pt idx="29016">
                  <c:v>36486</c:v>
                </c:pt>
                <c:pt idx="29017">
                  <c:v>36486</c:v>
                </c:pt>
                <c:pt idx="29018">
                  <c:v>36485</c:v>
                </c:pt>
                <c:pt idx="29019">
                  <c:v>36484</c:v>
                </c:pt>
                <c:pt idx="29020">
                  <c:v>36484</c:v>
                </c:pt>
                <c:pt idx="29021">
                  <c:v>36484</c:v>
                </c:pt>
                <c:pt idx="29022">
                  <c:v>36484</c:v>
                </c:pt>
                <c:pt idx="29023">
                  <c:v>36484</c:v>
                </c:pt>
                <c:pt idx="29024">
                  <c:v>36482</c:v>
                </c:pt>
                <c:pt idx="29025">
                  <c:v>36482</c:v>
                </c:pt>
                <c:pt idx="29026">
                  <c:v>36482</c:v>
                </c:pt>
                <c:pt idx="29027">
                  <c:v>36482</c:v>
                </c:pt>
                <c:pt idx="29028">
                  <c:v>36482</c:v>
                </c:pt>
                <c:pt idx="29029">
                  <c:v>36482</c:v>
                </c:pt>
                <c:pt idx="29030">
                  <c:v>36481</c:v>
                </c:pt>
                <c:pt idx="29031">
                  <c:v>36480</c:v>
                </c:pt>
                <c:pt idx="29032">
                  <c:v>36480</c:v>
                </c:pt>
                <c:pt idx="29033">
                  <c:v>36480</c:v>
                </c:pt>
                <c:pt idx="29034">
                  <c:v>36480</c:v>
                </c:pt>
                <c:pt idx="29035">
                  <c:v>36480</c:v>
                </c:pt>
                <c:pt idx="29036">
                  <c:v>36480</c:v>
                </c:pt>
                <c:pt idx="29037">
                  <c:v>36480</c:v>
                </c:pt>
                <c:pt idx="29038">
                  <c:v>36479</c:v>
                </c:pt>
                <c:pt idx="29039">
                  <c:v>36479</c:v>
                </c:pt>
                <c:pt idx="29040">
                  <c:v>36479</c:v>
                </c:pt>
                <c:pt idx="29041">
                  <c:v>36479</c:v>
                </c:pt>
                <c:pt idx="29042">
                  <c:v>36479</c:v>
                </c:pt>
                <c:pt idx="29043">
                  <c:v>36478</c:v>
                </c:pt>
                <c:pt idx="29044">
                  <c:v>36478</c:v>
                </c:pt>
                <c:pt idx="29045">
                  <c:v>36478</c:v>
                </c:pt>
                <c:pt idx="29046">
                  <c:v>36478</c:v>
                </c:pt>
                <c:pt idx="29047">
                  <c:v>36478</c:v>
                </c:pt>
                <c:pt idx="29048">
                  <c:v>36478</c:v>
                </c:pt>
                <c:pt idx="29049">
                  <c:v>36478</c:v>
                </c:pt>
                <c:pt idx="29050">
                  <c:v>36477</c:v>
                </c:pt>
                <c:pt idx="29051">
                  <c:v>36476</c:v>
                </c:pt>
                <c:pt idx="29052">
                  <c:v>36475</c:v>
                </c:pt>
                <c:pt idx="29053">
                  <c:v>36474</c:v>
                </c:pt>
                <c:pt idx="29054">
                  <c:v>36473</c:v>
                </c:pt>
                <c:pt idx="29055">
                  <c:v>36473</c:v>
                </c:pt>
                <c:pt idx="29056">
                  <c:v>36473</c:v>
                </c:pt>
                <c:pt idx="29057">
                  <c:v>36473</c:v>
                </c:pt>
                <c:pt idx="29058">
                  <c:v>36473</c:v>
                </c:pt>
                <c:pt idx="29059">
                  <c:v>36471</c:v>
                </c:pt>
                <c:pt idx="29060">
                  <c:v>36471</c:v>
                </c:pt>
                <c:pt idx="29061">
                  <c:v>36471</c:v>
                </c:pt>
                <c:pt idx="29062">
                  <c:v>36471</c:v>
                </c:pt>
                <c:pt idx="29063">
                  <c:v>36470</c:v>
                </c:pt>
                <c:pt idx="29064">
                  <c:v>36470</c:v>
                </c:pt>
                <c:pt idx="29065">
                  <c:v>36470</c:v>
                </c:pt>
                <c:pt idx="29066">
                  <c:v>36470</c:v>
                </c:pt>
                <c:pt idx="29067">
                  <c:v>36469</c:v>
                </c:pt>
                <c:pt idx="29068">
                  <c:v>36469</c:v>
                </c:pt>
                <c:pt idx="29069">
                  <c:v>36468</c:v>
                </c:pt>
                <c:pt idx="29070">
                  <c:v>36467</c:v>
                </c:pt>
                <c:pt idx="29071">
                  <c:v>36467</c:v>
                </c:pt>
                <c:pt idx="29072">
                  <c:v>36467</c:v>
                </c:pt>
                <c:pt idx="29073">
                  <c:v>36466</c:v>
                </c:pt>
                <c:pt idx="29074">
                  <c:v>36466</c:v>
                </c:pt>
                <c:pt idx="29075">
                  <c:v>36466</c:v>
                </c:pt>
                <c:pt idx="29076">
                  <c:v>36466</c:v>
                </c:pt>
                <c:pt idx="29077">
                  <c:v>36466</c:v>
                </c:pt>
                <c:pt idx="29078">
                  <c:v>36464</c:v>
                </c:pt>
                <c:pt idx="29079">
                  <c:v>36464</c:v>
                </c:pt>
                <c:pt idx="29080">
                  <c:v>36464</c:v>
                </c:pt>
                <c:pt idx="29081">
                  <c:v>36464</c:v>
                </c:pt>
                <c:pt idx="29082">
                  <c:v>36464</c:v>
                </c:pt>
                <c:pt idx="29083">
                  <c:v>36464</c:v>
                </c:pt>
                <c:pt idx="29084">
                  <c:v>36464</c:v>
                </c:pt>
                <c:pt idx="29085">
                  <c:v>36463</c:v>
                </c:pt>
                <c:pt idx="29086">
                  <c:v>36463</c:v>
                </c:pt>
                <c:pt idx="29087">
                  <c:v>36463</c:v>
                </c:pt>
                <c:pt idx="29088">
                  <c:v>36463</c:v>
                </c:pt>
                <c:pt idx="29089">
                  <c:v>36462</c:v>
                </c:pt>
                <c:pt idx="29090">
                  <c:v>36462</c:v>
                </c:pt>
                <c:pt idx="29091">
                  <c:v>36462</c:v>
                </c:pt>
                <c:pt idx="29092">
                  <c:v>36461</c:v>
                </c:pt>
                <c:pt idx="29093">
                  <c:v>36460</c:v>
                </c:pt>
                <c:pt idx="29094">
                  <c:v>36460</c:v>
                </c:pt>
                <c:pt idx="29095">
                  <c:v>36459</c:v>
                </c:pt>
                <c:pt idx="29096">
                  <c:v>36459</c:v>
                </c:pt>
                <c:pt idx="29097">
                  <c:v>36459</c:v>
                </c:pt>
                <c:pt idx="29098">
                  <c:v>36459</c:v>
                </c:pt>
                <c:pt idx="29099">
                  <c:v>36458</c:v>
                </c:pt>
                <c:pt idx="29100">
                  <c:v>36458</c:v>
                </c:pt>
                <c:pt idx="29101">
                  <c:v>36458</c:v>
                </c:pt>
                <c:pt idx="29102">
                  <c:v>36458</c:v>
                </c:pt>
                <c:pt idx="29103">
                  <c:v>36458</c:v>
                </c:pt>
                <c:pt idx="29104">
                  <c:v>36457</c:v>
                </c:pt>
                <c:pt idx="29105">
                  <c:v>36457</c:v>
                </c:pt>
                <c:pt idx="29106">
                  <c:v>36457</c:v>
                </c:pt>
                <c:pt idx="29107">
                  <c:v>36457</c:v>
                </c:pt>
                <c:pt idx="29108">
                  <c:v>36457</c:v>
                </c:pt>
                <c:pt idx="29109">
                  <c:v>36457</c:v>
                </c:pt>
                <c:pt idx="29110">
                  <c:v>36456</c:v>
                </c:pt>
                <c:pt idx="29111">
                  <c:v>36456</c:v>
                </c:pt>
                <c:pt idx="29112">
                  <c:v>36456</c:v>
                </c:pt>
                <c:pt idx="29113">
                  <c:v>36455</c:v>
                </c:pt>
                <c:pt idx="29114">
                  <c:v>36454</c:v>
                </c:pt>
                <c:pt idx="29115">
                  <c:v>36454</c:v>
                </c:pt>
                <c:pt idx="29116">
                  <c:v>36453</c:v>
                </c:pt>
                <c:pt idx="29117">
                  <c:v>36453</c:v>
                </c:pt>
                <c:pt idx="29118">
                  <c:v>36452</c:v>
                </c:pt>
                <c:pt idx="29119">
                  <c:v>36452</c:v>
                </c:pt>
                <c:pt idx="29120">
                  <c:v>36452</c:v>
                </c:pt>
                <c:pt idx="29121">
                  <c:v>36452</c:v>
                </c:pt>
                <c:pt idx="29122">
                  <c:v>36450</c:v>
                </c:pt>
                <c:pt idx="29123">
                  <c:v>36450</c:v>
                </c:pt>
                <c:pt idx="29124">
                  <c:v>36449</c:v>
                </c:pt>
                <c:pt idx="29125">
                  <c:v>36448</c:v>
                </c:pt>
                <c:pt idx="29126">
                  <c:v>36448</c:v>
                </c:pt>
                <c:pt idx="29127">
                  <c:v>36448</c:v>
                </c:pt>
                <c:pt idx="29128">
                  <c:v>36448</c:v>
                </c:pt>
                <c:pt idx="29129">
                  <c:v>36447</c:v>
                </c:pt>
                <c:pt idx="29130">
                  <c:v>36447</c:v>
                </c:pt>
                <c:pt idx="29131">
                  <c:v>36447</c:v>
                </c:pt>
                <c:pt idx="29132">
                  <c:v>36447</c:v>
                </c:pt>
                <c:pt idx="29133">
                  <c:v>36446</c:v>
                </c:pt>
                <c:pt idx="29134">
                  <c:v>36446</c:v>
                </c:pt>
                <c:pt idx="29135">
                  <c:v>36446</c:v>
                </c:pt>
                <c:pt idx="29136">
                  <c:v>36445</c:v>
                </c:pt>
                <c:pt idx="29137">
                  <c:v>36445</c:v>
                </c:pt>
                <c:pt idx="29138">
                  <c:v>36445</c:v>
                </c:pt>
                <c:pt idx="29139">
                  <c:v>36444</c:v>
                </c:pt>
                <c:pt idx="29140">
                  <c:v>36444</c:v>
                </c:pt>
                <c:pt idx="29141">
                  <c:v>36444</c:v>
                </c:pt>
                <c:pt idx="29142">
                  <c:v>36444</c:v>
                </c:pt>
                <c:pt idx="29143">
                  <c:v>36443</c:v>
                </c:pt>
                <c:pt idx="29144">
                  <c:v>36443</c:v>
                </c:pt>
                <c:pt idx="29145">
                  <c:v>36443</c:v>
                </c:pt>
                <c:pt idx="29146">
                  <c:v>36443</c:v>
                </c:pt>
                <c:pt idx="29147">
                  <c:v>36442</c:v>
                </c:pt>
                <c:pt idx="29148">
                  <c:v>36442</c:v>
                </c:pt>
                <c:pt idx="29149">
                  <c:v>36442</c:v>
                </c:pt>
                <c:pt idx="29150">
                  <c:v>36441</c:v>
                </c:pt>
                <c:pt idx="29151">
                  <c:v>36441</c:v>
                </c:pt>
                <c:pt idx="29152">
                  <c:v>36441</c:v>
                </c:pt>
                <c:pt idx="29153">
                  <c:v>36441</c:v>
                </c:pt>
                <c:pt idx="29154">
                  <c:v>36440</c:v>
                </c:pt>
                <c:pt idx="29155">
                  <c:v>36440</c:v>
                </c:pt>
                <c:pt idx="29156">
                  <c:v>36440</c:v>
                </c:pt>
                <c:pt idx="29157">
                  <c:v>36439</c:v>
                </c:pt>
                <c:pt idx="29158">
                  <c:v>36439</c:v>
                </c:pt>
                <c:pt idx="29159">
                  <c:v>36438</c:v>
                </c:pt>
                <c:pt idx="29160">
                  <c:v>36438</c:v>
                </c:pt>
                <c:pt idx="29161">
                  <c:v>36438</c:v>
                </c:pt>
                <c:pt idx="29162">
                  <c:v>36438</c:v>
                </c:pt>
                <c:pt idx="29163">
                  <c:v>36437</c:v>
                </c:pt>
                <c:pt idx="29164">
                  <c:v>36437</c:v>
                </c:pt>
                <c:pt idx="29165">
                  <c:v>36436</c:v>
                </c:pt>
                <c:pt idx="29166">
                  <c:v>36436</c:v>
                </c:pt>
                <c:pt idx="29167">
                  <c:v>36435</c:v>
                </c:pt>
                <c:pt idx="29168">
                  <c:v>36435</c:v>
                </c:pt>
                <c:pt idx="29169">
                  <c:v>36434</c:v>
                </c:pt>
                <c:pt idx="29170">
                  <c:v>36433</c:v>
                </c:pt>
                <c:pt idx="29171">
                  <c:v>36433</c:v>
                </c:pt>
                <c:pt idx="29172">
                  <c:v>36432</c:v>
                </c:pt>
                <c:pt idx="29173">
                  <c:v>36432</c:v>
                </c:pt>
                <c:pt idx="29174">
                  <c:v>36432</c:v>
                </c:pt>
                <c:pt idx="29175">
                  <c:v>36431</c:v>
                </c:pt>
                <c:pt idx="29176">
                  <c:v>36431</c:v>
                </c:pt>
                <c:pt idx="29177">
                  <c:v>36430</c:v>
                </c:pt>
                <c:pt idx="29178">
                  <c:v>36430</c:v>
                </c:pt>
                <c:pt idx="29179">
                  <c:v>36430</c:v>
                </c:pt>
                <c:pt idx="29180">
                  <c:v>36430</c:v>
                </c:pt>
                <c:pt idx="29181">
                  <c:v>36430</c:v>
                </c:pt>
                <c:pt idx="29182">
                  <c:v>36430</c:v>
                </c:pt>
                <c:pt idx="29183">
                  <c:v>36429</c:v>
                </c:pt>
                <c:pt idx="29184">
                  <c:v>36429</c:v>
                </c:pt>
                <c:pt idx="29185">
                  <c:v>36428</c:v>
                </c:pt>
                <c:pt idx="29186">
                  <c:v>36428</c:v>
                </c:pt>
                <c:pt idx="29187">
                  <c:v>36428</c:v>
                </c:pt>
                <c:pt idx="29188">
                  <c:v>36427</c:v>
                </c:pt>
                <c:pt idx="29189">
                  <c:v>36427</c:v>
                </c:pt>
                <c:pt idx="29190">
                  <c:v>36427</c:v>
                </c:pt>
                <c:pt idx="29191">
                  <c:v>36427</c:v>
                </c:pt>
                <c:pt idx="29192">
                  <c:v>36427</c:v>
                </c:pt>
                <c:pt idx="29193">
                  <c:v>36427</c:v>
                </c:pt>
                <c:pt idx="29194">
                  <c:v>36426</c:v>
                </c:pt>
                <c:pt idx="29195">
                  <c:v>36426</c:v>
                </c:pt>
                <c:pt idx="29196">
                  <c:v>36426</c:v>
                </c:pt>
                <c:pt idx="29197">
                  <c:v>36425</c:v>
                </c:pt>
                <c:pt idx="29198">
                  <c:v>36425</c:v>
                </c:pt>
                <c:pt idx="29199">
                  <c:v>36425</c:v>
                </c:pt>
                <c:pt idx="29200">
                  <c:v>36425</c:v>
                </c:pt>
                <c:pt idx="29201">
                  <c:v>36425</c:v>
                </c:pt>
                <c:pt idx="29202">
                  <c:v>36424</c:v>
                </c:pt>
                <c:pt idx="29203">
                  <c:v>36424</c:v>
                </c:pt>
                <c:pt idx="29204">
                  <c:v>36423</c:v>
                </c:pt>
                <c:pt idx="29205">
                  <c:v>36423</c:v>
                </c:pt>
                <c:pt idx="29206">
                  <c:v>36422</c:v>
                </c:pt>
                <c:pt idx="29207">
                  <c:v>36422</c:v>
                </c:pt>
                <c:pt idx="29208">
                  <c:v>36422</c:v>
                </c:pt>
                <c:pt idx="29209">
                  <c:v>36422</c:v>
                </c:pt>
                <c:pt idx="29210">
                  <c:v>36422</c:v>
                </c:pt>
                <c:pt idx="29211">
                  <c:v>36421</c:v>
                </c:pt>
                <c:pt idx="29212">
                  <c:v>36421</c:v>
                </c:pt>
                <c:pt idx="29213">
                  <c:v>36421</c:v>
                </c:pt>
                <c:pt idx="29214">
                  <c:v>36421</c:v>
                </c:pt>
                <c:pt idx="29215">
                  <c:v>36421</c:v>
                </c:pt>
                <c:pt idx="29216">
                  <c:v>36421</c:v>
                </c:pt>
                <c:pt idx="29217">
                  <c:v>36420</c:v>
                </c:pt>
                <c:pt idx="29218">
                  <c:v>36420</c:v>
                </c:pt>
                <c:pt idx="29219">
                  <c:v>36420</c:v>
                </c:pt>
                <c:pt idx="29220">
                  <c:v>36420</c:v>
                </c:pt>
                <c:pt idx="29221">
                  <c:v>36420</c:v>
                </c:pt>
                <c:pt idx="29222">
                  <c:v>36419</c:v>
                </c:pt>
                <c:pt idx="29223">
                  <c:v>36419</c:v>
                </c:pt>
                <c:pt idx="29224">
                  <c:v>36419</c:v>
                </c:pt>
                <c:pt idx="29225">
                  <c:v>36419</c:v>
                </c:pt>
                <c:pt idx="29226">
                  <c:v>36419</c:v>
                </c:pt>
                <c:pt idx="29227">
                  <c:v>36418</c:v>
                </c:pt>
                <c:pt idx="29228">
                  <c:v>36418</c:v>
                </c:pt>
                <c:pt idx="29229">
                  <c:v>36417</c:v>
                </c:pt>
                <c:pt idx="29230">
                  <c:v>36417</c:v>
                </c:pt>
                <c:pt idx="29231">
                  <c:v>36416</c:v>
                </c:pt>
                <c:pt idx="29232">
                  <c:v>36415</c:v>
                </c:pt>
                <c:pt idx="29233">
                  <c:v>36415</c:v>
                </c:pt>
                <c:pt idx="29234">
                  <c:v>36415</c:v>
                </c:pt>
                <c:pt idx="29235">
                  <c:v>36415</c:v>
                </c:pt>
                <c:pt idx="29236">
                  <c:v>36414</c:v>
                </c:pt>
                <c:pt idx="29237">
                  <c:v>36414</c:v>
                </c:pt>
                <c:pt idx="29238">
                  <c:v>36414</c:v>
                </c:pt>
                <c:pt idx="29239">
                  <c:v>36414</c:v>
                </c:pt>
                <c:pt idx="29240">
                  <c:v>36413</c:v>
                </c:pt>
                <c:pt idx="29241">
                  <c:v>36413</c:v>
                </c:pt>
                <c:pt idx="29242">
                  <c:v>36413</c:v>
                </c:pt>
                <c:pt idx="29243">
                  <c:v>36413</c:v>
                </c:pt>
                <c:pt idx="29244">
                  <c:v>36413</c:v>
                </c:pt>
                <c:pt idx="29245">
                  <c:v>36413</c:v>
                </c:pt>
                <c:pt idx="29246">
                  <c:v>36413</c:v>
                </c:pt>
                <c:pt idx="29247">
                  <c:v>36413</c:v>
                </c:pt>
                <c:pt idx="29248">
                  <c:v>36413</c:v>
                </c:pt>
                <c:pt idx="29249">
                  <c:v>36412</c:v>
                </c:pt>
                <c:pt idx="29250">
                  <c:v>36412</c:v>
                </c:pt>
                <c:pt idx="29251">
                  <c:v>36411</c:v>
                </c:pt>
                <c:pt idx="29252">
                  <c:v>36411</c:v>
                </c:pt>
                <c:pt idx="29253">
                  <c:v>36411</c:v>
                </c:pt>
                <c:pt idx="29254">
                  <c:v>36410</c:v>
                </c:pt>
                <c:pt idx="29255">
                  <c:v>36409</c:v>
                </c:pt>
                <c:pt idx="29256">
                  <c:v>36409</c:v>
                </c:pt>
                <c:pt idx="29257">
                  <c:v>36409</c:v>
                </c:pt>
                <c:pt idx="29258">
                  <c:v>36409</c:v>
                </c:pt>
                <c:pt idx="29259">
                  <c:v>36409</c:v>
                </c:pt>
                <c:pt idx="29260">
                  <c:v>36409</c:v>
                </c:pt>
                <c:pt idx="29261">
                  <c:v>36408</c:v>
                </c:pt>
                <c:pt idx="29262">
                  <c:v>36408</c:v>
                </c:pt>
                <c:pt idx="29263">
                  <c:v>36408</c:v>
                </c:pt>
                <c:pt idx="29264">
                  <c:v>36408</c:v>
                </c:pt>
                <c:pt idx="29265">
                  <c:v>36408</c:v>
                </c:pt>
                <c:pt idx="29266">
                  <c:v>36408</c:v>
                </c:pt>
                <c:pt idx="29267">
                  <c:v>36407</c:v>
                </c:pt>
                <c:pt idx="29268">
                  <c:v>36407</c:v>
                </c:pt>
                <c:pt idx="29269">
                  <c:v>36406</c:v>
                </c:pt>
                <c:pt idx="29270">
                  <c:v>36406</c:v>
                </c:pt>
                <c:pt idx="29271">
                  <c:v>36406</c:v>
                </c:pt>
                <c:pt idx="29272">
                  <c:v>36404</c:v>
                </c:pt>
                <c:pt idx="29273">
                  <c:v>36404</c:v>
                </c:pt>
                <c:pt idx="29274">
                  <c:v>36404</c:v>
                </c:pt>
                <c:pt idx="29275">
                  <c:v>36404</c:v>
                </c:pt>
                <c:pt idx="29276">
                  <c:v>36403</c:v>
                </c:pt>
                <c:pt idx="29277">
                  <c:v>36403</c:v>
                </c:pt>
                <c:pt idx="29278">
                  <c:v>36403</c:v>
                </c:pt>
                <c:pt idx="29279">
                  <c:v>36403</c:v>
                </c:pt>
                <c:pt idx="29280">
                  <c:v>36403</c:v>
                </c:pt>
                <c:pt idx="29281">
                  <c:v>36402</c:v>
                </c:pt>
                <c:pt idx="29282">
                  <c:v>36402</c:v>
                </c:pt>
                <c:pt idx="29283">
                  <c:v>36401</c:v>
                </c:pt>
                <c:pt idx="29284">
                  <c:v>36401</c:v>
                </c:pt>
                <c:pt idx="29285">
                  <c:v>36399</c:v>
                </c:pt>
                <c:pt idx="29286">
                  <c:v>36399</c:v>
                </c:pt>
                <c:pt idx="29287">
                  <c:v>36399</c:v>
                </c:pt>
                <c:pt idx="29288">
                  <c:v>36398</c:v>
                </c:pt>
                <c:pt idx="29289">
                  <c:v>36398</c:v>
                </c:pt>
                <c:pt idx="29290">
                  <c:v>36398</c:v>
                </c:pt>
                <c:pt idx="29291">
                  <c:v>36398</c:v>
                </c:pt>
                <c:pt idx="29292">
                  <c:v>36397</c:v>
                </c:pt>
                <c:pt idx="29293">
                  <c:v>36397</c:v>
                </c:pt>
                <c:pt idx="29294">
                  <c:v>36397</c:v>
                </c:pt>
                <c:pt idx="29295">
                  <c:v>36396</c:v>
                </c:pt>
                <c:pt idx="29296">
                  <c:v>36396</c:v>
                </c:pt>
                <c:pt idx="29297">
                  <c:v>36395</c:v>
                </c:pt>
                <c:pt idx="29298">
                  <c:v>36394</c:v>
                </c:pt>
                <c:pt idx="29299">
                  <c:v>36394</c:v>
                </c:pt>
                <c:pt idx="29300">
                  <c:v>36394</c:v>
                </c:pt>
                <c:pt idx="29301">
                  <c:v>36394</c:v>
                </c:pt>
                <c:pt idx="29302">
                  <c:v>36393</c:v>
                </c:pt>
                <c:pt idx="29303">
                  <c:v>36393</c:v>
                </c:pt>
                <c:pt idx="29304">
                  <c:v>36393</c:v>
                </c:pt>
                <c:pt idx="29305">
                  <c:v>36393</c:v>
                </c:pt>
                <c:pt idx="29306">
                  <c:v>36393</c:v>
                </c:pt>
                <c:pt idx="29307">
                  <c:v>36393</c:v>
                </c:pt>
                <c:pt idx="29308">
                  <c:v>36393</c:v>
                </c:pt>
                <c:pt idx="29309">
                  <c:v>36393</c:v>
                </c:pt>
                <c:pt idx="29310">
                  <c:v>36392</c:v>
                </c:pt>
                <c:pt idx="29311">
                  <c:v>36392</c:v>
                </c:pt>
                <c:pt idx="29312">
                  <c:v>36392</c:v>
                </c:pt>
                <c:pt idx="29313">
                  <c:v>36391</c:v>
                </c:pt>
                <c:pt idx="29314">
                  <c:v>36391</c:v>
                </c:pt>
                <c:pt idx="29315">
                  <c:v>36391</c:v>
                </c:pt>
                <c:pt idx="29316">
                  <c:v>36391</c:v>
                </c:pt>
                <c:pt idx="29317">
                  <c:v>36390</c:v>
                </c:pt>
                <c:pt idx="29318">
                  <c:v>36390</c:v>
                </c:pt>
                <c:pt idx="29319">
                  <c:v>36390</c:v>
                </c:pt>
                <c:pt idx="29320">
                  <c:v>36390</c:v>
                </c:pt>
                <c:pt idx="29321">
                  <c:v>36390</c:v>
                </c:pt>
                <c:pt idx="29322">
                  <c:v>36390</c:v>
                </c:pt>
                <c:pt idx="29323">
                  <c:v>36390</c:v>
                </c:pt>
                <c:pt idx="29324">
                  <c:v>36389</c:v>
                </c:pt>
                <c:pt idx="29325">
                  <c:v>36389</c:v>
                </c:pt>
                <c:pt idx="29326">
                  <c:v>36388</c:v>
                </c:pt>
                <c:pt idx="29327">
                  <c:v>36388</c:v>
                </c:pt>
                <c:pt idx="29328">
                  <c:v>36388</c:v>
                </c:pt>
                <c:pt idx="29329">
                  <c:v>36387</c:v>
                </c:pt>
                <c:pt idx="29330">
                  <c:v>36387</c:v>
                </c:pt>
                <c:pt idx="29331">
                  <c:v>36387</c:v>
                </c:pt>
                <c:pt idx="29332">
                  <c:v>36386</c:v>
                </c:pt>
                <c:pt idx="29333">
                  <c:v>36386</c:v>
                </c:pt>
                <c:pt idx="29334">
                  <c:v>36386</c:v>
                </c:pt>
                <c:pt idx="29335">
                  <c:v>36385</c:v>
                </c:pt>
                <c:pt idx="29336">
                  <c:v>36385</c:v>
                </c:pt>
                <c:pt idx="29337">
                  <c:v>36384</c:v>
                </c:pt>
                <c:pt idx="29338">
                  <c:v>36384</c:v>
                </c:pt>
                <c:pt idx="29339">
                  <c:v>36384</c:v>
                </c:pt>
                <c:pt idx="29340">
                  <c:v>36384</c:v>
                </c:pt>
                <c:pt idx="29341">
                  <c:v>36383</c:v>
                </c:pt>
                <c:pt idx="29342">
                  <c:v>36383</c:v>
                </c:pt>
                <c:pt idx="29343">
                  <c:v>36383</c:v>
                </c:pt>
                <c:pt idx="29344">
                  <c:v>36383</c:v>
                </c:pt>
                <c:pt idx="29345">
                  <c:v>36383</c:v>
                </c:pt>
                <c:pt idx="29346">
                  <c:v>36382</c:v>
                </c:pt>
                <c:pt idx="29347">
                  <c:v>36382</c:v>
                </c:pt>
                <c:pt idx="29348">
                  <c:v>36382</c:v>
                </c:pt>
                <c:pt idx="29349">
                  <c:v>36381</c:v>
                </c:pt>
                <c:pt idx="29350">
                  <c:v>36381</c:v>
                </c:pt>
                <c:pt idx="29351">
                  <c:v>36380</c:v>
                </c:pt>
                <c:pt idx="29352">
                  <c:v>36380</c:v>
                </c:pt>
                <c:pt idx="29353">
                  <c:v>36379</c:v>
                </c:pt>
                <c:pt idx="29354">
                  <c:v>36379</c:v>
                </c:pt>
                <c:pt idx="29355">
                  <c:v>36379</c:v>
                </c:pt>
                <c:pt idx="29356">
                  <c:v>36379</c:v>
                </c:pt>
                <c:pt idx="29357">
                  <c:v>36379</c:v>
                </c:pt>
                <c:pt idx="29358">
                  <c:v>36379</c:v>
                </c:pt>
                <c:pt idx="29359">
                  <c:v>36378</c:v>
                </c:pt>
                <c:pt idx="29360">
                  <c:v>36378</c:v>
                </c:pt>
                <c:pt idx="29361">
                  <c:v>36377</c:v>
                </c:pt>
                <c:pt idx="29362">
                  <c:v>36377</c:v>
                </c:pt>
                <c:pt idx="29363">
                  <c:v>36377</c:v>
                </c:pt>
                <c:pt idx="29364">
                  <c:v>36377</c:v>
                </c:pt>
                <c:pt idx="29365">
                  <c:v>36377</c:v>
                </c:pt>
                <c:pt idx="29366">
                  <c:v>36377</c:v>
                </c:pt>
                <c:pt idx="29367">
                  <c:v>36376</c:v>
                </c:pt>
                <c:pt idx="29368">
                  <c:v>36376</c:v>
                </c:pt>
                <c:pt idx="29369">
                  <c:v>36376</c:v>
                </c:pt>
                <c:pt idx="29370">
                  <c:v>36376</c:v>
                </c:pt>
                <c:pt idx="29371">
                  <c:v>36375</c:v>
                </c:pt>
                <c:pt idx="29372">
                  <c:v>36375</c:v>
                </c:pt>
                <c:pt idx="29373">
                  <c:v>36375</c:v>
                </c:pt>
                <c:pt idx="29374">
                  <c:v>36373</c:v>
                </c:pt>
                <c:pt idx="29375">
                  <c:v>36373</c:v>
                </c:pt>
                <c:pt idx="29376">
                  <c:v>36373</c:v>
                </c:pt>
                <c:pt idx="29377">
                  <c:v>36372</c:v>
                </c:pt>
                <c:pt idx="29378">
                  <c:v>36372</c:v>
                </c:pt>
                <c:pt idx="29379">
                  <c:v>36372</c:v>
                </c:pt>
                <c:pt idx="29380">
                  <c:v>36372</c:v>
                </c:pt>
                <c:pt idx="29381">
                  <c:v>36371</c:v>
                </c:pt>
                <c:pt idx="29382">
                  <c:v>36371</c:v>
                </c:pt>
                <c:pt idx="29383">
                  <c:v>36371</c:v>
                </c:pt>
                <c:pt idx="29384">
                  <c:v>36371</c:v>
                </c:pt>
                <c:pt idx="29385">
                  <c:v>36371</c:v>
                </c:pt>
                <c:pt idx="29386">
                  <c:v>36371</c:v>
                </c:pt>
                <c:pt idx="29387">
                  <c:v>36370</c:v>
                </c:pt>
                <c:pt idx="29388">
                  <c:v>36370</c:v>
                </c:pt>
                <c:pt idx="29389">
                  <c:v>36369</c:v>
                </c:pt>
                <c:pt idx="29390">
                  <c:v>36369</c:v>
                </c:pt>
                <c:pt idx="29391">
                  <c:v>36369</c:v>
                </c:pt>
                <c:pt idx="29392">
                  <c:v>36369</c:v>
                </c:pt>
                <c:pt idx="29393">
                  <c:v>36369</c:v>
                </c:pt>
                <c:pt idx="29394">
                  <c:v>36368</c:v>
                </c:pt>
                <c:pt idx="29395">
                  <c:v>36367</c:v>
                </c:pt>
                <c:pt idx="29396">
                  <c:v>36366</c:v>
                </c:pt>
                <c:pt idx="29397">
                  <c:v>36366</c:v>
                </c:pt>
                <c:pt idx="29398">
                  <c:v>36365</c:v>
                </c:pt>
                <c:pt idx="29399">
                  <c:v>36365</c:v>
                </c:pt>
                <c:pt idx="29400">
                  <c:v>36365</c:v>
                </c:pt>
                <c:pt idx="29401">
                  <c:v>36365</c:v>
                </c:pt>
                <c:pt idx="29402">
                  <c:v>36365</c:v>
                </c:pt>
                <c:pt idx="29403">
                  <c:v>36364</c:v>
                </c:pt>
                <c:pt idx="29404">
                  <c:v>36363</c:v>
                </c:pt>
                <c:pt idx="29405">
                  <c:v>36363</c:v>
                </c:pt>
                <c:pt idx="29406">
                  <c:v>36362</c:v>
                </c:pt>
                <c:pt idx="29407">
                  <c:v>36361</c:v>
                </c:pt>
                <c:pt idx="29408">
                  <c:v>36361</c:v>
                </c:pt>
                <c:pt idx="29409">
                  <c:v>36361</c:v>
                </c:pt>
                <c:pt idx="29410">
                  <c:v>36361</c:v>
                </c:pt>
                <c:pt idx="29411">
                  <c:v>36360</c:v>
                </c:pt>
                <c:pt idx="29412">
                  <c:v>36359</c:v>
                </c:pt>
                <c:pt idx="29413">
                  <c:v>36359</c:v>
                </c:pt>
                <c:pt idx="29414">
                  <c:v>36359</c:v>
                </c:pt>
                <c:pt idx="29415">
                  <c:v>36359</c:v>
                </c:pt>
                <c:pt idx="29416">
                  <c:v>36359</c:v>
                </c:pt>
                <c:pt idx="29417">
                  <c:v>36358</c:v>
                </c:pt>
                <c:pt idx="29418">
                  <c:v>36357</c:v>
                </c:pt>
                <c:pt idx="29419">
                  <c:v>36357</c:v>
                </c:pt>
                <c:pt idx="29420">
                  <c:v>36357</c:v>
                </c:pt>
                <c:pt idx="29421">
                  <c:v>36356</c:v>
                </c:pt>
                <c:pt idx="29422">
                  <c:v>36356</c:v>
                </c:pt>
                <c:pt idx="29423">
                  <c:v>36355</c:v>
                </c:pt>
                <c:pt idx="29424">
                  <c:v>36355</c:v>
                </c:pt>
                <c:pt idx="29425">
                  <c:v>36354</c:v>
                </c:pt>
                <c:pt idx="29426">
                  <c:v>36354</c:v>
                </c:pt>
                <c:pt idx="29427">
                  <c:v>36353</c:v>
                </c:pt>
                <c:pt idx="29428">
                  <c:v>36353</c:v>
                </c:pt>
                <c:pt idx="29429">
                  <c:v>36353</c:v>
                </c:pt>
                <c:pt idx="29430">
                  <c:v>36351</c:v>
                </c:pt>
                <c:pt idx="29431">
                  <c:v>36351</c:v>
                </c:pt>
                <c:pt idx="29432">
                  <c:v>36351</c:v>
                </c:pt>
                <c:pt idx="29433">
                  <c:v>36351</c:v>
                </c:pt>
                <c:pt idx="29434">
                  <c:v>36350</c:v>
                </c:pt>
                <c:pt idx="29435">
                  <c:v>36350</c:v>
                </c:pt>
                <c:pt idx="29436">
                  <c:v>36350</c:v>
                </c:pt>
                <c:pt idx="29437">
                  <c:v>36350</c:v>
                </c:pt>
                <c:pt idx="29438">
                  <c:v>36349</c:v>
                </c:pt>
                <c:pt idx="29439">
                  <c:v>36349</c:v>
                </c:pt>
                <c:pt idx="29440">
                  <c:v>36349</c:v>
                </c:pt>
                <c:pt idx="29441">
                  <c:v>36349</c:v>
                </c:pt>
                <c:pt idx="29442">
                  <c:v>36348</c:v>
                </c:pt>
                <c:pt idx="29443">
                  <c:v>36348</c:v>
                </c:pt>
                <c:pt idx="29444">
                  <c:v>36348</c:v>
                </c:pt>
                <c:pt idx="29445">
                  <c:v>36348</c:v>
                </c:pt>
                <c:pt idx="29446">
                  <c:v>36348</c:v>
                </c:pt>
                <c:pt idx="29447">
                  <c:v>36348</c:v>
                </c:pt>
                <c:pt idx="29448">
                  <c:v>36347</c:v>
                </c:pt>
                <c:pt idx="29449">
                  <c:v>36346</c:v>
                </c:pt>
                <c:pt idx="29450">
                  <c:v>36346</c:v>
                </c:pt>
                <c:pt idx="29451">
                  <c:v>36346</c:v>
                </c:pt>
                <c:pt idx="29452">
                  <c:v>36346</c:v>
                </c:pt>
                <c:pt idx="29453">
                  <c:v>36346</c:v>
                </c:pt>
                <c:pt idx="29454">
                  <c:v>36345</c:v>
                </c:pt>
                <c:pt idx="29455">
                  <c:v>36345</c:v>
                </c:pt>
                <c:pt idx="29456">
                  <c:v>36345</c:v>
                </c:pt>
                <c:pt idx="29457">
                  <c:v>36345</c:v>
                </c:pt>
                <c:pt idx="29458">
                  <c:v>36344</c:v>
                </c:pt>
                <c:pt idx="29459">
                  <c:v>36344</c:v>
                </c:pt>
                <c:pt idx="29460">
                  <c:v>36344</c:v>
                </c:pt>
                <c:pt idx="29461">
                  <c:v>36344</c:v>
                </c:pt>
                <c:pt idx="29462">
                  <c:v>36343</c:v>
                </c:pt>
                <c:pt idx="29463">
                  <c:v>36343</c:v>
                </c:pt>
                <c:pt idx="29464">
                  <c:v>36343</c:v>
                </c:pt>
                <c:pt idx="29465">
                  <c:v>36343</c:v>
                </c:pt>
                <c:pt idx="29466">
                  <c:v>36343</c:v>
                </c:pt>
                <c:pt idx="29467">
                  <c:v>36343</c:v>
                </c:pt>
                <c:pt idx="29468">
                  <c:v>36342</c:v>
                </c:pt>
                <c:pt idx="29469">
                  <c:v>36341</c:v>
                </c:pt>
                <c:pt idx="29470">
                  <c:v>36341</c:v>
                </c:pt>
                <c:pt idx="29471">
                  <c:v>36341</c:v>
                </c:pt>
                <c:pt idx="29472">
                  <c:v>36341</c:v>
                </c:pt>
                <c:pt idx="29473">
                  <c:v>36340</c:v>
                </c:pt>
                <c:pt idx="29474">
                  <c:v>36339</c:v>
                </c:pt>
                <c:pt idx="29475">
                  <c:v>36338</c:v>
                </c:pt>
                <c:pt idx="29476">
                  <c:v>36338</c:v>
                </c:pt>
                <c:pt idx="29477">
                  <c:v>36337</c:v>
                </c:pt>
                <c:pt idx="29478">
                  <c:v>36337</c:v>
                </c:pt>
                <c:pt idx="29479">
                  <c:v>36337</c:v>
                </c:pt>
                <c:pt idx="29480">
                  <c:v>36337</c:v>
                </c:pt>
                <c:pt idx="29481">
                  <c:v>36337</c:v>
                </c:pt>
                <c:pt idx="29482">
                  <c:v>36336</c:v>
                </c:pt>
                <c:pt idx="29483">
                  <c:v>36336</c:v>
                </c:pt>
                <c:pt idx="29484">
                  <c:v>36336</c:v>
                </c:pt>
                <c:pt idx="29485">
                  <c:v>36336</c:v>
                </c:pt>
                <c:pt idx="29486">
                  <c:v>36336</c:v>
                </c:pt>
                <c:pt idx="29487">
                  <c:v>36335</c:v>
                </c:pt>
                <c:pt idx="29488">
                  <c:v>36334</c:v>
                </c:pt>
                <c:pt idx="29489">
                  <c:v>36333</c:v>
                </c:pt>
                <c:pt idx="29490">
                  <c:v>36333</c:v>
                </c:pt>
                <c:pt idx="29491">
                  <c:v>36333</c:v>
                </c:pt>
                <c:pt idx="29492">
                  <c:v>36333</c:v>
                </c:pt>
                <c:pt idx="29493">
                  <c:v>36333</c:v>
                </c:pt>
                <c:pt idx="29494">
                  <c:v>36333</c:v>
                </c:pt>
                <c:pt idx="29495">
                  <c:v>36332</c:v>
                </c:pt>
                <c:pt idx="29496">
                  <c:v>36332</c:v>
                </c:pt>
                <c:pt idx="29497">
                  <c:v>36332</c:v>
                </c:pt>
                <c:pt idx="29498">
                  <c:v>36332</c:v>
                </c:pt>
                <c:pt idx="29499">
                  <c:v>36331</c:v>
                </c:pt>
                <c:pt idx="29500">
                  <c:v>36331</c:v>
                </c:pt>
                <c:pt idx="29501">
                  <c:v>36330</c:v>
                </c:pt>
                <c:pt idx="29502">
                  <c:v>36330</c:v>
                </c:pt>
                <c:pt idx="29503">
                  <c:v>36330</c:v>
                </c:pt>
                <c:pt idx="29504">
                  <c:v>36329</c:v>
                </c:pt>
                <c:pt idx="29505">
                  <c:v>36329</c:v>
                </c:pt>
                <c:pt idx="29506">
                  <c:v>36328</c:v>
                </c:pt>
                <c:pt idx="29507">
                  <c:v>36328</c:v>
                </c:pt>
                <c:pt idx="29508">
                  <c:v>36328</c:v>
                </c:pt>
                <c:pt idx="29509">
                  <c:v>36327</c:v>
                </c:pt>
                <c:pt idx="29510">
                  <c:v>36327</c:v>
                </c:pt>
                <c:pt idx="29511">
                  <c:v>36326</c:v>
                </c:pt>
                <c:pt idx="29512">
                  <c:v>36326</c:v>
                </c:pt>
                <c:pt idx="29513">
                  <c:v>36326</c:v>
                </c:pt>
                <c:pt idx="29514">
                  <c:v>36325</c:v>
                </c:pt>
                <c:pt idx="29515">
                  <c:v>36325</c:v>
                </c:pt>
                <c:pt idx="29516">
                  <c:v>36324</c:v>
                </c:pt>
                <c:pt idx="29517">
                  <c:v>36324</c:v>
                </c:pt>
                <c:pt idx="29518">
                  <c:v>36324</c:v>
                </c:pt>
                <c:pt idx="29519">
                  <c:v>36324</c:v>
                </c:pt>
                <c:pt idx="29520">
                  <c:v>36323</c:v>
                </c:pt>
                <c:pt idx="29521">
                  <c:v>36323</c:v>
                </c:pt>
                <c:pt idx="29522">
                  <c:v>36323</c:v>
                </c:pt>
                <c:pt idx="29523">
                  <c:v>36323</c:v>
                </c:pt>
                <c:pt idx="29524">
                  <c:v>36323</c:v>
                </c:pt>
                <c:pt idx="29525">
                  <c:v>36323</c:v>
                </c:pt>
                <c:pt idx="29526">
                  <c:v>36323</c:v>
                </c:pt>
                <c:pt idx="29527">
                  <c:v>36322</c:v>
                </c:pt>
                <c:pt idx="29528">
                  <c:v>36322</c:v>
                </c:pt>
                <c:pt idx="29529">
                  <c:v>36321</c:v>
                </c:pt>
                <c:pt idx="29530">
                  <c:v>36321</c:v>
                </c:pt>
                <c:pt idx="29531">
                  <c:v>36320</c:v>
                </c:pt>
                <c:pt idx="29532">
                  <c:v>36320</c:v>
                </c:pt>
                <c:pt idx="29533">
                  <c:v>36320</c:v>
                </c:pt>
                <c:pt idx="29534">
                  <c:v>36319</c:v>
                </c:pt>
                <c:pt idx="29535">
                  <c:v>36318</c:v>
                </c:pt>
                <c:pt idx="29536">
                  <c:v>36317</c:v>
                </c:pt>
                <c:pt idx="29537">
                  <c:v>36315</c:v>
                </c:pt>
                <c:pt idx="29538">
                  <c:v>36315</c:v>
                </c:pt>
                <c:pt idx="29539">
                  <c:v>36314</c:v>
                </c:pt>
                <c:pt idx="29540">
                  <c:v>36314</c:v>
                </c:pt>
                <c:pt idx="29541">
                  <c:v>36313</c:v>
                </c:pt>
                <c:pt idx="29542">
                  <c:v>36313</c:v>
                </c:pt>
                <c:pt idx="29543">
                  <c:v>36313</c:v>
                </c:pt>
                <c:pt idx="29544">
                  <c:v>36312</c:v>
                </c:pt>
                <c:pt idx="29545">
                  <c:v>36312</c:v>
                </c:pt>
                <c:pt idx="29546">
                  <c:v>36311</c:v>
                </c:pt>
                <c:pt idx="29547">
                  <c:v>36310</c:v>
                </c:pt>
                <c:pt idx="29548">
                  <c:v>36310</c:v>
                </c:pt>
                <c:pt idx="29549">
                  <c:v>36310</c:v>
                </c:pt>
                <c:pt idx="29550">
                  <c:v>36309</c:v>
                </c:pt>
                <c:pt idx="29551">
                  <c:v>36309</c:v>
                </c:pt>
                <c:pt idx="29552">
                  <c:v>36309</c:v>
                </c:pt>
                <c:pt idx="29553">
                  <c:v>36309</c:v>
                </c:pt>
                <c:pt idx="29554">
                  <c:v>36309</c:v>
                </c:pt>
                <c:pt idx="29555">
                  <c:v>36309</c:v>
                </c:pt>
                <c:pt idx="29556">
                  <c:v>36308</c:v>
                </c:pt>
                <c:pt idx="29557">
                  <c:v>36307</c:v>
                </c:pt>
                <c:pt idx="29558">
                  <c:v>36307</c:v>
                </c:pt>
                <c:pt idx="29559">
                  <c:v>36307</c:v>
                </c:pt>
                <c:pt idx="29560">
                  <c:v>36307</c:v>
                </c:pt>
                <c:pt idx="29561">
                  <c:v>36307</c:v>
                </c:pt>
                <c:pt idx="29562">
                  <c:v>36306</c:v>
                </c:pt>
                <c:pt idx="29563">
                  <c:v>36306</c:v>
                </c:pt>
                <c:pt idx="29564">
                  <c:v>36306</c:v>
                </c:pt>
                <c:pt idx="29565">
                  <c:v>36306</c:v>
                </c:pt>
                <c:pt idx="29566">
                  <c:v>36306</c:v>
                </c:pt>
                <c:pt idx="29567">
                  <c:v>36306</c:v>
                </c:pt>
                <c:pt idx="29568">
                  <c:v>36306</c:v>
                </c:pt>
                <c:pt idx="29569">
                  <c:v>36305</c:v>
                </c:pt>
                <c:pt idx="29570">
                  <c:v>36305</c:v>
                </c:pt>
                <c:pt idx="29571">
                  <c:v>36305</c:v>
                </c:pt>
                <c:pt idx="29572">
                  <c:v>36305</c:v>
                </c:pt>
                <c:pt idx="29573">
                  <c:v>36305</c:v>
                </c:pt>
                <c:pt idx="29574">
                  <c:v>36304</c:v>
                </c:pt>
                <c:pt idx="29575">
                  <c:v>36304</c:v>
                </c:pt>
                <c:pt idx="29576">
                  <c:v>36304</c:v>
                </c:pt>
                <c:pt idx="29577">
                  <c:v>36304</c:v>
                </c:pt>
                <c:pt idx="29578">
                  <c:v>36303</c:v>
                </c:pt>
                <c:pt idx="29579">
                  <c:v>36303</c:v>
                </c:pt>
                <c:pt idx="29580">
                  <c:v>36303</c:v>
                </c:pt>
                <c:pt idx="29581">
                  <c:v>36302</c:v>
                </c:pt>
                <c:pt idx="29582">
                  <c:v>36302</c:v>
                </c:pt>
                <c:pt idx="29583">
                  <c:v>36302</c:v>
                </c:pt>
                <c:pt idx="29584">
                  <c:v>36302</c:v>
                </c:pt>
                <c:pt idx="29585">
                  <c:v>36302</c:v>
                </c:pt>
                <c:pt idx="29586">
                  <c:v>36301</c:v>
                </c:pt>
                <c:pt idx="29587">
                  <c:v>36301</c:v>
                </c:pt>
                <c:pt idx="29588">
                  <c:v>36300</c:v>
                </c:pt>
                <c:pt idx="29589">
                  <c:v>36300</c:v>
                </c:pt>
                <c:pt idx="29590">
                  <c:v>36300</c:v>
                </c:pt>
                <c:pt idx="29591">
                  <c:v>36300</c:v>
                </c:pt>
                <c:pt idx="29592">
                  <c:v>36300</c:v>
                </c:pt>
                <c:pt idx="29593">
                  <c:v>36299</c:v>
                </c:pt>
                <c:pt idx="29594">
                  <c:v>36299</c:v>
                </c:pt>
                <c:pt idx="29595">
                  <c:v>36299</c:v>
                </c:pt>
                <c:pt idx="29596">
                  <c:v>36299</c:v>
                </c:pt>
                <c:pt idx="29597">
                  <c:v>36299</c:v>
                </c:pt>
                <c:pt idx="29598">
                  <c:v>36299</c:v>
                </c:pt>
                <c:pt idx="29599">
                  <c:v>36298</c:v>
                </c:pt>
                <c:pt idx="29600">
                  <c:v>36298</c:v>
                </c:pt>
                <c:pt idx="29601">
                  <c:v>36297</c:v>
                </c:pt>
                <c:pt idx="29602">
                  <c:v>36297</c:v>
                </c:pt>
                <c:pt idx="29603">
                  <c:v>36296</c:v>
                </c:pt>
                <c:pt idx="29604">
                  <c:v>36296</c:v>
                </c:pt>
                <c:pt idx="29605">
                  <c:v>36296</c:v>
                </c:pt>
                <c:pt idx="29606">
                  <c:v>36295</c:v>
                </c:pt>
                <c:pt idx="29607">
                  <c:v>36294</c:v>
                </c:pt>
                <c:pt idx="29608">
                  <c:v>36294</c:v>
                </c:pt>
                <c:pt idx="29609">
                  <c:v>36294</c:v>
                </c:pt>
                <c:pt idx="29610">
                  <c:v>36294</c:v>
                </c:pt>
                <c:pt idx="29611">
                  <c:v>36294</c:v>
                </c:pt>
                <c:pt idx="29612">
                  <c:v>36294</c:v>
                </c:pt>
                <c:pt idx="29613">
                  <c:v>36293</c:v>
                </c:pt>
                <c:pt idx="29614">
                  <c:v>36293</c:v>
                </c:pt>
                <c:pt idx="29615">
                  <c:v>36292</c:v>
                </c:pt>
                <c:pt idx="29616">
                  <c:v>36292</c:v>
                </c:pt>
                <c:pt idx="29617">
                  <c:v>36292</c:v>
                </c:pt>
                <c:pt idx="29618">
                  <c:v>36291</c:v>
                </c:pt>
                <c:pt idx="29619">
                  <c:v>36291</c:v>
                </c:pt>
                <c:pt idx="29620">
                  <c:v>36291</c:v>
                </c:pt>
                <c:pt idx="29621">
                  <c:v>36291</c:v>
                </c:pt>
                <c:pt idx="29622">
                  <c:v>36291</c:v>
                </c:pt>
                <c:pt idx="29623">
                  <c:v>36291</c:v>
                </c:pt>
                <c:pt idx="29624">
                  <c:v>36291</c:v>
                </c:pt>
                <c:pt idx="29625">
                  <c:v>36291</c:v>
                </c:pt>
                <c:pt idx="29626">
                  <c:v>36291</c:v>
                </c:pt>
                <c:pt idx="29627">
                  <c:v>36290</c:v>
                </c:pt>
                <c:pt idx="29628">
                  <c:v>36290</c:v>
                </c:pt>
                <c:pt idx="29629">
                  <c:v>36290</c:v>
                </c:pt>
                <c:pt idx="29630">
                  <c:v>36289</c:v>
                </c:pt>
                <c:pt idx="29631">
                  <c:v>36289</c:v>
                </c:pt>
                <c:pt idx="29632">
                  <c:v>36289</c:v>
                </c:pt>
                <c:pt idx="29633">
                  <c:v>36289</c:v>
                </c:pt>
                <c:pt idx="29634">
                  <c:v>36289</c:v>
                </c:pt>
                <c:pt idx="29635">
                  <c:v>36289</c:v>
                </c:pt>
                <c:pt idx="29636">
                  <c:v>36289</c:v>
                </c:pt>
                <c:pt idx="29637">
                  <c:v>36288</c:v>
                </c:pt>
                <c:pt idx="29638">
                  <c:v>36288</c:v>
                </c:pt>
                <c:pt idx="29639">
                  <c:v>36288</c:v>
                </c:pt>
                <c:pt idx="29640">
                  <c:v>36288</c:v>
                </c:pt>
                <c:pt idx="29641">
                  <c:v>36288</c:v>
                </c:pt>
                <c:pt idx="29642">
                  <c:v>36288</c:v>
                </c:pt>
                <c:pt idx="29643">
                  <c:v>36288</c:v>
                </c:pt>
                <c:pt idx="29644">
                  <c:v>36288</c:v>
                </c:pt>
                <c:pt idx="29645">
                  <c:v>36287</c:v>
                </c:pt>
                <c:pt idx="29646">
                  <c:v>36287</c:v>
                </c:pt>
                <c:pt idx="29647">
                  <c:v>36287</c:v>
                </c:pt>
                <c:pt idx="29648">
                  <c:v>36287</c:v>
                </c:pt>
                <c:pt idx="29649">
                  <c:v>36287</c:v>
                </c:pt>
                <c:pt idx="29650">
                  <c:v>36287</c:v>
                </c:pt>
                <c:pt idx="29651">
                  <c:v>36286</c:v>
                </c:pt>
                <c:pt idx="29652">
                  <c:v>36286</c:v>
                </c:pt>
                <c:pt idx="29653">
                  <c:v>36286</c:v>
                </c:pt>
                <c:pt idx="29654">
                  <c:v>36286</c:v>
                </c:pt>
                <c:pt idx="29655">
                  <c:v>36286</c:v>
                </c:pt>
                <c:pt idx="29656">
                  <c:v>36285</c:v>
                </c:pt>
                <c:pt idx="29657">
                  <c:v>36285</c:v>
                </c:pt>
                <c:pt idx="29658">
                  <c:v>36285</c:v>
                </c:pt>
                <c:pt idx="29659">
                  <c:v>36285</c:v>
                </c:pt>
                <c:pt idx="29660">
                  <c:v>36285</c:v>
                </c:pt>
                <c:pt idx="29661">
                  <c:v>36285</c:v>
                </c:pt>
                <c:pt idx="29662">
                  <c:v>36285</c:v>
                </c:pt>
                <c:pt idx="29663">
                  <c:v>36285</c:v>
                </c:pt>
                <c:pt idx="29664">
                  <c:v>36285</c:v>
                </c:pt>
                <c:pt idx="29665">
                  <c:v>36284</c:v>
                </c:pt>
                <c:pt idx="29666">
                  <c:v>36284</c:v>
                </c:pt>
                <c:pt idx="29667">
                  <c:v>36284</c:v>
                </c:pt>
                <c:pt idx="29668">
                  <c:v>36283</c:v>
                </c:pt>
                <c:pt idx="29669">
                  <c:v>36283</c:v>
                </c:pt>
                <c:pt idx="29670">
                  <c:v>36283</c:v>
                </c:pt>
                <c:pt idx="29671">
                  <c:v>36283</c:v>
                </c:pt>
                <c:pt idx="29672">
                  <c:v>36283</c:v>
                </c:pt>
                <c:pt idx="29673">
                  <c:v>36282</c:v>
                </c:pt>
                <c:pt idx="29674">
                  <c:v>36282</c:v>
                </c:pt>
                <c:pt idx="29675">
                  <c:v>36282</c:v>
                </c:pt>
                <c:pt idx="29676">
                  <c:v>36280</c:v>
                </c:pt>
                <c:pt idx="29677">
                  <c:v>36280</c:v>
                </c:pt>
                <c:pt idx="29678">
                  <c:v>36279</c:v>
                </c:pt>
                <c:pt idx="29679">
                  <c:v>36279</c:v>
                </c:pt>
                <c:pt idx="29680">
                  <c:v>36279</c:v>
                </c:pt>
                <c:pt idx="29681">
                  <c:v>36279</c:v>
                </c:pt>
                <c:pt idx="29682">
                  <c:v>36279</c:v>
                </c:pt>
                <c:pt idx="29683">
                  <c:v>36278</c:v>
                </c:pt>
                <c:pt idx="29684">
                  <c:v>36278</c:v>
                </c:pt>
                <c:pt idx="29685">
                  <c:v>36278</c:v>
                </c:pt>
                <c:pt idx="29686">
                  <c:v>36277</c:v>
                </c:pt>
                <c:pt idx="29687">
                  <c:v>36277</c:v>
                </c:pt>
                <c:pt idx="29688">
                  <c:v>36277</c:v>
                </c:pt>
                <c:pt idx="29689">
                  <c:v>36277</c:v>
                </c:pt>
                <c:pt idx="29690">
                  <c:v>36276</c:v>
                </c:pt>
                <c:pt idx="29691">
                  <c:v>36276</c:v>
                </c:pt>
                <c:pt idx="29692">
                  <c:v>36276</c:v>
                </c:pt>
                <c:pt idx="29693">
                  <c:v>36274</c:v>
                </c:pt>
                <c:pt idx="29694">
                  <c:v>36274</c:v>
                </c:pt>
                <c:pt idx="29695">
                  <c:v>36273</c:v>
                </c:pt>
                <c:pt idx="29696">
                  <c:v>36273</c:v>
                </c:pt>
                <c:pt idx="29697">
                  <c:v>36272</c:v>
                </c:pt>
                <c:pt idx="29698">
                  <c:v>36272</c:v>
                </c:pt>
                <c:pt idx="29699">
                  <c:v>36272</c:v>
                </c:pt>
                <c:pt idx="29700">
                  <c:v>36272</c:v>
                </c:pt>
                <c:pt idx="29701">
                  <c:v>36272</c:v>
                </c:pt>
                <c:pt idx="29702">
                  <c:v>36272</c:v>
                </c:pt>
                <c:pt idx="29703">
                  <c:v>36271</c:v>
                </c:pt>
                <c:pt idx="29704">
                  <c:v>36271</c:v>
                </c:pt>
                <c:pt idx="29705">
                  <c:v>36271</c:v>
                </c:pt>
                <c:pt idx="29706">
                  <c:v>36271</c:v>
                </c:pt>
                <c:pt idx="29707">
                  <c:v>36270</c:v>
                </c:pt>
                <c:pt idx="29708">
                  <c:v>36270</c:v>
                </c:pt>
                <c:pt idx="29709">
                  <c:v>36270</c:v>
                </c:pt>
                <c:pt idx="29710">
                  <c:v>36269</c:v>
                </c:pt>
                <c:pt idx="29711">
                  <c:v>36269</c:v>
                </c:pt>
                <c:pt idx="29712">
                  <c:v>36268</c:v>
                </c:pt>
                <c:pt idx="29713">
                  <c:v>36268</c:v>
                </c:pt>
                <c:pt idx="29714">
                  <c:v>36268</c:v>
                </c:pt>
                <c:pt idx="29715">
                  <c:v>36267</c:v>
                </c:pt>
                <c:pt idx="29716">
                  <c:v>36267</c:v>
                </c:pt>
                <c:pt idx="29717">
                  <c:v>36266</c:v>
                </c:pt>
                <c:pt idx="29718">
                  <c:v>36266</c:v>
                </c:pt>
                <c:pt idx="29719">
                  <c:v>36266</c:v>
                </c:pt>
                <c:pt idx="29720">
                  <c:v>36266</c:v>
                </c:pt>
                <c:pt idx="29721">
                  <c:v>36265</c:v>
                </c:pt>
                <c:pt idx="29722">
                  <c:v>36265</c:v>
                </c:pt>
                <c:pt idx="29723">
                  <c:v>36264</c:v>
                </c:pt>
                <c:pt idx="29724">
                  <c:v>36264</c:v>
                </c:pt>
                <c:pt idx="29725">
                  <c:v>36264</c:v>
                </c:pt>
                <c:pt idx="29726">
                  <c:v>36264</c:v>
                </c:pt>
                <c:pt idx="29727">
                  <c:v>36264</c:v>
                </c:pt>
                <c:pt idx="29728">
                  <c:v>36263</c:v>
                </c:pt>
                <c:pt idx="29729">
                  <c:v>36263</c:v>
                </c:pt>
                <c:pt idx="29730">
                  <c:v>36263</c:v>
                </c:pt>
                <c:pt idx="29731">
                  <c:v>36262</c:v>
                </c:pt>
                <c:pt idx="29732">
                  <c:v>36261</c:v>
                </c:pt>
                <c:pt idx="29733">
                  <c:v>36261</c:v>
                </c:pt>
                <c:pt idx="29734">
                  <c:v>36261</c:v>
                </c:pt>
                <c:pt idx="29735">
                  <c:v>36260</c:v>
                </c:pt>
                <c:pt idx="29736">
                  <c:v>36260</c:v>
                </c:pt>
                <c:pt idx="29737">
                  <c:v>36260</c:v>
                </c:pt>
                <c:pt idx="29738">
                  <c:v>36260</c:v>
                </c:pt>
                <c:pt idx="29739">
                  <c:v>36260</c:v>
                </c:pt>
                <c:pt idx="29740">
                  <c:v>36260</c:v>
                </c:pt>
                <c:pt idx="29741">
                  <c:v>36258</c:v>
                </c:pt>
                <c:pt idx="29742">
                  <c:v>36258</c:v>
                </c:pt>
                <c:pt idx="29743">
                  <c:v>36258</c:v>
                </c:pt>
                <c:pt idx="29744">
                  <c:v>36258</c:v>
                </c:pt>
                <c:pt idx="29745">
                  <c:v>36258</c:v>
                </c:pt>
                <c:pt idx="29746">
                  <c:v>36258</c:v>
                </c:pt>
                <c:pt idx="29747">
                  <c:v>36258</c:v>
                </c:pt>
                <c:pt idx="29748">
                  <c:v>36257</c:v>
                </c:pt>
                <c:pt idx="29749">
                  <c:v>36257</c:v>
                </c:pt>
                <c:pt idx="29750">
                  <c:v>36257</c:v>
                </c:pt>
                <c:pt idx="29751">
                  <c:v>36257</c:v>
                </c:pt>
                <c:pt idx="29752">
                  <c:v>36257</c:v>
                </c:pt>
                <c:pt idx="29753">
                  <c:v>36257</c:v>
                </c:pt>
                <c:pt idx="29754">
                  <c:v>36256</c:v>
                </c:pt>
                <c:pt idx="29755">
                  <c:v>36256</c:v>
                </c:pt>
                <c:pt idx="29756">
                  <c:v>36256</c:v>
                </c:pt>
                <c:pt idx="29757">
                  <c:v>36255</c:v>
                </c:pt>
                <c:pt idx="29758">
                  <c:v>36255</c:v>
                </c:pt>
                <c:pt idx="29759">
                  <c:v>36254</c:v>
                </c:pt>
                <c:pt idx="29760">
                  <c:v>36254</c:v>
                </c:pt>
                <c:pt idx="29761">
                  <c:v>36254</c:v>
                </c:pt>
                <c:pt idx="29762">
                  <c:v>36252</c:v>
                </c:pt>
                <c:pt idx="29763">
                  <c:v>36252</c:v>
                </c:pt>
                <c:pt idx="29764">
                  <c:v>36252</c:v>
                </c:pt>
                <c:pt idx="29765">
                  <c:v>36252</c:v>
                </c:pt>
                <c:pt idx="29766">
                  <c:v>36251</c:v>
                </c:pt>
                <c:pt idx="29767">
                  <c:v>36251</c:v>
                </c:pt>
                <c:pt idx="29768">
                  <c:v>36251</c:v>
                </c:pt>
                <c:pt idx="29769">
                  <c:v>36251</c:v>
                </c:pt>
                <c:pt idx="29770">
                  <c:v>36251</c:v>
                </c:pt>
                <c:pt idx="29771">
                  <c:v>36250</c:v>
                </c:pt>
                <c:pt idx="29772">
                  <c:v>36250</c:v>
                </c:pt>
                <c:pt idx="29773">
                  <c:v>36250</c:v>
                </c:pt>
                <c:pt idx="29774">
                  <c:v>36250</c:v>
                </c:pt>
                <c:pt idx="29775">
                  <c:v>36250</c:v>
                </c:pt>
                <c:pt idx="29776">
                  <c:v>36250</c:v>
                </c:pt>
                <c:pt idx="29777">
                  <c:v>36250</c:v>
                </c:pt>
                <c:pt idx="29778">
                  <c:v>36249</c:v>
                </c:pt>
                <c:pt idx="29779">
                  <c:v>36249</c:v>
                </c:pt>
                <c:pt idx="29780">
                  <c:v>36249</c:v>
                </c:pt>
                <c:pt idx="29781">
                  <c:v>36249</c:v>
                </c:pt>
                <c:pt idx="29782">
                  <c:v>36249</c:v>
                </c:pt>
                <c:pt idx="29783">
                  <c:v>36249</c:v>
                </c:pt>
                <c:pt idx="29784">
                  <c:v>36249</c:v>
                </c:pt>
                <c:pt idx="29785">
                  <c:v>36248</c:v>
                </c:pt>
                <c:pt idx="29786">
                  <c:v>36247</c:v>
                </c:pt>
                <c:pt idx="29787">
                  <c:v>36247</c:v>
                </c:pt>
                <c:pt idx="29788">
                  <c:v>36247</c:v>
                </c:pt>
                <c:pt idx="29789">
                  <c:v>36247</c:v>
                </c:pt>
                <c:pt idx="29790">
                  <c:v>36246</c:v>
                </c:pt>
                <c:pt idx="29791">
                  <c:v>36246</c:v>
                </c:pt>
                <c:pt idx="29792">
                  <c:v>36246</c:v>
                </c:pt>
                <c:pt idx="29793">
                  <c:v>36245</c:v>
                </c:pt>
                <c:pt idx="29794">
                  <c:v>36245</c:v>
                </c:pt>
                <c:pt idx="29795">
                  <c:v>36245</c:v>
                </c:pt>
                <c:pt idx="29796">
                  <c:v>36245</c:v>
                </c:pt>
                <c:pt idx="29797">
                  <c:v>36245</c:v>
                </c:pt>
                <c:pt idx="29798">
                  <c:v>36244</c:v>
                </c:pt>
                <c:pt idx="29799">
                  <c:v>36244</c:v>
                </c:pt>
                <c:pt idx="29800">
                  <c:v>36244</c:v>
                </c:pt>
                <c:pt idx="29801">
                  <c:v>36243</c:v>
                </c:pt>
                <c:pt idx="29802">
                  <c:v>36243</c:v>
                </c:pt>
                <c:pt idx="29803">
                  <c:v>36243</c:v>
                </c:pt>
                <c:pt idx="29804">
                  <c:v>36243</c:v>
                </c:pt>
                <c:pt idx="29805">
                  <c:v>36243</c:v>
                </c:pt>
                <c:pt idx="29806">
                  <c:v>36243</c:v>
                </c:pt>
                <c:pt idx="29807">
                  <c:v>36242</c:v>
                </c:pt>
                <c:pt idx="29808">
                  <c:v>36242</c:v>
                </c:pt>
                <c:pt idx="29809">
                  <c:v>36242</c:v>
                </c:pt>
                <c:pt idx="29810">
                  <c:v>36241</c:v>
                </c:pt>
                <c:pt idx="29811">
                  <c:v>36241</c:v>
                </c:pt>
                <c:pt idx="29812">
                  <c:v>36241</c:v>
                </c:pt>
                <c:pt idx="29813">
                  <c:v>36241</c:v>
                </c:pt>
                <c:pt idx="29814">
                  <c:v>36241</c:v>
                </c:pt>
                <c:pt idx="29815">
                  <c:v>36240</c:v>
                </c:pt>
                <c:pt idx="29816">
                  <c:v>36239</c:v>
                </c:pt>
                <c:pt idx="29817">
                  <c:v>36239</c:v>
                </c:pt>
                <c:pt idx="29818">
                  <c:v>36239</c:v>
                </c:pt>
                <c:pt idx="29819">
                  <c:v>36239</c:v>
                </c:pt>
                <c:pt idx="29820">
                  <c:v>36238</c:v>
                </c:pt>
                <c:pt idx="29821">
                  <c:v>36237</c:v>
                </c:pt>
                <c:pt idx="29822">
                  <c:v>36237</c:v>
                </c:pt>
                <c:pt idx="29823">
                  <c:v>36236</c:v>
                </c:pt>
                <c:pt idx="29824">
                  <c:v>36236</c:v>
                </c:pt>
                <c:pt idx="29825">
                  <c:v>36236</c:v>
                </c:pt>
                <c:pt idx="29826">
                  <c:v>36236</c:v>
                </c:pt>
                <c:pt idx="29827">
                  <c:v>36236</c:v>
                </c:pt>
                <c:pt idx="29828">
                  <c:v>36235</c:v>
                </c:pt>
                <c:pt idx="29829">
                  <c:v>36235</c:v>
                </c:pt>
                <c:pt idx="29830">
                  <c:v>36235</c:v>
                </c:pt>
                <c:pt idx="29831">
                  <c:v>36235</c:v>
                </c:pt>
                <c:pt idx="29832">
                  <c:v>36234</c:v>
                </c:pt>
                <c:pt idx="29833">
                  <c:v>36234</c:v>
                </c:pt>
                <c:pt idx="29834">
                  <c:v>36234</c:v>
                </c:pt>
                <c:pt idx="29835">
                  <c:v>36234</c:v>
                </c:pt>
                <c:pt idx="29836">
                  <c:v>36234</c:v>
                </c:pt>
                <c:pt idx="29837">
                  <c:v>36234</c:v>
                </c:pt>
                <c:pt idx="29838">
                  <c:v>36234</c:v>
                </c:pt>
                <c:pt idx="29839">
                  <c:v>36233</c:v>
                </c:pt>
                <c:pt idx="29840">
                  <c:v>36233</c:v>
                </c:pt>
                <c:pt idx="29841">
                  <c:v>36233</c:v>
                </c:pt>
                <c:pt idx="29842">
                  <c:v>36233</c:v>
                </c:pt>
                <c:pt idx="29843">
                  <c:v>36232</c:v>
                </c:pt>
                <c:pt idx="29844">
                  <c:v>36232</c:v>
                </c:pt>
                <c:pt idx="29845">
                  <c:v>36232</c:v>
                </c:pt>
                <c:pt idx="29846">
                  <c:v>36231</c:v>
                </c:pt>
                <c:pt idx="29847">
                  <c:v>36231</c:v>
                </c:pt>
                <c:pt idx="29848">
                  <c:v>36231</c:v>
                </c:pt>
                <c:pt idx="29849">
                  <c:v>36231</c:v>
                </c:pt>
                <c:pt idx="29850">
                  <c:v>36230</c:v>
                </c:pt>
                <c:pt idx="29851">
                  <c:v>36230</c:v>
                </c:pt>
                <c:pt idx="29852">
                  <c:v>36230</c:v>
                </c:pt>
                <c:pt idx="29853">
                  <c:v>36229</c:v>
                </c:pt>
                <c:pt idx="29854">
                  <c:v>36229</c:v>
                </c:pt>
                <c:pt idx="29855">
                  <c:v>36229</c:v>
                </c:pt>
                <c:pt idx="29856">
                  <c:v>36229</c:v>
                </c:pt>
                <c:pt idx="29857">
                  <c:v>36228</c:v>
                </c:pt>
                <c:pt idx="29858">
                  <c:v>36228</c:v>
                </c:pt>
                <c:pt idx="29859">
                  <c:v>36228</c:v>
                </c:pt>
                <c:pt idx="29860">
                  <c:v>36227</c:v>
                </c:pt>
                <c:pt idx="29861">
                  <c:v>36227</c:v>
                </c:pt>
                <c:pt idx="29862">
                  <c:v>36226</c:v>
                </c:pt>
                <c:pt idx="29863">
                  <c:v>36226</c:v>
                </c:pt>
                <c:pt idx="29864">
                  <c:v>36226</c:v>
                </c:pt>
                <c:pt idx="29865">
                  <c:v>36225</c:v>
                </c:pt>
                <c:pt idx="29866">
                  <c:v>36225</c:v>
                </c:pt>
                <c:pt idx="29867">
                  <c:v>36225</c:v>
                </c:pt>
                <c:pt idx="29868">
                  <c:v>36225</c:v>
                </c:pt>
                <c:pt idx="29869">
                  <c:v>36225</c:v>
                </c:pt>
                <c:pt idx="29870">
                  <c:v>36224</c:v>
                </c:pt>
                <c:pt idx="29871">
                  <c:v>36224</c:v>
                </c:pt>
                <c:pt idx="29872">
                  <c:v>36224</c:v>
                </c:pt>
                <c:pt idx="29873">
                  <c:v>36224</c:v>
                </c:pt>
                <c:pt idx="29874">
                  <c:v>36223</c:v>
                </c:pt>
                <c:pt idx="29875">
                  <c:v>36223</c:v>
                </c:pt>
                <c:pt idx="29876">
                  <c:v>36223</c:v>
                </c:pt>
                <c:pt idx="29877">
                  <c:v>36223</c:v>
                </c:pt>
                <c:pt idx="29878">
                  <c:v>36222</c:v>
                </c:pt>
                <c:pt idx="29879">
                  <c:v>36221</c:v>
                </c:pt>
                <c:pt idx="29880">
                  <c:v>36220</c:v>
                </c:pt>
                <c:pt idx="29881">
                  <c:v>36220</c:v>
                </c:pt>
                <c:pt idx="29882">
                  <c:v>36220</c:v>
                </c:pt>
                <c:pt idx="29883">
                  <c:v>36219</c:v>
                </c:pt>
                <c:pt idx="29884">
                  <c:v>36219</c:v>
                </c:pt>
                <c:pt idx="29885">
                  <c:v>36219</c:v>
                </c:pt>
                <c:pt idx="29886">
                  <c:v>36219</c:v>
                </c:pt>
                <c:pt idx="29887">
                  <c:v>36218</c:v>
                </c:pt>
                <c:pt idx="29888">
                  <c:v>36218</c:v>
                </c:pt>
                <c:pt idx="29889">
                  <c:v>36218</c:v>
                </c:pt>
                <c:pt idx="29890">
                  <c:v>36218</c:v>
                </c:pt>
                <c:pt idx="29891">
                  <c:v>36217</c:v>
                </c:pt>
                <c:pt idx="29892">
                  <c:v>36217</c:v>
                </c:pt>
                <c:pt idx="29893">
                  <c:v>36216</c:v>
                </c:pt>
                <c:pt idx="29894">
                  <c:v>36215</c:v>
                </c:pt>
                <c:pt idx="29895">
                  <c:v>36215</c:v>
                </c:pt>
                <c:pt idx="29896">
                  <c:v>36215</c:v>
                </c:pt>
                <c:pt idx="29897">
                  <c:v>36215</c:v>
                </c:pt>
                <c:pt idx="29898">
                  <c:v>36215</c:v>
                </c:pt>
                <c:pt idx="29899">
                  <c:v>36215</c:v>
                </c:pt>
                <c:pt idx="29900">
                  <c:v>36214</c:v>
                </c:pt>
                <c:pt idx="29901">
                  <c:v>36213</c:v>
                </c:pt>
                <c:pt idx="29902">
                  <c:v>36213</c:v>
                </c:pt>
                <c:pt idx="29903">
                  <c:v>36213</c:v>
                </c:pt>
                <c:pt idx="29904">
                  <c:v>36213</c:v>
                </c:pt>
                <c:pt idx="29905">
                  <c:v>36213</c:v>
                </c:pt>
                <c:pt idx="29906">
                  <c:v>36212</c:v>
                </c:pt>
                <c:pt idx="29907">
                  <c:v>36212</c:v>
                </c:pt>
                <c:pt idx="29908">
                  <c:v>36212</c:v>
                </c:pt>
                <c:pt idx="29909">
                  <c:v>36211</c:v>
                </c:pt>
                <c:pt idx="29910">
                  <c:v>36211</c:v>
                </c:pt>
                <c:pt idx="29911">
                  <c:v>36211</c:v>
                </c:pt>
                <c:pt idx="29912">
                  <c:v>36211</c:v>
                </c:pt>
                <c:pt idx="29913">
                  <c:v>36211</c:v>
                </c:pt>
                <c:pt idx="29914">
                  <c:v>36211</c:v>
                </c:pt>
                <c:pt idx="29915">
                  <c:v>36210</c:v>
                </c:pt>
                <c:pt idx="29916">
                  <c:v>36209</c:v>
                </c:pt>
                <c:pt idx="29917">
                  <c:v>36209</c:v>
                </c:pt>
                <c:pt idx="29918">
                  <c:v>36209</c:v>
                </c:pt>
                <c:pt idx="29919">
                  <c:v>36209</c:v>
                </c:pt>
                <c:pt idx="29920">
                  <c:v>36209</c:v>
                </c:pt>
                <c:pt idx="29921">
                  <c:v>36208</c:v>
                </c:pt>
                <c:pt idx="29922">
                  <c:v>36208</c:v>
                </c:pt>
                <c:pt idx="29923">
                  <c:v>36208</c:v>
                </c:pt>
                <c:pt idx="29924">
                  <c:v>36207</c:v>
                </c:pt>
                <c:pt idx="29925">
                  <c:v>36207</c:v>
                </c:pt>
                <c:pt idx="29926">
                  <c:v>36206</c:v>
                </c:pt>
                <c:pt idx="29927">
                  <c:v>36206</c:v>
                </c:pt>
                <c:pt idx="29928">
                  <c:v>36205</c:v>
                </c:pt>
                <c:pt idx="29929">
                  <c:v>36205</c:v>
                </c:pt>
                <c:pt idx="29930">
                  <c:v>36205</c:v>
                </c:pt>
                <c:pt idx="29931">
                  <c:v>36204</c:v>
                </c:pt>
                <c:pt idx="29932">
                  <c:v>36204</c:v>
                </c:pt>
                <c:pt idx="29933">
                  <c:v>36204</c:v>
                </c:pt>
                <c:pt idx="29934">
                  <c:v>36203</c:v>
                </c:pt>
                <c:pt idx="29935">
                  <c:v>36203</c:v>
                </c:pt>
                <c:pt idx="29936">
                  <c:v>36202</c:v>
                </c:pt>
                <c:pt idx="29937">
                  <c:v>36201</c:v>
                </c:pt>
                <c:pt idx="29938">
                  <c:v>36201</c:v>
                </c:pt>
                <c:pt idx="29939">
                  <c:v>36200</c:v>
                </c:pt>
                <c:pt idx="29940">
                  <c:v>36200</c:v>
                </c:pt>
                <c:pt idx="29941">
                  <c:v>36199</c:v>
                </c:pt>
                <c:pt idx="29942">
                  <c:v>36199</c:v>
                </c:pt>
                <c:pt idx="29943">
                  <c:v>36199</c:v>
                </c:pt>
                <c:pt idx="29944">
                  <c:v>36199</c:v>
                </c:pt>
                <c:pt idx="29945">
                  <c:v>36198</c:v>
                </c:pt>
                <c:pt idx="29946">
                  <c:v>36197</c:v>
                </c:pt>
                <c:pt idx="29947">
                  <c:v>36197</c:v>
                </c:pt>
                <c:pt idx="29948">
                  <c:v>36197</c:v>
                </c:pt>
                <c:pt idx="29949">
                  <c:v>36197</c:v>
                </c:pt>
                <c:pt idx="29950">
                  <c:v>36196</c:v>
                </c:pt>
                <c:pt idx="29951">
                  <c:v>36196</c:v>
                </c:pt>
                <c:pt idx="29952">
                  <c:v>36195</c:v>
                </c:pt>
                <c:pt idx="29953">
                  <c:v>36195</c:v>
                </c:pt>
                <c:pt idx="29954">
                  <c:v>36194</c:v>
                </c:pt>
                <c:pt idx="29955">
                  <c:v>36194</c:v>
                </c:pt>
                <c:pt idx="29956">
                  <c:v>36193</c:v>
                </c:pt>
                <c:pt idx="29957">
                  <c:v>36193</c:v>
                </c:pt>
                <c:pt idx="29958">
                  <c:v>36193</c:v>
                </c:pt>
                <c:pt idx="29959">
                  <c:v>36193</c:v>
                </c:pt>
                <c:pt idx="29960">
                  <c:v>36192</c:v>
                </c:pt>
                <c:pt idx="29961">
                  <c:v>36192</c:v>
                </c:pt>
                <c:pt idx="29962">
                  <c:v>36191</c:v>
                </c:pt>
                <c:pt idx="29963">
                  <c:v>36191</c:v>
                </c:pt>
                <c:pt idx="29964">
                  <c:v>36189</c:v>
                </c:pt>
                <c:pt idx="29965">
                  <c:v>36189</c:v>
                </c:pt>
                <c:pt idx="29966">
                  <c:v>36188</c:v>
                </c:pt>
                <c:pt idx="29967">
                  <c:v>36188</c:v>
                </c:pt>
                <c:pt idx="29968">
                  <c:v>36187</c:v>
                </c:pt>
                <c:pt idx="29969">
                  <c:v>36187</c:v>
                </c:pt>
                <c:pt idx="29970">
                  <c:v>36187</c:v>
                </c:pt>
                <c:pt idx="29971">
                  <c:v>36186</c:v>
                </c:pt>
                <c:pt idx="29972">
                  <c:v>36186</c:v>
                </c:pt>
                <c:pt idx="29973">
                  <c:v>36186</c:v>
                </c:pt>
                <c:pt idx="29974">
                  <c:v>36186</c:v>
                </c:pt>
                <c:pt idx="29975">
                  <c:v>36185</c:v>
                </c:pt>
                <c:pt idx="29976">
                  <c:v>36185</c:v>
                </c:pt>
                <c:pt idx="29977">
                  <c:v>36185</c:v>
                </c:pt>
                <c:pt idx="29978">
                  <c:v>36185</c:v>
                </c:pt>
                <c:pt idx="29979">
                  <c:v>36184</c:v>
                </c:pt>
                <c:pt idx="29980">
                  <c:v>36184</c:v>
                </c:pt>
                <c:pt idx="29981">
                  <c:v>36184</c:v>
                </c:pt>
                <c:pt idx="29982">
                  <c:v>36184</c:v>
                </c:pt>
                <c:pt idx="29983">
                  <c:v>36183</c:v>
                </c:pt>
                <c:pt idx="29984">
                  <c:v>36182</c:v>
                </c:pt>
                <c:pt idx="29985">
                  <c:v>36181</c:v>
                </c:pt>
                <c:pt idx="29986">
                  <c:v>36181</c:v>
                </c:pt>
                <c:pt idx="29987">
                  <c:v>36181</c:v>
                </c:pt>
                <c:pt idx="29988">
                  <c:v>36181</c:v>
                </c:pt>
                <c:pt idx="29989">
                  <c:v>36179</c:v>
                </c:pt>
                <c:pt idx="29990">
                  <c:v>36179</c:v>
                </c:pt>
                <c:pt idx="29991">
                  <c:v>36179</c:v>
                </c:pt>
                <c:pt idx="29992">
                  <c:v>36179</c:v>
                </c:pt>
                <c:pt idx="29993">
                  <c:v>36178</c:v>
                </c:pt>
                <c:pt idx="29994">
                  <c:v>36178</c:v>
                </c:pt>
                <c:pt idx="29995">
                  <c:v>36178</c:v>
                </c:pt>
                <c:pt idx="29996">
                  <c:v>36178</c:v>
                </c:pt>
                <c:pt idx="29997">
                  <c:v>36177</c:v>
                </c:pt>
                <c:pt idx="29998">
                  <c:v>36176</c:v>
                </c:pt>
                <c:pt idx="29999">
                  <c:v>36176</c:v>
                </c:pt>
                <c:pt idx="30000">
                  <c:v>36176</c:v>
                </c:pt>
                <c:pt idx="30001">
                  <c:v>36176</c:v>
                </c:pt>
                <c:pt idx="30002">
                  <c:v>36176</c:v>
                </c:pt>
                <c:pt idx="30003">
                  <c:v>36176</c:v>
                </c:pt>
                <c:pt idx="30004">
                  <c:v>36175</c:v>
                </c:pt>
                <c:pt idx="30005">
                  <c:v>36175</c:v>
                </c:pt>
                <c:pt idx="30006">
                  <c:v>36175</c:v>
                </c:pt>
                <c:pt idx="30007">
                  <c:v>36174</c:v>
                </c:pt>
                <c:pt idx="30008">
                  <c:v>36174</c:v>
                </c:pt>
                <c:pt idx="30009">
                  <c:v>36174</c:v>
                </c:pt>
                <c:pt idx="30010">
                  <c:v>36174</c:v>
                </c:pt>
                <c:pt idx="30011">
                  <c:v>36173</c:v>
                </c:pt>
                <c:pt idx="30012">
                  <c:v>36172</c:v>
                </c:pt>
                <c:pt idx="30013">
                  <c:v>36172</c:v>
                </c:pt>
                <c:pt idx="30014">
                  <c:v>36172</c:v>
                </c:pt>
                <c:pt idx="30015">
                  <c:v>36172</c:v>
                </c:pt>
                <c:pt idx="30016">
                  <c:v>36172</c:v>
                </c:pt>
                <c:pt idx="30017">
                  <c:v>36171</c:v>
                </c:pt>
                <c:pt idx="30018">
                  <c:v>36171</c:v>
                </c:pt>
                <c:pt idx="30019">
                  <c:v>36171</c:v>
                </c:pt>
                <c:pt idx="30020">
                  <c:v>36171</c:v>
                </c:pt>
                <c:pt idx="30021">
                  <c:v>36171</c:v>
                </c:pt>
                <c:pt idx="30022">
                  <c:v>36171</c:v>
                </c:pt>
                <c:pt idx="30023">
                  <c:v>36171</c:v>
                </c:pt>
                <c:pt idx="30024">
                  <c:v>36171</c:v>
                </c:pt>
                <c:pt idx="30025">
                  <c:v>36170</c:v>
                </c:pt>
                <c:pt idx="30026">
                  <c:v>36170</c:v>
                </c:pt>
                <c:pt idx="30027">
                  <c:v>36169</c:v>
                </c:pt>
                <c:pt idx="30028">
                  <c:v>36169</c:v>
                </c:pt>
                <c:pt idx="30029">
                  <c:v>36169</c:v>
                </c:pt>
                <c:pt idx="30030">
                  <c:v>36169</c:v>
                </c:pt>
                <c:pt idx="30031">
                  <c:v>36168</c:v>
                </c:pt>
                <c:pt idx="30032">
                  <c:v>36168</c:v>
                </c:pt>
                <c:pt idx="30033">
                  <c:v>36167</c:v>
                </c:pt>
                <c:pt idx="30034">
                  <c:v>36167</c:v>
                </c:pt>
                <c:pt idx="30035">
                  <c:v>36167</c:v>
                </c:pt>
                <c:pt idx="30036">
                  <c:v>36166</c:v>
                </c:pt>
                <c:pt idx="30037">
                  <c:v>36166</c:v>
                </c:pt>
                <c:pt idx="30038">
                  <c:v>36166</c:v>
                </c:pt>
                <c:pt idx="30039">
                  <c:v>36166</c:v>
                </c:pt>
                <c:pt idx="30040">
                  <c:v>36164</c:v>
                </c:pt>
                <c:pt idx="30041">
                  <c:v>36163</c:v>
                </c:pt>
                <c:pt idx="30042">
                  <c:v>36163</c:v>
                </c:pt>
                <c:pt idx="30043">
                  <c:v>36162</c:v>
                </c:pt>
                <c:pt idx="30044">
                  <c:v>36162</c:v>
                </c:pt>
                <c:pt idx="30045">
                  <c:v>36162</c:v>
                </c:pt>
                <c:pt idx="30046">
                  <c:v>36162</c:v>
                </c:pt>
                <c:pt idx="30047">
                  <c:v>36162</c:v>
                </c:pt>
                <c:pt idx="30048">
                  <c:v>36162</c:v>
                </c:pt>
                <c:pt idx="30049">
                  <c:v>36162</c:v>
                </c:pt>
                <c:pt idx="30050">
                  <c:v>36161</c:v>
                </c:pt>
                <c:pt idx="30051">
                  <c:v>36161</c:v>
                </c:pt>
                <c:pt idx="30052">
                  <c:v>36161</c:v>
                </c:pt>
                <c:pt idx="30053">
                  <c:v>36160</c:v>
                </c:pt>
                <c:pt idx="30054">
                  <c:v>36160</c:v>
                </c:pt>
                <c:pt idx="30055">
                  <c:v>36160</c:v>
                </c:pt>
                <c:pt idx="30056">
                  <c:v>36160</c:v>
                </c:pt>
                <c:pt idx="30057">
                  <c:v>36159</c:v>
                </c:pt>
                <c:pt idx="30058">
                  <c:v>36159</c:v>
                </c:pt>
                <c:pt idx="30059">
                  <c:v>36159</c:v>
                </c:pt>
                <c:pt idx="30060">
                  <c:v>36159</c:v>
                </c:pt>
                <c:pt idx="30061">
                  <c:v>36158</c:v>
                </c:pt>
                <c:pt idx="30062">
                  <c:v>36158</c:v>
                </c:pt>
                <c:pt idx="30063">
                  <c:v>36158</c:v>
                </c:pt>
                <c:pt idx="30064">
                  <c:v>36158</c:v>
                </c:pt>
                <c:pt idx="30065">
                  <c:v>36157</c:v>
                </c:pt>
                <c:pt idx="30066">
                  <c:v>36156</c:v>
                </c:pt>
                <c:pt idx="30067">
                  <c:v>36156</c:v>
                </c:pt>
                <c:pt idx="30068">
                  <c:v>36156</c:v>
                </c:pt>
                <c:pt idx="30069">
                  <c:v>36156</c:v>
                </c:pt>
                <c:pt idx="30070">
                  <c:v>36155</c:v>
                </c:pt>
                <c:pt idx="30071">
                  <c:v>36155</c:v>
                </c:pt>
                <c:pt idx="30072">
                  <c:v>36155</c:v>
                </c:pt>
                <c:pt idx="30073">
                  <c:v>36155</c:v>
                </c:pt>
                <c:pt idx="30074">
                  <c:v>36155</c:v>
                </c:pt>
                <c:pt idx="30075">
                  <c:v>36154</c:v>
                </c:pt>
                <c:pt idx="30076">
                  <c:v>36154</c:v>
                </c:pt>
                <c:pt idx="30077">
                  <c:v>36154</c:v>
                </c:pt>
                <c:pt idx="30078">
                  <c:v>36153</c:v>
                </c:pt>
                <c:pt idx="30079">
                  <c:v>36153</c:v>
                </c:pt>
                <c:pt idx="30080">
                  <c:v>36152</c:v>
                </c:pt>
                <c:pt idx="30081">
                  <c:v>36152</c:v>
                </c:pt>
                <c:pt idx="30082">
                  <c:v>36152</c:v>
                </c:pt>
                <c:pt idx="30083">
                  <c:v>36151</c:v>
                </c:pt>
                <c:pt idx="30084">
                  <c:v>36151</c:v>
                </c:pt>
                <c:pt idx="30085">
                  <c:v>36151</c:v>
                </c:pt>
                <c:pt idx="30086">
                  <c:v>36151</c:v>
                </c:pt>
                <c:pt idx="30087">
                  <c:v>36151</c:v>
                </c:pt>
                <c:pt idx="30088">
                  <c:v>36150</c:v>
                </c:pt>
                <c:pt idx="30089">
                  <c:v>36150</c:v>
                </c:pt>
                <c:pt idx="30090">
                  <c:v>36150</c:v>
                </c:pt>
                <c:pt idx="30091">
                  <c:v>36150</c:v>
                </c:pt>
                <c:pt idx="30092">
                  <c:v>36149</c:v>
                </c:pt>
                <c:pt idx="30093">
                  <c:v>36149</c:v>
                </c:pt>
                <c:pt idx="30094">
                  <c:v>36149</c:v>
                </c:pt>
                <c:pt idx="30095">
                  <c:v>36149</c:v>
                </c:pt>
                <c:pt idx="30096">
                  <c:v>36149</c:v>
                </c:pt>
                <c:pt idx="30097">
                  <c:v>36149</c:v>
                </c:pt>
                <c:pt idx="30098">
                  <c:v>36148</c:v>
                </c:pt>
                <c:pt idx="30099">
                  <c:v>36148</c:v>
                </c:pt>
                <c:pt idx="30100">
                  <c:v>36148</c:v>
                </c:pt>
                <c:pt idx="30101">
                  <c:v>36148</c:v>
                </c:pt>
                <c:pt idx="30102">
                  <c:v>36148</c:v>
                </c:pt>
                <c:pt idx="30103">
                  <c:v>36147</c:v>
                </c:pt>
                <c:pt idx="30104">
                  <c:v>36147</c:v>
                </c:pt>
                <c:pt idx="30105">
                  <c:v>36146</c:v>
                </c:pt>
                <c:pt idx="30106">
                  <c:v>36146</c:v>
                </c:pt>
                <c:pt idx="30107">
                  <c:v>36146</c:v>
                </c:pt>
                <c:pt idx="30108">
                  <c:v>36146</c:v>
                </c:pt>
                <c:pt idx="30109">
                  <c:v>36146</c:v>
                </c:pt>
                <c:pt idx="30110">
                  <c:v>36145</c:v>
                </c:pt>
                <c:pt idx="30111">
                  <c:v>36145</c:v>
                </c:pt>
                <c:pt idx="30112">
                  <c:v>36145</c:v>
                </c:pt>
                <c:pt idx="30113">
                  <c:v>36145</c:v>
                </c:pt>
                <c:pt idx="30114">
                  <c:v>36144</c:v>
                </c:pt>
                <c:pt idx="30115">
                  <c:v>36144</c:v>
                </c:pt>
                <c:pt idx="30116">
                  <c:v>36144</c:v>
                </c:pt>
                <c:pt idx="30117">
                  <c:v>36144</c:v>
                </c:pt>
                <c:pt idx="30118">
                  <c:v>36143</c:v>
                </c:pt>
                <c:pt idx="30119">
                  <c:v>36143</c:v>
                </c:pt>
                <c:pt idx="30120">
                  <c:v>36143</c:v>
                </c:pt>
                <c:pt idx="30121">
                  <c:v>36142</c:v>
                </c:pt>
                <c:pt idx="30122">
                  <c:v>36142</c:v>
                </c:pt>
                <c:pt idx="30123">
                  <c:v>36142</c:v>
                </c:pt>
                <c:pt idx="30124">
                  <c:v>36141</c:v>
                </c:pt>
                <c:pt idx="30125">
                  <c:v>36141</c:v>
                </c:pt>
                <c:pt idx="30126">
                  <c:v>36141</c:v>
                </c:pt>
                <c:pt idx="30127">
                  <c:v>36140</c:v>
                </c:pt>
                <c:pt idx="30128">
                  <c:v>36139</c:v>
                </c:pt>
                <c:pt idx="30129">
                  <c:v>36139</c:v>
                </c:pt>
                <c:pt idx="30130">
                  <c:v>36138</c:v>
                </c:pt>
                <c:pt idx="30131">
                  <c:v>36138</c:v>
                </c:pt>
                <c:pt idx="30132">
                  <c:v>36138</c:v>
                </c:pt>
                <c:pt idx="30133">
                  <c:v>36138</c:v>
                </c:pt>
                <c:pt idx="30134">
                  <c:v>36137</c:v>
                </c:pt>
                <c:pt idx="30135">
                  <c:v>36137</c:v>
                </c:pt>
                <c:pt idx="30136">
                  <c:v>36137</c:v>
                </c:pt>
                <c:pt idx="30137">
                  <c:v>36136</c:v>
                </c:pt>
                <c:pt idx="30138">
                  <c:v>36136</c:v>
                </c:pt>
                <c:pt idx="30139">
                  <c:v>36135</c:v>
                </c:pt>
                <c:pt idx="30140">
                  <c:v>36135</c:v>
                </c:pt>
                <c:pt idx="30141">
                  <c:v>36135</c:v>
                </c:pt>
                <c:pt idx="30142">
                  <c:v>36134</c:v>
                </c:pt>
                <c:pt idx="30143">
                  <c:v>36134</c:v>
                </c:pt>
                <c:pt idx="30144">
                  <c:v>36134</c:v>
                </c:pt>
                <c:pt idx="30145">
                  <c:v>36134</c:v>
                </c:pt>
                <c:pt idx="30146">
                  <c:v>36134</c:v>
                </c:pt>
                <c:pt idx="30147">
                  <c:v>36134</c:v>
                </c:pt>
                <c:pt idx="30148">
                  <c:v>36134</c:v>
                </c:pt>
                <c:pt idx="30149">
                  <c:v>36133</c:v>
                </c:pt>
                <c:pt idx="30150">
                  <c:v>36133</c:v>
                </c:pt>
                <c:pt idx="30151">
                  <c:v>36133</c:v>
                </c:pt>
                <c:pt idx="30152">
                  <c:v>36132</c:v>
                </c:pt>
                <c:pt idx="30153">
                  <c:v>36132</c:v>
                </c:pt>
                <c:pt idx="30154">
                  <c:v>36132</c:v>
                </c:pt>
                <c:pt idx="30155">
                  <c:v>36131</c:v>
                </c:pt>
                <c:pt idx="30156">
                  <c:v>36131</c:v>
                </c:pt>
                <c:pt idx="30157">
                  <c:v>36131</c:v>
                </c:pt>
                <c:pt idx="30158">
                  <c:v>36131</c:v>
                </c:pt>
                <c:pt idx="30159">
                  <c:v>36131</c:v>
                </c:pt>
                <c:pt idx="30160">
                  <c:v>36131</c:v>
                </c:pt>
                <c:pt idx="30161">
                  <c:v>36130</c:v>
                </c:pt>
                <c:pt idx="30162">
                  <c:v>36130</c:v>
                </c:pt>
                <c:pt idx="30163">
                  <c:v>36130</c:v>
                </c:pt>
                <c:pt idx="30164">
                  <c:v>36129</c:v>
                </c:pt>
                <c:pt idx="30165">
                  <c:v>36129</c:v>
                </c:pt>
                <c:pt idx="30166">
                  <c:v>36129</c:v>
                </c:pt>
                <c:pt idx="30167">
                  <c:v>36129</c:v>
                </c:pt>
                <c:pt idx="30168">
                  <c:v>36129</c:v>
                </c:pt>
                <c:pt idx="30169">
                  <c:v>36128</c:v>
                </c:pt>
                <c:pt idx="30170">
                  <c:v>36128</c:v>
                </c:pt>
                <c:pt idx="30171">
                  <c:v>36127</c:v>
                </c:pt>
                <c:pt idx="30172">
                  <c:v>36127</c:v>
                </c:pt>
                <c:pt idx="30173">
                  <c:v>36127</c:v>
                </c:pt>
                <c:pt idx="30174">
                  <c:v>36127</c:v>
                </c:pt>
                <c:pt idx="30175">
                  <c:v>36127</c:v>
                </c:pt>
                <c:pt idx="30176">
                  <c:v>36126</c:v>
                </c:pt>
                <c:pt idx="30177">
                  <c:v>36126</c:v>
                </c:pt>
                <c:pt idx="30178">
                  <c:v>36126</c:v>
                </c:pt>
                <c:pt idx="30179">
                  <c:v>36126</c:v>
                </c:pt>
                <c:pt idx="30180">
                  <c:v>36126</c:v>
                </c:pt>
                <c:pt idx="30181">
                  <c:v>36126</c:v>
                </c:pt>
                <c:pt idx="30182">
                  <c:v>36125</c:v>
                </c:pt>
                <c:pt idx="30183">
                  <c:v>36125</c:v>
                </c:pt>
                <c:pt idx="30184">
                  <c:v>36125</c:v>
                </c:pt>
                <c:pt idx="30185">
                  <c:v>36124</c:v>
                </c:pt>
                <c:pt idx="30186">
                  <c:v>36124</c:v>
                </c:pt>
                <c:pt idx="30187">
                  <c:v>36123</c:v>
                </c:pt>
                <c:pt idx="30188">
                  <c:v>36123</c:v>
                </c:pt>
                <c:pt idx="30189">
                  <c:v>36122</c:v>
                </c:pt>
                <c:pt idx="30190">
                  <c:v>36122</c:v>
                </c:pt>
                <c:pt idx="30191">
                  <c:v>36122</c:v>
                </c:pt>
                <c:pt idx="30192">
                  <c:v>36121</c:v>
                </c:pt>
                <c:pt idx="30193">
                  <c:v>36121</c:v>
                </c:pt>
                <c:pt idx="30194">
                  <c:v>36121</c:v>
                </c:pt>
                <c:pt idx="30195">
                  <c:v>36121</c:v>
                </c:pt>
                <c:pt idx="30196">
                  <c:v>36120</c:v>
                </c:pt>
                <c:pt idx="30197">
                  <c:v>36120</c:v>
                </c:pt>
                <c:pt idx="30198">
                  <c:v>36120</c:v>
                </c:pt>
                <c:pt idx="30199">
                  <c:v>36120</c:v>
                </c:pt>
                <c:pt idx="30200">
                  <c:v>36119</c:v>
                </c:pt>
                <c:pt idx="30201">
                  <c:v>36119</c:v>
                </c:pt>
                <c:pt idx="30202">
                  <c:v>36118</c:v>
                </c:pt>
                <c:pt idx="30203">
                  <c:v>36118</c:v>
                </c:pt>
                <c:pt idx="30204">
                  <c:v>36117</c:v>
                </c:pt>
                <c:pt idx="30205">
                  <c:v>36117</c:v>
                </c:pt>
                <c:pt idx="30206">
                  <c:v>36117</c:v>
                </c:pt>
                <c:pt idx="30207">
                  <c:v>36117</c:v>
                </c:pt>
                <c:pt idx="30208">
                  <c:v>36117</c:v>
                </c:pt>
                <c:pt idx="30209">
                  <c:v>36116</c:v>
                </c:pt>
                <c:pt idx="30210">
                  <c:v>36116</c:v>
                </c:pt>
                <c:pt idx="30211">
                  <c:v>36116</c:v>
                </c:pt>
                <c:pt idx="30212">
                  <c:v>36116</c:v>
                </c:pt>
                <c:pt idx="30213">
                  <c:v>36115</c:v>
                </c:pt>
                <c:pt idx="30214">
                  <c:v>36115</c:v>
                </c:pt>
                <c:pt idx="30215">
                  <c:v>36114</c:v>
                </c:pt>
                <c:pt idx="30216">
                  <c:v>36113</c:v>
                </c:pt>
                <c:pt idx="30217">
                  <c:v>36113</c:v>
                </c:pt>
                <c:pt idx="30218">
                  <c:v>36113</c:v>
                </c:pt>
                <c:pt idx="30219">
                  <c:v>36113</c:v>
                </c:pt>
                <c:pt idx="30220">
                  <c:v>36113</c:v>
                </c:pt>
                <c:pt idx="30221">
                  <c:v>36113</c:v>
                </c:pt>
                <c:pt idx="30222">
                  <c:v>36112</c:v>
                </c:pt>
                <c:pt idx="30223">
                  <c:v>36112</c:v>
                </c:pt>
                <c:pt idx="30224">
                  <c:v>36112</c:v>
                </c:pt>
                <c:pt idx="30225">
                  <c:v>36112</c:v>
                </c:pt>
                <c:pt idx="30226">
                  <c:v>36112</c:v>
                </c:pt>
                <c:pt idx="30227">
                  <c:v>36111</c:v>
                </c:pt>
                <c:pt idx="30228">
                  <c:v>36111</c:v>
                </c:pt>
                <c:pt idx="30229">
                  <c:v>36111</c:v>
                </c:pt>
                <c:pt idx="30230">
                  <c:v>36111</c:v>
                </c:pt>
                <c:pt idx="30231">
                  <c:v>36111</c:v>
                </c:pt>
                <c:pt idx="30232">
                  <c:v>36111</c:v>
                </c:pt>
                <c:pt idx="30233">
                  <c:v>36110</c:v>
                </c:pt>
                <c:pt idx="30234">
                  <c:v>36110</c:v>
                </c:pt>
                <c:pt idx="30235">
                  <c:v>36110</c:v>
                </c:pt>
                <c:pt idx="30236">
                  <c:v>36110</c:v>
                </c:pt>
                <c:pt idx="30237">
                  <c:v>36110</c:v>
                </c:pt>
                <c:pt idx="30238">
                  <c:v>36110</c:v>
                </c:pt>
                <c:pt idx="30239">
                  <c:v>36110</c:v>
                </c:pt>
                <c:pt idx="30240">
                  <c:v>36109</c:v>
                </c:pt>
                <c:pt idx="30241">
                  <c:v>36109</c:v>
                </c:pt>
                <c:pt idx="30242">
                  <c:v>36109</c:v>
                </c:pt>
                <c:pt idx="30243">
                  <c:v>36108</c:v>
                </c:pt>
                <c:pt idx="30244">
                  <c:v>36108</c:v>
                </c:pt>
                <c:pt idx="30245">
                  <c:v>36107</c:v>
                </c:pt>
                <c:pt idx="30246">
                  <c:v>36107</c:v>
                </c:pt>
                <c:pt idx="30247">
                  <c:v>36107</c:v>
                </c:pt>
                <c:pt idx="30248">
                  <c:v>36106</c:v>
                </c:pt>
                <c:pt idx="30249">
                  <c:v>36105</c:v>
                </c:pt>
                <c:pt idx="30250">
                  <c:v>36105</c:v>
                </c:pt>
                <c:pt idx="30251">
                  <c:v>36105</c:v>
                </c:pt>
                <c:pt idx="30252">
                  <c:v>36105</c:v>
                </c:pt>
                <c:pt idx="30253">
                  <c:v>36105</c:v>
                </c:pt>
                <c:pt idx="30254">
                  <c:v>36105</c:v>
                </c:pt>
                <c:pt idx="30255">
                  <c:v>36104</c:v>
                </c:pt>
                <c:pt idx="30256">
                  <c:v>36104</c:v>
                </c:pt>
                <c:pt idx="30257">
                  <c:v>36104</c:v>
                </c:pt>
                <c:pt idx="30258">
                  <c:v>36104</c:v>
                </c:pt>
                <c:pt idx="30259">
                  <c:v>36103</c:v>
                </c:pt>
                <c:pt idx="30260">
                  <c:v>36102</c:v>
                </c:pt>
                <c:pt idx="30261">
                  <c:v>36102</c:v>
                </c:pt>
                <c:pt idx="30262">
                  <c:v>36101</c:v>
                </c:pt>
                <c:pt idx="30263">
                  <c:v>36101</c:v>
                </c:pt>
                <c:pt idx="30264">
                  <c:v>36100</c:v>
                </c:pt>
                <c:pt idx="30265">
                  <c:v>36100</c:v>
                </c:pt>
                <c:pt idx="30266">
                  <c:v>36100</c:v>
                </c:pt>
                <c:pt idx="30267">
                  <c:v>36099</c:v>
                </c:pt>
                <c:pt idx="30268">
                  <c:v>36099</c:v>
                </c:pt>
                <c:pt idx="30269">
                  <c:v>36099</c:v>
                </c:pt>
                <c:pt idx="30270">
                  <c:v>36098</c:v>
                </c:pt>
                <c:pt idx="30271">
                  <c:v>36098</c:v>
                </c:pt>
                <c:pt idx="30272">
                  <c:v>36097</c:v>
                </c:pt>
                <c:pt idx="30273">
                  <c:v>36097</c:v>
                </c:pt>
                <c:pt idx="30274">
                  <c:v>36097</c:v>
                </c:pt>
                <c:pt idx="30275">
                  <c:v>36096</c:v>
                </c:pt>
                <c:pt idx="30276">
                  <c:v>36096</c:v>
                </c:pt>
                <c:pt idx="30277">
                  <c:v>36096</c:v>
                </c:pt>
                <c:pt idx="30278">
                  <c:v>36096</c:v>
                </c:pt>
                <c:pt idx="30279">
                  <c:v>36096</c:v>
                </c:pt>
                <c:pt idx="30280">
                  <c:v>36095</c:v>
                </c:pt>
                <c:pt idx="30281">
                  <c:v>36095</c:v>
                </c:pt>
                <c:pt idx="30282">
                  <c:v>36095</c:v>
                </c:pt>
                <c:pt idx="30283">
                  <c:v>36094</c:v>
                </c:pt>
                <c:pt idx="30284">
                  <c:v>36094</c:v>
                </c:pt>
                <c:pt idx="30285">
                  <c:v>36094</c:v>
                </c:pt>
                <c:pt idx="30286">
                  <c:v>36094</c:v>
                </c:pt>
                <c:pt idx="30287">
                  <c:v>36093</c:v>
                </c:pt>
                <c:pt idx="30288">
                  <c:v>36092</c:v>
                </c:pt>
                <c:pt idx="30289">
                  <c:v>36092</c:v>
                </c:pt>
                <c:pt idx="30290">
                  <c:v>36092</c:v>
                </c:pt>
                <c:pt idx="30291">
                  <c:v>36092</c:v>
                </c:pt>
                <c:pt idx="30292">
                  <c:v>36092</c:v>
                </c:pt>
                <c:pt idx="30293">
                  <c:v>36092</c:v>
                </c:pt>
                <c:pt idx="30294">
                  <c:v>36091</c:v>
                </c:pt>
                <c:pt idx="30295">
                  <c:v>36091</c:v>
                </c:pt>
                <c:pt idx="30296">
                  <c:v>36091</c:v>
                </c:pt>
                <c:pt idx="30297">
                  <c:v>36091</c:v>
                </c:pt>
                <c:pt idx="30298">
                  <c:v>36090</c:v>
                </c:pt>
                <c:pt idx="30299">
                  <c:v>36090</c:v>
                </c:pt>
                <c:pt idx="30300">
                  <c:v>36089</c:v>
                </c:pt>
                <c:pt idx="30301">
                  <c:v>36089</c:v>
                </c:pt>
                <c:pt idx="30302">
                  <c:v>36089</c:v>
                </c:pt>
                <c:pt idx="30303">
                  <c:v>36089</c:v>
                </c:pt>
                <c:pt idx="30304">
                  <c:v>36089</c:v>
                </c:pt>
                <c:pt idx="30305">
                  <c:v>36087</c:v>
                </c:pt>
                <c:pt idx="30306">
                  <c:v>36087</c:v>
                </c:pt>
                <c:pt idx="30307">
                  <c:v>36086</c:v>
                </c:pt>
                <c:pt idx="30308">
                  <c:v>36086</c:v>
                </c:pt>
                <c:pt idx="30309">
                  <c:v>36085</c:v>
                </c:pt>
                <c:pt idx="30310">
                  <c:v>36085</c:v>
                </c:pt>
                <c:pt idx="30311">
                  <c:v>36084</c:v>
                </c:pt>
                <c:pt idx="30312">
                  <c:v>36084</c:v>
                </c:pt>
                <c:pt idx="30313">
                  <c:v>36084</c:v>
                </c:pt>
                <c:pt idx="30314">
                  <c:v>36084</c:v>
                </c:pt>
                <c:pt idx="30315">
                  <c:v>36083</c:v>
                </c:pt>
                <c:pt idx="30316">
                  <c:v>36083</c:v>
                </c:pt>
                <c:pt idx="30317">
                  <c:v>36083</c:v>
                </c:pt>
                <c:pt idx="30318">
                  <c:v>36083</c:v>
                </c:pt>
                <c:pt idx="30319">
                  <c:v>36083</c:v>
                </c:pt>
                <c:pt idx="30320">
                  <c:v>36083</c:v>
                </c:pt>
                <c:pt idx="30321">
                  <c:v>36083</c:v>
                </c:pt>
                <c:pt idx="30322">
                  <c:v>36082</c:v>
                </c:pt>
                <c:pt idx="30323">
                  <c:v>36082</c:v>
                </c:pt>
                <c:pt idx="30324">
                  <c:v>36082</c:v>
                </c:pt>
                <c:pt idx="30325">
                  <c:v>36082</c:v>
                </c:pt>
                <c:pt idx="30326">
                  <c:v>36082</c:v>
                </c:pt>
                <c:pt idx="30327">
                  <c:v>36081</c:v>
                </c:pt>
                <c:pt idx="30328">
                  <c:v>36081</c:v>
                </c:pt>
                <c:pt idx="30329">
                  <c:v>36081</c:v>
                </c:pt>
                <c:pt idx="30330">
                  <c:v>36081</c:v>
                </c:pt>
                <c:pt idx="30331">
                  <c:v>36081</c:v>
                </c:pt>
                <c:pt idx="30332">
                  <c:v>36081</c:v>
                </c:pt>
                <c:pt idx="30333">
                  <c:v>36081</c:v>
                </c:pt>
                <c:pt idx="30334">
                  <c:v>36080</c:v>
                </c:pt>
                <c:pt idx="30335">
                  <c:v>36080</c:v>
                </c:pt>
                <c:pt idx="30336">
                  <c:v>36080</c:v>
                </c:pt>
                <c:pt idx="30337">
                  <c:v>36080</c:v>
                </c:pt>
                <c:pt idx="30338">
                  <c:v>36080</c:v>
                </c:pt>
                <c:pt idx="30339">
                  <c:v>36080</c:v>
                </c:pt>
                <c:pt idx="30340">
                  <c:v>36080</c:v>
                </c:pt>
                <c:pt idx="30341">
                  <c:v>36080</c:v>
                </c:pt>
                <c:pt idx="30342">
                  <c:v>36079</c:v>
                </c:pt>
                <c:pt idx="30343">
                  <c:v>36078</c:v>
                </c:pt>
                <c:pt idx="30344">
                  <c:v>36078</c:v>
                </c:pt>
                <c:pt idx="30345">
                  <c:v>36078</c:v>
                </c:pt>
                <c:pt idx="30346">
                  <c:v>36077</c:v>
                </c:pt>
                <c:pt idx="30347">
                  <c:v>36077</c:v>
                </c:pt>
                <c:pt idx="30348">
                  <c:v>36077</c:v>
                </c:pt>
                <c:pt idx="30349">
                  <c:v>36077</c:v>
                </c:pt>
                <c:pt idx="30350">
                  <c:v>36077</c:v>
                </c:pt>
                <c:pt idx="30351">
                  <c:v>36077</c:v>
                </c:pt>
                <c:pt idx="30352">
                  <c:v>36076</c:v>
                </c:pt>
                <c:pt idx="30353">
                  <c:v>36076</c:v>
                </c:pt>
                <c:pt idx="30354">
                  <c:v>36076</c:v>
                </c:pt>
                <c:pt idx="30355">
                  <c:v>36076</c:v>
                </c:pt>
                <c:pt idx="30356">
                  <c:v>36076</c:v>
                </c:pt>
                <c:pt idx="30357">
                  <c:v>36075</c:v>
                </c:pt>
                <c:pt idx="30358">
                  <c:v>36075</c:v>
                </c:pt>
                <c:pt idx="30359">
                  <c:v>36075</c:v>
                </c:pt>
                <c:pt idx="30360">
                  <c:v>36075</c:v>
                </c:pt>
                <c:pt idx="30361">
                  <c:v>36074</c:v>
                </c:pt>
                <c:pt idx="30362">
                  <c:v>36074</c:v>
                </c:pt>
                <c:pt idx="30363">
                  <c:v>36074</c:v>
                </c:pt>
                <c:pt idx="30364">
                  <c:v>36074</c:v>
                </c:pt>
                <c:pt idx="30365">
                  <c:v>36074</c:v>
                </c:pt>
                <c:pt idx="30366">
                  <c:v>36073</c:v>
                </c:pt>
                <c:pt idx="30367">
                  <c:v>36073</c:v>
                </c:pt>
                <c:pt idx="30368">
                  <c:v>36073</c:v>
                </c:pt>
                <c:pt idx="30369">
                  <c:v>36072</c:v>
                </c:pt>
                <c:pt idx="30370">
                  <c:v>36072</c:v>
                </c:pt>
                <c:pt idx="30371">
                  <c:v>36072</c:v>
                </c:pt>
                <c:pt idx="30372">
                  <c:v>36072</c:v>
                </c:pt>
                <c:pt idx="30373">
                  <c:v>36072</c:v>
                </c:pt>
                <c:pt idx="30374">
                  <c:v>36071</c:v>
                </c:pt>
                <c:pt idx="30375">
                  <c:v>36071</c:v>
                </c:pt>
                <c:pt idx="30376">
                  <c:v>36071</c:v>
                </c:pt>
                <c:pt idx="30377">
                  <c:v>36070</c:v>
                </c:pt>
                <c:pt idx="30378">
                  <c:v>36070</c:v>
                </c:pt>
                <c:pt idx="30379">
                  <c:v>36069</c:v>
                </c:pt>
                <c:pt idx="30380">
                  <c:v>36069</c:v>
                </c:pt>
                <c:pt idx="30381">
                  <c:v>36068</c:v>
                </c:pt>
                <c:pt idx="30382">
                  <c:v>36068</c:v>
                </c:pt>
                <c:pt idx="30383">
                  <c:v>36067</c:v>
                </c:pt>
                <c:pt idx="30384">
                  <c:v>36067</c:v>
                </c:pt>
                <c:pt idx="30385">
                  <c:v>36067</c:v>
                </c:pt>
                <c:pt idx="30386">
                  <c:v>36067</c:v>
                </c:pt>
                <c:pt idx="30387">
                  <c:v>36067</c:v>
                </c:pt>
                <c:pt idx="30388">
                  <c:v>36066</c:v>
                </c:pt>
                <c:pt idx="30389">
                  <c:v>36066</c:v>
                </c:pt>
                <c:pt idx="30390">
                  <c:v>36066</c:v>
                </c:pt>
                <c:pt idx="30391">
                  <c:v>36066</c:v>
                </c:pt>
                <c:pt idx="30392">
                  <c:v>36066</c:v>
                </c:pt>
                <c:pt idx="30393">
                  <c:v>36065</c:v>
                </c:pt>
                <c:pt idx="30394">
                  <c:v>36065</c:v>
                </c:pt>
                <c:pt idx="30395">
                  <c:v>36065</c:v>
                </c:pt>
                <c:pt idx="30396">
                  <c:v>36064</c:v>
                </c:pt>
                <c:pt idx="30397">
                  <c:v>36064</c:v>
                </c:pt>
                <c:pt idx="30398">
                  <c:v>36063</c:v>
                </c:pt>
                <c:pt idx="30399">
                  <c:v>36063</c:v>
                </c:pt>
                <c:pt idx="30400">
                  <c:v>36063</c:v>
                </c:pt>
                <c:pt idx="30401">
                  <c:v>36063</c:v>
                </c:pt>
                <c:pt idx="30402">
                  <c:v>36063</c:v>
                </c:pt>
                <c:pt idx="30403">
                  <c:v>36062</c:v>
                </c:pt>
                <c:pt idx="30404">
                  <c:v>36062</c:v>
                </c:pt>
                <c:pt idx="30405">
                  <c:v>36062</c:v>
                </c:pt>
                <c:pt idx="30406">
                  <c:v>36062</c:v>
                </c:pt>
                <c:pt idx="30407">
                  <c:v>36062</c:v>
                </c:pt>
                <c:pt idx="30408">
                  <c:v>36062</c:v>
                </c:pt>
                <c:pt idx="30409">
                  <c:v>36061</c:v>
                </c:pt>
                <c:pt idx="30410">
                  <c:v>36061</c:v>
                </c:pt>
                <c:pt idx="30411">
                  <c:v>36060</c:v>
                </c:pt>
                <c:pt idx="30412">
                  <c:v>36060</c:v>
                </c:pt>
                <c:pt idx="30413">
                  <c:v>36060</c:v>
                </c:pt>
                <c:pt idx="30414">
                  <c:v>36060</c:v>
                </c:pt>
                <c:pt idx="30415">
                  <c:v>36059</c:v>
                </c:pt>
                <c:pt idx="30416">
                  <c:v>36059</c:v>
                </c:pt>
                <c:pt idx="30417">
                  <c:v>36059</c:v>
                </c:pt>
                <c:pt idx="30418">
                  <c:v>36059</c:v>
                </c:pt>
                <c:pt idx="30419">
                  <c:v>36058</c:v>
                </c:pt>
                <c:pt idx="30420">
                  <c:v>36058</c:v>
                </c:pt>
                <c:pt idx="30421">
                  <c:v>36058</c:v>
                </c:pt>
                <c:pt idx="30422">
                  <c:v>36058</c:v>
                </c:pt>
                <c:pt idx="30423">
                  <c:v>36058</c:v>
                </c:pt>
                <c:pt idx="30424">
                  <c:v>36058</c:v>
                </c:pt>
                <c:pt idx="30425">
                  <c:v>36057</c:v>
                </c:pt>
                <c:pt idx="30426">
                  <c:v>36057</c:v>
                </c:pt>
                <c:pt idx="30427">
                  <c:v>36057</c:v>
                </c:pt>
                <c:pt idx="30428">
                  <c:v>36057</c:v>
                </c:pt>
                <c:pt idx="30429">
                  <c:v>36056</c:v>
                </c:pt>
                <c:pt idx="30430">
                  <c:v>36056</c:v>
                </c:pt>
                <c:pt idx="30431">
                  <c:v>36056</c:v>
                </c:pt>
                <c:pt idx="30432">
                  <c:v>36056</c:v>
                </c:pt>
                <c:pt idx="30433">
                  <c:v>36056</c:v>
                </c:pt>
                <c:pt idx="30434">
                  <c:v>36056</c:v>
                </c:pt>
                <c:pt idx="30435">
                  <c:v>36055</c:v>
                </c:pt>
                <c:pt idx="30436">
                  <c:v>36054</c:v>
                </c:pt>
                <c:pt idx="30437">
                  <c:v>36054</c:v>
                </c:pt>
                <c:pt idx="30438">
                  <c:v>36054</c:v>
                </c:pt>
                <c:pt idx="30439">
                  <c:v>36054</c:v>
                </c:pt>
                <c:pt idx="30440">
                  <c:v>36053</c:v>
                </c:pt>
                <c:pt idx="30441">
                  <c:v>36053</c:v>
                </c:pt>
                <c:pt idx="30442">
                  <c:v>36053</c:v>
                </c:pt>
                <c:pt idx="30443">
                  <c:v>36053</c:v>
                </c:pt>
                <c:pt idx="30444">
                  <c:v>36052</c:v>
                </c:pt>
                <c:pt idx="30445">
                  <c:v>36052</c:v>
                </c:pt>
                <c:pt idx="30446">
                  <c:v>36052</c:v>
                </c:pt>
                <c:pt idx="30447">
                  <c:v>36052</c:v>
                </c:pt>
                <c:pt idx="30448">
                  <c:v>36051</c:v>
                </c:pt>
                <c:pt idx="30449">
                  <c:v>36051</c:v>
                </c:pt>
                <c:pt idx="30450">
                  <c:v>36051</c:v>
                </c:pt>
                <c:pt idx="30451">
                  <c:v>36051</c:v>
                </c:pt>
                <c:pt idx="30452">
                  <c:v>36051</c:v>
                </c:pt>
                <c:pt idx="30453">
                  <c:v>36050</c:v>
                </c:pt>
                <c:pt idx="30454">
                  <c:v>36050</c:v>
                </c:pt>
                <c:pt idx="30455">
                  <c:v>36050</c:v>
                </c:pt>
                <c:pt idx="30456">
                  <c:v>36050</c:v>
                </c:pt>
                <c:pt idx="30457">
                  <c:v>36049</c:v>
                </c:pt>
                <c:pt idx="30458">
                  <c:v>36049</c:v>
                </c:pt>
                <c:pt idx="30459">
                  <c:v>36049</c:v>
                </c:pt>
                <c:pt idx="30460">
                  <c:v>36049</c:v>
                </c:pt>
                <c:pt idx="30461">
                  <c:v>36049</c:v>
                </c:pt>
                <c:pt idx="30462">
                  <c:v>36049</c:v>
                </c:pt>
                <c:pt idx="30463">
                  <c:v>36049</c:v>
                </c:pt>
                <c:pt idx="30464">
                  <c:v>36048</c:v>
                </c:pt>
                <c:pt idx="30465">
                  <c:v>36048</c:v>
                </c:pt>
                <c:pt idx="30466">
                  <c:v>36047</c:v>
                </c:pt>
                <c:pt idx="30467">
                  <c:v>36047</c:v>
                </c:pt>
                <c:pt idx="30468">
                  <c:v>36047</c:v>
                </c:pt>
                <c:pt idx="30469">
                  <c:v>36046</c:v>
                </c:pt>
                <c:pt idx="30470">
                  <c:v>36046</c:v>
                </c:pt>
                <c:pt idx="30471">
                  <c:v>36046</c:v>
                </c:pt>
                <c:pt idx="30472">
                  <c:v>36045</c:v>
                </c:pt>
                <c:pt idx="30473">
                  <c:v>36045</c:v>
                </c:pt>
                <c:pt idx="30474">
                  <c:v>36045</c:v>
                </c:pt>
                <c:pt idx="30475">
                  <c:v>36044</c:v>
                </c:pt>
                <c:pt idx="30476">
                  <c:v>36044</c:v>
                </c:pt>
                <c:pt idx="30477">
                  <c:v>36044</c:v>
                </c:pt>
                <c:pt idx="30478">
                  <c:v>36044</c:v>
                </c:pt>
                <c:pt idx="30479">
                  <c:v>36044</c:v>
                </c:pt>
                <c:pt idx="30480">
                  <c:v>36043</c:v>
                </c:pt>
                <c:pt idx="30481">
                  <c:v>36043</c:v>
                </c:pt>
                <c:pt idx="30482">
                  <c:v>36043</c:v>
                </c:pt>
                <c:pt idx="30483">
                  <c:v>36043</c:v>
                </c:pt>
                <c:pt idx="30484">
                  <c:v>36043</c:v>
                </c:pt>
                <c:pt idx="30485">
                  <c:v>36042</c:v>
                </c:pt>
                <c:pt idx="30486">
                  <c:v>36042</c:v>
                </c:pt>
                <c:pt idx="30487">
                  <c:v>36042</c:v>
                </c:pt>
                <c:pt idx="30488">
                  <c:v>36042</c:v>
                </c:pt>
                <c:pt idx="30489">
                  <c:v>36042</c:v>
                </c:pt>
                <c:pt idx="30490">
                  <c:v>36041</c:v>
                </c:pt>
                <c:pt idx="30491">
                  <c:v>36040</c:v>
                </c:pt>
                <c:pt idx="30492">
                  <c:v>36040</c:v>
                </c:pt>
                <c:pt idx="30493">
                  <c:v>36040</c:v>
                </c:pt>
                <c:pt idx="30494">
                  <c:v>36040</c:v>
                </c:pt>
                <c:pt idx="30495">
                  <c:v>36040</c:v>
                </c:pt>
                <c:pt idx="30496">
                  <c:v>36040</c:v>
                </c:pt>
                <c:pt idx="30497">
                  <c:v>36040</c:v>
                </c:pt>
                <c:pt idx="30498">
                  <c:v>36040</c:v>
                </c:pt>
                <c:pt idx="30499">
                  <c:v>36040</c:v>
                </c:pt>
                <c:pt idx="30500">
                  <c:v>36040</c:v>
                </c:pt>
                <c:pt idx="30501">
                  <c:v>36039</c:v>
                </c:pt>
                <c:pt idx="30502">
                  <c:v>36039</c:v>
                </c:pt>
                <c:pt idx="30503">
                  <c:v>36039</c:v>
                </c:pt>
                <c:pt idx="30504">
                  <c:v>36039</c:v>
                </c:pt>
                <c:pt idx="30505">
                  <c:v>36039</c:v>
                </c:pt>
                <c:pt idx="30506">
                  <c:v>36038</c:v>
                </c:pt>
                <c:pt idx="30507">
                  <c:v>36038</c:v>
                </c:pt>
                <c:pt idx="30508">
                  <c:v>36038</c:v>
                </c:pt>
                <c:pt idx="30509">
                  <c:v>36038</c:v>
                </c:pt>
                <c:pt idx="30510">
                  <c:v>36037</c:v>
                </c:pt>
                <c:pt idx="30511">
                  <c:v>36037</c:v>
                </c:pt>
                <c:pt idx="30512">
                  <c:v>36037</c:v>
                </c:pt>
                <c:pt idx="30513">
                  <c:v>36037</c:v>
                </c:pt>
                <c:pt idx="30514">
                  <c:v>36037</c:v>
                </c:pt>
                <c:pt idx="30515">
                  <c:v>36037</c:v>
                </c:pt>
                <c:pt idx="30516">
                  <c:v>36036</c:v>
                </c:pt>
                <c:pt idx="30517">
                  <c:v>36036</c:v>
                </c:pt>
                <c:pt idx="30518">
                  <c:v>36035</c:v>
                </c:pt>
                <c:pt idx="30519">
                  <c:v>36035</c:v>
                </c:pt>
                <c:pt idx="30520">
                  <c:v>36035</c:v>
                </c:pt>
                <c:pt idx="30521">
                  <c:v>36035</c:v>
                </c:pt>
                <c:pt idx="30522">
                  <c:v>36035</c:v>
                </c:pt>
                <c:pt idx="30523">
                  <c:v>36034</c:v>
                </c:pt>
                <c:pt idx="30524">
                  <c:v>36034</c:v>
                </c:pt>
                <c:pt idx="30525">
                  <c:v>36034</c:v>
                </c:pt>
                <c:pt idx="30526">
                  <c:v>36034</c:v>
                </c:pt>
                <c:pt idx="30527">
                  <c:v>36033</c:v>
                </c:pt>
                <c:pt idx="30528">
                  <c:v>36033</c:v>
                </c:pt>
                <c:pt idx="30529">
                  <c:v>36032</c:v>
                </c:pt>
                <c:pt idx="30530">
                  <c:v>36032</c:v>
                </c:pt>
                <c:pt idx="30531">
                  <c:v>36032</c:v>
                </c:pt>
                <c:pt idx="30532">
                  <c:v>36031</c:v>
                </c:pt>
                <c:pt idx="30533">
                  <c:v>36031</c:v>
                </c:pt>
                <c:pt idx="30534">
                  <c:v>36030</c:v>
                </c:pt>
                <c:pt idx="30535">
                  <c:v>36030</c:v>
                </c:pt>
                <c:pt idx="30536">
                  <c:v>36030</c:v>
                </c:pt>
                <c:pt idx="30537">
                  <c:v>36030</c:v>
                </c:pt>
                <c:pt idx="30538">
                  <c:v>36029</c:v>
                </c:pt>
                <c:pt idx="30539">
                  <c:v>36029</c:v>
                </c:pt>
                <c:pt idx="30540">
                  <c:v>36029</c:v>
                </c:pt>
                <c:pt idx="30541">
                  <c:v>36029</c:v>
                </c:pt>
                <c:pt idx="30542">
                  <c:v>36029</c:v>
                </c:pt>
                <c:pt idx="30543">
                  <c:v>36028</c:v>
                </c:pt>
                <c:pt idx="30544">
                  <c:v>36028</c:v>
                </c:pt>
                <c:pt idx="30545">
                  <c:v>36028</c:v>
                </c:pt>
                <c:pt idx="30546">
                  <c:v>36028</c:v>
                </c:pt>
                <c:pt idx="30547">
                  <c:v>36028</c:v>
                </c:pt>
                <c:pt idx="30548">
                  <c:v>36028</c:v>
                </c:pt>
                <c:pt idx="30549">
                  <c:v>36027</c:v>
                </c:pt>
                <c:pt idx="30550">
                  <c:v>36027</c:v>
                </c:pt>
                <c:pt idx="30551">
                  <c:v>36027</c:v>
                </c:pt>
                <c:pt idx="30552">
                  <c:v>36027</c:v>
                </c:pt>
                <c:pt idx="30553">
                  <c:v>36026</c:v>
                </c:pt>
                <c:pt idx="30554">
                  <c:v>36026</c:v>
                </c:pt>
                <c:pt idx="30555">
                  <c:v>36026</c:v>
                </c:pt>
                <c:pt idx="30556">
                  <c:v>36026</c:v>
                </c:pt>
                <c:pt idx="30557">
                  <c:v>36026</c:v>
                </c:pt>
                <c:pt idx="30558">
                  <c:v>36025</c:v>
                </c:pt>
                <c:pt idx="30559">
                  <c:v>36024</c:v>
                </c:pt>
                <c:pt idx="30560">
                  <c:v>36024</c:v>
                </c:pt>
                <c:pt idx="30561">
                  <c:v>36023</c:v>
                </c:pt>
                <c:pt idx="30562">
                  <c:v>36023</c:v>
                </c:pt>
                <c:pt idx="30563">
                  <c:v>36022</c:v>
                </c:pt>
                <c:pt idx="30564">
                  <c:v>36022</c:v>
                </c:pt>
                <c:pt idx="30565">
                  <c:v>36022</c:v>
                </c:pt>
                <c:pt idx="30566">
                  <c:v>36022</c:v>
                </c:pt>
                <c:pt idx="30567">
                  <c:v>36022</c:v>
                </c:pt>
                <c:pt idx="30568">
                  <c:v>36021</c:v>
                </c:pt>
                <c:pt idx="30569">
                  <c:v>36021</c:v>
                </c:pt>
                <c:pt idx="30570">
                  <c:v>36020</c:v>
                </c:pt>
                <c:pt idx="30571">
                  <c:v>36020</c:v>
                </c:pt>
                <c:pt idx="30572">
                  <c:v>36020</c:v>
                </c:pt>
                <c:pt idx="30573">
                  <c:v>36020</c:v>
                </c:pt>
                <c:pt idx="30574">
                  <c:v>36020</c:v>
                </c:pt>
                <c:pt idx="30575">
                  <c:v>36019</c:v>
                </c:pt>
                <c:pt idx="30576">
                  <c:v>36019</c:v>
                </c:pt>
                <c:pt idx="30577">
                  <c:v>36019</c:v>
                </c:pt>
                <c:pt idx="30578">
                  <c:v>36018</c:v>
                </c:pt>
                <c:pt idx="30579">
                  <c:v>36018</c:v>
                </c:pt>
                <c:pt idx="30580">
                  <c:v>36018</c:v>
                </c:pt>
                <c:pt idx="30581">
                  <c:v>36018</c:v>
                </c:pt>
                <c:pt idx="30582">
                  <c:v>36018</c:v>
                </c:pt>
                <c:pt idx="30583">
                  <c:v>36018</c:v>
                </c:pt>
                <c:pt idx="30584">
                  <c:v>36017</c:v>
                </c:pt>
                <c:pt idx="30585">
                  <c:v>36016</c:v>
                </c:pt>
                <c:pt idx="30586">
                  <c:v>36016</c:v>
                </c:pt>
                <c:pt idx="30587">
                  <c:v>36016</c:v>
                </c:pt>
                <c:pt idx="30588">
                  <c:v>36016</c:v>
                </c:pt>
                <c:pt idx="30589">
                  <c:v>36016</c:v>
                </c:pt>
                <c:pt idx="30590">
                  <c:v>36015</c:v>
                </c:pt>
                <c:pt idx="30591">
                  <c:v>36015</c:v>
                </c:pt>
                <c:pt idx="30592">
                  <c:v>36015</c:v>
                </c:pt>
                <c:pt idx="30593">
                  <c:v>36015</c:v>
                </c:pt>
                <c:pt idx="30594">
                  <c:v>36014</c:v>
                </c:pt>
                <c:pt idx="30595">
                  <c:v>36014</c:v>
                </c:pt>
                <c:pt idx="30596">
                  <c:v>36012</c:v>
                </c:pt>
                <c:pt idx="30597">
                  <c:v>36012</c:v>
                </c:pt>
                <c:pt idx="30598">
                  <c:v>36011</c:v>
                </c:pt>
                <c:pt idx="30599">
                  <c:v>36011</c:v>
                </c:pt>
                <c:pt idx="30600">
                  <c:v>36011</c:v>
                </c:pt>
                <c:pt idx="30601">
                  <c:v>36011</c:v>
                </c:pt>
                <c:pt idx="30602">
                  <c:v>36011</c:v>
                </c:pt>
                <c:pt idx="30603">
                  <c:v>36010</c:v>
                </c:pt>
                <c:pt idx="30604">
                  <c:v>36010</c:v>
                </c:pt>
                <c:pt idx="30605">
                  <c:v>36010</c:v>
                </c:pt>
                <c:pt idx="30606">
                  <c:v>36010</c:v>
                </c:pt>
                <c:pt idx="30607">
                  <c:v>36010</c:v>
                </c:pt>
                <c:pt idx="30608">
                  <c:v>36009</c:v>
                </c:pt>
                <c:pt idx="30609">
                  <c:v>36009</c:v>
                </c:pt>
                <c:pt idx="30610">
                  <c:v>36009</c:v>
                </c:pt>
                <c:pt idx="30611">
                  <c:v>36009</c:v>
                </c:pt>
                <c:pt idx="30612">
                  <c:v>36009</c:v>
                </c:pt>
                <c:pt idx="30613">
                  <c:v>36009</c:v>
                </c:pt>
                <c:pt idx="30614">
                  <c:v>36008</c:v>
                </c:pt>
                <c:pt idx="30615">
                  <c:v>36008</c:v>
                </c:pt>
                <c:pt idx="30616">
                  <c:v>36008</c:v>
                </c:pt>
                <c:pt idx="30617">
                  <c:v>36008</c:v>
                </c:pt>
                <c:pt idx="30618">
                  <c:v>36008</c:v>
                </c:pt>
                <c:pt idx="30619">
                  <c:v>36007</c:v>
                </c:pt>
                <c:pt idx="30620">
                  <c:v>36007</c:v>
                </c:pt>
                <c:pt idx="30621">
                  <c:v>36006</c:v>
                </c:pt>
                <c:pt idx="30622">
                  <c:v>36006</c:v>
                </c:pt>
                <c:pt idx="30623">
                  <c:v>36006</c:v>
                </c:pt>
                <c:pt idx="30624">
                  <c:v>36005</c:v>
                </c:pt>
                <c:pt idx="30625">
                  <c:v>36005</c:v>
                </c:pt>
                <c:pt idx="30626">
                  <c:v>36005</c:v>
                </c:pt>
                <c:pt idx="30627">
                  <c:v>36005</c:v>
                </c:pt>
                <c:pt idx="30628">
                  <c:v>36004</c:v>
                </c:pt>
                <c:pt idx="30629">
                  <c:v>36004</c:v>
                </c:pt>
                <c:pt idx="30630">
                  <c:v>36003</c:v>
                </c:pt>
                <c:pt idx="30631">
                  <c:v>36003</c:v>
                </c:pt>
                <c:pt idx="30632">
                  <c:v>36002</c:v>
                </c:pt>
                <c:pt idx="30633">
                  <c:v>36002</c:v>
                </c:pt>
                <c:pt idx="30634">
                  <c:v>36002</c:v>
                </c:pt>
                <c:pt idx="30635">
                  <c:v>36001</c:v>
                </c:pt>
                <c:pt idx="30636">
                  <c:v>36001</c:v>
                </c:pt>
                <c:pt idx="30637">
                  <c:v>36001</c:v>
                </c:pt>
                <c:pt idx="30638">
                  <c:v>36001</c:v>
                </c:pt>
                <c:pt idx="30639">
                  <c:v>36000</c:v>
                </c:pt>
                <c:pt idx="30640">
                  <c:v>36000</c:v>
                </c:pt>
                <c:pt idx="30641">
                  <c:v>36000</c:v>
                </c:pt>
                <c:pt idx="30642">
                  <c:v>35999</c:v>
                </c:pt>
                <c:pt idx="30643">
                  <c:v>35999</c:v>
                </c:pt>
                <c:pt idx="30644">
                  <c:v>35999</c:v>
                </c:pt>
                <c:pt idx="30645">
                  <c:v>35998</c:v>
                </c:pt>
                <c:pt idx="30646">
                  <c:v>35997</c:v>
                </c:pt>
                <c:pt idx="30647">
                  <c:v>35997</c:v>
                </c:pt>
                <c:pt idx="30648">
                  <c:v>35996</c:v>
                </c:pt>
                <c:pt idx="30649">
                  <c:v>35996</c:v>
                </c:pt>
                <c:pt idx="30650">
                  <c:v>35996</c:v>
                </c:pt>
                <c:pt idx="30651">
                  <c:v>35995</c:v>
                </c:pt>
                <c:pt idx="30652">
                  <c:v>35995</c:v>
                </c:pt>
                <c:pt idx="30653">
                  <c:v>35995</c:v>
                </c:pt>
                <c:pt idx="30654">
                  <c:v>35995</c:v>
                </c:pt>
                <c:pt idx="30655">
                  <c:v>35995</c:v>
                </c:pt>
                <c:pt idx="30656">
                  <c:v>35994</c:v>
                </c:pt>
                <c:pt idx="30657">
                  <c:v>35994</c:v>
                </c:pt>
                <c:pt idx="30658">
                  <c:v>35993</c:v>
                </c:pt>
                <c:pt idx="30659">
                  <c:v>35993</c:v>
                </c:pt>
                <c:pt idx="30660">
                  <c:v>35993</c:v>
                </c:pt>
                <c:pt idx="30661">
                  <c:v>35993</c:v>
                </c:pt>
                <c:pt idx="30662">
                  <c:v>35992</c:v>
                </c:pt>
                <c:pt idx="30663">
                  <c:v>35992</c:v>
                </c:pt>
                <c:pt idx="30664">
                  <c:v>35992</c:v>
                </c:pt>
                <c:pt idx="30665">
                  <c:v>35992</c:v>
                </c:pt>
                <c:pt idx="30666">
                  <c:v>35991</c:v>
                </c:pt>
                <c:pt idx="30667">
                  <c:v>35991</c:v>
                </c:pt>
                <c:pt idx="30668">
                  <c:v>35991</c:v>
                </c:pt>
                <c:pt idx="30669">
                  <c:v>35990</c:v>
                </c:pt>
                <c:pt idx="30670">
                  <c:v>35989</c:v>
                </c:pt>
                <c:pt idx="30671">
                  <c:v>35988</c:v>
                </c:pt>
                <c:pt idx="30672">
                  <c:v>35988</c:v>
                </c:pt>
                <c:pt idx="30673">
                  <c:v>35988</c:v>
                </c:pt>
                <c:pt idx="30674">
                  <c:v>35988</c:v>
                </c:pt>
                <c:pt idx="30675">
                  <c:v>35988</c:v>
                </c:pt>
                <c:pt idx="30676">
                  <c:v>35988</c:v>
                </c:pt>
                <c:pt idx="30677">
                  <c:v>35988</c:v>
                </c:pt>
                <c:pt idx="30678">
                  <c:v>35987</c:v>
                </c:pt>
                <c:pt idx="30679">
                  <c:v>35987</c:v>
                </c:pt>
                <c:pt idx="30680">
                  <c:v>35986</c:v>
                </c:pt>
                <c:pt idx="30681">
                  <c:v>35986</c:v>
                </c:pt>
                <c:pt idx="30682">
                  <c:v>35986</c:v>
                </c:pt>
                <c:pt idx="30683">
                  <c:v>35985</c:v>
                </c:pt>
                <c:pt idx="30684">
                  <c:v>35985</c:v>
                </c:pt>
                <c:pt idx="30685">
                  <c:v>35985</c:v>
                </c:pt>
                <c:pt idx="30686">
                  <c:v>35985</c:v>
                </c:pt>
                <c:pt idx="30687">
                  <c:v>35985</c:v>
                </c:pt>
                <c:pt idx="30688">
                  <c:v>35984</c:v>
                </c:pt>
                <c:pt idx="30689">
                  <c:v>35984</c:v>
                </c:pt>
                <c:pt idx="30690">
                  <c:v>35984</c:v>
                </c:pt>
                <c:pt idx="30691">
                  <c:v>35984</c:v>
                </c:pt>
                <c:pt idx="30692">
                  <c:v>35984</c:v>
                </c:pt>
                <c:pt idx="30693">
                  <c:v>35983</c:v>
                </c:pt>
                <c:pt idx="30694">
                  <c:v>35983</c:v>
                </c:pt>
                <c:pt idx="30695">
                  <c:v>35982</c:v>
                </c:pt>
                <c:pt idx="30696">
                  <c:v>35982</c:v>
                </c:pt>
                <c:pt idx="30697">
                  <c:v>35982</c:v>
                </c:pt>
                <c:pt idx="30698">
                  <c:v>35982</c:v>
                </c:pt>
                <c:pt idx="30699">
                  <c:v>35981</c:v>
                </c:pt>
                <c:pt idx="30700">
                  <c:v>35981</c:v>
                </c:pt>
                <c:pt idx="30701">
                  <c:v>35979</c:v>
                </c:pt>
                <c:pt idx="30702">
                  <c:v>35979</c:v>
                </c:pt>
                <c:pt idx="30703">
                  <c:v>35978</c:v>
                </c:pt>
                <c:pt idx="30704">
                  <c:v>35978</c:v>
                </c:pt>
                <c:pt idx="30705">
                  <c:v>35978</c:v>
                </c:pt>
                <c:pt idx="30706">
                  <c:v>35978</c:v>
                </c:pt>
                <c:pt idx="30707">
                  <c:v>35978</c:v>
                </c:pt>
                <c:pt idx="30708">
                  <c:v>35978</c:v>
                </c:pt>
                <c:pt idx="30709">
                  <c:v>35978</c:v>
                </c:pt>
                <c:pt idx="30710">
                  <c:v>35977</c:v>
                </c:pt>
                <c:pt idx="30711">
                  <c:v>35977</c:v>
                </c:pt>
                <c:pt idx="30712">
                  <c:v>35977</c:v>
                </c:pt>
                <c:pt idx="30713">
                  <c:v>35976</c:v>
                </c:pt>
                <c:pt idx="30714">
                  <c:v>35976</c:v>
                </c:pt>
                <c:pt idx="30715">
                  <c:v>35975</c:v>
                </c:pt>
                <c:pt idx="30716">
                  <c:v>35975</c:v>
                </c:pt>
                <c:pt idx="30717">
                  <c:v>35975</c:v>
                </c:pt>
                <c:pt idx="30718">
                  <c:v>35975</c:v>
                </c:pt>
                <c:pt idx="30719">
                  <c:v>35975</c:v>
                </c:pt>
                <c:pt idx="30720">
                  <c:v>35974</c:v>
                </c:pt>
                <c:pt idx="30721">
                  <c:v>35974</c:v>
                </c:pt>
                <c:pt idx="30722">
                  <c:v>35973</c:v>
                </c:pt>
                <c:pt idx="30723">
                  <c:v>35973</c:v>
                </c:pt>
                <c:pt idx="30724">
                  <c:v>35973</c:v>
                </c:pt>
                <c:pt idx="30725">
                  <c:v>35973</c:v>
                </c:pt>
                <c:pt idx="30726">
                  <c:v>35973</c:v>
                </c:pt>
                <c:pt idx="30727">
                  <c:v>35973</c:v>
                </c:pt>
                <c:pt idx="30728">
                  <c:v>35973</c:v>
                </c:pt>
                <c:pt idx="30729">
                  <c:v>35972</c:v>
                </c:pt>
                <c:pt idx="30730">
                  <c:v>35972</c:v>
                </c:pt>
                <c:pt idx="30731">
                  <c:v>35971</c:v>
                </c:pt>
                <c:pt idx="30732">
                  <c:v>35971</c:v>
                </c:pt>
                <c:pt idx="30733">
                  <c:v>35971</c:v>
                </c:pt>
                <c:pt idx="30734">
                  <c:v>35971</c:v>
                </c:pt>
                <c:pt idx="30735">
                  <c:v>35970</c:v>
                </c:pt>
                <c:pt idx="30736">
                  <c:v>35970</c:v>
                </c:pt>
                <c:pt idx="30737">
                  <c:v>35969</c:v>
                </c:pt>
                <c:pt idx="30738">
                  <c:v>35969</c:v>
                </c:pt>
                <c:pt idx="30739">
                  <c:v>35969</c:v>
                </c:pt>
                <c:pt idx="30740">
                  <c:v>35969</c:v>
                </c:pt>
                <c:pt idx="30741">
                  <c:v>35969</c:v>
                </c:pt>
                <c:pt idx="30742">
                  <c:v>35969</c:v>
                </c:pt>
                <c:pt idx="30743">
                  <c:v>35969</c:v>
                </c:pt>
                <c:pt idx="30744">
                  <c:v>35968</c:v>
                </c:pt>
                <c:pt idx="30745">
                  <c:v>35968</c:v>
                </c:pt>
                <c:pt idx="30746">
                  <c:v>35967</c:v>
                </c:pt>
                <c:pt idx="30747">
                  <c:v>35967</c:v>
                </c:pt>
                <c:pt idx="30748">
                  <c:v>35967</c:v>
                </c:pt>
                <c:pt idx="30749">
                  <c:v>35967</c:v>
                </c:pt>
                <c:pt idx="30750">
                  <c:v>35965</c:v>
                </c:pt>
                <c:pt idx="30751">
                  <c:v>35965</c:v>
                </c:pt>
                <c:pt idx="30752">
                  <c:v>35965</c:v>
                </c:pt>
                <c:pt idx="30753">
                  <c:v>35965</c:v>
                </c:pt>
                <c:pt idx="30754">
                  <c:v>35965</c:v>
                </c:pt>
                <c:pt idx="30755">
                  <c:v>35965</c:v>
                </c:pt>
                <c:pt idx="30756">
                  <c:v>35965</c:v>
                </c:pt>
                <c:pt idx="30757">
                  <c:v>35964</c:v>
                </c:pt>
                <c:pt idx="30758">
                  <c:v>35964</c:v>
                </c:pt>
                <c:pt idx="30759">
                  <c:v>35964</c:v>
                </c:pt>
                <c:pt idx="30760">
                  <c:v>35964</c:v>
                </c:pt>
                <c:pt idx="30761">
                  <c:v>35963</c:v>
                </c:pt>
                <c:pt idx="30762">
                  <c:v>35963</c:v>
                </c:pt>
                <c:pt idx="30763">
                  <c:v>35963</c:v>
                </c:pt>
                <c:pt idx="30764">
                  <c:v>35962</c:v>
                </c:pt>
                <c:pt idx="30765">
                  <c:v>35962</c:v>
                </c:pt>
                <c:pt idx="30766">
                  <c:v>35961</c:v>
                </c:pt>
                <c:pt idx="30767">
                  <c:v>35961</c:v>
                </c:pt>
                <c:pt idx="30768">
                  <c:v>35961</c:v>
                </c:pt>
                <c:pt idx="30769">
                  <c:v>35961</c:v>
                </c:pt>
                <c:pt idx="30770">
                  <c:v>35960</c:v>
                </c:pt>
                <c:pt idx="30771">
                  <c:v>35960</c:v>
                </c:pt>
                <c:pt idx="30772">
                  <c:v>35958</c:v>
                </c:pt>
                <c:pt idx="30773">
                  <c:v>35958</c:v>
                </c:pt>
                <c:pt idx="30774">
                  <c:v>35958</c:v>
                </c:pt>
                <c:pt idx="30775">
                  <c:v>35958</c:v>
                </c:pt>
                <c:pt idx="30776">
                  <c:v>35958</c:v>
                </c:pt>
                <c:pt idx="30777">
                  <c:v>35958</c:v>
                </c:pt>
                <c:pt idx="30778">
                  <c:v>35958</c:v>
                </c:pt>
                <c:pt idx="30779">
                  <c:v>35957</c:v>
                </c:pt>
                <c:pt idx="30780">
                  <c:v>35957</c:v>
                </c:pt>
                <c:pt idx="30781">
                  <c:v>35957</c:v>
                </c:pt>
                <c:pt idx="30782">
                  <c:v>35957</c:v>
                </c:pt>
                <c:pt idx="30783">
                  <c:v>35956</c:v>
                </c:pt>
                <c:pt idx="30784">
                  <c:v>35956</c:v>
                </c:pt>
                <c:pt idx="30785">
                  <c:v>35956</c:v>
                </c:pt>
                <c:pt idx="30786">
                  <c:v>35956</c:v>
                </c:pt>
                <c:pt idx="30787">
                  <c:v>35955</c:v>
                </c:pt>
                <c:pt idx="30788">
                  <c:v>35955</c:v>
                </c:pt>
                <c:pt idx="30789">
                  <c:v>35955</c:v>
                </c:pt>
                <c:pt idx="30790">
                  <c:v>35955</c:v>
                </c:pt>
                <c:pt idx="30791">
                  <c:v>35955</c:v>
                </c:pt>
                <c:pt idx="30792">
                  <c:v>35954</c:v>
                </c:pt>
                <c:pt idx="30793">
                  <c:v>35953</c:v>
                </c:pt>
                <c:pt idx="30794">
                  <c:v>35953</c:v>
                </c:pt>
                <c:pt idx="30795">
                  <c:v>35953</c:v>
                </c:pt>
                <c:pt idx="30796">
                  <c:v>35953</c:v>
                </c:pt>
                <c:pt idx="30797">
                  <c:v>35953</c:v>
                </c:pt>
                <c:pt idx="30798">
                  <c:v>35953</c:v>
                </c:pt>
                <c:pt idx="30799">
                  <c:v>35953</c:v>
                </c:pt>
                <c:pt idx="30800">
                  <c:v>35952</c:v>
                </c:pt>
                <c:pt idx="30801">
                  <c:v>35952</c:v>
                </c:pt>
                <c:pt idx="30802">
                  <c:v>35952</c:v>
                </c:pt>
                <c:pt idx="30803">
                  <c:v>35952</c:v>
                </c:pt>
                <c:pt idx="30804">
                  <c:v>35951</c:v>
                </c:pt>
                <c:pt idx="30805">
                  <c:v>35951</c:v>
                </c:pt>
                <c:pt idx="30806">
                  <c:v>35951</c:v>
                </c:pt>
                <c:pt idx="30807">
                  <c:v>35950</c:v>
                </c:pt>
                <c:pt idx="30808">
                  <c:v>35950</c:v>
                </c:pt>
                <c:pt idx="30809">
                  <c:v>35950</c:v>
                </c:pt>
                <c:pt idx="30810">
                  <c:v>35949</c:v>
                </c:pt>
                <c:pt idx="30811">
                  <c:v>35949</c:v>
                </c:pt>
                <c:pt idx="30812">
                  <c:v>35949</c:v>
                </c:pt>
                <c:pt idx="30813">
                  <c:v>35949</c:v>
                </c:pt>
                <c:pt idx="30814">
                  <c:v>35948</c:v>
                </c:pt>
                <c:pt idx="30815">
                  <c:v>35948</c:v>
                </c:pt>
                <c:pt idx="30816">
                  <c:v>35948</c:v>
                </c:pt>
                <c:pt idx="30817">
                  <c:v>35947</c:v>
                </c:pt>
                <c:pt idx="30818">
                  <c:v>35946</c:v>
                </c:pt>
                <c:pt idx="30819">
                  <c:v>35946</c:v>
                </c:pt>
                <c:pt idx="30820">
                  <c:v>35945</c:v>
                </c:pt>
                <c:pt idx="30821">
                  <c:v>35945</c:v>
                </c:pt>
                <c:pt idx="30822">
                  <c:v>35944</c:v>
                </c:pt>
                <c:pt idx="30823">
                  <c:v>35943</c:v>
                </c:pt>
                <c:pt idx="30824">
                  <c:v>35942</c:v>
                </c:pt>
                <c:pt idx="30825">
                  <c:v>35942</c:v>
                </c:pt>
                <c:pt idx="30826">
                  <c:v>35942</c:v>
                </c:pt>
                <c:pt idx="30827">
                  <c:v>35942</c:v>
                </c:pt>
                <c:pt idx="30828">
                  <c:v>35942</c:v>
                </c:pt>
                <c:pt idx="30829">
                  <c:v>35942</c:v>
                </c:pt>
                <c:pt idx="30830">
                  <c:v>35942</c:v>
                </c:pt>
                <c:pt idx="30831">
                  <c:v>35941</c:v>
                </c:pt>
                <c:pt idx="30832">
                  <c:v>35941</c:v>
                </c:pt>
                <c:pt idx="30833">
                  <c:v>35941</c:v>
                </c:pt>
                <c:pt idx="30834">
                  <c:v>35940</c:v>
                </c:pt>
                <c:pt idx="30835">
                  <c:v>35940</c:v>
                </c:pt>
                <c:pt idx="30836">
                  <c:v>35940</c:v>
                </c:pt>
                <c:pt idx="30837">
                  <c:v>35940</c:v>
                </c:pt>
                <c:pt idx="30838">
                  <c:v>35940</c:v>
                </c:pt>
                <c:pt idx="30839">
                  <c:v>35940</c:v>
                </c:pt>
                <c:pt idx="30840">
                  <c:v>35939</c:v>
                </c:pt>
                <c:pt idx="30841">
                  <c:v>35939</c:v>
                </c:pt>
                <c:pt idx="30842">
                  <c:v>35939</c:v>
                </c:pt>
                <c:pt idx="30843">
                  <c:v>35939</c:v>
                </c:pt>
                <c:pt idx="30844">
                  <c:v>35939</c:v>
                </c:pt>
                <c:pt idx="30845">
                  <c:v>35939</c:v>
                </c:pt>
                <c:pt idx="30846">
                  <c:v>35939</c:v>
                </c:pt>
                <c:pt idx="30847">
                  <c:v>35938</c:v>
                </c:pt>
                <c:pt idx="30848">
                  <c:v>35938</c:v>
                </c:pt>
                <c:pt idx="30849">
                  <c:v>35938</c:v>
                </c:pt>
                <c:pt idx="30850">
                  <c:v>35937</c:v>
                </c:pt>
                <c:pt idx="30851">
                  <c:v>35937</c:v>
                </c:pt>
                <c:pt idx="30852">
                  <c:v>35937</c:v>
                </c:pt>
                <c:pt idx="30853">
                  <c:v>35937</c:v>
                </c:pt>
                <c:pt idx="30854">
                  <c:v>35937</c:v>
                </c:pt>
                <c:pt idx="30855">
                  <c:v>35937</c:v>
                </c:pt>
                <c:pt idx="30856">
                  <c:v>35937</c:v>
                </c:pt>
                <c:pt idx="30857">
                  <c:v>35937</c:v>
                </c:pt>
                <c:pt idx="30858">
                  <c:v>35937</c:v>
                </c:pt>
                <c:pt idx="30859">
                  <c:v>35937</c:v>
                </c:pt>
                <c:pt idx="30860">
                  <c:v>35936</c:v>
                </c:pt>
                <c:pt idx="30861">
                  <c:v>35936</c:v>
                </c:pt>
                <c:pt idx="30862">
                  <c:v>35935</c:v>
                </c:pt>
                <c:pt idx="30863">
                  <c:v>35935</c:v>
                </c:pt>
                <c:pt idx="30864">
                  <c:v>35935</c:v>
                </c:pt>
                <c:pt idx="30865">
                  <c:v>35935</c:v>
                </c:pt>
                <c:pt idx="30866">
                  <c:v>35934</c:v>
                </c:pt>
                <c:pt idx="30867">
                  <c:v>35934</c:v>
                </c:pt>
                <c:pt idx="30868">
                  <c:v>35934</c:v>
                </c:pt>
                <c:pt idx="30869">
                  <c:v>35934</c:v>
                </c:pt>
                <c:pt idx="30870">
                  <c:v>35934</c:v>
                </c:pt>
                <c:pt idx="30871">
                  <c:v>35934</c:v>
                </c:pt>
                <c:pt idx="30872">
                  <c:v>35934</c:v>
                </c:pt>
                <c:pt idx="30873">
                  <c:v>35933</c:v>
                </c:pt>
                <c:pt idx="30874">
                  <c:v>35933</c:v>
                </c:pt>
                <c:pt idx="30875">
                  <c:v>35933</c:v>
                </c:pt>
                <c:pt idx="30876">
                  <c:v>35933</c:v>
                </c:pt>
                <c:pt idx="30877">
                  <c:v>35932</c:v>
                </c:pt>
                <c:pt idx="30878">
                  <c:v>35932</c:v>
                </c:pt>
                <c:pt idx="30879">
                  <c:v>35932</c:v>
                </c:pt>
                <c:pt idx="30880">
                  <c:v>35932</c:v>
                </c:pt>
                <c:pt idx="30881">
                  <c:v>35931</c:v>
                </c:pt>
                <c:pt idx="30882">
                  <c:v>35930</c:v>
                </c:pt>
                <c:pt idx="30883">
                  <c:v>35930</c:v>
                </c:pt>
                <c:pt idx="30884">
                  <c:v>35930</c:v>
                </c:pt>
                <c:pt idx="30885">
                  <c:v>35930</c:v>
                </c:pt>
                <c:pt idx="30886">
                  <c:v>35929</c:v>
                </c:pt>
                <c:pt idx="30887">
                  <c:v>35929</c:v>
                </c:pt>
                <c:pt idx="30888">
                  <c:v>35929</c:v>
                </c:pt>
                <c:pt idx="30889">
                  <c:v>35929</c:v>
                </c:pt>
                <c:pt idx="30890">
                  <c:v>35929</c:v>
                </c:pt>
                <c:pt idx="30891">
                  <c:v>35928</c:v>
                </c:pt>
                <c:pt idx="30892">
                  <c:v>35928</c:v>
                </c:pt>
                <c:pt idx="30893">
                  <c:v>35928</c:v>
                </c:pt>
                <c:pt idx="30894">
                  <c:v>35928</c:v>
                </c:pt>
                <c:pt idx="30895">
                  <c:v>35928</c:v>
                </c:pt>
                <c:pt idx="30896">
                  <c:v>35928</c:v>
                </c:pt>
                <c:pt idx="30897">
                  <c:v>35927</c:v>
                </c:pt>
                <c:pt idx="30898">
                  <c:v>35927</c:v>
                </c:pt>
                <c:pt idx="30899">
                  <c:v>35927</c:v>
                </c:pt>
                <c:pt idx="30900">
                  <c:v>35927</c:v>
                </c:pt>
                <c:pt idx="30901">
                  <c:v>35927</c:v>
                </c:pt>
                <c:pt idx="30902">
                  <c:v>35927</c:v>
                </c:pt>
                <c:pt idx="30903">
                  <c:v>35927</c:v>
                </c:pt>
                <c:pt idx="30904">
                  <c:v>35926</c:v>
                </c:pt>
                <c:pt idx="30905">
                  <c:v>35925</c:v>
                </c:pt>
                <c:pt idx="30906">
                  <c:v>35925</c:v>
                </c:pt>
                <c:pt idx="30907">
                  <c:v>35925</c:v>
                </c:pt>
                <c:pt idx="30908">
                  <c:v>35925</c:v>
                </c:pt>
                <c:pt idx="30909">
                  <c:v>35925</c:v>
                </c:pt>
                <c:pt idx="30910">
                  <c:v>35925</c:v>
                </c:pt>
                <c:pt idx="30911">
                  <c:v>35924</c:v>
                </c:pt>
                <c:pt idx="30912">
                  <c:v>35923</c:v>
                </c:pt>
                <c:pt idx="30913">
                  <c:v>35923</c:v>
                </c:pt>
                <c:pt idx="30914">
                  <c:v>35923</c:v>
                </c:pt>
                <c:pt idx="30915">
                  <c:v>35923</c:v>
                </c:pt>
                <c:pt idx="30916">
                  <c:v>35923</c:v>
                </c:pt>
                <c:pt idx="30917">
                  <c:v>35922</c:v>
                </c:pt>
                <c:pt idx="30918">
                  <c:v>35922</c:v>
                </c:pt>
                <c:pt idx="30919">
                  <c:v>35922</c:v>
                </c:pt>
                <c:pt idx="30920">
                  <c:v>35921</c:v>
                </c:pt>
                <c:pt idx="30921">
                  <c:v>35921</c:v>
                </c:pt>
                <c:pt idx="30922">
                  <c:v>35921</c:v>
                </c:pt>
                <c:pt idx="30923">
                  <c:v>35920</c:v>
                </c:pt>
                <c:pt idx="30924">
                  <c:v>35920</c:v>
                </c:pt>
                <c:pt idx="30925">
                  <c:v>35920</c:v>
                </c:pt>
                <c:pt idx="30926">
                  <c:v>35920</c:v>
                </c:pt>
                <c:pt idx="30927">
                  <c:v>35920</c:v>
                </c:pt>
                <c:pt idx="30928">
                  <c:v>35919</c:v>
                </c:pt>
                <c:pt idx="30929">
                  <c:v>35919</c:v>
                </c:pt>
                <c:pt idx="30930">
                  <c:v>35919</c:v>
                </c:pt>
                <c:pt idx="30931">
                  <c:v>35919</c:v>
                </c:pt>
                <c:pt idx="30932">
                  <c:v>35919</c:v>
                </c:pt>
                <c:pt idx="30933">
                  <c:v>35918</c:v>
                </c:pt>
                <c:pt idx="30934">
                  <c:v>35918</c:v>
                </c:pt>
                <c:pt idx="30935">
                  <c:v>35918</c:v>
                </c:pt>
                <c:pt idx="30936">
                  <c:v>35918</c:v>
                </c:pt>
                <c:pt idx="30937">
                  <c:v>35917</c:v>
                </c:pt>
                <c:pt idx="30938">
                  <c:v>35917</c:v>
                </c:pt>
                <c:pt idx="30939">
                  <c:v>35917</c:v>
                </c:pt>
                <c:pt idx="30940">
                  <c:v>35917</c:v>
                </c:pt>
                <c:pt idx="30941">
                  <c:v>35917</c:v>
                </c:pt>
                <c:pt idx="30942">
                  <c:v>35916</c:v>
                </c:pt>
                <c:pt idx="30943">
                  <c:v>35916</c:v>
                </c:pt>
                <c:pt idx="30944">
                  <c:v>35916</c:v>
                </c:pt>
                <c:pt idx="30945">
                  <c:v>35915</c:v>
                </c:pt>
                <c:pt idx="30946">
                  <c:v>35915</c:v>
                </c:pt>
                <c:pt idx="30947">
                  <c:v>35915</c:v>
                </c:pt>
                <c:pt idx="30948">
                  <c:v>35914</c:v>
                </c:pt>
                <c:pt idx="30949">
                  <c:v>35914</c:v>
                </c:pt>
                <c:pt idx="30950">
                  <c:v>35913</c:v>
                </c:pt>
                <c:pt idx="30951">
                  <c:v>35912</c:v>
                </c:pt>
                <c:pt idx="30952">
                  <c:v>35912</c:v>
                </c:pt>
                <c:pt idx="30953">
                  <c:v>35912</c:v>
                </c:pt>
                <c:pt idx="30954">
                  <c:v>35912</c:v>
                </c:pt>
                <c:pt idx="30955">
                  <c:v>35912</c:v>
                </c:pt>
                <c:pt idx="30956">
                  <c:v>35912</c:v>
                </c:pt>
                <c:pt idx="30957">
                  <c:v>35911</c:v>
                </c:pt>
                <c:pt idx="30958">
                  <c:v>35910</c:v>
                </c:pt>
                <c:pt idx="30959">
                  <c:v>35910</c:v>
                </c:pt>
                <c:pt idx="30960">
                  <c:v>35910</c:v>
                </c:pt>
                <c:pt idx="30961">
                  <c:v>35910</c:v>
                </c:pt>
                <c:pt idx="30962">
                  <c:v>35910</c:v>
                </c:pt>
                <c:pt idx="30963">
                  <c:v>35910</c:v>
                </c:pt>
                <c:pt idx="30964">
                  <c:v>35909</c:v>
                </c:pt>
                <c:pt idx="30965">
                  <c:v>35909</c:v>
                </c:pt>
                <c:pt idx="30966">
                  <c:v>35909</c:v>
                </c:pt>
                <c:pt idx="30967">
                  <c:v>35909</c:v>
                </c:pt>
                <c:pt idx="30968">
                  <c:v>35909</c:v>
                </c:pt>
                <c:pt idx="30969">
                  <c:v>35908</c:v>
                </c:pt>
                <c:pt idx="30970">
                  <c:v>35908</c:v>
                </c:pt>
                <c:pt idx="30971">
                  <c:v>35908</c:v>
                </c:pt>
                <c:pt idx="30972">
                  <c:v>35907</c:v>
                </c:pt>
                <c:pt idx="30973">
                  <c:v>35907</c:v>
                </c:pt>
                <c:pt idx="30974">
                  <c:v>35907</c:v>
                </c:pt>
                <c:pt idx="30975">
                  <c:v>35907</c:v>
                </c:pt>
                <c:pt idx="30976">
                  <c:v>35907</c:v>
                </c:pt>
                <c:pt idx="30977">
                  <c:v>35907</c:v>
                </c:pt>
                <c:pt idx="30978">
                  <c:v>35906</c:v>
                </c:pt>
                <c:pt idx="30979">
                  <c:v>35906</c:v>
                </c:pt>
                <c:pt idx="30980">
                  <c:v>35906</c:v>
                </c:pt>
                <c:pt idx="30981">
                  <c:v>35906</c:v>
                </c:pt>
                <c:pt idx="30982">
                  <c:v>35906</c:v>
                </c:pt>
                <c:pt idx="30983">
                  <c:v>35905</c:v>
                </c:pt>
                <c:pt idx="30984">
                  <c:v>35905</c:v>
                </c:pt>
                <c:pt idx="30985">
                  <c:v>35905</c:v>
                </c:pt>
                <c:pt idx="30986">
                  <c:v>35905</c:v>
                </c:pt>
                <c:pt idx="30987">
                  <c:v>35905</c:v>
                </c:pt>
                <c:pt idx="30988">
                  <c:v>35905</c:v>
                </c:pt>
                <c:pt idx="30989">
                  <c:v>35904</c:v>
                </c:pt>
                <c:pt idx="30990">
                  <c:v>35904</c:v>
                </c:pt>
                <c:pt idx="30991">
                  <c:v>35904</c:v>
                </c:pt>
                <c:pt idx="30992">
                  <c:v>35904</c:v>
                </c:pt>
                <c:pt idx="30993">
                  <c:v>35904</c:v>
                </c:pt>
                <c:pt idx="30994">
                  <c:v>35904</c:v>
                </c:pt>
                <c:pt idx="30995">
                  <c:v>35904</c:v>
                </c:pt>
                <c:pt idx="30996">
                  <c:v>35903</c:v>
                </c:pt>
                <c:pt idx="30997">
                  <c:v>35903</c:v>
                </c:pt>
                <c:pt idx="30998">
                  <c:v>35903</c:v>
                </c:pt>
                <c:pt idx="30999">
                  <c:v>35903</c:v>
                </c:pt>
                <c:pt idx="31000">
                  <c:v>35903</c:v>
                </c:pt>
                <c:pt idx="31001">
                  <c:v>35903</c:v>
                </c:pt>
                <c:pt idx="31002">
                  <c:v>35902</c:v>
                </c:pt>
                <c:pt idx="31003">
                  <c:v>35902</c:v>
                </c:pt>
                <c:pt idx="31004">
                  <c:v>35902</c:v>
                </c:pt>
                <c:pt idx="31005">
                  <c:v>35902</c:v>
                </c:pt>
                <c:pt idx="31006">
                  <c:v>35902</c:v>
                </c:pt>
                <c:pt idx="31007">
                  <c:v>35902</c:v>
                </c:pt>
                <c:pt idx="31008">
                  <c:v>35902</c:v>
                </c:pt>
                <c:pt idx="31009">
                  <c:v>35901</c:v>
                </c:pt>
                <c:pt idx="31010">
                  <c:v>35901</c:v>
                </c:pt>
                <c:pt idx="31011">
                  <c:v>35901</c:v>
                </c:pt>
                <c:pt idx="31012">
                  <c:v>35899</c:v>
                </c:pt>
                <c:pt idx="31013">
                  <c:v>35899</c:v>
                </c:pt>
                <c:pt idx="31014">
                  <c:v>35899</c:v>
                </c:pt>
                <c:pt idx="31015">
                  <c:v>35899</c:v>
                </c:pt>
                <c:pt idx="31016">
                  <c:v>35898</c:v>
                </c:pt>
                <c:pt idx="31017">
                  <c:v>35898</c:v>
                </c:pt>
                <c:pt idx="31018">
                  <c:v>35898</c:v>
                </c:pt>
                <c:pt idx="31019">
                  <c:v>35898</c:v>
                </c:pt>
                <c:pt idx="31020">
                  <c:v>35898</c:v>
                </c:pt>
                <c:pt idx="31021">
                  <c:v>35897</c:v>
                </c:pt>
                <c:pt idx="31022">
                  <c:v>35897</c:v>
                </c:pt>
                <c:pt idx="31023">
                  <c:v>35897</c:v>
                </c:pt>
                <c:pt idx="31024">
                  <c:v>35897</c:v>
                </c:pt>
                <c:pt idx="31025">
                  <c:v>35897</c:v>
                </c:pt>
                <c:pt idx="31026">
                  <c:v>35897</c:v>
                </c:pt>
                <c:pt idx="31027">
                  <c:v>35897</c:v>
                </c:pt>
                <c:pt idx="31028">
                  <c:v>35896</c:v>
                </c:pt>
                <c:pt idx="31029">
                  <c:v>35896</c:v>
                </c:pt>
                <c:pt idx="31030">
                  <c:v>35895</c:v>
                </c:pt>
                <c:pt idx="31031">
                  <c:v>35895</c:v>
                </c:pt>
                <c:pt idx="31032">
                  <c:v>35894</c:v>
                </c:pt>
                <c:pt idx="31033">
                  <c:v>35894</c:v>
                </c:pt>
                <c:pt idx="31034">
                  <c:v>35893</c:v>
                </c:pt>
                <c:pt idx="31035">
                  <c:v>35893</c:v>
                </c:pt>
                <c:pt idx="31036">
                  <c:v>35892</c:v>
                </c:pt>
                <c:pt idx="31037">
                  <c:v>35892</c:v>
                </c:pt>
                <c:pt idx="31038">
                  <c:v>35892</c:v>
                </c:pt>
                <c:pt idx="31039">
                  <c:v>35892</c:v>
                </c:pt>
                <c:pt idx="31040">
                  <c:v>35892</c:v>
                </c:pt>
                <c:pt idx="31041">
                  <c:v>35892</c:v>
                </c:pt>
                <c:pt idx="31042">
                  <c:v>35891</c:v>
                </c:pt>
                <c:pt idx="31043">
                  <c:v>35891</c:v>
                </c:pt>
                <c:pt idx="31044">
                  <c:v>35890</c:v>
                </c:pt>
                <c:pt idx="31045">
                  <c:v>35890</c:v>
                </c:pt>
                <c:pt idx="31046">
                  <c:v>35890</c:v>
                </c:pt>
                <c:pt idx="31047">
                  <c:v>35890</c:v>
                </c:pt>
                <c:pt idx="31048">
                  <c:v>35889</c:v>
                </c:pt>
                <c:pt idx="31049">
                  <c:v>35889</c:v>
                </c:pt>
                <c:pt idx="31050">
                  <c:v>35889</c:v>
                </c:pt>
                <c:pt idx="31051">
                  <c:v>35889</c:v>
                </c:pt>
                <c:pt idx="31052">
                  <c:v>35889</c:v>
                </c:pt>
                <c:pt idx="31053">
                  <c:v>35889</c:v>
                </c:pt>
                <c:pt idx="31054">
                  <c:v>35888</c:v>
                </c:pt>
                <c:pt idx="31055">
                  <c:v>35888</c:v>
                </c:pt>
                <c:pt idx="31056">
                  <c:v>35888</c:v>
                </c:pt>
                <c:pt idx="31057">
                  <c:v>35887</c:v>
                </c:pt>
                <c:pt idx="31058">
                  <c:v>35887</c:v>
                </c:pt>
                <c:pt idx="31059">
                  <c:v>35887</c:v>
                </c:pt>
                <c:pt idx="31060">
                  <c:v>35887</c:v>
                </c:pt>
                <c:pt idx="31061">
                  <c:v>35886</c:v>
                </c:pt>
                <c:pt idx="31062">
                  <c:v>35886</c:v>
                </c:pt>
                <c:pt idx="31063">
                  <c:v>35886</c:v>
                </c:pt>
                <c:pt idx="31064">
                  <c:v>35886</c:v>
                </c:pt>
                <c:pt idx="31065">
                  <c:v>35886</c:v>
                </c:pt>
                <c:pt idx="31066">
                  <c:v>35886</c:v>
                </c:pt>
                <c:pt idx="31067">
                  <c:v>35886</c:v>
                </c:pt>
                <c:pt idx="31068">
                  <c:v>35885</c:v>
                </c:pt>
                <c:pt idx="31069">
                  <c:v>35885</c:v>
                </c:pt>
                <c:pt idx="31070">
                  <c:v>35884</c:v>
                </c:pt>
                <c:pt idx="31071">
                  <c:v>35884</c:v>
                </c:pt>
                <c:pt idx="31072">
                  <c:v>35884</c:v>
                </c:pt>
                <c:pt idx="31073">
                  <c:v>35883</c:v>
                </c:pt>
                <c:pt idx="31074">
                  <c:v>35883</c:v>
                </c:pt>
                <c:pt idx="31075">
                  <c:v>35883</c:v>
                </c:pt>
                <c:pt idx="31076">
                  <c:v>35883</c:v>
                </c:pt>
                <c:pt idx="31077">
                  <c:v>35883</c:v>
                </c:pt>
                <c:pt idx="31078">
                  <c:v>35882</c:v>
                </c:pt>
                <c:pt idx="31079">
                  <c:v>35882</c:v>
                </c:pt>
                <c:pt idx="31080">
                  <c:v>35882</c:v>
                </c:pt>
                <c:pt idx="31081">
                  <c:v>35882</c:v>
                </c:pt>
                <c:pt idx="31082">
                  <c:v>35881</c:v>
                </c:pt>
                <c:pt idx="31083">
                  <c:v>35881</c:v>
                </c:pt>
                <c:pt idx="31084">
                  <c:v>35880</c:v>
                </c:pt>
                <c:pt idx="31085">
                  <c:v>35880</c:v>
                </c:pt>
                <c:pt idx="31086">
                  <c:v>35880</c:v>
                </c:pt>
                <c:pt idx="31087">
                  <c:v>35880</c:v>
                </c:pt>
                <c:pt idx="31088">
                  <c:v>35880</c:v>
                </c:pt>
                <c:pt idx="31089">
                  <c:v>35880</c:v>
                </c:pt>
                <c:pt idx="31090">
                  <c:v>35879</c:v>
                </c:pt>
                <c:pt idx="31091">
                  <c:v>35878</c:v>
                </c:pt>
                <c:pt idx="31092">
                  <c:v>35878</c:v>
                </c:pt>
                <c:pt idx="31093">
                  <c:v>35878</c:v>
                </c:pt>
                <c:pt idx="31094">
                  <c:v>35878</c:v>
                </c:pt>
                <c:pt idx="31095">
                  <c:v>35877</c:v>
                </c:pt>
                <c:pt idx="31096">
                  <c:v>35876</c:v>
                </c:pt>
                <c:pt idx="31097">
                  <c:v>35876</c:v>
                </c:pt>
                <c:pt idx="31098">
                  <c:v>35876</c:v>
                </c:pt>
                <c:pt idx="31099">
                  <c:v>35876</c:v>
                </c:pt>
                <c:pt idx="31100">
                  <c:v>35875</c:v>
                </c:pt>
                <c:pt idx="31101">
                  <c:v>35875</c:v>
                </c:pt>
                <c:pt idx="31102">
                  <c:v>35875</c:v>
                </c:pt>
                <c:pt idx="31103">
                  <c:v>35875</c:v>
                </c:pt>
                <c:pt idx="31104">
                  <c:v>35875</c:v>
                </c:pt>
                <c:pt idx="31105">
                  <c:v>35874</c:v>
                </c:pt>
                <c:pt idx="31106">
                  <c:v>35874</c:v>
                </c:pt>
                <c:pt idx="31107">
                  <c:v>35874</c:v>
                </c:pt>
                <c:pt idx="31108">
                  <c:v>35873</c:v>
                </c:pt>
                <c:pt idx="31109">
                  <c:v>35873</c:v>
                </c:pt>
                <c:pt idx="31110">
                  <c:v>35873</c:v>
                </c:pt>
                <c:pt idx="31111">
                  <c:v>35872</c:v>
                </c:pt>
                <c:pt idx="31112">
                  <c:v>35872</c:v>
                </c:pt>
                <c:pt idx="31113">
                  <c:v>35872</c:v>
                </c:pt>
                <c:pt idx="31114">
                  <c:v>35872</c:v>
                </c:pt>
                <c:pt idx="31115">
                  <c:v>35872</c:v>
                </c:pt>
                <c:pt idx="31116">
                  <c:v>35872</c:v>
                </c:pt>
                <c:pt idx="31117">
                  <c:v>35872</c:v>
                </c:pt>
                <c:pt idx="31118">
                  <c:v>35871</c:v>
                </c:pt>
                <c:pt idx="31119">
                  <c:v>35871</c:v>
                </c:pt>
                <c:pt idx="31120">
                  <c:v>35871</c:v>
                </c:pt>
                <c:pt idx="31121">
                  <c:v>35871</c:v>
                </c:pt>
                <c:pt idx="31122">
                  <c:v>35871</c:v>
                </c:pt>
                <c:pt idx="31123">
                  <c:v>35870</c:v>
                </c:pt>
                <c:pt idx="31124">
                  <c:v>35870</c:v>
                </c:pt>
                <c:pt idx="31125">
                  <c:v>35870</c:v>
                </c:pt>
                <c:pt idx="31126">
                  <c:v>35869</c:v>
                </c:pt>
                <c:pt idx="31127">
                  <c:v>35869</c:v>
                </c:pt>
                <c:pt idx="31128">
                  <c:v>35869</c:v>
                </c:pt>
                <c:pt idx="31129">
                  <c:v>35869</c:v>
                </c:pt>
                <c:pt idx="31130">
                  <c:v>35868</c:v>
                </c:pt>
                <c:pt idx="31131">
                  <c:v>35868</c:v>
                </c:pt>
                <c:pt idx="31132">
                  <c:v>35868</c:v>
                </c:pt>
                <c:pt idx="31133">
                  <c:v>35868</c:v>
                </c:pt>
                <c:pt idx="31134">
                  <c:v>35868</c:v>
                </c:pt>
                <c:pt idx="31135">
                  <c:v>35868</c:v>
                </c:pt>
                <c:pt idx="31136">
                  <c:v>35868</c:v>
                </c:pt>
                <c:pt idx="31137">
                  <c:v>35867</c:v>
                </c:pt>
                <c:pt idx="31138">
                  <c:v>35867</c:v>
                </c:pt>
                <c:pt idx="31139">
                  <c:v>35866</c:v>
                </c:pt>
                <c:pt idx="31140">
                  <c:v>35866</c:v>
                </c:pt>
                <c:pt idx="31141">
                  <c:v>35866</c:v>
                </c:pt>
                <c:pt idx="31142">
                  <c:v>35865</c:v>
                </c:pt>
                <c:pt idx="31143">
                  <c:v>35865</c:v>
                </c:pt>
                <c:pt idx="31144">
                  <c:v>35865</c:v>
                </c:pt>
                <c:pt idx="31145">
                  <c:v>35865</c:v>
                </c:pt>
                <c:pt idx="31146">
                  <c:v>35865</c:v>
                </c:pt>
                <c:pt idx="31147">
                  <c:v>35865</c:v>
                </c:pt>
                <c:pt idx="31148">
                  <c:v>35865</c:v>
                </c:pt>
                <c:pt idx="31149">
                  <c:v>35865</c:v>
                </c:pt>
                <c:pt idx="31150">
                  <c:v>35864</c:v>
                </c:pt>
                <c:pt idx="31151">
                  <c:v>35864</c:v>
                </c:pt>
                <c:pt idx="31152">
                  <c:v>35864</c:v>
                </c:pt>
                <c:pt idx="31153">
                  <c:v>35864</c:v>
                </c:pt>
                <c:pt idx="31154">
                  <c:v>35864</c:v>
                </c:pt>
                <c:pt idx="31155">
                  <c:v>35864</c:v>
                </c:pt>
                <c:pt idx="31156">
                  <c:v>35864</c:v>
                </c:pt>
                <c:pt idx="31157">
                  <c:v>35863</c:v>
                </c:pt>
                <c:pt idx="31158">
                  <c:v>35863</c:v>
                </c:pt>
                <c:pt idx="31159">
                  <c:v>35862</c:v>
                </c:pt>
                <c:pt idx="31160">
                  <c:v>35862</c:v>
                </c:pt>
                <c:pt idx="31161">
                  <c:v>35862</c:v>
                </c:pt>
                <c:pt idx="31162">
                  <c:v>35862</c:v>
                </c:pt>
                <c:pt idx="31163">
                  <c:v>35862</c:v>
                </c:pt>
                <c:pt idx="31164">
                  <c:v>35861</c:v>
                </c:pt>
                <c:pt idx="31165">
                  <c:v>35861</c:v>
                </c:pt>
                <c:pt idx="31166">
                  <c:v>35861</c:v>
                </c:pt>
                <c:pt idx="31167">
                  <c:v>35861</c:v>
                </c:pt>
                <c:pt idx="31168">
                  <c:v>35860</c:v>
                </c:pt>
                <c:pt idx="31169">
                  <c:v>35860</c:v>
                </c:pt>
                <c:pt idx="31170">
                  <c:v>35860</c:v>
                </c:pt>
                <c:pt idx="31171">
                  <c:v>35860</c:v>
                </c:pt>
                <c:pt idx="31172">
                  <c:v>35860</c:v>
                </c:pt>
                <c:pt idx="31173">
                  <c:v>35859</c:v>
                </c:pt>
                <c:pt idx="31174">
                  <c:v>35859</c:v>
                </c:pt>
                <c:pt idx="31175">
                  <c:v>35859</c:v>
                </c:pt>
                <c:pt idx="31176">
                  <c:v>35858</c:v>
                </c:pt>
                <c:pt idx="31177">
                  <c:v>35858</c:v>
                </c:pt>
                <c:pt idx="31178">
                  <c:v>35858</c:v>
                </c:pt>
                <c:pt idx="31179">
                  <c:v>35857</c:v>
                </c:pt>
                <c:pt idx="31180">
                  <c:v>35857</c:v>
                </c:pt>
                <c:pt idx="31181">
                  <c:v>35857</c:v>
                </c:pt>
                <c:pt idx="31182">
                  <c:v>35856</c:v>
                </c:pt>
                <c:pt idx="31183">
                  <c:v>35856</c:v>
                </c:pt>
                <c:pt idx="31184">
                  <c:v>35855</c:v>
                </c:pt>
                <c:pt idx="31185">
                  <c:v>35855</c:v>
                </c:pt>
                <c:pt idx="31186">
                  <c:v>35855</c:v>
                </c:pt>
                <c:pt idx="31187">
                  <c:v>35854</c:v>
                </c:pt>
                <c:pt idx="31188">
                  <c:v>35854</c:v>
                </c:pt>
                <c:pt idx="31189">
                  <c:v>35854</c:v>
                </c:pt>
                <c:pt idx="31190">
                  <c:v>35854</c:v>
                </c:pt>
                <c:pt idx="31191">
                  <c:v>35854</c:v>
                </c:pt>
                <c:pt idx="31192">
                  <c:v>35854</c:v>
                </c:pt>
                <c:pt idx="31193">
                  <c:v>35854</c:v>
                </c:pt>
                <c:pt idx="31194">
                  <c:v>35853</c:v>
                </c:pt>
                <c:pt idx="31195">
                  <c:v>35853</c:v>
                </c:pt>
                <c:pt idx="31196">
                  <c:v>35853</c:v>
                </c:pt>
                <c:pt idx="31197">
                  <c:v>35853</c:v>
                </c:pt>
                <c:pt idx="31198">
                  <c:v>35852</c:v>
                </c:pt>
                <c:pt idx="31199">
                  <c:v>35852</c:v>
                </c:pt>
                <c:pt idx="31200">
                  <c:v>35852</c:v>
                </c:pt>
                <c:pt idx="31201">
                  <c:v>35852</c:v>
                </c:pt>
                <c:pt idx="31202">
                  <c:v>35852</c:v>
                </c:pt>
                <c:pt idx="31203">
                  <c:v>35851</c:v>
                </c:pt>
                <c:pt idx="31204">
                  <c:v>35850</c:v>
                </c:pt>
                <c:pt idx="31205">
                  <c:v>35850</c:v>
                </c:pt>
                <c:pt idx="31206">
                  <c:v>35850</c:v>
                </c:pt>
                <c:pt idx="31207">
                  <c:v>35849</c:v>
                </c:pt>
                <c:pt idx="31208">
                  <c:v>35849</c:v>
                </c:pt>
                <c:pt idx="31209">
                  <c:v>35848</c:v>
                </c:pt>
                <c:pt idx="31210">
                  <c:v>35848</c:v>
                </c:pt>
                <c:pt idx="31211">
                  <c:v>35848</c:v>
                </c:pt>
                <c:pt idx="31212">
                  <c:v>35847</c:v>
                </c:pt>
                <c:pt idx="31213">
                  <c:v>35847</c:v>
                </c:pt>
                <c:pt idx="31214">
                  <c:v>35846</c:v>
                </c:pt>
                <c:pt idx="31215">
                  <c:v>35846</c:v>
                </c:pt>
                <c:pt idx="31216">
                  <c:v>35846</c:v>
                </c:pt>
                <c:pt idx="31217">
                  <c:v>35846</c:v>
                </c:pt>
                <c:pt idx="31218">
                  <c:v>35845</c:v>
                </c:pt>
                <c:pt idx="31219">
                  <c:v>35844</c:v>
                </c:pt>
                <c:pt idx="31220">
                  <c:v>35844</c:v>
                </c:pt>
                <c:pt idx="31221">
                  <c:v>35844</c:v>
                </c:pt>
                <c:pt idx="31222">
                  <c:v>35843</c:v>
                </c:pt>
                <c:pt idx="31223">
                  <c:v>35843</c:v>
                </c:pt>
                <c:pt idx="31224">
                  <c:v>35843</c:v>
                </c:pt>
                <c:pt idx="31225">
                  <c:v>35843</c:v>
                </c:pt>
                <c:pt idx="31226">
                  <c:v>35843</c:v>
                </c:pt>
                <c:pt idx="31227">
                  <c:v>35842</c:v>
                </c:pt>
                <c:pt idx="31228">
                  <c:v>35842</c:v>
                </c:pt>
                <c:pt idx="31229">
                  <c:v>35842</c:v>
                </c:pt>
                <c:pt idx="31230">
                  <c:v>35841</c:v>
                </c:pt>
                <c:pt idx="31231">
                  <c:v>35840</c:v>
                </c:pt>
                <c:pt idx="31232">
                  <c:v>35840</c:v>
                </c:pt>
                <c:pt idx="31233">
                  <c:v>35840</c:v>
                </c:pt>
                <c:pt idx="31234">
                  <c:v>35840</c:v>
                </c:pt>
                <c:pt idx="31235">
                  <c:v>35839</c:v>
                </c:pt>
                <c:pt idx="31236">
                  <c:v>35839</c:v>
                </c:pt>
                <c:pt idx="31237">
                  <c:v>35839</c:v>
                </c:pt>
                <c:pt idx="31238">
                  <c:v>35839</c:v>
                </c:pt>
                <c:pt idx="31239">
                  <c:v>35839</c:v>
                </c:pt>
                <c:pt idx="31240">
                  <c:v>35838</c:v>
                </c:pt>
                <c:pt idx="31241">
                  <c:v>35838</c:v>
                </c:pt>
                <c:pt idx="31242">
                  <c:v>35837</c:v>
                </c:pt>
                <c:pt idx="31243">
                  <c:v>35837</c:v>
                </c:pt>
                <c:pt idx="31244">
                  <c:v>35837</c:v>
                </c:pt>
                <c:pt idx="31245">
                  <c:v>35836</c:v>
                </c:pt>
                <c:pt idx="31246">
                  <c:v>35836</c:v>
                </c:pt>
                <c:pt idx="31247">
                  <c:v>35836</c:v>
                </c:pt>
                <c:pt idx="31248">
                  <c:v>35836</c:v>
                </c:pt>
                <c:pt idx="31249">
                  <c:v>35836</c:v>
                </c:pt>
                <c:pt idx="31250">
                  <c:v>35836</c:v>
                </c:pt>
                <c:pt idx="31251">
                  <c:v>35836</c:v>
                </c:pt>
                <c:pt idx="31252">
                  <c:v>35836</c:v>
                </c:pt>
                <c:pt idx="31253">
                  <c:v>35835</c:v>
                </c:pt>
                <c:pt idx="31254">
                  <c:v>35835</c:v>
                </c:pt>
                <c:pt idx="31255">
                  <c:v>35835</c:v>
                </c:pt>
                <c:pt idx="31256">
                  <c:v>35835</c:v>
                </c:pt>
                <c:pt idx="31257">
                  <c:v>35835</c:v>
                </c:pt>
                <c:pt idx="31258">
                  <c:v>35834</c:v>
                </c:pt>
                <c:pt idx="31259">
                  <c:v>35834</c:v>
                </c:pt>
                <c:pt idx="31260">
                  <c:v>35834</c:v>
                </c:pt>
                <c:pt idx="31261">
                  <c:v>35834</c:v>
                </c:pt>
                <c:pt idx="31262">
                  <c:v>35833</c:v>
                </c:pt>
                <c:pt idx="31263">
                  <c:v>35832</c:v>
                </c:pt>
                <c:pt idx="31264">
                  <c:v>35831</c:v>
                </c:pt>
                <c:pt idx="31265">
                  <c:v>35831</c:v>
                </c:pt>
                <c:pt idx="31266">
                  <c:v>35831</c:v>
                </c:pt>
                <c:pt idx="31267">
                  <c:v>35831</c:v>
                </c:pt>
                <c:pt idx="31268">
                  <c:v>35831</c:v>
                </c:pt>
                <c:pt idx="31269">
                  <c:v>35830</c:v>
                </c:pt>
                <c:pt idx="31270">
                  <c:v>35830</c:v>
                </c:pt>
                <c:pt idx="31271">
                  <c:v>35830</c:v>
                </c:pt>
                <c:pt idx="31272">
                  <c:v>35829</c:v>
                </c:pt>
                <c:pt idx="31273">
                  <c:v>35829</c:v>
                </c:pt>
                <c:pt idx="31274">
                  <c:v>35829</c:v>
                </c:pt>
                <c:pt idx="31275">
                  <c:v>35829</c:v>
                </c:pt>
                <c:pt idx="31276">
                  <c:v>35829</c:v>
                </c:pt>
                <c:pt idx="31277">
                  <c:v>35828</c:v>
                </c:pt>
                <c:pt idx="31278">
                  <c:v>35828</c:v>
                </c:pt>
                <c:pt idx="31279">
                  <c:v>35827</c:v>
                </c:pt>
                <c:pt idx="31280">
                  <c:v>35826</c:v>
                </c:pt>
                <c:pt idx="31281">
                  <c:v>35825</c:v>
                </c:pt>
                <c:pt idx="31282">
                  <c:v>35825</c:v>
                </c:pt>
                <c:pt idx="31283">
                  <c:v>35825</c:v>
                </c:pt>
                <c:pt idx="31284">
                  <c:v>35825</c:v>
                </c:pt>
                <c:pt idx="31285">
                  <c:v>35825</c:v>
                </c:pt>
                <c:pt idx="31286">
                  <c:v>35825</c:v>
                </c:pt>
                <c:pt idx="31287">
                  <c:v>35825</c:v>
                </c:pt>
                <c:pt idx="31288">
                  <c:v>35825</c:v>
                </c:pt>
                <c:pt idx="31289">
                  <c:v>35824</c:v>
                </c:pt>
                <c:pt idx="31290">
                  <c:v>35824</c:v>
                </c:pt>
                <c:pt idx="31291">
                  <c:v>35824</c:v>
                </c:pt>
                <c:pt idx="31292">
                  <c:v>35824</c:v>
                </c:pt>
                <c:pt idx="31293">
                  <c:v>35823</c:v>
                </c:pt>
                <c:pt idx="31294">
                  <c:v>35823</c:v>
                </c:pt>
                <c:pt idx="31295">
                  <c:v>35823</c:v>
                </c:pt>
                <c:pt idx="31296">
                  <c:v>35822</c:v>
                </c:pt>
                <c:pt idx="31297">
                  <c:v>35822</c:v>
                </c:pt>
                <c:pt idx="31298">
                  <c:v>35822</c:v>
                </c:pt>
                <c:pt idx="31299">
                  <c:v>35822</c:v>
                </c:pt>
                <c:pt idx="31300">
                  <c:v>35822</c:v>
                </c:pt>
                <c:pt idx="31301">
                  <c:v>35822</c:v>
                </c:pt>
                <c:pt idx="31302">
                  <c:v>35821</c:v>
                </c:pt>
                <c:pt idx="31303">
                  <c:v>35821</c:v>
                </c:pt>
                <c:pt idx="31304">
                  <c:v>35821</c:v>
                </c:pt>
                <c:pt idx="31305">
                  <c:v>35821</c:v>
                </c:pt>
                <c:pt idx="31306">
                  <c:v>35821</c:v>
                </c:pt>
                <c:pt idx="31307">
                  <c:v>35820</c:v>
                </c:pt>
                <c:pt idx="31308">
                  <c:v>35820</c:v>
                </c:pt>
                <c:pt idx="31309">
                  <c:v>35820</c:v>
                </c:pt>
                <c:pt idx="31310">
                  <c:v>35820</c:v>
                </c:pt>
                <c:pt idx="31311">
                  <c:v>35820</c:v>
                </c:pt>
                <c:pt idx="31312">
                  <c:v>35819</c:v>
                </c:pt>
                <c:pt idx="31313">
                  <c:v>35819</c:v>
                </c:pt>
                <c:pt idx="31314">
                  <c:v>35819</c:v>
                </c:pt>
                <c:pt idx="31315">
                  <c:v>35819</c:v>
                </c:pt>
                <c:pt idx="31316">
                  <c:v>35818</c:v>
                </c:pt>
                <c:pt idx="31317">
                  <c:v>35818</c:v>
                </c:pt>
                <c:pt idx="31318">
                  <c:v>35818</c:v>
                </c:pt>
                <c:pt idx="31319">
                  <c:v>35818</c:v>
                </c:pt>
                <c:pt idx="31320">
                  <c:v>35818</c:v>
                </c:pt>
                <c:pt idx="31321">
                  <c:v>35817</c:v>
                </c:pt>
                <c:pt idx="31322">
                  <c:v>35817</c:v>
                </c:pt>
                <c:pt idx="31323">
                  <c:v>35817</c:v>
                </c:pt>
                <c:pt idx="31324">
                  <c:v>35817</c:v>
                </c:pt>
                <c:pt idx="31325">
                  <c:v>35817</c:v>
                </c:pt>
                <c:pt idx="31326">
                  <c:v>35816</c:v>
                </c:pt>
                <c:pt idx="31327">
                  <c:v>35816</c:v>
                </c:pt>
                <c:pt idx="31328">
                  <c:v>35816</c:v>
                </c:pt>
                <c:pt idx="31329">
                  <c:v>35816</c:v>
                </c:pt>
                <c:pt idx="31330">
                  <c:v>35815</c:v>
                </c:pt>
                <c:pt idx="31331">
                  <c:v>35815</c:v>
                </c:pt>
                <c:pt idx="31332">
                  <c:v>35815</c:v>
                </c:pt>
                <c:pt idx="31333">
                  <c:v>35815</c:v>
                </c:pt>
                <c:pt idx="31334">
                  <c:v>35815</c:v>
                </c:pt>
                <c:pt idx="31335">
                  <c:v>35815</c:v>
                </c:pt>
                <c:pt idx="31336">
                  <c:v>35815</c:v>
                </c:pt>
                <c:pt idx="31337">
                  <c:v>35814</c:v>
                </c:pt>
                <c:pt idx="31338">
                  <c:v>35814</c:v>
                </c:pt>
                <c:pt idx="31339">
                  <c:v>35814</c:v>
                </c:pt>
                <c:pt idx="31340">
                  <c:v>35814</c:v>
                </c:pt>
                <c:pt idx="31341">
                  <c:v>35814</c:v>
                </c:pt>
                <c:pt idx="31342">
                  <c:v>35814</c:v>
                </c:pt>
                <c:pt idx="31343">
                  <c:v>35814</c:v>
                </c:pt>
                <c:pt idx="31344">
                  <c:v>35814</c:v>
                </c:pt>
                <c:pt idx="31345">
                  <c:v>35813</c:v>
                </c:pt>
                <c:pt idx="31346">
                  <c:v>35812</c:v>
                </c:pt>
                <c:pt idx="31347">
                  <c:v>35812</c:v>
                </c:pt>
                <c:pt idx="31348">
                  <c:v>35812</c:v>
                </c:pt>
                <c:pt idx="31349">
                  <c:v>35811</c:v>
                </c:pt>
                <c:pt idx="31350">
                  <c:v>35811</c:v>
                </c:pt>
                <c:pt idx="31351">
                  <c:v>35811</c:v>
                </c:pt>
                <c:pt idx="31352">
                  <c:v>35811</c:v>
                </c:pt>
                <c:pt idx="31353">
                  <c:v>35811</c:v>
                </c:pt>
                <c:pt idx="31354">
                  <c:v>35810</c:v>
                </c:pt>
                <c:pt idx="31355">
                  <c:v>35810</c:v>
                </c:pt>
                <c:pt idx="31356">
                  <c:v>35810</c:v>
                </c:pt>
                <c:pt idx="31357">
                  <c:v>35810</c:v>
                </c:pt>
                <c:pt idx="31358">
                  <c:v>35810</c:v>
                </c:pt>
                <c:pt idx="31359">
                  <c:v>35810</c:v>
                </c:pt>
                <c:pt idx="31360">
                  <c:v>35809</c:v>
                </c:pt>
                <c:pt idx="31361">
                  <c:v>35809</c:v>
                </c:pt>
                <c:pt idx="31362">
                  <c:v>35809</c:v>
                </c:pt>
                <c:pt idx="31363">
                  <c:v>35809</c:v>
                </c:pt>
                <c:pt idx="31364">
                  <c:v>35809</c:v>
                </c:pt>
                <c:pt idx="31365">
                  <c:v>35809</c:v>
                </c:pt>
                <c:pt idx="31366">
                  <c:v>35809</c:v>
                </c:pt>
                <c:pt idx="31367">
                  <c:v>35809</c:v>
                </c:pt>
                <c:pt idx="31368">
                  <c:v>35808</c:v>
                </c:pt>
                <c:pt idx="31369">
                  <c:v>35808</c:v>
                </c:pt>
                <c:pt idx="31370">
                  <c:v>35808</c:v>
                </c:pt>
                <c:pt idx="31371">
                  <c:v>35808</c:v>
                </c:pt>
                <c:pt idx="31372">
                  <c:v>35808</c:v>
                </c:pt>
                <c:pt idx="31373">
                  <c:v>35808</c:v>
                </c:pt>
                <c:pt idx="31374">
                  <c:v>35808</c:v>
                </c:pt>
                <c:pt idx="31375">
                  <c:v>35808</c:v>
                </c:pt>
                <c:pt idx="31376">
                  <c:v>35808</c:v>
                </c:pt>
                <c:pt idx="31377">
                  <c:v>35808</c:v>
                </c:pt>
                <c:pt idx="31378">
                  <c:v>35807</c:v>
                </c:pt>
                <c:pt idx="31379">
                  <c:v>35807</c:v>
                </c:pt>
                <c:pt idx="31380">
                  <c:v>35807</c:v>
                </c:pt>
                <c:pt idx="31381">
                  <c:v>35807</c:v>
                </c:pt>
                <c:pt idx="31382">
                  <c:v>35807</c:v>
                </c:pt>
                <c:pt idx="31383">
                  <c:v>35806</c:v>
                </c:pt>
                <c:pt idx="31384">
                  <c:v>35806</c:v>
                </c:pt>
                <c:pt idx="31385">
                  <c:v>35806</c:v>
                </c:pt>
                <c:pt idx="31386">
                  <c:v>35805</c:v>
                </c:pt>
                <c:pt idx="31387">
                  <c:v>35805</c:v>
                </c:pt>
                <c:pt idx="31388">
                  <c:v>35805</c:v>
                </c:pt>
                <c:pt idx="31389">
                  <c:v>35805</c:v>
                </c:pt>
                <c:pt idx="31390">
                  <c:v>35804</c:v>
                </c:pt>
                <c:pt idx="31391">
                  <c:v>35804</c:v>
                </c:pt>
                <c:pt idx="31392">
                  <c:v>35803</c:v>
                </c:pt>
                <c:pt idx="31393">
                  <c:v>35802</c:v>
                </c:pt>
                <c:pt idx="31394">
                  <c:v>35802</c:v>
                </c:pt>
                <c:pt idx="31395">
                  <c:v>35802</c:v>
                </c:pt>
                <c:pt idx="31396">
                  <c:v>35801</c:v>
                </c:pt>
                <c:pt idx="31397">
                  <c:v>35801</c:v>
                </c:pt>
                <c:pt idx="31398">
                  <c:v>35801</c:v>
                </c:pt>
                <c:pt idx="31399">
                  <c:v>35801</c:v>
                </c:pt>
                <c:pt idx="31400">
                  <c:v>35800</c:v>
                </c:pt>
                <c:pt idx="31401">
                  <c:v>35800</c:v>
                </c:pt>
                <c:pt idx="31402">
                  <c:v>35800</c:v>
                </c:pt>
                <c:pt idx="31403">
                  <c:v>35800</c:v>
                </c:pt>
                <c:pt idx="31404">
                  <c:v>35800</c:v>
                </c:pt>
                <c:pt idx="31405">
                  <c:v>35799</c:v>
                </c:pt>
                <c:pt idx="31406">
                  <c:v>35799</c:v>
                </c:pt>
                <c:pt idx="31407">
                  <c:v>35798</c:v>
                </c:pt>
                <c:pt idx="31408">
                  <c:v>35798</c:v>
                </c:pt>
                <c:pt idx="31409">
                  <c:v>35797</c:v>
                </c:pt>
                <c:pt idx="31410">
                  <c:v>35797</c:v>
                </c:pt>
                <c:pt idx="31411">
                  <c:v>35797</c:v>
                </c:pt>
                <c:pt idx="31412">
                  <c:v>35797</c:v>
                </c:pt>
                <c:pt idx="31413">
                  <c:v>35797</c:v>
                </c:pt>
                <c:pt idx="31414">
                  <c:v>35796</c:v>
                </c:pt>
                <c:pt idx="31415">
                  <c:v>35796</c:v>
                </c:pt>
                <c:pt idx="31416">
                  <c:v>35796</c:v>
                </c:pt>
                <c:pt idx="31417">
                  <c:v>35796</c:v>
                </c:pt>
                <c:pt idx="31418">
                  <c:v>35795</c:v>
                </c:pt>
                <c:pt idx="31419">
                  <c:v>35795</c:v>
                </c:pt>
                <c:pt idx="31420">
                  <c:v>35795</c:v>
                </c:pt>
                <c:pt idx="31421">
                  <c:v>35794</c:v>
                </c:pt>
                <c:pt idx="31422">
                  <c:v>35794</c:v>
                </c:pt>
                <c:pt idx="31423">
                  <c:v>35794</c:v>
                </c:pt>
                <c:pt idx="31424">
                  <c:v>35794</c:v>
                </c:pt>
                <c:pt idx="31425">
                  <c:v>35793</c:v>
                </c:pt>
                <c:pt idx="31426">
                  <c:v>35793</c:v>
                </c:pt>
                <c:pt idx="31427">
                  <c:v>35793</c:v>
                </c:pt>
                <c:pt idx="31428">
                  <c:v>35793</c:v>
                </c:pt>
                <c:pt idx="31429">
                  <c:v>35793</c:v>
                </c:pt>
                <c:pt idx="31430">
                  <c:v>35793</c:v>
                </c:pt>
                <c:pt idx="31431">
                  <c:v>35792</c:v>
                </c:pt>
                <c:pt idx="31432">
                  <c:v>35792</c:v>
                </c:pt>
                <c:pt idx="31433">
                  <c:v>35792</c:v>
                </c:pt>
                <c:pt idx="31434">
                  <c:v>35792</c:v>
                </c:pt>
                <c:pt idx="31435">
                  <c:v>35790</c:v>
                </c:pt>
                <c:pt idx="31436">
                  <c:v>35790</c:v>
                </c:pt>
                <c:pt idx="31437">
                  <c:v>35790</c:v>
                </c:pt>
                <c:pt idx="31438">
                  <c:v>35790</c:v>
                </c:pt>
                <c:pt idx="31439">
                  <c:v>35790</c:v>
                </c:pt>
                <c:pt idx="31440">
                  <c:v>35790</c:v>
                </c:pt>
                <c:pt idx="31441">
                  <c:v>35789</c:v>
                </c:pt>
                <c:pt idx="31442">
                  <c:v>35789</c:v>
                </c:pt>
                <c:pt idx="31443">
                  <c:v>35789</c:v>
                </c:pt>
                <c:pt idx="31444">
                  <c:v>35789</c:v>
                </c:pt>
                <c:pt idx="31445">
                  <c:v>35788</c:v>
                </c:pt>
                <c:pt idx="31446">
                  <c:v>35788</c:v>
                </c:pt>
                <c:pt idx="31447">
                  <c:v>35788</c:v>
                </c:pt>
                <c:pt idx="31448">
                  <c:v>35788</c:v>
                </c:pt>
                <c:pt idx="31449">
                  <c:v>35788</c:v>
                </c:pt>
                <c:pt idx="31450">
                  <c:v>35787</c:v>
                </c:pt>
                <c:pt idx="31451">
                  <c:v>35787</c:v>
                </c:pt>
                <c:pt idx="31452">
                  <c:v>35786</c:v>
                </c:pt>
                <c:pt idx="31453">
                  <c:v>35786</c:v>
                </c:pt>
                <c:pt idx="31454">
                  <c:v>35786</c:v>
                </c:pt>
                <c:pt idx="31455">
                  <c:v>35786</c:v>
                </c:pt>
                <c:pt idx="31456">
                  <c:v>35786</c:v>
                </c:pt>
                <c:pt idx="31457">
                  <c:v>35786</c:v>
                </c:pt>
                <c:pt idx="31458">
                  <c:v>35786</c:v>
                </c:pt>
                <c:pt idx="31459">
                  <c:v>35786</c:v>
                </c:pt>
                <c:pt idx="31460">
                  <c:v>35785</c:v>
                </c:pt>
                <c:pt idx="31461">
                  <c:v>35785</c:v>
                </c:pt>
                <c:pt idx="31462">
                  <c:v>35785</c:v>
                </c:pt>
                <c:pt idx="31463">
                  <c:v>35785</c:v>
                </c:pt>
                <c:pt idx="31464">
                  <c:v>35784</c:v>
                </c:pt>
                <c:pt idx="31465">
                  <c:v>35784</c:v>
                </c:pt>
                <c:pt idx="31466">
                  <c:v>35784</c:v>
                </c:pt>
                <c:pt idx="31467">
                  <c:v>35783</c:v>
                </c:pt>
                <c:pt idx="31468">
                  <c:v>35783</c:v>
                </c:pt>
                <c:pt idx="31469">
                  <c:v>35783</c:v>
                </c:pt>
                <c:pt idx="31470">
                  <c:v>35783</c:v>
                </c:pt>
                <c:pt idx="31471">
                  <c:v>35783</c:v>
                </c:pt>
                <c:pt idx="31472">
                  <c:v>35782</c:v>
                </c:pt>
                <c:pt idx="31473">
                  <c:v>35782</c:v>
                </c:pt>
                <c:pt idx="31474">
                  <c:v>35781</c:v>
                </c:pt>
                <c:pt idx="31475">
                  <c:v>35781</c:v>
                </c:pt>
                <c:pt idx="31476">
                  <c:v>35781</c:v>
                </c:pt>
                <c:pt idx="31477">
                  <c:v>35781</c:v>
                </c:pt>
                <c:pt idx="31478">
                  <c:v>35780</c:v>
                </c:pt>
                <c:pt idx="31479">
                  <c:v>35780</c:v>
                </c:pt>
                <c:pt idx="31480">
                  <c:v>35780</c:v>
                </c:pt>
                <c:pt idx="31481">
                  <c:v>35779</c:v>
                </c:pt>
                <c:pt idx="31482">
                  <c:v>35779</c:v>
                </c:pt>
                <c:pt idx="31483">
                  <c:v>35779</c:v>
                </c:pt>
                <c:pt idx="31484">
                  <c:v>35779</c:v>
                </c:pt>
                <c:pt idx="31485">
                  <c:v>35779</c:v>
                </c:pt>
                <c:pt idx="31486">
                  <c:v>35778</c:v>
                </c:pt>
                <c:pt idx="31487">
                  <c:v>35778</c:v>
                </c:pt>
                <c:pt idx="31488">
                  <c:v>35778</c:v>
                </c:pt>
                <c:pt idx="31489">
                  <c:v>35778</c:v>
                </c:pt>
                <c:pt idx="31490">
                  <c:v>35778</c:v>
                </c:pt>
                <c:pt idx="31491">
                  <c:v>35777</c:v>
                </c:pt>
                <c:pt idx="31492">
                  <c:v>35777</c:v>
                </c:pt>
                <c:pt idx="31493">
                  <c:v>35777</c:v>
                </c:pt>
                <c:pt idx="31494">
                  <c:v>35777</c:v>
                </c:pt>
                <c:pt idx="31495">
                  <c:v>35777</c:v>
                </c:pt>
                <c:pt idx="31496">
                  <c:v>35776</c:v>
                </c:pt>
                <c:pt idx="31497">
                  <c:v>35776</c:v>
                </c:pt>
                <c:pt idx="31498">
                  <c:v>35776</c:v>
                </c:pt>
                <c:pt idx="31499">
                  <c:v>35776</c:v>
                </c:pt>
                <c:pt idx="31500">
                  <c:v>35775</c:v>
                </c:pt>
                <c:pt idx="31501">
                  <c:v>35775</c:v>
                </c:pt>
                <c:pt idx="31502">
                  <c:v>35775</c:v>
                </c:pt>
                <c:pt idx="31503">
                  <c:v>35775</c:v>
                </c:pt>
                <c:pt idx="31504">
                  <c:v>35775</c:v>
                </c:pt>
                <c:pt idx="31505">
                  <c:v>35775</c:v>
                </c:pt>
                <c:pt idx="31506">
                  <c:v>35774</c:v>
                </c:pt>
                <c:pt idx="31507">
                  <c:v>35774</c:v>
                </c:pt>
                <c:pt idx="31508">
                  <c:v>35773</c:v>
                </c:pt>
                <c:pt idx="31509">
                  <c:v>35773</c:v>
                </c:pt>
                <c:pt idx="31510">
                  <c:v>35773</c:v>
                </c:pt>
                <c:pt idx="31511">
                  <c:v>35773</c:v>
                </c:pt>
                <c:pt idx="31512">
                  <c:v>35773</c:v>
                </c:pt>
                <c:pt idx="31513">
                  <c:v>35773</c:v>
                </c:pt>
                <c:pt idx="31514">
                  <c:v>35773</c:v>
                </c:pt>
                <c:pt idx="31515">
                  <c:v>35772</c:v>
                </c:pt>
                <c:pt idx="31516">
                  <c:v>35772</c:v>
                </c:pt>
                <c:pt idx="31517">
                  <c:v>35772</c:v>
                </c:pt>
                <c:pt idx="31518">
                  <c:v>35772</c:v>
                </c:pt>
                <c:pt idx="31519">
                  <c:v>35772</c:v>
                </c:pt>
                <c:pt idx="31520">
                  <c:v>35771</c:v>
                </c:pt>
                <c:pt idx="31521">
                  <c:v>35771</c:v>
                </c:pt>
                <c:pt idx="31522">
                  <c:v>35770</c:v>
                </c:pt>
                <c:pt idx="31523">
                  <c:v>35770</c:v>
                </c:pt>
                <c:pt idx="31524">
                  <c:v>35770</c:v>
                </c:pt>
                <c:pt idx="31525">
                  <c:v>35770</c:v>
                </c:pt>
                <c:pt idx="31526">
                  <c:v>35770</c:v>
                </c:pt>
                <c:pt idx="31527">
                  <c:v>35770</c:v>
                </c:pt>
                <c:pt idx="31528">
                  <c:v>35770</c:v>
                </c:pt>
                <c:pt idx="31529">
                  <c:v>35770</c:v>
                </c:pt>
                <c:pt idx="31530">
                  <c:v>35769</c:v>
                </c:pt>
                <c:pt idx="31531">
                  <c:v>35769</c:v>
                </c:pt>
                <c:pt idx="31532">
                  <c:v>35768</c:v>
                </c:pt>
                <c:pt idx="31533">
                  <c:v>35767</c:v>
                </c:pt>
                <c:pt idx="31534">
                  <c:v>35767</c:v>
                </c:pt>
                <c:pt idx="31535">
                  <c:v>35767</c:v>
                </c:pt>
                <c:pt idx="31536">
                  <c:v>35767</c:v>
                </c:pt>
                <c:pt idx="31537">
                  <c:v>35767</c:v>
                </c:pt>
                <c:pt idx="31538">
                  <c:v>35767</c:v>
                </c:pt>
                <c:pt idx="31539">
                  <c:v>35767</c:v>
                </c:pt>
                <c:pt idx="31540">
                  <c:v>35767</c:v>
                </c:pt>
                <c:pt idx="31541">
                  <c:v>35766</c:v>
                </c:pt>
                <c:pt idx="31542">
                  <c:v>35766</c:v>
                </c:pt>
                <c:pt idx="31543">
                  <c:v>35766</c:v>
                </c:pt>
                <c:pt idx="31544">
                  <c:v>35766</c:v>
                </c:pt>
                <c:pt idx="31545">
                  <c:v>35766</c:v>
                </c:pt>
                <c:pt idx="31546">
                  <c:v>35766</c:v>
                </c:pt>
                <c:pt idx="31547">
                  <c:v>35766</c:v>
                </c:pt>
                <c:pt idx="31548">
                  <c:v>35765</c:v>
                </c:pt>
                <c:pt idx="31549">
                  <c:v>35765</c:v>
                </c:pt>
                <c:pt idx="31550">
                  <c:v>35765</c:v>
                </c:pt>
                <c:pt idx="31551">
                  <c:v>35765</c:v>
                </c:pt>
                <c:pt idx="31552">
                  <c:v>35765</c:v>
                </c:pt>
                <c:pt idx="31553">
                  <c:v>35764</c:v>
                </c:pt>
                <c:pt idx="31554">
                  <c:v>35764</c:v>
                </c:pt>
                <c:pt idx="31555">
                  <c:v>35764</c:v>
                </c:pt>
                <c:pt idx="31556">
                  <c:v>35764</c:v>
                </c:pt>
                <c:pt idx="31557">
                  <c:v>35764</c:v>
                </c:pt>
                <c:pt idx="31558">
                  <c:v>35763</c:v>
                </c:pt>
                <c:pt idx="31559">
                  <c:v>35762</c:v>
                </c:pt>
                <c:pt idx="31560">
                  <c:v>35762</c:v>
                </c:pt>
                <c:pt idx="31561">
                  <c:v>35762</c:v>
                </c:pt>
                <c:pt idx="31562">
                  <c:v>35761</c:v>
                </c:pt>
                <c:pt idx="31563">
                  <c:v>35761</c:v>
                </c:pt>
                <c:pt idx="31564">
                  <c:v>35761</c:v>
                </c:pt>
                <c:pt idx="31565">
                  <c:v>35761</c:v>
                </c:pt>
                <c:pt idx="31566">
                  <c:v>35760</c:v>
                </c:pt>
                <c:pt idx="31567">
                  <c:v>35760</c:v>
                </c:pt>
                <c:pt idx="31568">
                  <c:v>35760</c:v>
                </c:pt>
                <c:pt idx="31569">
                  <c:v>35759</c:v>
                </c:pt>
                <c:pt idx="31570">
                  <c:v>35758</c:v>
                </c:pt>
                <c:pt idx="31571">
                  <c:v>35758</c:v>
                </c:pt>
                <c:pt idx="31572">
                  <c:v>35758</c:v>
                </c:pt>
                <c:pt idx="31573">
                  <c:v>35758</c:v>
                </c:pt>
                <c:pt idx="31574">
                  <c:v>35758</c:v>
                </c:pt>
                <c:pt idx="31575">
                  <c:v>35758</c:v>
                </c:pt>
                <c:pt idx="31576">
                  <c:v>35758</c:v>
                </c:pt>
                <c:pt idx="31577">
                  <c:v>35758</c:v>
                </c:pt>
                <c:pt idx="31578">
                  <c:v>35757</c:v>
                </c:pt>
                <c:pt idx="31579">
                  <c:v>35757</c:v>
                </c:pt>
                <c:pt idx="31580">
                  <c:v>35757</c:v>
                </c:pt>
                <c:pt idx="31581">
                  <c:v>35757</c:v>
                </c:pt>
                <c:pt idx="31582">
                  <c:v>35756</c:v>
                </c:pt>
                <c:pt idx="31583">
                  <c:v>35756</c:v>
                </c:pt>
                <c:pt idx="31584">
                  <c:v>35754</c:v>
                </c:pt>
                <c:pt idx="31585">
                  <c:v>35754</c:v>
                </c:pt>
                <c:pt idx="31586">
                  <c:v>35753</c:v>
                </c:pt>
                <c:pt idx="31587">
                  <c:v>35753</c:v>
                </c:pt>
                <c:pt idx="31588">
                  <c:v>35753</c:v>
                </c:pt>
                <c:pt idx="31589">
                  <c:v>35753</c:v>
                </c:pt>
                <c:pt idx="31590">
                  <c:v>35752</c:v>
                </c:pt>
                <c:pt idx="31591">
                  <c:v>35752</c:v>
                </c:pt>
                <c:pt idx="31592">
                  <c:v>35752</c:v>
                </c:pt>
                <c:pt idx="31593">
                  <c:v>35752</c:v>
                </c:pt>
                <c:pt idx="31594">
                  <c:v>35751</c:v>
                </c:pt>
                <c:pt idx="31595">
                  <c:v>35751</c:v>
                </c:pt>
                <c:pt idx="31596">
                  <c:v>35750</c:v>
                </c:pt>
                <c:pt idx="31597">
                  <c:v>35750</c:v>
                </c:pt>
                <c:pt idx="31598">
                  <c:v>35750</c:v>
                </c:pt>
                <c:pt idx="31599">
                  <c:v>35750</c:v>
                </c:pt>
                <c:pt idx="31600">
                  <c:v>35750</c:v>
                </c:pt>
                <c:pt idx="31601">
                  <c:v>35750</c:v>
                </c:pt>
                <c:pt idx="31602">
                  <c:v>35750</c:v>
                </c:pt>
                <c:pt idx="31603">
                  <c:v>35750</c:v>
                </c:pt>
                <c:pt idx="31604">
                  <c:v>35749</c:v>
                </c:pt>
                <c:pt idx="31605">
                  <c:v>35749</c:v>
                </c:pt>
                <c:pt idx="31606">
                  <c:v>35749</c:v>
                </c:pt>
                <c:pt idx="31607">
                  <c:v>35748</c:v>
                </c:pt>
                <c:pt idx="31608">
                  <c:v>35748</c:v>
                </c:pt>
                <c:pt idx="31609">
                  <c:v>35748</c:v>
                </c:pt>
                <c:pt idx="31610">
                  <c:v>35747</c:v>
                </c:pt>
                <c:pt idx="31611">
                  <c:v>35747</c:v>
                </c:pt>
                <c:pt idx="31612">
                  <c:v>35747</c:v>
                </c:pt>
                <c:pt idx="31613">
                  <c:v>35747</c:v>
                </c:pt>
                <c:pt idx="31614">
                  <c:v>35746</c:v>
                </c:pt>
                <c:pt idx="31615">
                  <c:v>35746</c:v>
                </c:pt>
                <c:pt idx="31616">
                  <c:v>35745</c:v>
                </c:pt>
                <c:pt idx="31617">
                  <c:v>35745</c:v>
                </c:pt>
                <c:pt idx="31618">
                  <c:v>35745</c:v>
                </c:pt>
                <c:pt idx="31619">
                  <c:v>35744</c:v>
                </c:pt>
                <c:pt idx="31620">
                  <c:v>35744</c:v>
                </c:pt>
                <c:pt idx="31621">
                  <c:v>35743</c:v>
                </c:pt>
                <c:pt idx="31622">
                  <c:v>35743</c:v>
                </c:pt>
                <c:pt idx="31623">
                  <c:v>35742</c:v>
                </c:pt>
                <c:pt idx="31624">
                  <c:v>35742</c:v>
                </c:pt>
                <c:pt idx="31625">
                  <c:v>35742</c:v>
                </c:pt>
                <c:pt idx="31626">
                  <c:v>35742</c:v>
                </c:pt>
                <c:pt idx="31627">
                  <c:v>35742</c:v>
                </c:pt>
                <c:pt idx="31628">
                  <c:v>35741</c:v>
                </c:pt>
                <c:pt idx="31629">
                  <c:v>35741</c:v>
                </c:pt>
                <c:pt idx="31630">
                  <c:v>35741</c:v>
                </c:pt>
                <c:pt idx="31631">
                  <c:v>35741</c:v>
                </c:pt>
                <c:pt idx="31632">
                  <c:v>35741</c:v>
                </c:pt>
                <c:pt idx="31633">
                  <c:v>35740</c:v>
                </c:pt>
                <c:pt idx="31634">
                  <c:v>35740</c:v>
                </c:pt>
                <c:pt idx="31635">
                  <c:v>35740</c:v>
                </c:pt>
                <c:pt idx="31636">
                  <c:v>35740</c:v>
                </c:pt>
                <c:pt idx="31637">
                  <c:v>35740</c:v>
                </c:pt>
                <c:pt idx="31638">
                  <c:v>35740</c:v>
                </c:pt>
                <c:pt idx="31639">
                  <c:v>35739</c:v>
                </c:pt>
                <c:pt idx="31640">
                  <c:v>35739</c:v>
                </c:pt>
                <c:pt idx="31641">
                  <c:v>35738</c:v>
                </c:pt>
                <c:pt idx="31642">
                  <c:v>35738</c:v>
                </c:pt>
                <c:pt idx="31643">
                  <c:v>35738</c:v>
                </c:pt>
                <c:pt idx="31644">
                  <c:v>35737</c:v>
                </c:pt>
                <c:pt idx="31645">
                  <c:v>35736</c:v>
                </c:pt>
                <c:pt idx="31646">
                  <c:v>35736</c:v>
                </c:pt>
                <c:pt idx="31647">
                  <c:v>35736</c:v>
                </c:pt>
                <c:pt idx="31648">
                  <c:v>35736</c:v>
                </c:pt>
                <c:pt idx="31649">
                  <c:v>35735</c:v>
                </c:pt>
                <c:pt idx="31650">
                  <c:v>35735</c:v>
                </c:pt>
                <c:pt idx="31651">
                  <c:v>35735</c:v>
                </c:pt>
                <c:pt idx="31652">
                  <c:v>35735</c:v>
                </c:pt>
                <c:pt idx="31653">
                  <c:v>35735</c:v>
                </c:pt>
                <c:pt idx="31654">
                  <c:v>35735</c:v>
                </c:pt>
                <c:pt idx="31655">
                  <c:v>35734</c:v>
                </c:pt>
                <c:pt idx="31656">
                  <c:v>35734</c:v>
                </c:pt>
                <c:pt idx="31657">
                  <c:v>35734</c:v>
                </c:pt>
                <c:pt idx="31658">
                  <c:v>35733</c:v>
                </c:pt>
                <c:pt idx="31659">
                  <c:v>35733</c:v>
                </c:pt>
                <c:pt idx="31660">
                  <c:v>35733</c:v>
                </c:pt>
                <c:pt idx="31661">
                  <c:v>35732</c:v>
                </c:pt>
                <c:pt idx="31662">
                  <c:v>35732</c:v>
                </c:pt>
                <c:pt idx="31663">
                  <c:v>35731</c:v>
                </c:pt>
                <c:pt idx="31664">
                  <c:v>35731</c:v>
                </c:pt>
                <c:pt idx="31665">
                  <c:v>35731</c:v>
                </c:pt>
                <c:pt idx="31666">
                  <c:v>35730</c:v>
                </c:pt>
                <c:pt idx="31667">
                  <c:v>35730</c:v>
                </c:pt>
                <c:pt idx="31668">
                  <c:v>35730</c:v>
                </c:pt>
                <c:pt idx="31669">
                  <c:v>35730</c:v>
                </c:pt>
                <c:pt idx="31670">
                  <c:v>35729</c:v>
                </c:pt>
                <c:pt idx="31671">
                  <c:v>35728</c:v>
                </c:pt>
                <c:pt idx="31672">
                  <c:v>35728</c:v>
                </c:pt>
                <c:pt idx="31673">
                  <c:v>35728</c:v>
                </c:pt>
                <c:pt idx="31674">
                  <c:v>35728</c:v>
                </c:pt>
                <c:pt idx="31675">
                  <c:v>35728</c:v>
                </c:pt>
                <c:pt idx="31676">
                  <c:v>35728</c:v>
                </c:pt>
                <c:pt idx="31677">
                  <c:v>35727</c:v>
                </c:pt>
                <c:pt idx="31678">
                  <c:v>35727</c:v>
                </c:pt>
                <c:pt idx="31679">
                  <c:v>35727</c:v>
                </c:pt>
                <c:pt idx="31680">
                  <c:v>35726</c:v>
                </c:pt>
                <c:pt idx="31681">
                  <c:v>35726</c:v>
                </c:pt>
                <c:pt idx="31682">
                  <c:v>35726</c:v>
                </c:pt>
                <c:pt idx="31683">
                  <c:v>35725</c:v>
                </c:pt>
                <c:pt idx="31684">
                  <c:v>35725</c:v>
                </c:pt>
                <c:pt idx="31685">
                  <c:v>35725</c:v>
                </c:pt>
                <c:pt idx="31686">
                  <c:v>35725</c:v>
                </c:pt>
                <c:pt idx="31687">
                  <c:v>35725</c:v>
                </c:pt>
                <c:pt idx="31688">
                  <c:v>35725</c:v>
                </c:pt>
                <c:pt idx="31689">
                  <c:v>35724</c:v>
                </c:pt>
                <c:pt idx="31690">
                  <c:v>35724</c:v>
                </c:pt>
                <c:pt idx="31691">
                  <c:v>35724</c:v>
                </c:pt>
                <c:pt idx="31692">
                  <c:v>35724</c:v>
                </c:pt>
                <c:pt idx="31693">
                  <c:v>35724</c:v>
                </c:pt>
                <c:pt idx="31694">
                  <c:v>35724</c:v>
                </c:pt>
                <c:pt idx="31695">
                  <c:v>35724</c:v>
                </c:pt>
                <c:pt idx="31696">
                  <c:v>35724</c:v>
                </c:pt>
                <c:pt idx="31697">
                  <c:v>35723</c:v>
                </c:pt>
                <c:pt idx="31698">
                  <c:v>35723</c:v>
                </c:pt>
                <c:pt idx="31699">
                  <c:v>35723</c:v>
                </c:pt>
                <c:pt idx="31700">
                  <c:v>35723</c:v>
                </c:pt>
                <c:pt idx="31701">
                  <c:v>35722</c:v>
                </c:pt>
                <c:pt idx="31702">
                  <c:v>35722</c:v>
                </c:pt>
                <c:pt idx="31703">
                  <c:v>35722</c:v>
                </c:pt>
                <c:pt idx="31704">
                  <c:v>35722</c:v>
                </c:pt>
                <c:pt idx="31705">
                  <c:v>35722</c:v>
                </c:pt>
                <c:pt idx="31706">
                  <c:v>35722</c:v>
                </c:pt>
                <c:pt idx="31707">
                  <c:v>35721</c:v>
                </c:pt>
                <c:pt idx="31708">
                  <c:v>35721</c:v>
                </c:pt>
                <c:pt idx="31709">
                  <c:v>35721</c:v>
                </c:pt>
                <c:pt idx="31710">
                  <c:v>35719</c:v>
                </c:pt>
                <c:pt idx="31711">
                  <c:v>35719</c:v>
                </c:pt>
                <c:pt idx="31712">
                  <c:v>35718</c:v>
                </c:pt>
                <c:pt idx="31713">
                  <c:v>35718</c:v>
                </c:pt>
                <c:pt idx="31714">
                  <c:v>35718</c:v>
                </c:pt>
                <c:pt idx="31715">
                  <c:v>35718</c:v>
                </c:pt>
                <c:pt idx="31716">
                  <c:v>35717</c:v>
                </c:pt>
                <c:pt idx="31717">
                  <c:v>35717</c:v>
                </c:pt>
                <c:pt idx="31718">
                  <c:v>35717</c:v>
                </c:pt>
                <c:pt idx="31719">
                  <c:v>35717</c:v>
                </c:pt>
                <c:pt idx="31720">
                  <c:v>35716</c:v>
                </c:pt>
                <c:pt idx="31721">
                  <c:v>35716</c:v>
                </c:pt>
                <c:pt idx="31722">
                  <c:v>35716</c:v>
                </c:pt>
                <c:pt idx="31723">
                  <c:v>35716</c:v>
                </c:pt>
                <c:pt idx="31724">
                  <c:v>35715</c:v>
                </c:pt>
                <c:pt idx="31725">
                  <c:v>35715</c:v>
                </c:pt>
                <c:pt idx="31726">
                  <c:v>35715</c:v>
                </c:pt>
                <c:pt idx="31727">
                  <c:v>35715</c:v>
                </c:pt>
                <c:pt idx="31728">
                  <c:v>35714</c:v>
                </c:pt>
                <c:pt idx="31729">
                  <c:v>35714</c:v>
                </c:pt>
                <c:pt idx="31730">
                  <c:v>35714</c:v>
                </c:pt>
                <c:pt idx="31731">
                  <c:v>35714</c:v>
                </c:pt>
                <c:pt idx="31732">
                  <c:v>35713</c:v>
                </c:pt>
                <c:pt idx="31733">
                  <c:v>35713</c:v>
                </c:pt>
                <c:pt idx="31734">
                  <c:v>35713</c:v>
                </c:pt>
                <c:pt idx="31735">
                  <c:v>35713</c:v>
                </c:pt>
                <c:pt idx="31736">
                  <c:v>35712</c:v>
                </c:pt>
                <c:pt idx="31737">
                  <c:v>35712</c:v>
                </c:pt>
                <c:pt idx="31738">
                  <c:v>35712</c:v>
                </c:pt>
                <c:pt idx="31739">
                  <c:v>35711</c:v>
                </c:pt>
                <c:pt idx="31740">
                  <c:v>35711</c:v>
                </c:pt>
                <c:pt idx="31741">
                  <c:v>35710</c:v>
                </c:pt>
                <c:pt idx="31742">
                  <c:v>35710</c:v>
                </c:pt>
                <c:pt idx="31743">
                  <c:v>35710</c:v>
                </c:pt>
                <c:pt idx="31744">
                  <c:v>35710</c:v>
                </c:pt>
                <c:pt idx="31745">
                  <c:v>35709</c:v>
                </c:pt>
                <c:pt idx="31746">
                  <c:v>35709</c:v>
                </c:pt>
                <c:pt idx="31747">
                  <c:v>35709</c:v>
                </c:pt>
                <c:pt idx="31748">
                  <c:v>35709</c:v>
                </c:pt>
                <c:pt idx="31749">
                  <c:v>35709</c:v>
                </c:pt>
                <c:pt idx="31750">
                  <c:v>35708</c:v>
                </c:pt>
                <c:pt idx="31751">
                  <c:v>35708</c:v>
                </c:pt>
                <c:pt idx="31752">
                  <c:v>35708</c:v>
                </c:pt>
                <c:pt idx="31753">
                  <c:v>35708</c:v>
                </c:pt>
                <c:pt idx="31754">
                  <c:v>35707</c:v>
                </c:pt>
                <c:pt idx="31755">
                  <c:v>35707</c:v>
                </c:pt>
                <c:pt idx="31756">
                  <c:v>35707</c:v>
                </c:pt>
                <c:pt idx="31757">
                  <c:v>35707</c:v>
                </c:pt>
                <c:pt idx="31758">
                  <c:v>35707</c:v>
                </c:pt>
                <c:pt idx="31759">
                  <c:v>35707</c:v>
                </c:pt>
                <c:pt idx="31760">
                  <c:v>35707</c:v>
                </c:pt>
                <c:pt idx="31761">
                  <c:v>35706</c:v>
                </c:pt>
                <c:pt idx="31762">
                  <c:v>35706</c:v>
                </c:pt>
                <c:pt idx="31763">
                  <c:v>35706</c:v>
                </c:pt>
                <c:pt idx="31764">
                  <c:v>35705</c:v>
                </c:pt>
                <c:pt idx="31765">
                  <c:v>35705</c:v>
                </c:pt>
                <c:pt idx="31766">
                  <c:v>35705</c:v>
                </c:pt>
                <c:pt idx="31767">
                  <c:v>35705</c:v>
                </c:pt>
                <c:pt idx="31768">
                  <c:v>35705</c:v>
                </c:pt>
                <c:pt idx="31769">
                  <c:v>35705</c:v>
                </c:pt>
                <c:pt idx="31770">
                  <c:v>35705</c:v>
                </c:pt>
                <c:pt idx="31771">
                  <c:v>35705</c:v>
                </c:pt>
                <c:pt idx="31772">
                  <c:v>35704</c:v>
                </c:pt>
                <c:pt idx="31773">
                  <c:v>35704</c:v>
                </c:pt>
                <c:pt idx="31774">
                  <c:v>35704</c:v>
                </c:pt>
                <c:pt idx="31775">
                  <c:v>35704</c:v>
                </c:pt>
                <c:pt idx="31776">
                  <c:v>35703</c:v>
                </c:pt>
                <c:pt idx="31777">
                  <c:v>35703</c:v>
                </c:pt>
                <c:pt idx="31778">
                  <c:v>35703</c:v>
                </c:pt>
                <c:pt idx="31779">
                  <c:v>35703</c:v>
                </c:pt>
                <c:pt idx="31780">
                  <c:v>35703</c:v>
                </c:pt>
                <c:pt idx="31781">
                  <c:v>35703</c:v>
                </c:pt>
                <c:pt idx="31782">
                  <c:v>35703</c:v>
                </c:pt>
                <c:pt idx="31783">
                  <c:v>35703</c:v>
                </c:pt>
                <c:pt idx="31784">
                  <c:v>35702</c:v>
                </c:pt>
                <c:pt idx="31785">
                  <c:v>35702</c:v>
                </c:pt>
                <c:pt idx="31786">
                  <c:v>35702</c:v>
                </c:pt>
                <c:pt idx="31787">
                  <c:v>35702</c:v>
                </c:pt>
                <c:pt idx="31788">
                  <c:v>35701</c:v>
                </c:pt>
                <c:pt idx="31789">
                  <c:v>35701</c:v>
                </c:pt>
                <c:pt idx="31790">
                  <c:v>35700</c:v>
                </c:pt>
                <c:pt idx="31791">
                  <c:v>35700</c:v>
                </c:pt>
                <c:pt idx="31792">
                  <c:v>35700</c:v>
                </c:pt>
                <c:pt idx="31793">
                  <c:v>35700</c:v>
                </c:pt>
                <c:pt idx="31794">
                  <c:v>35700</c:v>
                </c:pt>
                <c:pt idx="31795">
                  <c:v>35700</c:v>
                </c:pt>
                <c:pt idx="31796">
                  <c:v>35700</c:v>
                </c:pt>
                <c:pt idx="31797">
                  <c:v>35700</c:v>
                </c:pt>
                <c:pt idx="31798">
                  <c:v>35699</c:v>
                </c:pt>
                <c:pt idx="31799">
                  <c:v>35699</c:v>
                </c:pt>
                <c:pt idx="31800">
                  <c:v>35699</c:v>
                </c:pt>
                <c:pt idx="31801">
                  <c:v>35699</c:v>
                </c:pt>
                <c:pt idx="31802">
                  <c:v>35698</c:v>
                </c:pt>
                <c:pt idx="31803">
                  <c:v>35698</c:v>
                </c:pt>
                <c:pt idx="31804">
                  <c:v>35698</c:v>
                </c:pt>
                <c:pt idx="31805">
                  <c:v>35698</c:v>
                </c:pt>
                <c:pt idx="31806">
                  <c:v>35697</c:v>
                </c:pt>
                <c:pt idx="31807">
                  <c:v>35697</c:v>
                </c:pt>
                <c:pt idx="31808">
                  <c:v>35697</c:v>
                </c:pt>
                <c:pt idx="31809">
                  <c:v>35697</c:v>
                </c:pt>
                <c:pt idx="31810">
                  <c:v>35697</c:v>
                </c:pt>
                <c:pt idx="31811">
                  <c:v>35696</c:v>
                </c:pt>
                <c:pt idx="31812">
                  <c:v>35696</c:v>
                </c:pt>
                <c:pt idx="31813">
                  <c:v>35696</c:v>
                </c:pt>
                <c:pt idx="31814">
                  <c:v>35695</c:v>
                </c:pt>
                <c:pt idx="31815">
                  <c:v>35695</c:v>
                </c:pt>
                <c:pt idx="31816">
                  <c:v>35695</c:v>
                </c:pt>
                <c:pt idx="31817">
                  <c:v>35695</c:v>
                </c:pt>
                <c:pt idx="31818">
                  <c:v>35695</c:v>
                </c:pt>
                <c:pt idx="31819">
                  <c:v>35694</c:v>
                </c:pt>
                <c:pt idx="31820">
                  <c:v>35694</c:v>
                </c:pt>
                <c:pt idx="31821">
                  <c:v>35693</c:v>
                </c:pt>
                <c:pt idx="31822">
                  <c:v>35692</c:v>
                </c:pt>
                <c:pt idx="31823">
                  <c:v>35692</c:v>
                </c:pt>
                <c:pt idx="31824">
                  <c:v>35692</c:v>
                </c:pt>
                <c:pt idx="31825">
                  <c:v>35692</c:v>
                </c:pt>
                <c:pt idx="31826">
                  <c:v>35692</c:v>
                </c:pt>
                <c:pt idx="31827">
                  <c:v>35691</c:v>
                </c:pt>
                <c:pt idx="31828">
                  <c:v>35691</c:v>
                </c:pt>
                <c:pt idx="31829">
                  <c:v>35690</c:v>
                </c:pt>
                <c:pt idx="31830">
                  <c:v>35690</c:v>
                </c:pt>
                <c:pt idx="31831">
                  <c:v>35690</c:v>
                </c:pt>
                <c:pt idx="31832">
                  <c:v>35690</c:v>
                </c:pt>
                <c:pt idx="31833">
                  <c:v>35690</c:v>
                </c:pt>
                <c:pt idx="31834">
                  <c:v>35689</c:v>
                </c:pt>
                <c:pt idx="31835">
                  <c:v>35689</c:v>
                </c:pt>
                <c:pt idx="31836">
                  <c:v>35689</c:v>
                </c:pt>
                <c:pt idx="31837">
                  <c:v>35689</c:v>
                </c:pt>
                <c:pt idx="31838">
                  <c:v>35688</c:v>
                </c:pt>
                <c:pt idx="31839">
                  <c:v>35688</c:v>
                </c:pt>
                <c:pt idx="31840">
                  <c:v>35688</c:v>
                </c:pt>
                <c:pt idx="31841">
                  <c:v>35687</c:v>
                </c:pt>
                <c:pt idx="31842">
                  <c:v>35687</c:v>
                </c:pt>
                <c:pt idx="31843">
                  <c:v>35687</c:v>
                </c:pt>
                <c:pt idx="31844">
                  <c:v>35686</c:v>
                </c:pt>
                <c:pt idx="31845">
                  <c:v>35686</c:v>
                </c:pt>
                <c:pt idx="31846">
                  <c:v>35686</c:v>
                </c:pt>
                <c:pt idx="31847">
                  <c:v>35686</c:v>
                </c:pt>
                <c:pt idx="31848">
                  <c:v>35686</c:v>
                </c:pt>
                <c:pt idx="31849">
                  <c:v>35686</c:v>
                </c:pt>
                <c:pt idx="31850">
                  <c:v>35686</c:v>
                </c:pt>
                <c:pt idx="31851">
                  <c:v>35685</c:v>
                </c:pt>
                <c:pt idx="31852">
                  <c:v>35685</c:v>
                </c:pt>
                <c:pt idx="31853">
                  <c:v>35685</c:v>
                </c:pt>
                <c:pt idx="31854">
                  <c:v>35685</c:v>
                </c:pt>
                <c:pt idx="31855">
                  <c:v>35684</c:v>
                </c:pt>
                <c:pt idx="31856">
                  <c:v>35684</c:v>
                </c:pt>
                <c:pt idx="31857">
                  <c:v>35684</c:v>
                </c:pt>
                <c:pt idx="31858">
                  <c:v>35684</c:v>
                </c:pt>
                <c:pt idx="31859">
                  <c:v>35683</c:v>
                </c:pt>
                <c:pt idx="31860">
                  <c:v>35683</c:v>
                </c:pt>
                <c:pt idx="31861">
                  <c:v>35683</c:v>
                </c:pt>
                <c:pt idx="31862">
                  <c:v>35683</c:v>
                </c:pt>
                <c:pt idx="31863">
                  <c:v>35682</c:v>
                </c:pt>
                <c:pt idx="31864">
                  <c:v>35682</c:v>
                </c:pt>
                <c:pt idx="31865">
                  <c:v>35682</c:v>
                </c:pt>
                <c:pt idx="31866">
                  <c:v>35682</c:v>
                </c:pt>
                <c:pt idx="31867">
                  <c:v>35681</c:v>
                </c:pt>
                <c:pt idx="31868">
                  <c:v>35681</c:v>
                </c:pt>
                <c:pt idx="31869">
                  <c:v>35681</c:v>
                </c:pt>
                <c:pt idx="31870">
                  <c:v>35681</c:v>
                </c:pt>
                <c:pt idx="31871">
                  <c:v>35681</c:v>
                </c:pt>
                <c:pt idx="31872">
                  <c:v>35680</c:v>
                </c:pt>
                <c:pt idx="31873">
                  <c:v>35680</c:v>
                </c:pt>
                <c:pt idx="31874">
                  <c:v>35680</c:v>
                </c:pt>
                <c:pt idx="31875">
                  <c:v>35680</c:v>
                </c:pt>
                <c:pt idx="31876">
                  <c:v>35680</c:v>
                </c:pt>
                <c:pt idx="31877">
                  <c:v>35680</c:v>
                </c:pt>
                <c:pt idx="31878">
                  <c:v>35679</c:v>
                </c:pt>
                <c:pt idx="31879">
                  <c:v>35679</c:v>
                </c:pt>
                <c:pt idx="31880">
                  <c:v>35679</c:v>
                </c:pt>
                <c:pt idx="31881">
                  <c:v>35678</c:v>
                </c:pt>
                <c:pt idx="31882">
                  <c:v>35678</c:v>
                </c:pt>
                <c:pt idx="31883">
                  <c:v>35678</c:v>
                </c:pt>
                <c:pt idx="31884">
                  <c:v>35677</c:v>
                </c:pt>
                <c:pt idx="31885">
                  <c:v>35677</c:v>
                </c:pt>
                <c:pt idx="31886">
                  <c:v>35677</c:v>
                </c:pt>
                <c:pt idx="31887">
                  <c:v>35676</c:v>
                </c:pt>
                <c:pt idx="31888">
                  <c:v>35676</c:v>
                </c:pt>
                <c:pt idx="31889">
                  <c:v>35675</c:v>
                </c:pt>
                <c:pt idx="31890">
                  <c:v>35675</c:v>
                </c:pt>
                <c:pt idx="31891">
                  <c:v>35675</c:v>
                </c:pt>
                <c:pt idx="31892">
                  <c:v>35675</c:v>
                </c:pt>
                <c:pt idx="31893">
                  <c:v>35675</c:v>
                </c:pt>
                <c:pt idx="31894">
                  <c:v>35675</c:v>
                </c:pt>
                <c:pt idx="31895">
                  <c:v>35674</c:v>
                </c:pt>
                <c:pt idx="31896">
                  <c:v>35674</c:v>
                </c:pt>
                <c:pt idx="31897">
                  <c:v>35674</c:v>
                </c:pt>
                <c:pt idx="31898">
                  <c:v>35673</c:v>
                </c:pt>
                <c:pt idx="31899">
                  <c:v>35673</c:v>
                </c:pt>
                <c:pt idx="31900">
                  <c:v>35673</c:v>
                </c:pt>
                <c:pt idx="31901">
                  <c:v>35673</c:v>
                </c:pt>
                <c:pt idx="31902">
                  <c:v>35673</c:v>
                </c:pt>
                <c:pt idx="31903">
                  <c:v>35672</c:v>
                </c:pt>
                <c:pt idx="31904">
                  <c:v>35672</c:v>
                </c:pt>
                <c:pt idx="31905">
                  <c:v>35671</c:v>
                </c:pt>
                <c:pt idx="31906">
                  <c:v>35671</c:v>
                </c:pt>
                <c:pt idx="31907">
                  <c:v>35671</c:v>
                </c:pt>
                <c:pt idx="31908">
                  <c:v>35670</c:v>
                </c:pt>
                <c:pt idx="31909">
                  <c:v>35670</c:v>
                </c:pt>
                <c:pt idx="31910">
                  <c:v>35670</c:v>
                </c:pt>
                <c:pt idx="31911">
                  <c:v>35669</c:v>
                </c:pt>
                <c:pt idx="31912">
                  <c:v>35669</c:v>
                </c:pt>
                <c:pt idx="31913">
                  <c:v>35669</c:v>
                </c:pt>
                <c:pt idx="31914">
                  <c:v>35669</c:v>
                </c:pt>
                <c:pt idx="31915">
                  <c:v>35668</c:v>
                </c:pt>
                <c:pt idx="31916">
                  <c:v>35668</c:v>
                </c:pt>
                <c:pt idx="31917">
                  <c:v>35668</c:v>
                </c:pt>
                <c:pt idx="31918">
                  <c:v>35668</c:v>
                </c:pt>
                <c:pt idx="31919">
                  <c:v>35668</c:v>
                </c:pt>
                <c:pt idx="31920">
                  <c:v>35668</c:v>
                </c:pt>
                <c:pt idx="31921">
                  <c:v>35667</c:v>
                </c:pt>
                <c:pt idx="31922">
                  <c:v>35667</c:v>
                </c:pt>
                <c:pt idx="31923">
                  <c:v>35667</c:v>
                </c:pt>
                <c:pt idx="31924">
                  <c:v>35667</c:v>
                </c:pt>
                <c:pt idx="31925">
                  <c:v>35666</c:v>
                </c:pt>
                <c:pt idx="31926">
                  <c:v>35666</c:v>
                </c:pt>
                <c:pt idx="31927">
                  <c:v>35666</c:v>
                </c:pt>
                <c:pt idx="31928">
                  <c:v>35666</c:v>
                </c:pt>
                <c:pt idx="31929">
                  <c:v>35665</c:v>
                </c:pt>
                <c:pt idx="31930">
                  <c:v>35665</c:v>
                </c:pt>
                <c:pt idx="31931">
                  <c:v>35665</c:v>
                </c:pt>
                <c:pt idx="31932">
                  <c:v>35664</c:v>
                </c:pt>
                <c:pt idx="31933">
                  <c:v>35663</c:v>
                </c:pt>
                <c:pt idx="31934">
                  <c:v>35663</c:v>
                </c:pt>
                <c:pt idx="31935">
                  <c:v>35663</c:v>
                </c:pt>
                <c:pt idx="31936">
                  <c:v>35663</c:v>
                </c:pt>
                <c:pt idx="31937">
                  <c:v>35663</c:v>
                </c:pt>
                <c:pt idx="31938">
                  <c:v>35662</c:v>
                </c:pt>
                <c:pt idx="31939">
                  <c:v>35662</c:v>
                </c:pt>
                <c:pt idx="31940">
                  <c:v>35662</c:v>
                </c:pt>
                <c:pt idx="31941">
                  <c:v>35662</c:v>
                </c:pt>
                <c:pt idx="31942">
                  <c:v>35662</c:v>
                </c:pt>
                <c:pt idx="31943">
                  <c:v>35662</c:v>
                </c:pt>
                <c:pt idx="31944">
                  <c:v>35661</c:v>
                </c:pt>
                <c:pt idx="31945">
                  <c:v>35661</c:v>
                </c:pt>
                <c:pt idx="31946">
                  <c:v>35661</c:v>
                </c:pt>
                <c:pt idx="31947">
                  <c:v>35661</c:v>
                </c:pt>
                <c:pt idx="31948">
                  <c:v>35661</c:v>
                </c:pt>
                <c:pt idx="31949">
                  <c:v>35660</c:v>
                </c:pt>
                <c:pt idx="31950">
                  <c:v>35660</c:v>
                </c:pt>
                <c:pt idx="31951">
                  <c:v>35660</c:v>
                </c:pt>
                <c:pt idx="31952">
                  <c:v>35659</c:v>
                </c:pt>
                <c:pt idx="31953">
                  <c:v>35659</c:v>
                </c:pt>
                <c:pt idx="31954">
                  <c:v>35659</c:v>
                </c:pt>
                <c:pt idx="31955">
                  <c:v>35659</c:v>
                </c:pt>
                <c:pt idx="31956">
                  <c:v>35659</c:v>
                </c:pt>
                <c:pt idx="31957">
                  <c:v>35658</c:v>
                </c:pt>
                <c:pt idx="31958">
                  <c:v>35658</c:v>
                </c:pt>
                <c:pt idx="31959">
                  <c:v>35658</c:v>
                </c:pt>
                <c:pt idx="31960">
                  <c:v>35658</c:v>
                </c:pt>
                <c:pt idx="31961">
                  <c:v>35658</c:v>
                </c:pt>
                <c:pt idx="31962">
                  <c:v>35657</c:v>
                </c:pt>
                <c:pt idx="31963">
                  <c:v>35657</c:v>
                </c:pt>
                <c:pt idx="31964">
                  <c:v>35657</c:v>
                </c:pt>
                <c:pt idx="31965">
                  <c:v>35657</c:v>
                </c:pt>
                <c:pt idx="31966">
                  <c:v>35657</c:v>
                </c:pt>
                <c:pt idx="31967">
                  <c:v>35657</c:v>
                </c:pt>
                <c:pt idx="31968">
                  <c:v>35656</c:v>
                </c:pt>
                <c:pt idx="31969">
                  <c:v>35655</c:v>
                </c:pt>
                <c:pt idx="31970">
                  <c:v>35655</c:v>
                </c:pt>
                <c:pt idx="31971">
                  <c:v>35655</c:v>
                </c:pt>
                <c:pt idx="31972">
                  <c:v>35655</c:v>
                </c:pt>
                <c:pt idx="31973">
                  <c:v>35654</c:v>
                </c:pt>
                <c:pt idx="31974">
                  <c:v>35654</c:v>
                </c:pt>
                <c:pt idx="31975">
                  <c:v>35654</c:v>
                </c:pt>
                <c:pt idx="31976">
                  <c:v>35654</c:v>
                </c:pt>
                <c:pt idx="31977">
                  <c:v>35654</c:v>
                </c:pt>
                <c:pt idx="31978">
                  <c:v>35654</c:v>
                </c:pt>
                <c:pt idx="31979">
                  <c:v>35654</c:v>
                </c:pt>
                <c:pt idx="31980">
                  <c:v>35653</c:v>
                </c:pt>
                <c:pt idx="31981">
                  <c:v>35653</c:v>
                </c:pt>
                <c:pt idx="31982">
                  <c:v>35653</c:v>
                </c:pt>
                <c:pt idx="31983">
                  <c:v>35653</c:v>
                </c:pt>
                <c:pt idx="31984">
                  <c:v>35653</c:v>
                </c:pt>
                <c:pt idx="31985">
                  <c:v>35653</c:v>
                </c:pt>
                <c:pt idx="31986">
                  <c:v>35653</c:v>
                </c:pt>
                <c:pt idx="31987">
                  <c:v>35652</c:v>
                </c:pt>
                <c:pt idx="31988">
                  <c:v>35652</c:v>
                </c:pt>
                <c:pt idx="31989">
                  <c:v>35652</c:v>
                </c:pt>
                <c:pt idx="31990">
                  <c:v>35652</c:v>
                </c:pt>
                <c:pt idx="31991">
                  <c:v>35652</c:v>
                </c:pt>
                <c:pt idx="31992">
                  <c:v>35652</c:v>
                </c:pt>
                <c:pt idx="31993">
                  <c:v>35651</c:v>
                </c:pt>
                <c:pt idx="31994">
                  <c:v>35651</c:v>
                </c:pt>
                <c:pt idx="31995">
                  <c:v>35651</c:v>
                </c:pt>
                <c:pt idx="31996">
                  <c:v>35651</c:v>
                </c:pt>
                <c:pt idx="31997">
                  <c:v>35651</c:v>
                </c:pt>
                <c:pt idx="31998">
                  <c:v>35651</c:v>
                </c:pt>
                <c:pt idx="31999">
                  <c:v>35650</c:v>
                </c:pt>
                <c:pt idx="32000">
                  <c:v>35650</c:v>
                </c:pt>
                <c:pt idx="32001">
                  <c:v>35650</c:v>
                </c:pt>
                <c:pt idx="32002">
                  <c:v>35650</c:v>
                </c:pt>
                <c:pt idx="32003">
                  <c:v>35650</c:v>
                </c:pt>
                <c:pt idx="32004">
                  <c:v>35650</c:v>
                </c:pt>
                <c:pt idx="32005">
                  <c:v>35649</c:v>
                </c:pt>
                <c:pt idx="32006">
                  <c:v>35649</c:v>
                </c:pt>
                <c:pt idx="32007">
                  <c:v>35649</c:v>
                </c:pt>
                <c:pt idx="32008">
                  <c:v>35649</c:v>
                </c:pt>
                <c:pt idx="32009">
                  <c:v>35649</c:v>
                </c:pt>
                <c:pt idx="32010">
                  <c:v>35648</c:v>
                </c:pt>
                <c:pt idx="32011">
                  <c:v>35648</c:v>
                </c:pt>
                <c:pt idx="32012">
                  <c:v>35648</c:v>
                </c:pt>
                <c:pt idx="32013">
                  <c:v>35648</c:v>
                </c:pt>
                <c:pt idx="32014">
                  <c:v>35647</c:v>
                </c:pt>
                <c:pt idx="32015">
                  <c:v>35647</c:v>
                </c:pt>
                <c:pt idx="32016">
                  <c:v>35647</c:v>
                </c:pt>
                <c:pt idx="32017">
                  <c:v>35647</c:v>
                </c:pt>
                <c:pt idx="32018">
                  <c:v>35646</c:v>
                </c:pt>
                <c:pt idx="32019">
                  <c:v>35646</c:v>
                </c:pt>
                <c:pt idx="32020">
                  <c:v>35646</c:v>
                </c:pt>
                <c:pt idx="32021">
                  <c:v>35646</c:v>
                </c:pt>
                <c:pt idx="32022">
                  <c:v>35646</c:v>
                </c:pt>
                <c:pt idx="32023">
                  <c:v>35646</c:v>
                </c:pt>
                <c:pt idx="32024">
                  <c:v>35644</c:v>
                </c:pt>
                <c:pt idx="32025">
                  <c:v>35644</c:v>
                </c:pt>
                <c:pt idx="32026">
                  <c:v>35644</c:v>
                </c:pt>
                <c:pt idx="32027">
                  <c:v>35644</c:v>
                </c:pt>
                <c:pt idx="32028">
                  <c:v>35644</c:v>
                </c:pt>
                <c:pt idx="32029">
                  <c:v>35644</c:v>
                </c:pt>
                <c:pt idx="32030">
                  <c:v>35643</c:v>
                </c:pt>
                <c:pt idx="32031">
                  <c:v>35643</c:v>
                </c:pt>
                <c:pt idx="32032">
                  <c:v>35643</c:v>
                </c:pt>
                <c:pt idx="32033">
                  <c:v>35642</c:v>
                </c:pt>
                <c:pt idx="32034">
                  <c:v>35642</c:v>
                </c:pt>
                <c:pt idx="32035">
                  <c:v>35642</c:v>
                </c:pt>
                <c:pt idx="32036">
                  <c:v>35642</c:v>
                </c:pt>
                <c:pt idx="32037">
                  <c:v>35642</c:v>
                </c:pt>
                <c:pt idx="32038">
                  <c:v>35640</c:v>
                </c:pt>
                <c:pt idx="32039">
                  <c:v>35640</c:v>
                </c:pt>
                <c:pt idx="32040">
                  <c:v>35640</c:v>
                </c:pt>
                <c:pt idx="32041">
                  <c:v>35639</c:v>
                </c:pt>
                <c:pt idx="32042">
                  <c:v>35639</c:v>
                </c:pt>
                <c:pt idx="32043">
                  <c:v>35639</c:v>
                </c:pt>
                <c:pt idx="32044">
                  <c:v>35639</c:v>
                </c:pt>
                <c:pt idx="32045">
                  <c:v>35639</c:v>
                </c:pt>
                <c:pt idx="32046">
                  <c:v>35638</c:v>
                </c:pt>
                <c:pt idx="32047">
                  <c:v>35638</c:v>
                </c:pt>
                <c:pt idx="32048">
                  <c:v>35637</c:v>
                </c:pt>
                <c:pt idx="32049">
                  <c:v>35637</c:v>
                </c:pt>
                <c:pt idx="32050">
                  <c:v>35637</c:v>
                </c:pt>
                <c:pt idx="32051">
                  <c:v>35636</c:v>
                </c:pt>
                <c:pt idx="32052">
                  <c:v>35636</c:v>
                </c:pt>
                <c:pt idx="32053">
                  <c:v>35636</c:v>
                </c:pt>
                <c:pt idx="32054">
                  <c:v>35636</c:v>
                </c:pt>
                <c:pt idx="32055">
                  <c:v>35636</c:v>
                </c:pt>
                <c:pt idx="32056">
                  <c:v>35635</c:v>
                </c:pt>
                <c:pt idx="32057">
                  <c:v>35635</c:v>
                </c:pt>
                <c:pt idx="32058">
                  <c:v>35635</c:v>
                </c:pt>
                <c:pt idx="32059">
                  <c:v>35635</c:v>
                </c:pt>
                <c:pt idx="32060">
                  <c:v>35635</c:v>
                </c:pt>
                <c:pt idx="32061">
                  <c:v>35634</c:v>
                </c:pt>
                <c:pt idx="32062">
                  <c:v>35634</c:v>
                </c:pt>
                <c:pt idx="32063">
                  <c:v>35634</c:v>
                </c:pt>
                <c:pt idx="32064">
                  <c:v>35633</c:v>
                </c:pt>
                <c:pt idx="32065">
                  <c:v>35633</c:v>
                </c:pt>
                <c:pt idx="32066">
                  <c:v>35633</c:v>
                </c:pt>
                <c:pt idx="32067">
                  <c:v>35633</c:v>
                </c:pt>
                <c:pt idx="32068">
                  <c:v>35633</c:v>
                </c:pt>
                <c:pt idx="32069">
                  <c:v>35632</c:v>
                </c:pt>
                <c:pt idx="32070">
                  <c:v>35632</c:v>
                </c:pt>
                <c:pt idx="32071">
                  <c:v>35632</c:v>
                </c:pt>
                <c:pt idx="32072">
                  <c:v>35631</c:v>
                </c:pt>
                <c:pt idx="32073">
                  <c:v>35631</c:v>
                </c:pt>
                <c:pt idx="32074">
                  <c:v>35631</c:v>
                </c:pt>
                <c:pt idx="32075">
                  <c:v>35631</c:v>
                </c:pt>
                <c:pt idx="32076">
                  <c:v>35631</c:v>
                </c:pt>
                <c:pt idx="32077">
                  <c:v>35630</c:v>
                </c:pt>
                <c:pt idx="32078">
                  <c:v>35630</c:v>
                </c:pt>
                <c:pt idx="32079">
                  <c:v>35630</c:v>
                </c:pt>
                <c:pt idx="32080">
                  <c:v>35630</c:v>
                </c:pt>
                <c:pt idx="32081">
                  <c:v>35630</c:v>
                </c:pt>
                <c:pt idx="32082">
                  <c:v>35630</c:v>
                </c:pt>
                <c:pt idx="32083">
                  <c:v>35630</c:v>
                </c:pt>
                <c:pt idx="32084">
                  <c:v>35630</c:v>
                </c:pt>
                <c:pt idx="32085">
                  <c:v>35629</c:v>
                </c:pt>
                <c:pt idx="32086">
                  <c:v>35629</c:v>
                </c:pt>
                <c:pt idx="32087">
                  <c:v>35629</c:v>
                </c:pt>
                <c:pt idx="32088">
                  <c:v>35628</c:v>
                </c:pt>
                <c:pt idx="32089">
                  <c:v>35628</c:v>
                </c:pt>
                <c:pt idx="32090">
                  <c:v>35628</c:v>
                </c:pt>
                <c:pt idx="32091">
                  <c:v>35628</c:v>
                </c:pt>
                <c:pt idx="32092">
                  <c:v>35627</c:v>
                </c:pt>
                <c:pt idx="32093">
                  <c:v>35627</c:v>
                </c:pt>
                <c:pt idx="32094">
                  <c:v>35627</c:v>
                </c:pt>
                <c:pt idx="32095">
                  <c:v>35626</c:v>
                </c:pt>
                <c:pt idx="32096">
                  <c:v>35626</c:v>
                </c:pt>
                <c:pt idx="32097">
                  <c:v>35626</c:v>
                </c:pt>
                <c:pt idx="32098">
                  <c:v>35626</c:v>
                </c:pt>
                <c:pt idx="32099">
                  <c:v>35626</c:v>
                </c:pt>
                <c:pt idx="32100">
                  <c:v>35626</c:v>
                </c:pt>
                <c:pt idx="32101">
                  <c:v>35625</c:v>
                </c:pt>
                <c:pt idx="32102">
                  <c:v>35625</c:v>
                </c:pt>
                <c:pt idx="32103">
                  <c:v>35625</c:v>
                </c:pt>
                <c:pt idx="32104">
                  <c:v>35625</c:v>
                </c:pt>
                <c:pt idx="32105">
                  <c:v>35625</c:v>
                </c:pt>
                <c:pt idx="32106">
                  <c:v>35624</c:v>
                </c:pt>
                <c:pt idx="32107">
                  <c:v>35624</c:v>
                </c:pt>
                <c:pt idx="32108">
                  <c:v>35624</c:v>
                </c:pt>
                <c:pt idx="32109">
                  <c:v>35624</c:v>
                </c:pt>
                <c:pt idx="32110">
                  <c:v>35623</c:v>
                </c:pt>
                <c:pt idx="32111">
                  <c:v>35623</c:v>
                </c:pt>
                <c:pt idx="32112">
                  <c:v>35623</c:v>
                </c:pt>
                <c:pt idx="32113">
                  <c:v>35623</c:v>
                </c:pt>
                <c:pt idx="32114">
                  <c:v>35622</c:v>
                </c:pt>
                <c:pt idx="32115">
                  <c:v>35622</c:v>
                </c:pt>
                <c:pt idx="32116">
                  <c:v>35621</c:v>
                </c:pt>
                <c:pt idx="32117">
                  <c:v>35621</c:v>
                </c:pt>
                <c:pt idx="32118">
                  <c:v>35621</c:v>
                </c:pt>
                <c:pt idx="32119">
                  <c:v>35621</c:v>
                </c:pt>
                <c:pt idx="32120">
                  <c:v>35620</c:v>
                </c:pt>
                <c:pt idx="32121">
                  <c:v>35620</c:v>
                </c:pt>
                <c:pt idx="32122">
                  <c:v>35620</c:v>
                </c:pt>
                <c:pt idx="32123">
                  <c:v>35620</c:v>
                </c:pt>
                <c:pt idx="32124">
                  <c:v>35619</c:v>
                </c:pt>
                <c:pt idx="32125">
                  <c:v>35619</c:v>
                </c:pt>
                <c:pt idx="32126">
                  <c:v>35619</c:v>
                </c:pt>
                <c:pt idx="32127">
                  <c:v>35618</c:v>
                </c:pt>
                <c:pt idx="32128">
                  <c:v>35618</c:v>
                </c:pt>
                <c:pt idx="32129">
                  <c:v>35618</c:v>
                </c:pt>
                <c:pt idx="32130">
                  <c:v>35618</c:v>
                </c:pt>
                <c:pt idx="32131">
                  <c:v>35618</c:v>
                </c:pt>
                <c:pt idx="32132">
                  <c:v>35617</c:v>
                </c:pt>
                <c:pt idx="32133">
                  <c:v>35617</c:v>
                </c:pt>
                <c:pt idx="32134">
                  <c:v>35617</c:v>
                </c:pt>
                <c:pt idx="32135">
                  <c:v>35617</c:v>
                </c:pt>
                <c:pt idx="32136">
                  <c:v>35617</c:v>
                </c:pt>
                <c:pt idx="32137">
                  <c:v>35616</c:v>
                </c:pt>
                <c:pt idx="32138">
                  <c:v>35616</c:v>
                </c:pt>
                <c:pt idx="32139">
                  <c:v>35616</c:v>
                </c:pt>
                <c:pt idx="32140">
                  <c:v>35615</c:v>
                </c:pt>
                <c:pt idx="32141">
                  <c:v>35615</c:v>
                </c:pt>
                <c:pt idx="32142">
                  <c:v>35615</c:v>
                </c:pt>
                <c:pt idx="32143">
                  <c:v>35615</c:v>
                </c:pt>
                <c:pt idx="32144">
                  <c:v>35614</c:v>
                </c:pt>
                <c:pt idx="32145">
                  <c:v>35614</c:v>
                </c:pt>
                <c:pt idx="32146">
                  <c:v>35614</c:v>
                </c:pt>
                <c:pt idx="32147">
                  <c:v>35614</c:v>
                </c:pt>
                <c:pt idx="32148">
                  <c:v>35614</c:v>
                </c:pt>
                <c:pt idx="32149">
                  <c:v>35613</c:v>
                </c:pt>
                <c:pt idx="32150">
                  <c:v>35613</c:v>
                </c:pt>
                <c:pt idx="32151">
                  <c:v>35613</c:v>
                </c:pt>
                <c:pt idx="32152">
                  <c:v>35613</c:v>
                </c:pt>
                <c:pt idx="32153">
                  <c:v>35613</c:v>
                </c:pt>
                <c:pt idx="32154">
                  <c:v>35612</c:v>
                </c:pt>
                <c:pt idx="32155">
                  <c:v>35612</c:v>
                </c:pt>
                <c:pt idx="32156">
                  <c:v>35612</c:v>
                </c:pt>
                <c:pt idx="32157">
                  <c:v>35611</c:v>
                </c:pt>
                <c:pt idx="32158">
                  <c:v>35611</c:v>
                </c:pt>
                <c:pt idx="32159">
                  <c:v>35611</c:v>
                </c:pt>
                <c:pt idx="32160">
                  <c:v>35610</c:v>
                </c:pt>
                <c:pt idx="32161">
                  <c:v>35610</c:v>
                </c:pt>
                <c:pt idx="32162">
                  <c:v>35610</c:v>
                </c:pt>
                <c:pt idx="32163">
                  <c:v>35610</c:v>
                </c:pt>
                <c:pt idx="32164">
                  <c:v>35609</c:v>
                </c:pt>
                <c:pt idx="32165">
                  <c:v>35609</c:v>
                </c:pt>
                <c:pt idx="32166">
                  <c:v>35609</c:v>
                </c:pt>
                <c:pt idx="32167">
                  <c:v>35609</c:v>
                </c:pt>
                <c:pt idx="32168">
                  <c:v>35608</c:v>
                </c:pt>
                <c:pt idx="32169">
                  <c:v>35608</c:v>
                </c:pt>
                <c:pt idx="32170">
                  <c:v>35608</c:v>
                </c:pt>
                <c:pt idx="32171">
                  <c:v>35608</c:v>
                </c:pt>
                <c:pt idx="32172">
                  <c:v>35608</c:v>
                </c:pt>
                <c:pt idx="32173">
                  <c:v>35608</c:v>
                </c:pt>
                <c:pt idx="32174">
                  <c:v>35608</c:v>
                </c:pt>
                <c:pt idx="32175">
                  <c:v>35607</c:v>
                </c:pt>
                <c:pt idx="32176">
                  <c:v>35607</c:v>
                </c:pt>
                <c:pt idx="32177">
                  <c:v>35607</c:v>
                </c:pt>
                <c:pt idx="32178">
                  <c:v>35607</c:v>
                </c:pt>
                <c:pt idx="32179">
                  <c:v>35607</c:v>
                </c:pt>
                <c:pt idx="32180">
                  <c:v>35606</c:v>
                </c:pt>
                <c:pt idx="32181">
                  <c:v>35606</c:v>
                </c:pt>
                <c:pt idx="32182">
                  <c:v>35606</c:v>
                </c:pt>
                <c:pt idx="32183">
                  <c:v>35606</c:v>
                </c:pt>
                <c:pt idx="32184">
                  <c:v>35605</c:v>
                </c:pt>
                <c:pt idx="32185">
                  <c:v>35605</c:v>
                </c:pt>
                <c:pt idx="32186">
                  <c:v>35604</c:v>
                </c:pt>
                <c:pt idx="32187">
                  <c:v>35604</c:v>
                </c:pt>
                <c:pt idx="32188">
                  <c:v>35604</c:v>
                </c:pt>
                <c:pt idx="32189">
                  <c:v>35604</c:v>
                </c:pt>
                <c:pt idx="32190">
                  <c:v>35604</c:v>
                </c:pt>
                <c:pt idx="32191">
                  <c:v>35604</c:v>
                </c:pt>
                <c:pt idx="32192">
                  <c:v>35604</c:v>
                </c:pt>
                <c:pt idx="32193">
                  <c:v>35603</c:v>
                </c:pt>
                <c:pt idx="32194">
                  <c:v>35603</c:v>
                </c:pt>
                <c:pt idx="32195">
                  <c:v>35602</c:v>
                </c:pt>
                <c:pt idx="32196">
                  <c:v>35602</c:v>
                </c:pt>
                <c:pt idx="32197">
                  <c:v>35602</c:v>
                </c:pt>
                <c:pt idx="32198">
                  <c:v>35602</c:v>
                </c:pt>
                <c:pt idx="32199">
                  <c:v>35601</c:v>
                </c:pt>
                <c:pt idx="32200">
                  <c:v>35601</c:v>
                </c:pt>
                <c:pt idx="32201">
                  <c:v>35601</c:v>
                </c:pt>
                <c:pt idx="32202">
                  <c:v>35601</c:v>
                </c:pt>
                <c:pt idx="32203">
                  <c:v>35600</c:v>
                </c:pt>
                <c:pt idx="32204">
                  <c:v>35600</c:v>
                </c:pt>
                <c:pt idx="32205">
                  <c:v>35600</c:v>
                </c:pt>
                <c:pt idx="32206">
                  <c:v>35600</c:v>
                </c:pt>
                <c:pt idx="32207">
                  <c:v>35600</c:v>
                </c:pt>
                <c:pt idx="32208">
                  <c:v>35599</c:v>
                </c:pt>
                <c:pt idx="32209">
                  <c:v>35599</c:v>
                </c:pt>
                <c:pt idx="32210">
                  <c:v>35599</c:v>
                </c:pt>
                <c:pt idx="32211">
                  <c:v>35599</c:v>
                </c:pt>
                <c:pt idx="32212">
                  <c:v>35599</c:v>
                </c:pt>
                <c:pt idx="32213">
                  <c:v>35598</c:v>
                </c:pt>
                <c:pt idx="32214">
                  <c:v>35598</c:v>
                </c:pt>
                <c:pt idx="32215">
                  <c:v>35598</c:v>
                </c:pt>
                <c:pt idx="32216">
                  <c:v>35598</c:v>
                </c:pt>
                <c:pt idx="32217">
                  <c:v>35597</c:v>
                </c:pt>
                <c:pt idx="32218">
                  <c:v>35597</c:v>
                </c:pt>
                <c:pt idx="32219">
                  <c:v>35597</c:v>
                </c:pt>
                <c:pt idx="32220">
                  <c:v>35597</c:v>
                </c:pt>
                <c:pt idx="32221">
                  <c:v>35597</c:v>
                </c:pt>
                <c:pt idx="32222">
                  <c:v>35597</c:v>
                </c:pt>
                <c:pt idx="32223">
                  <c:v>35596</c:v>
                </c:pt>
                <c:pt idx="32224">
                  <c:v>35596</c:v>
                </c:pt>
                <c:pt idx="32225">
                  <c:v>35596</c:v>
                </c:pt>
                <c:pt idx="32226">
                  <c:v>35595</c:v>
                </c:pt>
                <c:pt idx="32227">
                  <c:v>35595</c:v>
                </c:pt>
                <c:pt idx="32228">
                  <c:v>35595</c:v>
                </c:pt>
                <c:pt idx="32229">
                  <c:v>35595</c:v>
                </c:pt>
                <c:pt idx="32230">
                  <c:v>35595</c:v>
                </c:pt>
                <c:pt idx="32231">
                  <c:v>35595</c:v>
                </c:pt>
                <c:pt idx="32232">
                  <c:v>35595</c:v>
                </c:pt>
                <c:pt idx="32233">
                  <c:v>35594</c:v>
                </c:pt>
                <c:pt idx="32234">
                  <c:v>35593</c:v>
                </c:pt>
                <c:pt idx="32235">
                  <c:v>35593</c:v>
                </c:pt>
                <c:pt idx="32236">
                  <c:v>35593</c:v>
                </c:pt>
                <c:pt idx="32237">
                  <c:v>35593</c:v>
                </c:pt>
                <c:pt idx="32238">
                  <c:v>35592</c:v>
                </c:pt>
                <c:pt idx="32239">
                  <c:v>35592</c:v>
                </c:pt>
                <c:pt idx="32240">
                  <c:v>35591</c:v>
                </c:pt>
                <c:pt idx="32241">
                  <c:v>35591</c:v>
                </c:pt>
                <c:pt idx="32242">
                  <c:v>35590</c:v>
                </c:pt>
                <c:pt idx="32243">
                  <c:v>35590</c:v>
                </c:pt>
                <c:pt idx="32244">
                  <c:v>35590</c:v>
                </c:pt>
                <c:pt idx="32245">
                  <c:v>35590</c:v>
                </c:pt>
                <c:pt idx="32246">
                  <c:v>35589</c:v>
                </c:pt>
                <c:pt idx="32247">
                  <c:v>35589</c:v>
                </c:pt>
                <c:pt idx="32248">
                  <c:v>35588</c:v>
                </c:pt>
                <c:pt idx="32249">
                  <c:v>35588</c:v>
                </c:pt>
                <c:pt idx="32250">
                  <c:v>35588</c:v>
                </c:pt>
                <c:pt idx="32251">
                  <c:v>35587</c:v>
                </c:pt>
                <c:pt idx="32252">
                  <c:v>35587</c:v>
                </c:pt>
                <c:pt idx="32253">
                  <c:v>35587</c:v>
                </c:pt>
                <c:pt idx="32254">
                  <c:v>35587</c:v>
                </c:pt>
                <c:pt idx="32255">
                  <c:v>35587</c:v>
                </c:pt>
                <c:pt idx="32256">
                  <c:v>35586</c:v>
                </c:pt>
                <c:pt idx="32257">
                  <c:v>35586</c:v>
                </c:pt>
                <c:pt idx="32258">
                  <c:v>35586</c:v>
                </c:pt>
                <c:pt idx="32259">
                  <c:v>35586</c:v>
                </c:pt>
                <c:pt idx="32260">
                  <c:v>35586</c:v>
                </c:pt>
                <c:pt idx="32261">
                  <c:v>35586</c:v>
                </c:pt>
                <c:pt idx="32262">
                  <c:v>35586</c:v>
                </c:pt>
                <c:pt idx="32263">
                  <c:v>35586</c:v>
                </c:pt>
                <c:pt idx="32264">
                  <c:v>35586</c:v>
                </c:pt>
                <c:pt idx="32265">
                  <c:v>35586</c:v>
                </c:pt>
                <c:pt idx="32266">
                  <c:v>35585</c:v>
                </c:pt>
                <c:pt idx="32267">
                  <c:v>35585</c:v>
                </c:pt>
                <c:pt idx="32268">
                  <c:v>35585</c:v>
                </c:pt>
                <c:pt idx="32269">
                  <c:v>35585</c:v>
                </c:pt>
                <c:pt idx="32270">
                  <c:v>35584</c:v>
                </c:pt>
                <c:pt idx="32271">
                  <c:v>35584</c:v>
                </c:pt>
                <c:pt idx="32272">
                  <c:v>35584</c:v>
                </c:pt>
                <c:pt idx="32273">
                  <c:v>35584</c:v>
                </c:pt>
                <c:pt idx="32274">
                  <c:v>35584</c:v>
                </c:pt>
                <c:pt idx="32275">
                  <c:v>35584</c:v>
                </c:pt>
                <c:pt idx="32276">
                  <c:v>35584</c:v>
                </c:pt>
                <c:pt idx="32277">
                  <c:v>35583</c:v>
                </c:pt>
                <c:pt idx="32278">
                  <c:v>35583</c:v>
                </c:pt>
                <c:pt idx="32279">
                  <c:v>35583</c:v>
                </c:pt>
                <c:pt idx="32280">
                  <c:v>35583</c:v>
                </c:pt>
                <c:pt idx="32281">
                  <c:v>35583</c:v>
                </c:pt>
                <c:pt idx="32282">
                  <c:v>35583</c:v>
                </c:pt>
                <c:pt idx="32283">
                  <c:v>35583</c:v>
                </c:pt>
                <c:pt idx="32284">
                  <c:v>35583</c:v>
                </c:pt>
                <c:pt idx="32285">
                  <c:v>35583</c:v>
                </c:pt>
                <c:pt idx="32286">
                  <c:v>35582</c:v>
                </c:pt>
                <c:pt idx="32287">
                  <c:v>35582</c:v>
                </c:pt>
                <c:pt idx="32288">
                  <c:v>35582</c:v>
                </c:pt>
                <c:pt idx="32289">
                  <c:v>35582</c:v>
                </c:pt>
                <c:pt idx="32290">
                  <c:v>35582</c:v>
                </c:pt>
                <c:pt idx="32291">
                  <c:v>35582</c:v>
                </c:pt>
                <c:pt idx="32292">
                  <c:v>35581</c:v>
                </c:pt>
                <c:pt idx="32293">
                  <c:v>35581</c:v>
                </c:pt>
                <c:pt idx="32294">
                  <c:v>35581</c:v>
                </c:pt>
                <c:pt idx="32295">
                  <c:v>35581</c:v>
                </c:pt>
                <c:pt idx="32296">
                  <c:v>35580</c:v>
                </c:pt>
                <c:pt idx="32297">
                  <c:v>35580</c:v>
                </c:pt>
                <c:pt idx="32298">
                  <c:v>35580</c:v>
                </c:pt>
                <c:pt idx="32299">
                  <c:v>35580</c:v>
                </c:pt>
                <c:pt idx="32300">
                  <c:v>35580</c:v>
                </c:pt>
                <c:pt idx="32301">
                  <c:v>35579</c:v>
                </c:pt>
                <c:pt idx="32302">
                  <c:v>35579</c:v>
                </c:pt>
                <c:pt idx="32303">
                  <c:v>35579</c:v>
                </c:pt>
                <c:pt idx="32304">
                  <c:v>35578</c:v>
                </c:pt>
                <c:pt idx="32305">
                  <c:v>35578</c:v>
                </c:pt>
                <c:pt idx="32306">
                  <c:v>35578</c:v>
                </c:pt>
                <c:pt idx="32307">
                  <c:v>35578</c:v>
                </c:pt>
                <c:pt idx="32308">
                  <c:v>35578</c:v>
                </c:pt>
                <c:pt idx="32309">
                  <c:v>35577</c:v>
                </c:pt>
                <c:pt idx="32310">
                  <c:v>35576</c:v>
                </c:pt>
                <c:pt idx="32311">
                  <c:v>35576</c:v>
                </c:pt>
                <c:pt idx="32312">
                  <c:v>35576</c:v>
                </c:pt>
                <c:pt idx="32313">
                  <c:v>35576</c:v>
                </c:pt>
                <c:pt idx="32314">
                  <c:v>35575</c:v>
                </c:pt>
                <c:pt idx="32315">
                  <c:v>35575</c:v>
                </c:pt>
                <c:pt idx="32316">
                  <c:v>35575</c:v>
                </c:pt>
                <c:pt idx="32317">
                  <c:v>35574</c:v>
                </c:pt>
                <c:pt idx="32318">
                  <c:v>35574</c:v>
                </c:pt>
                <c:pt idx="32319">
                  <c:v>35573</c:v>
                </c:pt>
                <c:pt idx="32320">
                  <c:v>35573</c:v>
                </c:pt>
                <c:pt idx="32321">
                  <c:v>35573</c:v>
                </c:pt>
                <c:pt idx="32322">
                  <c:v>35573</c:v>
                </c:pt>
                <c:pt idx="32323">
                  <c:v>35572</c:v>
                </c:pt>
                <c:pt idx="32324">
                  <c:v>35572</c:v>
                </c:pt>
                <c:pt idx="32325">
                  <c:v>35572</c:v>
                </c:pt>
                <c:pt idx="32326">
                  <c:v>35572</c:v>
                </c:pt>
                <c:pt idx="32327">
                  <c:v>35572</c:v>
                </c:pt>
                <c:pt idx="32328">
                  <c:v>35572</c:v>
                </c:pt>
                <c:pt idx="32329">
                  <c:v>35572</c:v>
                </c:pt>
                <c:pt idx="32330">
                  <c:v>35572</c:v>
                </c:pt>
                <c:pt idx="32331">
                  <c:v>35572</c:v>
                </c:pt>
                <c:pt idx="32332">
                  <c:v>35572</c:v>
                </c:pt>
                <c:pt idx="32333">
                  <c:v>35571</c:v>
                </c:pt>
                <c:pt idx="32334">
                  <c:v>35571</c:v>
                </c:pt>
                <c:pt idx="32335">
                  <c:v>35571</c:v>
                </c:pt>
                <c:pt idx="32336">
                  <c:v>35571</c:v>
                </c:pt>
                <c:pt idx="32337">
                  <c:v>35571</c:v>
                </c:pt>
                <c:pt idx="32338">
                  <c:v>35570</c:v>
                </c:pt>
                <c:pt idx="32339">
                  <c:v>35570</c:v>
                </c:pt>
                <c:pt idx="32340">
                  <c:v>35569</c:v>
                </c:pt>
                <c:pt idx="32341">
                  <c:v>35569</c:v>
                </c:pt>
                <c:pt idx="32342">
                  <c:v>35569</c:v>
                </c:pt>
                <c:pt idx="32343">
                  <c:v>35569</c:v>
                </c:pt>
                <c:pt idx="32344">
                  <c:v>35569</c:v>
                </c:pt>
                <c:pt idx="32345">
                  <c:v>35569</c:v>
                </c:pt>
                <c:pt idx="32346">
                  <c:v>35568</c:v>
                </c:pt>
                <c:pt idx="32347">
                  <c:v>35568</c:v>
                </c:pt>
                <c:pt idx="32348">
                  <c:v>35568</c:v>
                </c:pt>
                <c:pt idx="32349">
                  <c:v>35567</c:v>
                </c:pt>
                <c:pt idx="32350">
                  <c:v>35567</c:v>
                </c:pt>
                <c:pt idx="32351">
                  <c:v>35567</c:v>
                </c:pt>
                <c:pt idx="32352">
                  <c:v>35567</c:v>
                </c:pt>
                <c:pt idx="32353">
                  <c:v>35566</c:v>
                </c:pt>
                <c:pt idx="32354">
                  <c:v>35566</c:v>
                </c:pt>
                <c:pt idx="32355">
                  <c:v>35566</c:v>
                </c:pt>
                <c:pt idx="32356">
                  <c:v>35566</c:v>
                </c:pt>
                <c:pt idx="32357">
                  <c:v>35566</c:v>
                </c:pt>
                <c:pt idx="32358">
                  <c:v>35565</c:v>
                </c:pt>
                <c:pt idx="32359">
                  <c:v>35564</c:v>
                </c:pt>
                <c:pt idx="32360">
                  <c:v>35564</c:v>
                </c:pt>
                <c:pt idx="32361">
                  <c:v>35564</c:v>
                </c:pt>
                <c:pt idx="32362">
                  <c:v>35564</c:v>
                </c:pt>
                <c:pt idx="32363">
                  <c:v>35563</c:v>
                </c:pt>
                <c:pt idx="32364">
                  <c:v>35563</c:v>
                </c:pt>
                <c:pt idx="32365">
                  <c:v>35563</c:v>
                </c:pt>
                <c:pt idx="32366">
                  <c:v>35563</c:v>
                </c:pt>
                <c:pt idx="32367">
                  <c:v>35563</c:v>
                </c:pt>
                <c:pt idx="32368">
                  <c:v>35563</c:v>
                </c:pt>
                <c:pt idx="32369">
                  <c:v>35563</c:v>
                </c:pt>
                <c:pt idx="32370">
                  <c:v>35563</c:v>
                </c:pt>
                <c:pt idx="32371">
                  <c:v>35562</c:v>
                </c:pt>
                <c:pt idx="32372">
                  <c:v>35562</c:v>
                </c:pt>
                <c:pt idx="32373">
                  <c:v>35562</c:v>
                </c:pt>
                <c:pt idx="32374">
                  <c:v>35561</c:v>
                </c:pt>
                <c:pt idx="32375">
                  <c:v>35561</c:v>
                </c:pt>
                <c:pt idx="32376">
                  <c:v>35561</c:v>
                </c:pt>
                <c:pt idx="32377">
                  <c:v>35561</c:v>
                </c:pt>
                <c:pt idx="32378">
                  <c:v>35561</c:v>
                </c:pt>
                <c:pt idx="32379">
                  <c:v>35561</c:v>
                </c:pt>
                <c:pt idx="32380">
                  <c:v>35560</c:v>
                </c:pt>
                <c:pt idx="32381">
                  <c:v>35560</c:v>
                </c:pt>
                <c:pt idx="32382">
                  <c:v>35560</c:v>
                </c:pt>
                <c:pt idx="32383">
                  <c:v>35560</c:v>
                </c:pt>
                <c:pt idx="32384">
                  <c:v>35560</c:v>
                </c:pt>
                <c:pt idx="32385">
                  <c:v>35559</c:v>
                </c:pt>
                <c:pt idx="32386">
                  <c:v>35559</c:v>
                </c:pt>
                <c:pt idx="32387">
                  <c:v>35559</c:v>
                </c:pt>
                <c:pt idx="32388">
                  <c:v>35559</c:v>
                </c:pt>
                <c:pt idx="32389">
                  <c:v>35558</c:v>
                </c:pt>
                <c:pt idx="32390">
                  <c:v>35558</c:v>
                </c:pt>
                <c:pt idx="32391">
                  <c:v>35558</c:v>
                </c:pt>
                <c:pt idx="32392">
                  <c:v>35557</c:v>
                </c:pt>
                <c:pt idx="32393">
                  <c:v>35557</c:v>
                </c:pt>
                <c:pt idx="32394">
                  <c:v>35557</c:v>
                </c:pt>
                <c:pt idx="32395">
                  <c:v>35557</c:v>
                </c:pt>
                <c:pt idx="32396">
                  <c:v>35557</c:v>
                </c:pt>
                <c:pt idx="32397">
                  <c:v>35557</c:v>
                </c:pt>
                <c:pt idx="32398">
                  <c:v>35557</c:v>
                </c:pt>
                <c:pt idx="32399">
                  <c:v>35556</c:v>
                </c:pt>
                <c:pt idx="32400">
                  <c:v>35556</c:v>
                </c:pt>
                <c:pt idx="32401">
                  <c:v>35556</c:v>
                </c:pt>
                <c:pt idx="32402">
                  <c:v>35556</c:v>
                </c:pt>
                <c:pt idx="32403">
                  <c:v>35556</c:v>
                </c:pt>
                <c:pt idx="32404">
                  <c:v>35556</c:v>
                </c:pt>
                <c:pt idx="32405">
                  <c:v>35556</c:v>
                </c:pt>
                <c:pt idx="32406">
                  <c:v>35556</c:v>
                </c:pt>
                <c:pt idx="32407">
                  <c:v>35556</c:v>
                </c:pt>
                <c:pt idx="32408">
                  <c:v>35555</c:v>
                </c:pt>
                <c:pt idx="32409">
                  <c:v>35555</c:v>
                </c:pt>
                <c:pt idx="32410">
                  <c:v>35554</c:v>
                </c:pt>
                <c:pt idx="32411">
                  <c:v>35554</c:v>
                </c:pt>
                <c:pt idx="32412">
                  <c:v>35554</c:v>
                </c:pt>
                <c:pt idx="32413">
                  <c:v>35554</c:v>
                </c:pt>
                <c:pt idx="32414">
                  <c:v>35554</c:v>
                </c:pt>
                <c:pt idx="32415">
                  <c:v>35554</c:v>
                </c:pt>
                <c:pt idx="32416">
                  <c:v>35554</c:v>
                </c:pt>
                <c:pt idx="32417">
                  <c:v>35553</c:v>
                </c:pt>
                <c:pt idx="32418">
                  <c:v>35553</c:v>
                </c:pt>
                <c:pt idx="32419">
                  <c:v>35552</c:v>
                </c:pt>
                <c:pt idx="32420">
                  <c:v>35552</c:v>
                </c:pt>
                <c:pt idx="32421">
                  <c:v>35552</c:v>
                </c:pt>
                <c:pt idx="32422">
                  <c:v>35552</c:v>
                </c:pt>
                <c:pt idx="32423">
                  <c:v>35552</c:v>
                </c:pt>
                <c:pt idx="32424">
                  <c:v>35552</c:v>
                </c:pt>
                <c:pt idx="32425">
                  <c:v>35552</c:v>
                </c:pt>
                <c:pt idx="32426">
                  <c:v>35551</c:v>
                </c:pt>
                <c:pt idx="32427">
                  <c:v>35551</c:v>
                </c:pt>
                <c:pt idx="32428">
                  <c:v>35551</c:v>
                </c:pt>
                <c:pt idx="32429">
                  <c:v>35551</c:v>
                </c:pt>
                <c:pt idx="32430">
                  <c:v>35551</c:v>
                </c:pt>
                <c:pt idx="32431">
                  <c:v>35550</c:v>
                </c:pt>
                <c:pt idx="32432">
                  <c:v>35550</c:v>
                </c:pt>
                <c:pt idx="32433">
                  <c:v>35550</c:v>
                </c:pt>
                <c:pt idx="32434">
                  <c:v>35550</c:v>
                </c:pt>
                <c:pt idx="32435">
                  <c:v>35550</c:v>
                </c:pt>
                <c:pt idx="32436">
                  <c:v>35550</c:v>
                </c:pt>
                <c:pt idx="32437">
                  <c:v>35549</c:v>
                </c:pt>
                <c:pt idx="32438">
                  <c:v>35549</c:v>
                </c:pt>
                <c:pt idx="32439">
                  <c:v>35549</c:v>
                </c:pt>
                <c:pt idx="32440">
                  <c:v>35549</c:v>
                </c:pt>
                <c:pt idx="32441">
                  <c:v>35549</c:v>
                </c:pt>
                <c:pt idx="32442">
                  <c:v>35548</c:v>
                </c:pt>
                <c:pt idx="32443">
                  <c:v>35548</c:v>
                </c:pt>
                <c:pt idx="32444">
                  <c:v>35548</c:v>
                </c:pt>
                <c:pt idx="32445">
                  <c:v>35548</c:v>
                </c:pt>
                <c:pt idx="32446">
                  <c:v>35548</c:v>
                </c:pt>
                <c:pt idx="32447">
                  <c:v>35548</c:v>
                </c:pt>
                <c:pt idx="32448">
                  <c:v>35548</c:v>
                </c:pt>
                <c:pt idx="32449">
                  <c:v>35548</c:v>
                </c:pt>
                <c:pt idx="32450">
                  <c:v>35547</c:v>
                </c:pt>
                <c:pt idx="32451">
                  <c:v>35547</c:v>
                </c:pt>
                <c:pt idx="32452">
                  <c:v>35546</c:v>
                </c:pt>
                <c:pt idx="32453">
                  <c:v>35546</c:v>
                </c:pt>
                <c:pt idx="32454">
                  <c:v>35546</c:v>
                </c:pt>
                <c:pt idx="32455">
                  <c:v>35545</c:v>
                </c:pt>
                <c:pt idx="32456">
                  <c:v>35545</c:v>
                </c:pt>
                <c:pt idx="32457">
                  <c:v>35545</c:v>
                </c:pt>
                <c:pt idx="32458">
                  <c:v>35545</c:v>
                </c:pt>
                <c:pt idx="32459">
                  <c:v>35544</c:v>
                </c:pt>
                <c:pt idx="32460">
                  <c:v>35544</c:v>
                </c:pt>
                <c:pt idx="32461">
                  <c:v>35544</c:v>
                </c:pt>
                <c:pt idx="32462">
                  <c:v>35544</c:v>
                </c:pt>
                <c:pt idx="32463">
                  <c:v>35544</c:v>
                </c:pt>
                <c:pt idx="32464">
                  <c:v>35543</c:v>
                </c:pt>
                <c:pt idx="32465">
                  <c:v>35543</c:v>
                </c:pt>
                <c:pt idx="32466">
                  <c:v>35543</c:v>
                </c:pt>
                <c:pt idx="32467">
                  <c:v>35543</c:v>
                </c:pt>
                <c:pt idx="32468">
                  <c:v>35543</c:v>
                </c:pt>
                <c:pt idx="32469">
                  <c:v>35542</c:v>
                </c:pt>
                <c:pt idx="32470">
                  <c:v>35542</c:v>
                </c:pt>
                <c:pt idx="32471">
                  <c:v>35542</c:v>
                </c:pt>
                <c:pt idx="32472">
                  <c:v>35542</c:v>
                </c:pt>
                <c:pt idx="32473">
                  <c:v>35541</c:v>
                </c:pt>
                <c:pt idx="32474">
                  <c:v>35541</c:v>
                </c:pt>
                <c:pt idx="32475">
                  <c:v>35541</c:v>
                </c:pt>
                <c:pt idx="32476">
                  <c:v>35540</c:v>
                </c:pt>
                <c:pt idx="32477">
                  <c:v>35540</c:v>
                </c:pt>
                <c:pt idx="32478">
                  <c:v>35540</c:v>
                </c:pt>
                <c:pt idx="32479">
                  <c:v>35539</c:v>
                </c:pt>
                <c:pt idx="32480">
                  <c:v>35539</c:v>
                </c:pt>
                <c:pt idx="32481">
                  <c:v>35539</c:v>
                </c:pt>
                <c:pt idx="32482">
                  <c:v>35539</c:v>
                </c:pt>
                <c:pt idx="32483">
                  <c:v>35539</c:v>
                </c:pt>
                <c:pt idx="32484">
                  <c:v>35539</c:v>
                </c:pt>
                <c:pt idx="32485">
                  <c:v>35538</c:v>
                </c:pt>
                <c:pt idx="32486">
                  <c:v>35538</c:v>
                </c:pt>
                <c:pt idx="32487">
                  <c:v>35538</c:v>
                </c:pt>
                <c:pt idx="32488">
                  <c:v>35538</c:v>
                </c:pt>
                <c:pt idx="32489">
                  <c:v>35538</c:v>
                </c:pt>
                <c:pt idx="32490">
                  <c:v>35537</c:v>
                </c:pt>
                <c:pt idx="32491">
                  <c:v>35537</c:v>
                </c:pt>
                <c:pt idx="32492">
                  <c:v>35536</c:v>
                </c:pt>
                <c:pt idx="32493">
                  <c:v>35536</c:v>
                </c:pt>
                <c:pt idx="32494">
                  <c:v>35535</c:v>
                </c:pt>
                <c:pt idx="32495">
                  <c:v>35535</c:v>
                </c:pt>
                <c:pt idx="32496">
                  <c:v>35535</c:v>
                </c:pt>
                <c:pt idx="32497">
                  <c:v>35535</c:v>
                </c:pt>
                <c:pt idx="32498">
                  <c:v>35535</c:v>
                </c:pt>
                <c:pt idx="32499">
                  <c:v>35534</c:v>
                </c:pt>
                <c:pt idx="32500">
                  <c:v>35534</c:v>
                </c:pt>
                <c:pt idx="32501">
                  <c:v>35533</c:v>
                </c:pt>
                <c:pt idx="32502">
                  <c:v>35533</c:v>
                </c:pt>
                <c:pt idx="32503">
                  <c:v>35533</c:v>
                </c:pt>
                <c:pt idx="32504">
                  <c:v>35533</c:v>
                </c:pt>
                <c:pt idx="32505">
                  <c:v>35533</c:v>
                </c:pt>
                <c:pt idx="32506">
                  <c:v>35533</c:v>
                </c:pt>
                <c:pt idx="32507">
                  <c:v>35533</c:v>
                </c:pt>
                <c:pt idx="32508">
                  <c:v>35532</c:v>
                </c:pt>
                <c:pt idx="32509">
                  <c:v>35532</c:v>
                </c:pt>
                <c:pt idx="32510">
                  <c:v>35532</c:v>
                </c:pt>
                <c:pt idx="32511">
                  <c:v>35532</c:v>
                </c:pt>
                <c:pt idx="32512">
                  <c:v>35531</c:v>
                </c:pt>
                <c:pt idx="32513">
                  <c:v>35531</c:v>
                </c:pt>
                <c:pt idx="32514">
                  <c:v>35531</c:v>
                </c:pt>
                <c:pt idx="32515">
                  <c:v>35531</c:v>
                </c:pt>
                <c:pt idx="32516">
                  <c:v>35531</c:v>
                </c:pt>
                <c:pt idx="32517">
                  <c:v>35531</c:v>
                </c:pt>
                <c:pt idx="32518">
                  <c:v>35531</c:v>
                </c:pt>
                <c:pt idx="32519">
                  <c:v>35530</c:v>
                </c:pt>
                <c:pt idx="32520">
                  <c:v>35530</c:v>
                </c:pt>
                <c:pt idx="32521">
                  <c:v>35530</c:v>
                </c:pt>
                <c:pt idx="32522">
                  <c:v>35529</c:v>
                </c:pt>
                <c:pt idx="32523">
                  <c:v>35529</c:v>
                </c:pt>
                <c:pt idx="32524">
                  <c:v>35529</c:v>
                </c:pt>
                <c:pt idx="32525">
                  <c:v>35529</c:v>
                </c:pt>
                <c:pt idx="32526">
                  <c:v>35529</c:v>
                </c:pt>
                <c:pt idx="32527">
                  <c:v>35529</c:v>
                </c:pt>
                <c:pt idx="32528">
                  <c:v>35528</c:v>
                </c:pt>
                <c:pt idx="32529">
                  <c:v>35528</c:v>
                </c:pt>
                <c:pt idx="32530">
                  <c:v>35528</c:v>
                </c:pt>
                <c:pt idx="32531">
                  <c:v>35528</c:v>
                </c:pt>
                <c:pt idx="32532">
                  <c:v>35528</c:v>
                </c:pt>
                <c:pt idx="32533">
                  <c:v>35527</c:v>
                </c:pt>
                <c:pt idx="32534">
                  <c:v>35527</c:v>
                </c:pt>
                <c:pt idx="32535">
                  <c:v>35527</c:v>
                </c:pt>
                <c:pt idx="32536">
                  <c:v>35527</c:v>
                </c:pt>
                <c:pt idx="32537">
                  <c:v>35526</c:v>
                </c:pt>
                <c:pt idx="32538">
                  <c:v>35526</c:v>
                </c:pt>
                <c:pt idx="32539">
                  <c:v>35526</c:v>
                </c:pt>
                <c:pt idx="32540">
                  <c:v>35526</c:v>
                </c:pt>
                <c:pt idx="32541">
                  <c:v>35526</c:v>
                </c:pt>
                <c:pt idx="32542">
                  <c:v>35526</c:v>
                </c:pt>
                <c:pt idx="32543">
                  <c:v>35525</c:v>
                </c:pt>
                <c:pt idx="32544">
                  <c:v>35525</c:v>
                </c:pt>
                <c:pt idx="32545">
                  <c:v>35525</c:v>
                </c:pt>
                <c:pt idx="32546">
                  <c:v>35525</c:v>
                </c:pt>
                <c:pt idx="32547">
                  <c:v>35525</c:v>
                </c:pt>
                <c:pt idx="32548">
                  <c:v>35524</c:v>
                </c:pt>
                <c:pt idx="32549">
                  <c:v>35524</c:v>
                </c:pt>
                <c:pt idx="32550">
                  <c:v>35524</c:v>
                </c:pt>
                <c:pt idx="32551">
                  <c:v>35523</c:v>
                </c:pt>
                <c:pt idx="32552">
                  <c:v>35522</c:v>
                </c:pt>
                <c:pt idx="32553">
                  <c:v>35522</c:v>
                </c:pt>
                <c:pt idx="32554">
                  <c:v>35522</c:v>
                </c:pt>
                <c:pt idx="32555">
                  <c:v>35522</c:v>
                </c:pt>
                <c:pt idx="32556">
                  <c:v>35521</c:v>
                </c:pt>
                <c:pt idx="32557">
                  <c:v>35521</c:v>
                </c:pt>
                <c:pt idx="32558">
                  <c:v>35521</c:v>
                </c:pt>
                <c:pt idx="32559">
                  <c:v>35521</c:v>
                </c:pt>
                <c:pt idx="32560">
                  <c:v>35521</c:v>
                </c:pt>
                <c:pt idx="32561">
                  <c:v>35521</c:v>
                </c:pt>
                <c:pt idx="32562">
                  <c:v>35521</c:v>
                </c:pt>
                <c:pt idx="32563">
                  <c:v>35520</c:v>
                </c:pt>
                <c:pt idx="32564">
                  <c:v>35520</c:v>
                </c:pt>
                <c:pt idx="32565">
                  <c:v>35520</c:v>
                </c:pt>
                <c:pt idx="32566">
                  <c:v>35520</c:v>
                </c:pt>
                <c:pt idx="32567">
                  <c:v>35520</c:v>
                </c:pt>
                <c:pt idx="32568">
                  <c:v>35519</c:v>
                </c:pt>
                <c:pt idx="32569">
                  <c:v>35519</c:v>
                </c:pt>
                <c:pt idx="32570">
                  <c:v>35519</c:v>
                </c:pt>
                <c:pt idx="32571">
                  <c:v>35519</c:v>
                </c:pt>
                <c:pt idx="32572">
                  <c:v>35518</c:v>
                </c:pt>
                <c:pt idx="32573">
                  <c:v>35518</c:v>
                </c:pt>
                <c:pt idx="32574">
                  <c:v>35518</c:v>
                </c:pt>
                <c:pt idx="32575">
                  <c:v>35518</c:v>
                </c:pt>
                <c:pt idx="32576">
                  <c:v>35517</c:v>
                </c:pt>
                <c:pt idx="32577">
                  <c:v>35517</c:v>
                </c:pt>
                <c:pt idx="32578">
                  <c:v>35517</c:v>
                </c:pt>
                <c:pt idx="32579">
                  <c:v>35517</c:v>
                </c:pt>
                <c:pt idx="32580">
                  <c:v>35517</c:v>
                </c:pt>
                <c:pt idx="32581">
                  <c:v>35517</c:v>
                </c:pt>
                <c:pt idx="32582">
                  <c:v>35516</c:v>
                </c:pt>
                <c:pt idx="32583">
                  <c:v>35516</c:v>
                </c:pt>
                <c:pt idx="32584">
                  <c:v>35516</c:v>
                </c:pt>
                <c:pt idx="32585">
                  <c:v>35516</c:v>
                </c:pt>
                <c:pt idx="32586">
                  <c:v>35515</c:v>
                </c:pt>
                <c:pt idx="32587">
                  <c:v>35515</c:v>
                </c:pt>
                <c:pt idx="32588">
                  <c:v>35515</c:v>
                </c:pt>
                <c:pt idx="32589">
                  <c:v>35515</c:v>
                </c:pt>
                <c:pt idx="32590">
                  <c:v>35515</c:v>
                </c:pt>
                <c:pt idx="32591">
                  <c:v>35515</c:v>
                </c:pt>
                <c:pt idx="32592">
                  <c:v>35515</c:v>
                </c:pt>
                <c:pt idx="32593">
                  <c:v>35515</c:v>
                </c:pt>
                <c:pt idx="32594">
                  <c:v>35514</c:v>
                </c:pt>
                <c:pt idx="32595">
                  <c:v>35514</c:v>
                </c:pt>
                <c:pt idx="32596">
                  <c:v>35514</c:v>
                </c:pt>
                <c:pt idx="32597">
                  <c:v>35514</c:v>
                </c:pt>
                <c:pt idx="32598">
                  <c:v>35514</c:v>
                </c:pt>
                <c:pt idx="32599">
                  <c:v>35513</c:v>
                </c:pt>
                <c:pt idx="32600">
                  <c:v>35513</c:v>
                </c:pt>
                <c:pt idx="32601">
                  <c:v>35513</c:v>
                </c:pt>
                <c:pt idx="32602">
                  <c:v>35512</c:v>
                </c:pt>
                <c:pt idx="32603">
                  <c:v>35512</c:v>
                </c:pt>
                <c:pt idx="32604">
                  <c:v>35511</c:v>
                </c:pt>
                <c:pt idx="32605">
                  <c:v>35511</c:v>
                </c:pt>
                <c:pt idx="32606">
                  <c:v>35511</c:v>
                </c:pt>
                <c:pt idx="32607">
                  <c:v>35511</c:v>
                </c:pt>
                <c:pt idx="32608">
                  <c:v>35510</c:v>
                </c:pt>
                <c:pt idx="32609">
                  <c:v>35510</c:v>
                </c:pt>
                <c:pt idx="32610">
                  <c:v>35510</c:v>
                </c:pt>
                <c:pt idx="32611">
                  <c:v>35509</c:v>
                </c:pt>
                <c:pt idx="32612">
                  <c:v>35509</c:v>
                </c:pt>
                <c:pt idx="32613">
                  <c:v>35508</c:v>
                </c:pt>
                <c:pt idx="32614">
                  <c:v>35508</c:v>
                </c:pt>
                <c:pt idx="32615">
                  <c:v>35507</c:v>
                </c:pt>
                <c:pt idx="32616">
                  <c:v>35507</c:v>
                </c:pt>
                <c:pt idx="32617">
                  <c:v>35507</c:v>
                </c:pt>
                <c:pt idx="32618">
                  <c:v>35507</c:v>
                </c:pt>
                <c:pt idx="32619">
                  <c:v>35506</c:v>
                </c:pt>
                <c:pt idx="32620">
                  <c:v>35505</c:v>
                </c:pt>
                <c:pt idx="32621">
                  <c:v>35505</c:v>
                </c:pt>
                <c:pt idx="32622">
                  <c:v>35505</c:v>
                </c:pt>
                <c:pt idx="32623">
                  <c:v>35505</c:v>
                </c:pt>
                <c:pt idx="32624">
                  <c:v>35505</c:v>
                </c:pt>
                <c:pt idx="32625">
                  <c:v>35504</c:v>
                </c:pt>
                <c:pt idx="32626">
                  <c:v>35503</c:v>
                </c:pt>
                <c:pt idx="32627">
                  <c:v>35503</c:v>
                </c:pt>
                <c:pt idx="32628">
                  <c:v>35503</c:v>
                </c:pt>
                <c:pt idx="32629">
                  <c:v>35502</c:v>
                </c:pt>
                <c:pt idx="32630">
                  <c:v>35502</c:v>
                </c:pt>
                <c:pt idx="32631">
                  <c:v>35502</c:v>
                </c:pt>
                <c:pt idx="32632">
                  <c:v>35501</c:v>
                </c:pt>
                <c:pt idx="32633">
                  <c:v>35501</c:v>
                </c:pt>
                <c:pt idx="32634">
                  <c:v>35501</c:v>
                </c:pt>
                <c:pt idx="32635">
                  <c:v>35501</c:v>
                </c:pt>
                <c:pt idx="32636">
                  <c:v>35501</c:v>
                </c:pt>
                <c:pt idx="32637">
                  <c:v>35500</c:v>
                </c:pt>
                <c:pt idx="32638">
                  <c:v>35500</c:v>
                </c:pt>
                <c:pt idx="32639">
                  <c:v>35500</c:v>
                </c:pt>
                <c:pt idx="32640">
                  <c:v>35500</c:v>
                </c:pt>
                <c:pt idx="32641">
                  <c:v>35499</c:v>
                </c:pt>
                <c:pt idx="32642">
                  <c:v>35499</c:v>
                </c:pt>
                <c:pt idx="32643">
                  <c:v>35499</c:v>
                </c:pt>
                <c:pt idx="32644">
                  <c:v>35499</c:v>
                </c:pt>
                <c:pt idx="32645">
                  <c:v>35499</c:v>
                </c:pt>
                <c:pt idx="32646">
                  <c:v>35499</c:v>
                </c:pt>
                <c:pt idx="32647">
                  <c:v>35499</c:v>
                </c:pt>
                <c:pt idx="32648">
                  <c:v>35499</c:v>
                </c:pt>
                <c:pt idx="32649">
                  <c:v>35499</c:v>
                </c:pt>
                <c:pt idx="32650">
                  <c:v>35498</c:v>
                </c:pt>
                <c:pt idx="32651">
                  <c:v>35498</c:v>
                </c:pt>
                <c:pt idx="32652">
                  <c:v>35498</c:v>
                </c:pt>
                <c:pt idx="32653">
                  <c:v>35498</c:v>
                </c:pt>
                <c:pt idx="32654">
                  <c:v>35497</c:v>
                </c:pt>
                <c:pt idx="32655">
                  <c:v>35497</c:v>
                </c:pt>
                <c:pt idx="32656">
                  <c:v>35497</c:v>
                </c:pt>
                <c:pt idx="32657">
                  <c:v>35497</c:v>
                </c:pt>
                <c:pt idx="32658">
                  <c:v>35497</c:v>
                </c:pt>
                <c:pt idx="32659">
                  <c:v>35496</c:v>
                </c:pt>
                <c:pt idx="32660">
                  <c:v>35496</c:v>
                </c:pt>
                <c:pt idx="32661">
                  <c:v>35496</c:v>
                </c:pt>
                <c:pt idx="32662">
                  <c:v>35495</c:v>
                </c:pt>
                <c:pt idx="32663">
                  <c:v>35495</c:v>
                </c:pt>
                <c:pt idx="32664">
                  <c:v>35495</c:v>
                </c:pt>
                <c:pt idx="32665">
                  <c:v>35495</c:v>
                </c:pt>
                <c:pt idx="32666">
                  <c:v>35495</c:v>
                </c:pt>
                <c:pt idx="32667">
                  <c:v>35495</c:v>
                </c:pt>
                <c:pt idx="32668">
                  <c:v>35494</c:v>
                </c:pt>
                <c:pt idx="32669">
                  <c:v>35494</c:v>
                </c:pt>
                <c:pt idx="32670">
                  <c:v>35494</c:v>
                </c:pt>
                <c:pt idx="32671">
                  <c:v>35494</c:v>
                </c:pt>
                <c:pt idx="32672">
                  <c:v>35494</c:v>
                </c:pt>
                <c:pt idx="32673">
                  <c:v>35493</c:v>
                </c:pt>
                <c:pt idx="32674">
                  <c:v>35492</c:v>
                </c:pt>
                <c:pt idx="32675">
                  <c:v>35492</c:v>
                </c:pt>
                <c:pt idx="32676">
                  <c:v>35491</c:v>
                </c:pt>
                <c:pt idx="32677">
                  <c:v>35491</c:v>
                </c:pt>
                <c:pt idx="32678">
                  <c:v>35491</c:v>
                </c:pt>
                <c:pt idx="32679">
                  <c:v>35491</c:v>
                </c:pt>
                <c:pt idx="32680">
                  <c:v>35491</c:v>
                </c:pt>
                <c:pt idx="32681">
                  <c:v>35491</c:v>
                </c:pt>
                <c:pt idx="32682">
                  <c:v>35491</c:v>
                </c:pt>
                <c:pt idx="32683">
                  <c:v>35491</c:v>
                </c:pt>
                <c:pt idx="32684">
                  <c:v>35490</c:v>
                </c:pt>
                <c:pt idx="32685">
                  <c:v>35490</c:v>
                </c:pt>
                <c:pt idx="32686">
                  <c:v>35490</c:v>
                </c:pt>
                <c:pt idx="32687">
                  <c:v>35490</c:v>
                </c:pt>
                <c:pt idx="32688">
                  <c:v>35489</c:v>
                </c:pt>
                <c:pt idx="32689">
                  <c:v>35489</c:v>
                </c:pt>
                <c:pt idx="32690">
                  <c:v>35489</c:v>
                </c:pt>
                <c:pt idx="32691">
                  <c:v>35489</c:v>
                </c:pt>
                <c:pt idx="32692">
                  <c:v>35489</c:v>
                </c:pt>
                <c:pt idx="32693">
                  <c:v>35489</c:v>
                </c:pt>
                <c:pt idx="32694">
                  <c:v>35488</c:v>
                </c:pt>
                <c:pt idx="32695">
                  <c:v>35488</c:v>
                </c:pt>
                <c:pt idx="32696">
                  <c:v>35488</c:v>
                </c:pt>
                <c:pt idx="32697">
                  <c:v>35488</c:v>
                </c:pt>
                <c:pt idx="32698">
                  <c:v>35487</c:v>
                </c:pt>
                <c:pt idx="32699">
                  <c:v>35487</c:v>
                </c:pt>
                <c:pt idx="32700">
                  <c:v>35486</c:v>
                </c:pt>
                <c:pt idx="32701">
                  <c:v>35486</c:v>
                </c:pt>
                <c:pt idx="32702">
                  <c:v>35486</c:v>
                </c:pt>
                <c:pt idx="32703">
                  <c:v>35486</c:v>
                </c:pt>
                <c:pt idx="32704">
                  <c:v>35486</c:v>
                </c:pt>
                <c:pt idx="32705">
                  <c:v>35486</c:v>
                </c:pt>
                <c:pt idx="32706">
                  <c:v>35485</c:v>
                </c:pt>
                <c:pt idx="32707">
                  <c:v>35485</c:v>
                </c:pt>
                <c:pt idx="32708">
                  <c:v>35485</c:v>
                </c:pt>
                <c:pt idx="32709">
                  <c:v>35484</c:v>
                </c:pt>
                <c:pt idx="32710">
                  <c:v>35484</c:v>
                </c:pt>
                <c:pt idx="32711">
                  <c:v>35483</c:v>
                </c:pt>
                <c:pt idx="32712">
                  <c:v>35483</c:v>
                </c:pt>
                <c:pt idx="32713">
                  <c:v>35483</c:v>
                </c:pt>
                <c:pt idx="32714">
                  <c:v>35483</c:v>
                </c:pt>
                <c:pt idx="32715">
                  <c:v>35483</c:v>
                </c:pt>
                <c:pt idx="32716">
                  <c:v>35482</c:v>
                </c:pt>
                <c:pt idx="32717">
                  <c:v>35482</c:v>
                </c:pt>
                <c:pt idx="32718">
                  <c:v>35482</c:v>
                </c:pt>
                <c:pt idx="32719">
                  <c:v>35482</c:v>
                </c:pt>
                <c:pt idx="32720">
                  <c:v>35481</c:v>
                </c:pt>
                <c:pt idx="32721">
                  <c:v>35481</c:v>
                </c:pt>
                <c:pt idx="32722">
                  <c:v>35481</c:v>
                </c:pt>
                <c:pt idx="32723">
                  <c:v>35481</c:v>
                </c:pt>
                <c:pt idx="32724">
                  <c:v>35481</c:v>
                </c:pt>
                <c:pt idx="32725">
                  <c:v>35480</c:v>
                </c:pt>
                <c:pt idx="32726">
                  <c:v>35480</c:v>
                </c:pt>
                <c:pt idx="32727">
                  <c:v>35479</c:v>
                </c:pt>
                <c:pt idx="32728">
                  <c:v>35479</c:v>
                </c:pt>
                <c:pt idx="32729">
                  <c:v>35479</c:v>
                </c:pt>
                <c:pt idx="32730">
                  <c:v>35479</c:v>
                </c:pt>
                <c:pt idx="32731">
                  <c:v>35479</c:v>
                </c:pt>
                <c:pt idx="32732">
                  <c:v>35479</c:v>
                </c:pt>
                <c:pt idx="32733">
                  <c:v>35479</c:v>
                </c:pt>
                <c:pt idx="32734">
                  <c:v>35478</c:v>
                </c:pt>
                <c:pt idx="32735">
                  <c:v>35478</c:v>
                </c:pt>
                <c:pt idx="32736">
                  <c:v>35478</c:v>
                </c:pt>
                <c:pt idx="32737">
                  <c:v>35477</c:v>
                </c:pt>
                <c:pt idx="32738">
                  <c:v>35477</c:v>
                </c:pt>
                <c:pt idx="32739">
                  <c:v>35477</c:v>
                </c:pt>
                <c:pt idx="32740">
                  <c:v>35476</c:v>
                </c:pt>
                <c:pt idx="32741">
                  <c:v>35476</c:v>
                </c:pt>
                <c:pt idx="32742">
                  <c:v>35475</c:v>
                </c:pt>
                <c:pt idx="32743">
                  <c:v>35475</c:v>
                </c:pt>
                <c:pt idx="32744">
                  <c:v>35475</c:v>
                </c:pt>
                <c:pt idx="32745">
                  <c:v>35474</c:v>
                </c:pt>
                <c:pt idx="32746">
                  <c:v>35474</c:v>
                </c:pt>
                <c:pt idx="32747">
                  <c:v>35474</c:v>
                </c:pt>
                <c:pt idx="32748">
                  <c:v>35474</c:v>
                </c:pt>
                <c:pt idx="32749">
                  <c:v>35474</c:v>
                </c:pt>
                <c:pt idx="32750">
                  <c:v>35474</c:v>
                </c:pt>
                <c:pt idx="32751">
                  <c:v>35473</c:v>
                </c:pt>
                <c:pt idx="32752">
                  <c:v>35472</c:v>
                </c:pt>
                <c:pt idx="32753">
                  <c:v>35472</c:v>
                </c:pt>
                <c:pt idx="32754">
                  <c:v>35472</c:v>
                </c:pt>
                <c:pt idx="32755">
                  <c:v>35472</c:v>
                </c:pt>
                <c:pt idx="32756">
                  <c:v>35472</c:v>
                </c:pt>
                <c:pt idx="32757">
                  <c:v>35471</c:v>
                </c:pt>
                <c:pt idx="32758">
                  <c:v>35471</c:v>
                </c:pt>
                <c:pt idx="32759">
                  <c:v>35471</c:v>
                </c:pt>
                <c:pt idx="32760">
                  <c:v>35471</c:v>
                </c:pt>
                <c:pt idx="32761">
                  <c:v>35470</c:v>
                </c:pt>
                <c:pt idx="32762">
                  <c:v>35470</c:v>
                </c:pt>
                <c:pt idx="32763">
                  <c:v>35470</c:v>
                </c:pt>
                <c:pt idx="32764">
                  <c:v>35469</c:v>
                </c:pt>
                <c:pt idx="32765">
                  <c:v>35469</c:v>
                </c:pt>
                <c:pt idx="32766">
                  <c:v>35469</c:v>
                </c:pt>
                <c:pt idx="32767">
                  <c:v>35469</c:v>
                </c:pt>
                <c:pt idx="32768">
                  <c:v>35468</c:v>
                </c:pt>
                <c:pt idx="32769">
                  <c:v>35468</c:v>
                </c:pt>
                <c:pt idx="32770">
                  <c:v>35467</c:v>
                </c:pt>
                <c:pt idx="32771">
                  <c:v>35467</c:v>
                </c:pt>
                <c:pt idx="32772">
                  <c:v>35467</c:v>
                </c:pt>
                <c:pt idx="32773">
                  <c:v>35467</c:v>
                </c:pt>
                <c:pt idx="32774">
                  <c:v>35467</c:v>
                </c:pt>
                <c:pt idx="32775">
                  <c:v>35467</c:v>
                </c:pt>
                <c:pt idx="32776">
                  <c:v>35466</c:v>
                </c:pt>
                <c:pt idx="32777">
                  <c:v>35466</c:v>
                </c:pt>
                <c:pt idx="32778">
                  <c:v>35466</c:v>
                </c:pt>
                <c:pt idx="32779">
                  <c:v>35466</c:v>
                </c:pt>
                <c:pt idx="32780">
                  <c:v>35466</c:v>
                </c:pt>
                <c:pt idx="32781">
                  <c:v>35465</c:v>
                </c:pt>
                <c:pt idx="32782">
                  <c:v>35465</c:v>
                </c:pt>
                <c:pt idx="32783">
                  <c:v>35464</c:v>
                </c:pt>
                <c:pt idx="32784">
                  <c:v>35464</c:v>
                </c:pt>
                <c:pt idx="32785">
                  <c:v>35464</c:v>
                </c:pt>
                <c:pt idx="32786">
                  <c:v>35464</c:v>
                </c:pt>
                <c:pt idx="32787">
                  <c:v>35463</c:v>
                </c:pt>
                <c:pt idx="32788">
                  <c:v>35463</c:v>
                </c:pt>
                <c:pt idx="32789">
                  <c:v>35463</c:v>
                </c:pt>
                <c:pt idx="32790">
                  <c:v>35463</c:v>
                </c:pt>
                <c:pt idx="32791">
                  <c:v>35463</c:v>
                </c:pt>
                <c:pt idx="32792">
                  <c:v>35463</c:v>
                </c:pt>
                <c:pt idx="32793">
                  <c:v>35462</c:v>
                </c:pt>
                <c:pt idx="32794">
                  <c:v>35462</c:v>
                </c:pt>
                <c:pt idx="32795">
                  <c:v>35462</c:v>
                </c:pt>
                <c:pt idx="32796">
                  <c:v>35462</c:v>
                </c:pt>
                <c:pt idx="32797">
                  <c:v>35461</c:v>
                </c:pt>
                <c:pt idx="32798">
                  <c:v>35461</c:v>
                </c:pt>
                <c:pt idx="32799">
                  <c:v>35461</c:v>
                </c:pt>
                <c:pt idx="32800">
                  <c:v>35460</c:v>
                </c:pt>
                <c:pt idx="32801">
                  <c:v>35460</c:v>
                </c:pt>
                <c:pt idx="32802">
                  <c:v>35459</c:v>
                </c:pt>
                <c:pt idx="32803">
                  <c:v>35459</c:v>
                </c:pt>
                <c:pt idx="32804">
                  <c:v>35458</c:v>
                </c:pt>
                <c:pt idx="32805">
                  <c:v>35458</c:v>
                </c:pt>
                <c:pt idx="32806">
                  <c:v>35458</c:v>
                </c:pt>
                <c:pt idx="32807">
                  <c:v>35458</c:v>
                </c:pt>
                <c:pt idx="32808">
                  <c:v>35458</c:v>
                </c:pt>
                <c:pt idx="32809">
                  <c:v>35458</c:v>
                </c:pt>
                <c:pt idx="32810">
                  <c:v>35458</c:v>
                </c:pt>
                <c:pt idx="32811">
                  <c:v>35458</c:v>
                </c:pt>
                <c:pt idx="32812">
                  <c:v>35457</c:v>
                </c:pt>
                <c:pt idx="32813">
                  <c:v>35457</c:v>
                </c:pt>
                <c:pt idx="32814">
                  <c:v>35457</c:v>
                </c:pt>
                <c:pt idx="32815">
                  <c:v>35457</c:v>
                </c:pt>
                <c:pt idx="32816">
                  <c:v>35456</c:v>
                </c:pt>
                <c:pt idx="32817">
                  <c:v>35456</c:v>
                </c:pt>
                <c:pt idx="32818">
                  <c:v>35456</c:v>
                </c:pt>
                <c:pt idx="32819">
                  <c:v>35456</c:v>
                </c:pt>
                <c:pt idx="32820">
                  <c:v>35456</c:v>
                </c:pt>
                <c:pt idx="32821">
                  <c:v>35456</c:v>
                </c:pt>
                <c:pt idx="32822">
                  <c:v>35456</c:v>
                </c:pt>
                <c:pt idx="32823">
                  <c:v>35455</c:v>
                </c:pt>
                <c:pt idx="32824">
                  <c:v>35455</c:v>
                </c:pt>
                <c:pt idx="32825">
                  <c:v>35455</c:v>
                </c:pt>
                <c:pt idx="32826">
                  <c:v>35455</c:v>
                </c:pt>
                <c:pt idx="32827">
                  <c:v>35455</c:v>
                </c:pt>
                <c:pt idx="32828">
                  <c:v>35454</c:v>
                </c:pt>
                <c:pt idx="32829">
                  <c:v>35454</c:v>
                </c:pt>
                <c:pt idx="32830">
                  <c:v>35454</c:v>
                </c:pt>
                <c:pt idx="32831">
                  <c:v>35454</c:v>
                </c:pt>
                <c:pt idx="32832">
                  <c:v>35454</c:v>
                </c:pt>
                <c:pt idx="32833">
                  <c:v>35454</c:v>
                </c:pt>
                <c:pt idx="32834">
                  <c:v>35454</c:v>
                </c:pt>
                <c:pt idx="32835">
                  <c:v>35454</c:v>
                </c:pt>
                <c:pt idx="32836">
                  <c:v>35453</c:v>
                </c:pt>
                <c:pt idx="32837">
                  <c:v>35453</c:v>
                </c:pt>
                <c:pt idx="32838">
                  <c:v>35453</c:v>
                </c:pt>
                <c:pt idx="32839">
                  <c:v>35453</c:v>
                </c:pt>
                <c:pt idx="32840">
                  <c:v>35453</c:v>
                </c:pt>
                <c:pt idx="32841">
                  <c:v>35453</c:v>
                </c:pt>
                <c:pt idx="32842">
                  <c:v>35452</c:v>
                </c:pt>
                <c:pt idx="32843">
                  <c:v>35452</c:v>
                </c:pt>
                <c:pt idx="32844">
                  <c:v>35452</c:v>
                </c:pt>
                <c:pt idx="32845">
                  <c:v>35452</c:v>
                </c:pt>
                <c:pt idx="32846">
                  <c:v>35452</c:v>
                </c:pt>
                <c:pt idx="32847">
                  <c:v>35451</c:v>
                </c:pt>
                <c:pt idx="32848">
                  <c:v>35451</c:v>
                </c:pt>
                <c:pt idx="32849">
                  <c:v>35451</c:v>
                </c:pt>
                <c:pt idx="32850">
                  <c:v>35450</c:v>
                </c:pt>
                <c:pt idx="32851">
                  <c:v>35450</c:v>
                </c:pt>
                <c:pt idx="32852">
                  <c:v>35450</c:v>
                </c:pt>
                <c:pt idx="32853">
                  <c:v>35450</c:v>
                </c:pt>
                <c:pt idx="32854">
                  <c:v>35450</c:v>
                </c:pt>
                <c:pt idx="32855">
                  <c:v>35449</c:v>
                </c:pt>
                <c:pt idx="32856">
                  <c:v>35449</c:v>
                </c:pt>
                <c:pt idx="32857">
                  <c:v>35449</c:v>
                </c:pt>
                <c:pt idx="32858">
                  <c:v>35448</c:v>
                </c:pt>
                <c:pt idx="32859">
                  <c:v>35448</c:v>
                </c:pt>
                <c:pt idx="32860">
                  <c:v>35448</c:v>
                </c:pt>
                <c:pt idx="32861">
                  <c:v>35448</c:v>
                </c:pt>
                <c:pt idx="32862">
                  <c:v>35447</c:v>
                </c:pt>
                <c:pt idx="32863">
                  <c:v>35447</c:v>
                </c:pt>
                <c:pt idx="32864">
                  <c:v>35447</c:v>
                </c:pt>
                <c:pt idx="32865">
                  <c:v>35446</c:v>
                </c:pt>
                <c:pt idx="32866">
                  <c:v>35446</c:v>
                </c:pt>
                <c:pt idx="32867">
                  <c:v>35446</c:v>
                </c:pt>
                <c:pt idx="32868">
                  <c:v>35446</c:v>
                </c:pt>
                <c:pt idx="32869">
                  <c:v>35446</c:v>
                </c:pt>
                <c:pt idx="32870">
                  <c:v>35446</c:v>
                </c:pt>
                <c:pt idx="32871">
                  <c:v>35445</c:v>
                </c:pt>
                <c:pt idx="32872">
                  <c:v>35445</c:v>
                </c:pt>
                <c:pt idx="32873">
                  <c:v>35445</c:v>
                </c:pt>
                <c:pt idx="32874">
                  <c:v>35444</c:v>
                </c:pt>
                <c:pt idx="32875">
                  <c:v>35444</c:v>
                </c:pt>
                <c:pt idx="32876">
                  <c:v>35444</c:v>
                </c:pt>
                <c:pt idx="32877">
                  <c:v>35444</c:v>
                </c:pt>
                <c:pt idx="32878">
                  <c:v>35444</c:v>
                </c:pt>
                <c:pt idx="32879">
                  <c:v>35444</c:v>
                </c:pt>
                <c:pt idx="32880">
                  <c:v>35444</c:v>
                </c:pt>
                <c:pt idx="32881">
                  <c:v>35443</c:v>
                </c:pt>
                <c:pt idx="32882">
                  <c:v>35443</c:v>
                </c:pt>
                <c:pt idx="32883">
                  <c:v>35443</c:v>
                </c:pt>
                <c:pt idx="32884">
                  <c:v>35442</c:v>
                </c:pt>
                <c:pt idx="32885">
                  <c:v>35442</c:v>
                </c:pt>
                <c:pt idx="32886">
                  <c:v>35442</c:v>
                </c:pt>
                <c:pt idx="32887">
                  <c:v>35442</c:v>
                </c:pt>
                <c:pt idx="32888">
                  <c:v>35442</c:v>
                </c:pt>
                <c:pt idx="32889">
                  <c:v>35442</c:v>
                </c:pt>
                <c:pt idx="32890">
                  <c:v>35441</c:v>
                </c:pt>
                <c:pt idx="32891">
                  <c:v>35441</c:v>
                </c:pt>
                <c:pt idx="32892">
                  <c:v>35441</c:v>
                </c:pt>
                <c:pt idx="32893">
                  <c:v>35441</c:v>
                </c:pt>
                <c:pt idx="32894">
                  <c:v>35441</c:v>
                </c:pt>
                <c:pt idx="32895">
                  <c:v>35440</c:v>
                </c:pt>
                <c:pt idx="32896">
                  <c:v>35440</c:v>
                </c:pt>
                <c:pt idx="32897">
                  <c:v>35440</c:v>
                </c:pt>
                <c:pt idx="32898">
                  <c:v>35440</c:v>
                </c:pt>
                <c:pt idx="32899">
                  <c:v>35439</c:v>
                </c:pt>
                <c:pt idx="32900">
                  <c:v>35439</c:v>
                </c:pt>
                <c:pt idx="32901">
                  <c:v>35439</c:v>
                </c:pt>
                <c:pt idx="32902">
                  <c:v>35439</c:v>
                </c:pt>
                <c:pt idx="32903">
                  <c:v>35438</c:v>
                </c:pt>
                <c:pt idx="32904">
                  <c:v>35438</c:v>
                </c:pt>
                <c:pt idx="32905">
                  <c:v>35438</c:v>
                </c:pt>
                <c:pt idx="32906">
                  <c:v>35438</c:v>
                </c:pt>
                <c:pt idx="32907">
                  <c:v>35437</c:v>
                </c:pt>
                <c:pt idx="32908">
                  <c:v>35437</c:v>
                </c:pt>
                <c:pt idx="32909">
                  <c:v>35437</c:v>
                </c:pt>
                <c:pt idx="32910">
                  <c:v>35437</c:v>
                </c:pt>
                <c:pt idx="32911">
                  <c:v>35437</c:v>
                </c:pt>
                <c:pt idx="32912">
                  <c:v>35437</c:v>
                </c:pt>
                <c:pt idx="32913">
                  <c:v>35436</c:v>
                </c:pt>
                <c:pt idx="32914">
                  <c:v>35436</c:v>
                </c:pt>
                <c:pt idx="32915">
                  <c:v>35436</c:v>
                </c:pt>
                <c:pt idx="32916">
                  <c:v>35436</c:v>
                </c:pt>
                <c:pt idx="32917">
                  <c:v>35436</c:v>
                </c:pt>
                <c:pt idx="32918">
                  <c:v>35435</c:v>
                </c:pt>
                <c:pt idx="32919">
                  <c:v>35435</c:v>
                </c:pt>
                <c:pt idx="32920">
                  <c:v>35435</c:v>
                </c:pt>
                <c:pt idx="32921">
                  <c:v>35435</c:v>
                </c:pt>
                <c:pt idx="32922">
                  <c:v>35435</c:v>
                </c:pt>
                <c:pt idx="32923">
                  <c:v>35435</c:v>
                </c:pt>
                <c:pt idx="32924">
                  <c:v>35434</c:v>
                </c:pt>
                <c:pt idx="32925">
                  <c:v>35434</c:v>
                </c:pt>
                <c:pt idx="32926">
                  <c:v>35434</c:v>
                </c:pt>
                <c:pt idx="32927">
                  <c:v>35434</c:v>
                </c:pt>
                <c:pt idx="32928">
                  <c:v>35434</c:v>
                </c:pt>
                <c:pt idx="32929">
                  <c:v>35434</c:v>
                </c:pt>
                <c:pt idx="32930">
                  <c:v>35433</c:v>
                </c:pt>
                <c:pt idx="32931">
                  <c:v>35433</c:v>
                </c:pt>
                <c:pt idx="32932">
                  <c:v>35433</c:v>
                </c:pt>
                <c:pt idx="32933">
                  <c:v>35433</c:v>
                </c:pt>
                <c:pt idx="32934">
                  <c:v>35432</c:v>
                </c:pt>
                <c:pt idx="32935">
                  <c:v>35432</c:v>
                </c:pt>
                <c:pt idx="32936">
                  <c:v>35432</c:v>
                </c:pt>
                <c:pt idx="32937">
                  <c:v>35432</c:v>
                </c:pt>
                <c:pt idx="32938">
                  <c:v>35431</c:v>
                </c:pt>
                <c:pt idx="32939">
                  <c:v>35431</c:v>
                </c:pt>
                <c:pt idx="32940">
                  <c:v>35431</c:v>
                </c:pt>
                <c:pt idx="32941">
                  <c:v>35431</c:v>
                </c:pt>
                <c:pt idx="32942">
                  <c:v>35430</c:v>
                </c:pt>
                <c:pt idx="32943">
                  <c:v>35430</c:v>
                </c:pt>
                <c:pt idx="32944">
                  <c:v>35430</c:v>
                </c:pt>
                <c:pt idx="32945">
                  <c:v>35430</c:v>
                </c:pt>
                <c:pt idx="32946">
                  <c:v>35429</c:v>
                </c:pt>
                <c:pt idx="32947">
                  <c:v>35429</c:v>
                </c:pt>
                <c:pt idx="32948">
                  <c:v>35429</c:v>
                </c:pt>
                <c:pt idx="32949">
                  <c:v>35428</c:v>
                </c:pt>
                <c:pt idx="32950">
                  <c:v>35428</c:v>
                </c:pt>
                <c:pt idx="32951">
                  <c:v>35428</c:v>
                </c:pt>
                <c:pt idx="32952">
                  <c:v>35428</c:v>
                </c:pt>
                <c:pt idx="32953">
                  <c:v>35428</c:v>
                </c:pt>
                <c:pt idx="32954">
                  <c:v>35428</c:v>
                </c:pt>
                <c:pt idx="32955">
                  <c:v>35428</c:v>
                </c:pt>
                <c:pt idx="32956">
                  <c:v>35427</c:v>
                </c:pt>
                <c:pt idx="32957">
                  <c:v>35426</c:v>
                </c:pt>
                <c:pt idx="32958">
                  <c:v>35426</c:v>
                </c:pt>
                <c:pt idx="32959">
                  <c:v>35426</c:v>
                </c:pt>
                <c:pt idx="32960">
                  <c:v>35426</c:v>
                </c:pt>
                <c:pt idx="32961">
                  <c:v>35426</c:v>
                </c:pt>
                <c:pt idx="32962">
                  <c:v>35426</c:v>
                </c:pt>
                <c:pt idx="32963">
                  <c:v>35426</c:v>
                </c:pt>
                <c:pt idx="32964">
                  <c:v>35426</c:v>
                </c:pt>
                <c:pt idx="32965">
                  <c:v>35426</c:v>
                </c:pt>
                <c:pt idx="32966">
                  <c:v>35426</c:v>
                </c:pt>
                <c:pt idx="32967">
                  <c:v>35425</c:v>
                </c:pt>
                <c:pt idx="32968">
                  <c:v>35425</c:v>
                </c:pt>
                <c:pt idx="32969">
                  <c:v>35425</c:v>
                </c:pt>
                <c:pt idx="32970">
                  <c:v>35425</c:v>
                </c:pt>
                <c:pt idx="32971">
                  <c:v>35424</c:v>
                </c:pt>
                <c:pt idx="32972">
                  <c:v>35424</c:v>
                </c:pt>
                <c:pt idx="32973">
                  <c:v>35424</c:v>
                </c:pt>
                <c:pt idx="32974">
                  <c:v>35424</c:v>
                </c:pt>
                <c:pt idx="32975">
                  <c:v>35424</c:v>
                </c:pt>
                <c:pt idx="32976">
                  <c:v>35423</c:v>
                </c:pt>
                <c:pt idx="32977">
                  <c:v>35423</c:v>
                </c:pt>
                <c:pt idx="32978">
                  <c:v>35423</c:v>
                </c:pt>
                <c:pt idx="32979">
                  <c:v>35423</c:v>
                </c:pt>
                <c:pt idx="32980">
                  <c:v>35423</c:v>
                </c:pt>
                <c:pt idx="32981">
                  <c:v>35423</c:v>
                </c:pt>
                <c:pt idx="32982">
                  <c:v>35422</c:v>
                </c:pt>
                <c:pt idx="32983">
                  <c:v>35421</c:v>
                </c:pt>
                <c:pt idx="32984">
                  <c:v>35421</c:v>
                </c:pt>
                <c:pt idx="32985">
                  <c:v>35421</c:v>
                </c:pt>
                <c:pt idx="32986">
                  <c:v>35420</c:v>
                </c:pt>
                <c:pt idx="32987">
                  <c:v>35420</c:v>
                </c:pt>
                <c:pt idx="32988">
                  <c:v>35420</c:v>
                </c:pt>
                <c:pt idx="32989">
                  <c:v>35420</c:v>
                </c:pt>
                <c:pt idx="32990">
                  <c:v>35420</c:v>
                </c:pt>
                <c:pt idx="32991">
                  <c:v>35419</c:v>
                </c:pt>
                <c:pt idx="32992">
                  <c:v>35419</c:v>
                </c:pt>
                <c:pt idx="32993">
                  <c:v>35419</c:v>
                </c:pt>
                <c:pt idx="32994">
                  <c:v>35419</c:v>
                </c:pt>
                <c:pt idx="32995">
                  <c:v>35418</c:v>
                </c:pt>
                <c:pt idx="32996">
                  <c:v>35418</c:v>
                </c:pt>
                <c:pt idx="32997">
                  <c:v>35418</c:v>
                </c:pt>
                <c:pt idx="32998">
                  <c:v>35418</c:v>
                </c:pt>
                <c:pt idx="32999">
                  <c:v>35417</c:v>
                </c:pt>
                <c:pt idx="33000">
                  <c:v>35417</c:v>
                </c:pt>
                <c:pt idx="33001">
                  <c:v>35417</c:v>
                </c:pt>
                <c:pt idx="33002">
                  <c:v>35416</c:v>
                </c:pt>
                <c:pt idx="33003">
                  <c:v>35416</c:v>
                </c:pt>
                <c:pt idx="33004">
                  <c:v>35416</c:v>
                </c:pt>
                <c:pt idx="33005">
                  <c:v>35416</c:v>
                </c:pt>
                <c:pt idx="33006">
                  <c:v>35416</c:v>
                </c:pt>
                <c:pt idx="33007">
                  <c:v>35416</c:v>
                </c:pt>
                <c:pt idx="33008">
                  <c:v>35415</c:v>
                </c:pt>
                <c:pt idx="33009">
                  <c:v>35415</c:v>
                </c:pt>
                <c:pt idx="33010">
                  <c:v>35414</c:v>
                </c:pt>
                <c:pt idx="33011">
                  <c:v>35414</c:v>
                </c:pt>
                <c:pt idx="33012">
                  <c:v>35414</c:v>
                </c:pt>
                <c:pt idx="33013">
                  <c:v>35414</c:v>
                </c:pt>
                <c:pt idx="33014">
                  <c:v>35414</c:v>
                </c:pt>
                <c:pt idx="33015">
                  <c:v>35414</c:v>
                </c:pt>
                <c:pt idx="33016">
                  <c:v>35414</c:v>
                </c:pt>
                <c:pt idx="33017">
                  <c:v>35413</c:v>
                </c:pt>
                <c:pt idx="33018">
                  <c:v>35413</c:v>
                </c:pt>
                <c:pt idx="33019">
                  <c:v>35413</c:v>
                </c:pt>
                <c:pt idx="33020">
                  <c:v>35413</c:v>
                </c:pt>
                <c:pt idx="33021">
                  <c:v>35413</c:v>
                </c:pt>
                <c:pt idx="33022">
                  <c:v>35413</c:v>
                </c:pt>
                <c:pt idx="33023">
                  <c:v>35413</c:v>
                </c:pt>
                <c:pt idx="33024">
                  <c:v>35413</c:v>
                </c:pt>
                <c:pt idx="33025">
                  <c:v>35412</c:v>
                </c:pt>
                <c:pt idx="33026">
                  <c:v>35412</c:v>
                </c:pt>
                <c:pt idx="33027">
                  <c:v>35412</c:v>
                </c:pt>
                <c:pt idx="33028">
                  <c:v>35412</c:v>
                </c:pt>
                <c:pt idx="33029">
                  <c:v>35412</c:v>
                </c:pt>
                <c:pt idx="33030">
                  <c:v>35412</c:v>
                </c:pt>
                <c:pt idx="33031">
                  <c:v>35412</c:v>
                </c:pt>
                <c:pt idx="33032">
                  <c:v>35411</c:v>
                </c:pt>
                <c:pt idx="33033">
                  <c:v>35411</c:v>
                </c:pt>
                <c:pt idx="33034">
                  <c:v>35411</c:v>
                </c:pt>
                <c:pt idx="33035">
                  <c:v>35411</c:v>
                </c:pt>
                <c:pt idx="33036">
                  <c:v>35411</c:v>
                </c:pt>
                <c:pt idx="33037">
                  <c:v>35411</c:v>
                </c:pt>
                <c:pt idx="33038">
                  <c:v>35411</c:v>
                </c:pt>
                <c:pt idx="33039">
                  <c:v>35411</c:v>
                </c:pt>
                <c:pt idx="33040">
                  <c:v>35411</c:v>
                </c:pt>
                <c:pt idx="33041">
                  <c:v>35410</c:v>
                </c:pt>
                <c:pt idx="33042">
                  <c:v>35410</c:v>
                </c:pt>
                <c:pt idx="33043">
                  <c:v>35410</c:v>
                </c:pt>
                <c:pt idx="33044">
                  <c:v>35410</c:v>
                </c:pt>
                <c:pt idx="33045">
                  <c:v>35410</c:v>
                </c:pt>
                <c:pt idx="33046">
                  <c:v>35409</c:v>
                </c:pt>
                <c:pt idx="33047">
                  <c:v>35409</c:v>
                </c:pt>
                <c:pt idx="33048">
                  <c:v>35409</c:v>
                </c:pt>
                <c:pt idx="33049">
                  <c:v>35408</c:v>
                </c:pt>
                <c:pt idx="33050">
                  <c:v>35408</c:v>
                </c:pt>
                <c:pt idx="33051">
                  <c:v>35408</c:v>
                </c:pt>
                <c:pt idx="33052">
                  <c:v>35407</c:v>
                </c:pt>
                <c:pt idx="33053">
                  <c:v>35407</c:v>
                </c:pt>
                <c:pt idx="33054">
                  <c:v>35406</c:v>
                </c:pt>
                <c:pt idx="33055">
                  <c:v>35406</c:v>
                </c:pt>
                <c:pt idx="33056">
                  <c:v>35406</c:v>
                </c:pt>
                <c:pt idx="33057">
                  <c:v>35405</c:v>
                </c:pt>
                <c:pt idx="33058">
                  <c:v>35405</c:v>
                </c:pt>
                <c:pt idx="33059">
                  <c:v>35405</c:v>
                </c:pt>
                <c:pt idx="33060">
                  <c:v>35405</c:v>
                </c:pt>
                <c:pt idx="33061">
                  <c:v>35405</c:v>
                </c:pt>
                <c:pt idx="33062">
                  <c:v>35405</c:v>
                </c:pt>
                <c:pt idx="33063">
                  <c:v>35405</c:v>
                </c:pt>
                <c:pt idx="33064">
                  <c:v>35405</c:v>
                </c:pt>
                <c:pt idx="33065">
                  <c:v>35405</c:v>
                </c:pt>
                <c:pt idx="33066">
                  <c:v>35404</c:v>
                </c:pt>
                <c:pt idx="33067">
                  <c:v>35404</c:v>
                </c:pt>
                <c:pt idx="33068">
                  <c:v>35403</c:v>
                </c:pt>
                <c:pt idx="33069">
                  <c:v>35402</c:v>
                </c:pt>
                <c:pt idx="33070">
                  <c:v>35402</c:v>
                </c:pt>
                <c:pt idx="33071">
                  <c:v>35402</c:v>
                </c:pt>
                <c:pt idx="33072">
                  <c:v>35402</c:v>
                </c:pt>
                <c:pt idx="33073">
                  <c:v>35401</c:v>
                </c:pt>
                <c:pt idx="33074">
                  <c:v>35401</c:v>
                </c:pt>
                <c:pt idx="33075">
                  <c:v>35401</c:v>
                </c:pt>
                <c:pt idx="33076">
                  <c:v>35401</c:v>
                </c:pt>
                <c:pt idx="33077">
                  <c:v>35401</c:v>
                </c:pt>
                <c:pt idx="33078">
                  <c:v>35401</c:v>
                </c:pt>
                <c:pt idx="33079">
                  <c:v>35400</c:v>
                </c:pt>
                <c:pt idx="33080">
                  <c:v>35400</c:v>
                </c:pt>
                <c:pt idx="33081">
                  <c:v>35400</c:v>
                </c:pt>
                <c:pt idx="33082">
                  <c:v>35400</c:v>
                </c:pt>
                <c:pt idx="33083">
                  <c:v>35400</c:v>
                </c:pt>
                <c:pt idx="33084">
                  <c:v>35399</c:v>
                </c:pt>
                <c:pt idx="33085">
                  <c:v>35399</c:v>
                </c:pt>
                <c:pt idx="33086">
                  <c:v>35399</c:v>
                </c:pt>
                <c:pt idx="33087">
                  <c:v>35399</c:v>
                </c:pt>
                <c:pt idx="33088">
                  <c:v>35399</c:v>
                </c:pt>
                <c:pt idx="33089">
                  <c:v>35398</c:v>
                </c:pt>
                <c:pt idx="33090">
                  <c:v>35398</c:v>
                </c:pt>
                <c:pt idx="33091">
                  <c:v>35398</c:v>
                </c:pt>
                <c:pt idx="33092">
                  <c:v>35398</c:v>
                </c:pt>
                <c:pt idx="33093">
                  <c:v>35398</c:v>
                </c:pt>
                <c:pt idx="33094">
                  <c:v>35398</c:v>
                </c:pt>
                <c:pt idx="33095">
                  <c:v>35398</c:v>
                </c:pt>
                <c:pt idx="33096">
                  <c:v>35398</c:v>
                </c:pt>
                <c:pt idx="33097">
                  <c:v>35397</c:v>
                </c:pt>
                <c:pt idx="33098">
                  <c:v>35396</c:v>
                </c:pt>
                <c:pt idx="33099">
                  <c:v>35396</c:v>
                </c:pt>
                <c:pt idx="33100">
                  <c:v>35396</c:v>
                </c:pt>
                <c:pt idx="33101">
                  <c:v>35396</c:v>
                </c:pt>
                <c:pt idx="33102">
                  <c:v>35396</c:v>
                </c:pt>
                <c:pt idx="33103">
                  <c:v>35395</c:v>
                </c:pt>
                <c:pt idx="33104">
                  <c:v>35395</c:v>
                </c:pt>
                <c:pt idx="33105">
                  <c:v>35395</c:v>
                </c:pt>
                <c:pt idx="33106">
                  <c:v>35394</c:v>
                </c:pt>
                <c:pt idx="33107">
                  <c:v>35394</c:v>
                </c:pt>
                <c:pt idx="33108">
                  <c:v>35394</c:v>
                </c:pt>
                <c:pt idx="33109">
                  <c:v>35394</c:v>
                </c:pt>
                <c:pt idx="33110">
                  <c:v>35394</c:v>
                </c:pt>
                <c:pt idx="33111">
                  <c:v>35394</c:v>
                </c:pt>
                <c:pt idx="33112">
                  <c:v>35394</c:v>
                </c:pt>
                <c:pt idx="33113">
                  <c:v>35393</c:v>
                </c:pt>
                <c:pt idx="33114">
                  <c:v>35393</c:v>
                </c:pt>
                <c:pt idx="33115">
                  <c:v>35393</c:v>
                </c:pt>
                <c:pt idx="33116">
                  <c:v>35392</c:v>
                </c:pt>
                <c:pt idx="33117">
                  <c:v>35392</c:v>
                </c:pt>
                <c:pt idx="33118">
                  <c:v>35392</c:v>
                </c:pt>
                <c:pt idx="33119">
                  <c:v>35391</c:v>
                </c:pt>
                <c:pt idx="33120">
                  <c:v>35391</c:v>
                </c:pt>
                <c:pt idx="33121">
                  <c:v>35390</c:v>
                </c:pt>
                <c:pt idx="33122">
                  <c:v>35390</c:v>
                </c:pt>
                <c:pt idx="33123">
                  <c:v>35390</c:v>
                </c:pt>
                <c:pt idx="33124">
                  <c:v>35389</c:v>
                </c:pt>
                <c:pt idx="33125">
                  <c:v>35388</c:v>
                </c:pt>
                <c:pt idx="33126">
                  <c:v>35388</c:v>
                </c:pt>
                <c:pt idx="33127">
                  <c:v>35388</c:v>
                </c:pt>
                <c:pt idx="33128">
                  <c:v>35388</c:v>
                </c:pt>
                <c:pt idx="33129">
                  <c:v>35387</c:v>
                </c:pt>
                <c:pt idx="33130">
                  <c:v>35387</c:v>
                </c:pt>
                <c:pt idx="33131">
                  <c:v>35386</c:v>
                </c:pt>
                <c:pt idx="33132">
                  <c:v>35386</c:v>
                </c:pt>
                <c:pt idx="33133">
                  <c:v>35386</c:v>
                </c:pt>
                <c:pt idx="33134">
                  <c:v>35385</c:v>
                </c:pt>
                <c:pt idx="33135">
                  <c:v>35385</c:v>
                </c:pt>
                <c:pt idx="33136">
                  <c:v>35385</c:v>
                </c:pt>
                <c:pt idx="33137">
                  <c:v>35385</c:v>
                </c:pt>
                <c:pt idx="33138">
                  <c:v>35384</c:v>
                </c:pt>
                <c:pt idx="33139">
                  <c:v>35384</c:v>
                </c:pt>
                <c:pt idx="33140">
                  <c:v>35384</c:v>
                </c:pt>
                <c:pt idx="33141">
                  <c:v>35384</c:v>
                </c:pt>
                <c:pt idx="33142">
                  <c:v>35384</c:v>
                </c:pt>
                <c:pt idx="33143">
                  <c:v>35384</c:v>
                </c:pt>
                <c:pt idx="33144">
                  <c:v>35383</c:v>
                </c:pt>
                <c:pt idx="33145">
                  <c:v>35383</c:v>
                </c:pt>
                <c:pt idx="33146">
                  <c:v>35382</c:v>
                </c:pt>
                <c:pt idx="33147">
                  <c:v>35382</c:v>
                </c:pt>
                <c:pt idx="33148">
                  <c:v>35382</c:v>
                </c:pt>
                <c:pt idx="33149">
                  <c:v>35382</c:v>
                </c:pt>
                <c:pt idx="33150">
                  <c:v>35382</c:v>
                </c:pt>
                <c:pt idx="33151">
                  <c:v>35382</c:v>
                </c:pt>
                <c:pt idx="33152">
                  <c:v>35382</c:v>
                </c:pt>
                <c:pt idx="33153">
                  <c:v>35381</c:v>
                </c:pt>
                <c:pt idx="33154">
                  <c:v>35381</c:v>
                </c:pt>
                <c:pt idx="33155">
                  <c:v>35381</c:v>
                </c:pt>
                <c:pt idx="33156">
                  <c:v>35381</c:v>
                </c:pt>
                <c:pt idx="33157">
                  <c:v>35380</c:v>
                </c:pt>
                <c:pt idx="33158">
                  <c:v>35380</c:v>
                </c:pt>
                <c:pt idx="33159">
                  <c:v>35380</c:v>
                </c:pt>
                <c:pt idx="33160">
                  <c:v>35380</c:v>
                </c:pt>
                <c:pt idx="33161">
                  <c:v>35379</c:v>
                </c:pt>
                <c:pt idx="33162">
                  <c:v>35379</c:v>
                </c:pt>
                <c:pt idx="33163">
                  <c:v>35379</c:v>
                </c:pt>
                <c:pt idx="33164">
                  <c:v>35379</c:v>
                </c:pt>
                <c:pt idx="33165">
                  <c:v>35379</c:v>
                </c:pt>
                <c:pt idx="33166">
                  <c:v>35379</c:v>
                </c:pt>
                <c:pt idx="33167">
                  <c:v>35378</c:v>
                </c:pt>
                <c:pt idx="33168">
                  <c:v>35378</c:v>
                </c:pt>
                <c:pt idx="33169">
                  <c:v>35378</c:v>
                </c:pt>
                <c:pt idx="33170">
                  <c:v>35378</c:v>
                </c:pt>
                <c:pt idx="33171">
                  <c:v>35378</c:v>
                </c:pt>
                <c:pt idx="33172">
                  <c:v>35377</c:v>
                </c:pt>
                <c:pt idx="33173">
                  <c:v>35377</c:v>
                </c:pt>
                <c:pt idx="33174">
                  <c:v>35377</c:v>
                </c:pt>
                <c:pt idx="33175">
                  <c:v>35377</c:v>
                </c:pt>
                <c:pt idx="33176">
                  <c:v>35376</c:v>
                </c:pt>
                <c:pt idx="33177">
                  <c:v>35376</c:v>
                </c:pt>
                <c:pt idx="33178">
                  <c:v>35376</c:v>
                </c:pt>
                <c:pt idx="33179">
                  <c:v>35376</c:v>
                </c:pt>
                <c:pt idx="33180">
                  <c:v>35376</c:v>
                </c:pt>
                <c:pt idx="33181">
                  <c:v>35376</c:v>
                </c:pt>
                <c:pt idx="33182">
                  <c:v>35375</c:v>
                </c:pt>
                <c:pt idx="33183">
                  <c:v>35375</c:v>
                </c:pt>
                <c:pt idx="33184">
                  <c:v>35374</c:v>
                </c:pt>
                <c:pt idx="33185">
                  <c:v>35374</c:v>
                </c:pt>
                <c:pt idx="33186">
                  <c:v>35374</c:v>
                </c:pt>
                <c:pt idx="33187">
                  <c:v>35374</c:v>
                </c:pt>
                <c:pt idx="33188">
                  <c:v>35374</c:v>
                </c:pt>
                <c:pt idx="33189">
                  <c:v>35373</c:v>
                </c:pt>
                <c:pt idx="33190">
                  <c:v>35373</c:v>
                </c:pt>
                <c:pt idx="33191">
                  <c:v>35373</c:v>
                </c:pt>
                <c:pt idx="33192">
                  <c:v>35373</c:v>
                </c:pt>
                <c:pt idx="33193">
                  <c:v>35373</c:v>
                </c:pt>
                <c:pt idx="33194">
                  <c:v>35372</c:v>
                </c:pt>
                <c:pt idx="33195">
                  <c:v>35372</c:v>
                </c:pt>
                <c:pt idx="33196">
                  <c:v>35372</c:v>
                </c:pt>
                <c:pt idx="33197">
                  <c:v>35372</c:v>
                </c:pt>
                <c:pt idx="33198">
                  <c:v>35372</c:v>
                </c:pt>
                <c:pt idx="33199">
                  <c:v>35371</c:v>
                </c:pt>
                <c:pt idx="33200">
                  <c:v>35371</c:v>
                </c:pt>
                <c:pt idx="33201">
                  <c:v>35371</c:v>
                </c:pt>
                <c:pt idx="33202">
                  <c:v>35371</c:v>
                </c:pt>
                <c:pt idx="33203">
                  <c:v>35371</c:v>
                </c:pt>
                <c:pt idx="33204">
                  <c:v>35371</c:v>
                </c:pt>
                <c:pt idx="33205">
                  <c:v>35370</c:v>
                </c:pt>
                <c:pt idx="33206">
                  <c:v>35370</c:v>
                </c:pt>
                <c:pt idx="33207">
                  <c:v>35369</c:v>
                </c:pt>
                <c:pt idx="33208">
                  <c:v>35369</c:v>
                </c:pt>
                <c:pt idx="33209">
                  <c:v>35368</c:v>
                </c:pt>
                <c:pt idx="33210">
                  <c:v>35368</c:v>
                </c:pt>
                <c:pt idx="33211">
                  <c:v>35368</c:v>
                </c:pt>
                <c:pt idx="33212">
                  <c:v>35368</c:v>
                </c:pt>
                <c:pt idx="33213">
                  <c:v>35368</c:v>
                </c:pt>
                <c:pt idx="33214">
                  <c:v>35367</c:v>
                </c:pt>
                <c:pt idx="33215">
                  <c:v>35366</c:v>
                </c:pt>
                <c:pt idx="33216">
                  <c:v>35366</c:v>
                </c:pt>
                <c:pt idx="33217">
                  <c:v>35366</c:v>
                </c:pt>
                <c:pt idx="33218">
                  <c:v>35365</c:v>
                </c:pt>
                <c:pt idx="33219">
                  <c:v>35365</c:v>
                </c:pt>
                <c:pt idx="33220">
                  <c:v>35365</c:v>
                </c:pt>
                <c:pt idx="33221">
                  <c:v>35365</c:v>
                </c:pt>
                <c:pt idx="33222">
                  <c:v>35365</c:v>
                </c:pt>
                <c:pt idx="33223">
                  <c:v>35364</c:v>
                </c:pt>
                <c:pt idx="33224">
                  <c:v>35364</c:v>
                </c:pt>
                <c:pt idx="33225">
                  <c:v>35364</c:v>
                </c:pt>
                <c:pt idx="33226">
                  <c:v>35363</c:v>
                </c:pt>
                <c:pt idx="33227">
                  <c:v>35363</c:v>
                </c:pt>
                <c:pt idx="33228">
                  <c:v>35363</c:v>
                </c:pt>
                <c:pt idx="33229">
                  <c:v>35363</c:v>
                </c:pt>
                <c:pt idx="33230">
                  <c:v>35362</c:v>
                </c:pt>
                <c:pt idx="33231">
                  <c:v>35362</c:v>
                </c:pt>
                <c:pt idx="33232">
                  <c:v>35362</c:v>
                </c:pt>
                <c:pt idx="33233">
                  <c:v>35362</c:v>
                </c:pt>
                <c:pt idx="33234">
                  <c:v>35362</c:v>
                </c:pt>
                <c:pt idx="33235">
                  <c:v>35361</c:v>
                </c:pt>
                <c:pt idx="33236">
                  <c:v>35361</c:v>
                </c:pt>
                <c:pt idx="33237">
                  <c:v>35361</c:v>
                </c:pt>
                <c:pt idx="33238">
                  <c:v>35361</c:v>
                </c:pt>
                <c:pt idx="33239">
                  <c:v>35361</c:v>
                </c:pt>
                <c:pt idx="33240">
                  <c:v>35360</c:v>
                </c:pt>
                <c:pt idx="33241">
                  <c:v>35360</c:v>
                </c:pt>
                <c:pt idx="33242">
                  <c:v>35360</c:v>
                </c:pt>
                <c:pt idx="33243">
                  <c:v>35360</c:v>
                </c:pt>
                <c:pt idx="33244">
                  <c:v>35360</c:v>
                </c:pt>
                <c:pt idx="33245">
                  <c:v>35360</c:v>
                </c:pt>
                <c:pt idx="33246">
                  <c:v>35360</c:v>
                </c:pt>
                <c:pt idx="33247">
                  <c:v>35359</c:v>
                </c:pt>
                <c:pt idx="33248">
                  <c:v>35359</c:v>
                </c:pt>
                <c:pt idx="33249">
                  <c:v>35359</c:v>
                </c:pt>
                <c:pt idx="33250">
                  <c:v>35359</c:v>
                </c:pt>
                <c:pt idx="33251">
                  <c:v>35359</c:v>
                </c:pt>
                <c:pt idx="33252">
                  <c:v>35358</c:v>
                </c:pt>
                <c:pt idx="33253">
                  <c:v>35358</c:v>
                </c:pt>
                <c:pt idx="33254">
                  <c:v>35358</c:v>
                </c:pt>
                <c:pt idx="33255">
                  <c:v>35358</c:v>
                </c:pt>
                <c:pt idx="33256">
                  <c:v>35357</c:v>
                </c:pt>
                <c:pt idx="33257">
                  <c:v>35357</c:v>
                </c:pt>
                <c:pt idx="33258">
                  <c:v>35357</c:v>
                </c:pt>
                <c:pt idx="33259">
                  <c:v>35357</c:v>
                </c:pt>
                <c:pt idx="33260">
                  <c:v>35357</c:v>
                </c:pt>
                <c:pt idx="33261">
                  <c:v>35356</c:v>
                </c:pt>
                <c:pt idx="33262">
                  <c:v>35356</c:v>
                </c:pt>
                <c:pt idx="33263">
                  <c:v>35356</c:v>
                </c:pt>
                <c:pt idx="33264">
                  <c:v>35356</c:v>
                </c:pt>
                <c:pt idx="33265">
                  <c:v>35355</c:v>
                </c:pt>
                <c:pt idx="33266">
                  <c:v>35355</c:v>
                </c:pt>
                <c:pt idx="33267">
                  <c:v>35355</c:v>
                </c:pt>
                <c:pt idx="33268">
                  <c:v>35355</c:v>
                </c:pt>
                <c:pt idx="33269">
                  <c:v>35354</c:v>
                </c:pt>
                <c:pt idx="33270">
                  <c:v>35354</c:v>
                </c:pt>
                <c:pt idx="33271">
                  <c:v>35353</c:v>
                </c:pt>
                <c:pt idx="33272">
                  <c:v>35353</c:v>
                </c:pt>
                <c:pt idx="33273">
                  <c:v>35353</c:v>
                </c:pt>
                <c:pt idx="33274">
                  <c:v>35353</c:v>
                </c:pt>
                <c:pt idx="33275">
                  <c:v>35352</c:v>
                </c:pt>
                <c:pt idx="33276">
                  <c:v>35352</c:v>
                </c:pt>
                <c:pt idx="33277">
                  <c:v>35351</c:v>
                </c:pt>
                <c:pt idx="33278">
                  <c:v>35351</c:v>
                </c:pt>
                <c:pt idx="33279">
                  <c:v>35351</c:v>
                </c:pt>
                <c:pt idx="33280">
                  <c:v>35351</c:v>
                </c:pt>
                <c:pt idx="33281">
                  <c:v>35351</c:v>
                </c:pt>
                <c:pt idx="33282">
                  <c:v>35351</c:v>
                </c:pt>
                <c:pt idx="33283">
                  <c:v>35350</c:v>
                </c:pt>
                <c:pt idx="33284">
                  <c:v>35350</c:v>
                </c:pt>
                <c:pt idx="33285">
                  <c:v>35350</c:v>
                </c:pt>
                <c:pt idx="33286">
                  <c:v>35350</c:v>
                </c:pt>
                <c:pt idx="33287">
                  <c:v>35350</c:v>
                </c:pt>
                <c:pt idx="33288">
                  <c:v>35350</c:v>
                </c:pt>
                <c:pt idx="33289">
                  <c:v>35350</c:v>
                </c:pt>
                <c:pt idx="33290">
                  <c:v>35349</c:v>
                </c:pt>
                <c:pt idx="33291">
                  <c:v>35349</c:v>
                </c:pt>
                <c:pt idx="33292">
                  <c:v>35349</c:v>
                </c:pt>
                <c:pt idx="33293">
                  <c:v>35349</c:v>
                </c:pt>
                <c:pt idx="33294">
                  <c:v>35349</c:v>
                </c:pt>
                <c:pt idx="33295">
                  <c:v>35348</c:v>
                </c:pt>
                <c:pt idx="33296">
                  <c:v>35348</c:v>
                </c:pt>
                <c:pt idx="33297">
                  <c:v>35348</c:v>
                </c:pt>
                <c:pt idx="33298">
                  <c:v>35348</c:v>
                </c:pt>
                <c:pt idx="33299">
                  <c:v>35348</c:v>
                </c:pt>
                <c:pt idx="33300">
                  <c:v>35348</c:v>
                </c:pt>
                <c:pt idx="33301">
                  <c:v>35347</c:v>
                </c:pt>
                <c:pt idx="33302">
                  <c:v>35347</c:v>
                </c:pt>
                <c:pt idx="33303">
                  <c:v>35347</c:v>
                </c:pt>
                <c:pt idx="33304">
                  <c:v>35347</c:v>
                </c:pt>
                <c:pt idx="33305">
                  <c:v>35347</c:v>
                </c:pt>
                <c:pt idx="33306">
                  <c:v>35346</c:v>
                </c:pt>
                <c:pt idx="33307">
                  <c:v>35346</c:v>
                </c:pt>
                <c:pt idx="33308">
                  <c:v>35346</c:v>
                </c:pt>
                <c:pt idx="33309">
                  <c:v>35346</c:v>
                </c:pt>
                <c:pt idx="33310">
                  <c:v>35345</c:v>
                </c:pt>
                <c:pt idx="33311">
                  <c:v>35345</c:v>
                </c:pt>
                <c:pt idx="33312">
                  <c:v>35345</c:v>
                </c:pt>
                <c:pt idx="33313">
                  <c:v>35344</c:v>
                </c:pt>
                <c:pt idx="33314">
                  <c:v>35344</c:v>
                </c:pt>
                <c:pt idx="33315">
                  <c:v>35343</c:v>
                </c:pt>
                <c:pt idx="33316">
                  <c:v>35343</c:v>
                </c:pt>
                <c:pt idx="33317">
                  <c:v>35343</c:v>
                </c:pt>
                <c:pt idx="33318">
                  <c:v>35343</c:v>
                </c:pt>
                <c:pt idx="33319">
                  <c:v>35342</c:v>
                </c:pt>
                <c:pt idx="33320">
                  <c:v>35342</c:v>
                </c:pt>
                <c:pt idx="33321">
                  <c:v>35342</c:v>
                </c:pt>
                <c:pt idx="33322">
                  <c:v>35342</c:v>
                </c:pt>
                <c:pt idx="33323">
                  <c:v>35342</c:v>
                </c:pt>
                <c:pt idx="33324">
                  <c:v>35341</c:v>
                </c:pt>
                <c:pt idx="33325">
                  <c:v>35341</c:v>
                </c:pt>
                <c:pt idx="33326">
                  <c:v>35341</c:v>
                </c:pt>
                <c:pt idx="33327">
                  <c:v>35341</c:v>
                </c:pt>
                <c:pt idx="33328">
                  <c:v>35341</c:v>
                </c:pt>
                <c:pt idx="33329">
                  <c:v>35341</c:v>
                </c:pt>
                <c:pt idx="33330">
                  <c:v>35341</c:v>
                </c:pt>
                <c:pt idx="33331">
                  <c:v>35341</c:v>
                </c:pt>
                <c:pt idx="33332">
                  <c:v>35340</c:v>
                </c:pt>
                <c:pt idx="33333">
                  <c:v>35339</c:v>
                </c:pt>
                <c:pt idx="33334">
                  <c:v>35339</c:v>
                </c:pt>
                <c:pt idx="33335">
                  <c:v>35339</c:v>
                </c:pt>
                <c:pt idx="33336">
                  <c:v>35339</c:v>
                </c:pt>
                <c:pt idx="33337">
                  <c:v>35339</c:v>
                </c:pt>
                <c:pt idx="33338">
                  <c:v>35338</c:v>
                </c:pt>
                <c:pt idx="33339">
                  <c:v>35338</c:v>
                </c:pt>
                <c:pt idx="33340">
                  <c:v>35338</c:v>
                </c:pt>
                <c:pt idx="33341">
                  <c:v>35337</c:v>
                </c:pt>
                <c:pt idx="33342">
                  <c:v>35337</c:v>
                </c:pt>
                <c:pt idx="33343">
                  <c:v>35337</c:v>
                </c:pt>
                <c:pt idx="33344">
                  <c:v>35337</c:v>
                </c:pt>
                <c:pt idx="33345">
                  <c:v>35337</c:v>
                </c:pt>
                <c:pt idx="33346">
                  <c:v>35336</c:v>
                </c:pt>
                <c:pt idx="33347">
                  <c:v>35336</c:v>
                </c:pt>
                <c:pt idx="33348">
                  <c:v>35336</c:v>
                </c:pt>
                <c:pt idx="33349">
                  <c:v>35336</c:v>
                </c:pt>
                <c:pt idx="33350">
                  <c:v>35335</c:v>
                </c:pt>
                <c:pt idx="33351">
                  <c:v>35334</c:v>
                </c:pt>
                <c:pt idx="33352">
                  <c:v>35334</c:v>
                </c:pt>
                <c:pt idx="33353">
                  <c:v>35334</c:v>
                </c:pt>
                <c:pt idx="33354">
                  <c:v>35334</c:v>
                </c:pt>
                <c:pt idx="33355">
                  <c:v>35334</c:v>
                </c:pt>
                <c:pt idx="33356">
                  <c:v>35334</c:v>
                </c:pt>
                <c:pt idx="33357">
                  <c:v>35334</c:v>
                </c:pt>
                <c:pt idx="33358">
                  <c:v>35334</c:v>
                </c:pt>
                <c:pt idx="33359">
                  <c:v>35332</c:v>
                </c:pt>
                <c:pt idx="33360">
                  <c:v>35332</c:v>
                </c:pt>
                <c:pt idx="33361">
                  <c:v>35332</c:v>
                </c:pt>
                <c:pt idx="33362">
                  <c:v>35331</c:v>
                </c:pt>
                <c:pt idx="33363">
                  <c:v>35331</c:v>
                </c:pt>
                <c:pt idx="33364">
                  <c:v>35331</c:v>
                </c:pt>
                <c:pt idx="33365">
                  <c:v>35330</c:v>
                </c:pt>
                <c:pt idx="33366">
                  <c:v>35330</c:v>
                </c:pt>
                <c:pt idx="33367">
                  <c:v>35330</c:v>
                </c:pt>
                <c:pt idx="33368">
                  <c:v>35330</c:v>
                </c:pt>
                <c:pt idx="33369">
                  <c:v>35330</c:v>
                </c:pt>
                <c:pt idx="33370">
                  <c:v>35330</c:v>
                </c:pt>
                <c:pt idx="33371">
                  <c:v>35329</c:v>
                </c:pt>
                <c:pt idx="33372">
                  <c:v>35328</c:v>
                </c:pt>
                <c:pt idx="33373">
                  <c:v>35328</c:v>
                </c:pt>
                <c:pt idx="33374">
                  <c:v>35328</c:v>
                </c:pt>
                <c:pt idx="33375">
                  <c:v>35328</c:v>
                </c:pt>
                <c:pt idx="33376">
                  <c:v>35327</c:v>
                </c:pt>
                <c:pt idx="33377">
                  <c:v>35327</c:v>
                </c:pt>
                <c:pt idx="33378">
                  <c:v>35327</c:v>
                </c:pt>
                <c:pt idx="33379">
                  <c:v>35326</c:v>
                </c:pt>
                <c:pt idx="33380">
                  <c:v>35326</c:v>
                </c:pt>
                <c:pt idx="33381">
                  <c:v>35325</c:v>
                </c:pt>
                <c:pt idx="33382">
                  <c:v>35325</c:v>
                </c:pt>
                <c:pt idx="33383">
                  <c:v>35325</c:v>
                </c:pt>
                <c:pt idx="33384">
                  <c:v>35325</c:v>
                </c:pt>
                <c:pt idx="33385">
                  <c:v>35324</c:v>
                </c:pt>
                <c:pt idx="33386">
                  <c:v>35324</c:v>
                </c:pt>
                <c:pt idx="33387">
                  <c:v>35324</c:v>
                </c:pt>
                <c:pt idx="33388">
                  <c:v>35324</c:v>
                </c:pt>
                <c:pt idx="33389">
                  <c:v>35324</c:v>
                </c:pt>
                <c:pt idx="33390">
                  <c:v>35324</c:v>
                </c:pt>
                <c:pt idx="33391">
                  <c:v>35324</c:v>
                </c:pt>
                <c:pt idx="33392">
                  <c:v>35324</c:v>
                </c:pt>
                <c:pt idx="33393">
                  <c:v>35324</c:v>
                </c:pt>
                <c:pt idx="33394">
                  <c:v>35324</c:v>
                </c:pt>
                <c:pt idx="33395">
                  <c:v>35324</c:v>
                </c:pt>
                <c:pt idx="33396">
                  <c:v>35323</c:v>
                </c:pt>
                <c:pt idx="33397">
                  <c:v>35323</c:v>
                </c:pt>
                <c:pt idx="33398">
                  <c:v>35323</c:v>
                </c:pt>
                <c:pt idx="33399">
                  <c:v>35323</c:v>
                </c:pt>
                <c:pt idx="33400">
                  <c:v>35322</c:v>
                </c:pt>
                <c:pt idx="33401">
                  <c:v>35321</c:v>
                </c:pt>
                <c:pt idx="33402">
                  <c:v>35321</c:v>
                </c:pt>
                <c:pt idx="33403">
                  <c:v>35321</c:v>
                </c:pt>
                <c:pt idx="33404">
                  <c:v>35321</c:v>
                </c:pt>
                <c:pt idx="33405">
                  <c:v>35320</c:v>
                </c:pt>
                <c:pt idx="33406">
                  <c:v>35320</c:v>
                </c:pt>
                <c:pt idx="33407">
                  <c:v>35320</c:v>
                </c:pt>
                <c:pt idx="33408">
                  <c:v>35319</c:v>
                </c:pt>
                <c:pt idx="33409">
                  <c:v>35319</c:v>
                </c:pt>
                <c:pt idx="33410">
                  <c:v>35319</c:v>
                </c:pt>
                <c:pt idx="33411">
                  <c:v>35319</c:v>
                </c:pt>
                <c:pt idx="33412">
                  <c:v>35319</c:v>
                </c:pt>
                <c:pt idx="33413">
                  <c:v>35319</c:v>
                </c:pt>
                <c:pt idx="33414">
                  <c:v>35318</c:v>
                </c:pt>
                <c:pt idx="33415">
                  <c:v>35318</c:v>
                </c:pt>
                <c:pt idx="33416">
                  <c:v>35318</c:v>
                </c:pt>
                <c:pt idx="33417">
                  <c:v>35318</c:v>
                </c:pt>
                <c:pt idx="33418">
                  <c:v>35318</c:v>
                </c:pt>
                <c:pt idx="33419">
                  <c:v>35318</c:v>
                </c:pt>
                <c:pt idx="33420">
                  <c:v>35318</c:v>
                </c:pt>
                <c:pt idx="33421">
                  <c:v>35318</c:v>
                </c:pt>
                <c:pt idx="33422">
                  <c:v>35317</c:v>
                </c:pt>
                <c:pt idx="33423">
                  <c:v>35317</c:v>
                </c:pt>
                <c:pt idx="33424">
                  <c:v>35317</c:v>
                </c:pt>
                <c:pt idx="33425">
                  <c:v>35316</c:v>
                </c:pt>
                <c:pt idx="33426">
                  <c:v>35316</c:v>
                </c:pt>
                <c:pt idx="33427">
                  <c:v>35316</c:v>
                </c:pt>
                <c:pt idx="33428">
                  <c:v>35316</c:v>
                </c:pt>
                <c:pt idx="33429">
                  <c:v>35316</c:v>
                </c:pt>
                <c:pt idx="33430">
                  <c:v>35315</c:v>
                </c:pt>
                <c:pt idx="33431">
                  <c:v>35315</c:v>
                </c:pt>
                <c:pt idx="33432">
                  <c:v>35315</c:v>
                </c:pt>
                <c:pt idx="33433">
                  <c:v>35315</c:v>
                </c:pt>
                <c:pt idx="33434">
                  <c:v>35315</c:v>
                </c:pt>
                <c:pt idx="33435">
                  <c:v>35314</c:v>
                </c:pt>
                <c:pt idx="33436">
                  <c:v>35314</c:v>
                </c:pt>
                <c:pt idx="33437">
                  <c:v>35314</c:v>
                </c:pt>
                <c:pt idx="33438">
                  <c:v>35314</c:v>
                </c:pt>
                <c:pt idx="33439">
                  <c:v>35313</c:v>
                </c:pt>
                <c:pt idx="33440">
                  <c:v>35313</c:v>
                </c:pt>
                <c:pt idx="33441">
                  <c:v>35313</c:v>
                </c:pt>
                <c:pt idx="33442">
                  <c:v>35313</c:v>
                </c:pt>
                <c:pt idx="33443">
                  <c:v>35312</c:v>
                </c:pt>
                <c:pt idx="33444">
                  <c:v>35312</c:v>
                </c:pt>
                <c:pt idx="33445">
                  <c:v>35312</c:v>
                </c:pt>
                <c:pt idx="33446">
                  <c:v>35312</c:v>
                </c:pt>
                <c:pt idx="33447">
                  <c:v>35312</c:v>
                </c:pt>
                <c:pt idx="33448">
                  <c:v>35311</c:v>
                </c:pt>
                <c:pt idx="33449">
                  <c:v>35311</c:v>
                </c:pt>
                <c:pt idx="33450">
                  <c:v>35311</c:v>
                </c:pt>
                <c:pt idx="33451">
                  <c:v>35311</c:v>
                </c:pt>
                <c:pt idx="33452">
                  <c:v>35311</c:v>
                </c:pt>
                <c:pt idx="33453">
                  <c:v>35311</c:v>
                </c:pt>
                <c:pt idx="33454">
                  <c:v>35310</c:v>
                </c:pt>
                <c:pt idx="33455">
                  <c:v>35310</c:v>
                </c:pt>
                <c:pt idx="33456">
                  <c:v>35310</c:v>
                </c:pt>
                <c:pt idx="33457">
                  <c:v>35309</c:v>
                </c:pt>
                <c:pt idx="33458">
                  <c:v>35309</c:v>
                </c:pt>
                <c:pt idx="33459">
                  <c:v>35309</c:v>
                </c:pt>
                <c:pt idx="33460">
                  <c:v>35309</c:v>
                </c:pt>
                <c:pt idx="33461">
                  <c:v>35309</c:v>
                </c:pt>
                <c:pt idx="33462">
                  <c:v>35309</c:v>
                </c:pt>
                <c:pt idx="33463">
                  <c:v>35309</c:v>
                </c:pt>
                <c:pt idx="33464">
                  <c:v>35308</c:v>
                </c:pt>
                <c:pt idx="33465">
                  <c:v>35308</c:v>
                </c:pt>
                <c:pt idx="33466">
                  <c:v>35308</c:v>
                </c:pt>
                <c:pt idx="33467">
                  <c:v>35308</c:v>
                </c:pt>
                <c:pt idx="33468">
                  <c:v>35308</c:v>
                </c:pt>
                <c:pt idx="33469">
                  <c:v>35308</c:v>
                </c:pt>
                <c:pt idx="33470">
                  <c:v>35308</c:v>
                </c:pt>
                <c:pt idx="33471">
                  <c:v>35307</c:v>
                </c:pt>
                <c:pt idx="33472">
                  <c:v>35307</c:v>
                </c:pt>
                <c:pt idx="33473">
                  <c:v>35307</c:v>
                </c:pt>
                <c:pt idx="33474">
                  <c:v>35307</c:v>
                </c:pt>
                <c:pt idx="33475">
                  <c:v>35307</c:v>
                </c:pt>
                <c:pt idx="33476">
                  <c:v>35307</c:v>
                </c:pt>
                <c:pt idx="33477">
                  <c:v>35307</c:v>
                </c:pt>
                <c:pt idx="33478">
                  <c:v>35307</c:v>
                </c:pt>
                <c:pt idx="33479">
                  <c:v>35307</c:v>
                </c:pt>
                <c:pt idx="33480">
                  <c:v>35307</c:v>
                </c:pt>
                <c:pt idx="33481">
                  <c:v>35306</c:v>
                </c:pt>
                <c:pt idx="33482">
                  <c:v>35306</c:v>
                </c:pt>
                <c:pt idx="33483">
                  <c:v>35306</c:v>
                </c:pt>
                <c:pt idx="33484">
                  <c:v>35306</c:v>
                </c:pt>
                <c:pt idx="33485">
                  <c:v>35305</c:v>
                </c:pt>
                <c:pt idx="33486">
                  <c:v>35305</c:v>
                </c:pt>
                <c:pt idx="33487">
                  <c:v>35305</c:v>
                </c:pt>
                <c:pt idx="33488">
                  <c:v>35305</c:v>
                </c:pt>
                <c:pt idx="33489">
                  <c:v>35305</c:v>
                </c:pt>
                <c:pt idx="33490">
                  <c:v>35304</c:v>
                </c:pt>
                <c:pt idx="33491">
                  <c:v>35304</c:v>
                </c:pt>
                <c:pt idx="33492">
                  <c:v>35304</c:v>
                </c:pt>
                <c:pt idx="33493">
                  <c:v>35304</c:v>
                </c:pt>
                <c:pt idx="33494">
                  <c:v>35304</c:v>
                </c:pt>
                <c:pt idx="33495">
                  <c:v>35304</c:v>
                </c:pt>
                <c:pt idx="33496">
                  <c:v>35304</c:v>
                </c:pt>
                <c:pt idx="33497">
                  <c:v>35303</c:v>
                </c:pt>
                <c:pt idx="33498">
                  <c:v>35303</c:v>
                </c:pt>
                <c:pt idx="33499">
                  <c:v>35303</c:v>
                </c:pt>
                <c:pt idx="33500">
                  <c:v>35303</c:v>
                </c:pt>
                <c:pt idx="33501">
                  <c:v>35303</c:v>
                </c:pt>
                <c:pt idx="33502">
                  <c:v>35302</c:v>
                </c:pt>
                <c:pt idx="33503">
                  <c:v>35302</c:v>
                </c:pt>
                <c:pt idx="33504">
                  <c:v>35302</c:v>
                </c:pt>
                <c:pt idx="33505">
                  <c:v>35302</c:v>
                </c:pt>
                <c:pt idx="33506">
                  <c:v>35302</c:v>
                </c:pt>
                <c:pt idx="33507">
                  <c:v>35302</c:v>
                </c:pt>
                <c:pt idx="33508">
                  <c:v>35302</c:v>
                </c:pt>
                <c:pt idx="33509">
                  <c:v>35301</c:v>
                </c:pt>
                <c:pt idx="33510">
                  <c:v>35300</c:v>
                </c:pt>
                <c:pt idx="33511">
                  <c:v>35300</c:v>
                </c:pt>
                <c:pt idx="33512">
                  <c:v>35300</c:v>
                </c:pt>
                <c:pt idx="33513">
                  <c:v>35300</c:v>
                </c:pt>
                <c:pt idx="33514">
                  <c:v>35300</c:v>
                </c:pt>
                <c:pt idx="33515">
                  <c:v>35300</c:v>
                </c:pt>
                <c:pt idx="33516">
                  <c:v>35300</c:v>
                </c:pt>
                <c:pt idx="33517">
                  <c:v>35300</c:v>
                </c:pt>
                <c:pt idx="33518">
                  <c:v>35299</c:v>
                </c:pt>
                <c:pt idx="33519">
                  <c:v>35299</c:v>
                </c:pt>
                <c:pt idx="33520">
                  <c:v>35299</c:v>
                </c:pt>
                <c:pt idx="33521">
                  <c:v>35298</c:v>
                </c:pt>
                <c:pt idx="33522">
                  <c:v>35298</c:v>
                </c:pt>
                <c:pt idx="33523">
                  <c:v>35298</c:v>
                </c:pt>
                <c:pt idx="33524">
                  <c:v>35298</c:v>
                </c:pt>
                <c:pt idx="33525">
                  <c:v>35297</c:v>
                </c:pt>
                <c:pt idx="33526">
                  <c:v>35297</c:v>
                </c:pt>
                <c:pt idx="33527">
                  <c:v>35297</c:v>
                </c:pt>
                <c:pt idx="33528">
                  <c:v>35296</c:v>
                </c:pt>
                <c:pt idx="33529">
                  <c:v>35296</c:v>
                </c:pt>
                <c:pt idx="33530">
                  <c:v>35296</c:v>
                </c:pt>
                <c:pt idx="33531">
                  <c:v>35296</c:v>
                </c:pt>
                <c:pt idx="33532">
                  <c:v>35296</c:v>
                </c:pt>
                <c:pt idx="33533">
                  <c:v>35296</c:v>
                </c:pt>
                <c:pt idx="33534">
                  <c:v>35296</c:v>
                </c:pt>
                <c:pt idx="33535">
                  <c:v>35296</c:v>
                </c:pt>
                <c:pt idx="33536">
                  <c:v>35296</c:v>
                </c:pt>
                <c:pt idx="33537">
                  <c:v>35295</c:v>
                </c:pt>
                <c:pt idx="33538">
                  <c:v>35295</c:v>
                </c:pt>
                <c:pt idx="33539">
                  <c:v>35295</c:v>
                </c:pt>
                <c:pt idx="33540">
                  <c:v>35295</c:v>
                </c:pt>
                <c:pt idx="33541">
                  <c:v>35295</c:v>
                </c:pt>
                <c:pt idx="33542">
                  <c:v>35295</c:v>
                </c:pt>
                <c:pt idx="33543">
                  <c:v>35294</c:v>
                </c:pt>
                <c:pt idx="33544">
                  <c:v>35294</c:v>
                </c:pt>
                <c:pt idx="33545">
                  <c:v>35294</c:v>
                </c:pt>
                <c:pt idx="33546">
                  <c:v>35294</c:v>
                </c:pt>
                <c:pt idx="33547">
                  <c:v>35294</c:v>
                </c:pt>
                <c:pt idx="33548">
                  <c:v>35294</c:v>
                </c:pt>
                <c:pt idx="33549">
                  <c:v>35294</c:v>
                </c:pt>
                <c:pt idx="33550">
                  <c:v>35293</c:v>
                </c:pt>
                <c:pt idx="33551">
                  <c:v>35293</c:v>
                </c:pt>
                <c:pt idx="33552">
                  <c:v>35293</c:v>
                </c:pt>
                <c:pt idx="33553">
                  <c:v>35293</c:v>
                </c:pt>
                <c:pt idx="33554">
                  <c:v>35293</c:v>
                </c:pt>
                <c:pt idx="33555">
                  <c:v>35293</c:v>
                </c:pt>
                <c:pt idx="33556">
                  <c:v>35293</c:v>
                </c:pt>
                <c:pt idx="33557">
                  <c:v>35292</c:v>
                </c:pt>
                <c:pt idx="33558">
                  <c:v>35292</c:v>
                </c:pt>
                <c:pt idx="33559">
                  <c:v>35292</c:v>
                </c:pt>
                <c:pt idx="33560">
                  <c:v>35292</c:v>
                </c:pt>
                <c:pt idx="33561">
                  <c:v>35292</c:v>
                </c:pt>
                <c:pt idx="33562">
                  <c:v>35292</c:v>
                </c:pt>
                <c:pt idx="33563">
                  <c:v>35292</c:v>
                </c:pt>
                <c:pt idx="33564">
                  <c:v>35292</c:v>
                </c:pt>
                <c:pt idx="33565">
                  <c:v>35292</c:v>
                </c:pt>
                <c:pt idx="33566">
                  <c:v>35291</c:v>
                </c:pt>
                <c:pt idx="33567">
                  <c:v>35291</c:v>
                </c:pt>
                <c:pt idx="33568">
                  <c:v>35291</c:v>
                </c:pt>
                <c:pt idx="33569">
                  <c:v>35291</c:v>
                </c:pt>
                <c:pt idx="33570">
                  <c:v>35290</c:v>
                </c:pt>
                <c:pt idx="33571">
                  <c:v>35290</c:v>
                </c:pt>
                <c:pt idx="33572">
                  <c:v>35290</c:v>
                </c:pt>
                <c:pt idx="33573">
                  <c:v>35290</c:v>
                </c:pt>
                <c:pt idx="33574">
                  <c:v>35289</c:v>
                </c:pt>
                <c:pt idx="33575">
                  <c:v>35289</c:v>
                </c:pt>
                <c:pt idx="33576">
                  <c:v>35289</c:v>
                </c:pt>
                <c:pt idx="33577">
                  <c:v>35289</c:v>
                </c:pt>
                <c:pt idx="33578">
                  <c:v>35289</c:v>
                </c:pt>
                <c:pt idx="33579">
                  <c:v>35289</c:v>
                </c:pt>
                <c:pt idx="33580">
                  <c:v>35288</c:v>
                </c:pt>
                <c:pt idx="33581">
                  <c:v>35288</c:v>
                </c:pt>
                <c:pt idx="33582">
                  <c:v>35288</c:v>
                </c:pt>
                <c:pt idx="33583">
                  <c:v>35287</c:v>
                </c:pt>
                <c:pt idx="33584">
                  <c:v>35287</c:v>
                </c:pt>
                <c:pt idx="33585">
                  <c:v>35287</c:v>
                </c:pt>
                <c:pt idx="33586">
                  <c:v>35286</c:v>
                </c:pt>
                <c:pt idx="33587">
                  <c:v>35286</c:v>
                </c:pt>
                <c:pt idx="33588">
                  <c:v>35286</c:v>
                </c:pt>
                <c:pt idx="33589">
                  <c:v>35285</c:v>
                </c:pt>
                <c:pt idx="33590">
                  <c:v>35285</c:v>
                </c:pt>
                <c:pt idx="33591">
                  <c:v>35285</c:v>
                </c:pt>
                <c:pt idx="33592">
                  <c:v>35285</c:v>
                </c:pt>
                <c:pt idx="33593">
                  <c:v>35285</c:v>
                </c:pt>
                <c:pt idx="33594">
                  <c:v>35285</c:v>
                </c:pt>
                <c:pt idx="33595">
                  <c:v>35285</c:v>
                </c:pt>
                <c:pt idx="33596">
                  <c:v>35284</c:v>
                </c:pt>
                <c:pt idx="33597">
                  <c:v>35284</c:v>
                </c:pt>
                <c:pt idx="33598">
                  <c:v>35284</c:v>
                </c:pt>
                <c:pt idx="33599">
                  <c:v>35283</c:v>
                </c:pt>
                <c:pt idx="33600">
                  <c:v>35283</c:v>
                </c:pt>
                <c:pt idx="33601">
                  <c:v>35283</c:v>
                </c:pt>
                <c:pt idx="33602">
                  <c:v>35283</c:v>
                </c:pt>
                <c:pt idx="33603">
                  <c:v>35283</c:v>
                </c:pt>
                <c:pt idx="33604">
                  <c:v>35283</c:v>
                </c:pt>
                <c:pt idx="33605">
                  <c:v>35283</c:v>
                </c:pt>
                <c:pt idx="33606">
                  <c:v>35283</c:v>
                </c:pt>
                <c:pt idx="33607">
                  <c:v>35282</c:v>
                </c:pt>
                <c:pt idx="33608">
                  <c:v>35282</c:v>
                </c:pt>
                <c:pt idx="33609">
                  <c:v>35282</c:v>
                </c:pt>
                <c:pt idx="33610">
                  <c:v>35281</c:v>
                </c:pt>
                <c:pt idx="33611">
                  <c:v>35281</c:v>
                </c:pt>
                <c:pt idx="33612">
                  <c:v>35281</c:v>
                </c:pt>
                <c:pt idx="33613">
                  <c:v>35281</c:v>
                </c:pt>
                <c:pt idx="33614">
                  <c:v>35281</c:v>
                </c:pt>
                <c:pt idx="33615">
                  <c:v>35281</c:v>
                </c:pt>
                <c:pt idx="33616">
                  <c:v>35281</c:v>
                </c:pt>
                <c:pt idx="33617">
                  <c:v>35280</c:v>
                </c:pt>
                <c:pt idx="33618">
                  <c:v>35280</c:v>
                </c:pt>
                <c:pt idx="33619">
                  <c:v>35280</c:v>
                </c:pt>
                <c:pt idx="33620">
                  <c:v>35280</c:v>
                </c:pt>
                <c:pt idx="33621">
                  <c:v>35279</c:v>
                </c:pt>
                <c:pt idx="33622">
                  <c:v>35279</c:v>
                </c:pt>
                <c:pt idx="33623">
                  <c:v>35279</c:v>
                </c:pt>
                <c:pt idx="33624">
                  <c:v>35279</c:v>
                </c:pt>
                <c:pt idx="33625">
                  <c:v>35279</c:v>
                </c:pt>
                <c:pt idx="33626">
                  <c:v>35277</c:v>
                </c:pt>
                <c:pt idx="33627">
                  <c:v>35277</c:v>
                </c:pt>
                <c:pt idx="33628">
                  <c:v>35277</c:v>
                </c:pt>
                <c:pt idx="33629">
                  <c:v>35277</c:v>
                </c:pt>
                <c:pt idx="33630">
                  <c:v>35277</c:v>
                </c:pt>
                <c:pt idx="33631">
                  <c:v>35277</c:v>
                </c:pt>
                <c:pt idx="33632">
                  <c:v>35277</c:v>
                </c:pt>
                <c:pt idx="33633">
                  <c:v>35276</c:v>
                </c:pt>
                <c:pt idx="33634">
                  <c:v>35276</c:v>
                </c:pt>
                <c:pt idx="33635">
                  <c:v>35276</c:v>
                </c:pt>
                <c:pt idx="33636">
                  <c:v>35276</c:v>
                </c:pt>
                <c:pt idx="33637">
                  <c:v>35276</c:v>
                </c:pt>
                <c:pt idx="33638">
                  <c:v>35276</c:v>
                </c:pt>
                <c:pt idx="33639">
                  <c:v>35275</c:v>
                </c:pt>
                <c:pt idx="33640">
                  <c:v>35275</c:v>
                </c:pt>
                <c:pt idx="33641">
                  <c:v>35275</c:v>
                </c:pt>
                <c:pt idx="33642">
                  <c:v>35275</c:v>
                </c:pt>
                <c:pt idx="33643">
                  <c:v>35274</c:v>
                </c:pt>
                <c:pt idx="33644">
                  <c:v>35274</c:v>
                </c:pt>
                <c:pt idx="33645">
                  <c:v>35274</c:v>
                </c:pt>
                <c:pt idx="33646">
                  <c:v>35274</c:v>
                </c:pt>
                <c:pt idx="33647">
                  <c:v>35273</c:v>
                </c:pt>
                <c:pt idx="33648">
                  <c:v>35273</c:v>
                </c:pt>
                <c:pt idx="33649">
                  <c:v>35273</c:v>
                </c:pt>
                <c:pt idx="33650">
                  <c:v>35272</c:v>
                </c:pt>
                <c:pt idx="33651">
                  <c:v>35272</c:v>
                </c:pt>
                <c:pt idx="33652">
                  <c:v>35272</c:v>
                </c:pt>
                <c:pt idx="33653">
                  <c:v>35272</c:v>
                </c:pt>
                <c:pt idx="33654">
                  <c:v>35272</c:v>
                </c:pt>
                <c:pt idx="33655">
                  <c:v>35271</c:v>
                </c:pt>
                <c:pt idx="33656">
                  <c:v>35271</c:v>
                </c:pt>
                <c:pt idx="33657">
                  <c:v>35271</c:v>
                </c:pt>
                <c:pt idx="33658">
                  <c:v>35271</c:v>
                </c:pt>
                <c:pt idx="33659">
                  <c:v>35271</c:v>
                </c:pt>
                <c:pt idx="33660">
                  <c:v>35270</c:v>
                </c:pt>
                <c:pt idx="33661">
                  <c:v>35269</c:v>
                </c:pt>
                <c:pt idx="33662">
                  <c:v>35269</c:v>
                </c:pt>
                <c:pt idx="33663">
                  <c:v>35269</c:v>
                </c:pt>
                <c:pt idx="33664">
                  <c:v>35269</c:v>
                </c:pt>
                <c:pt idx="33665">
                  <c:v>35269</c:v>
                </c:pt>
                <c:pt idx="33666">
                  <c:v>35269</c:v>
                </c:pt>
                <c:pt idx="33667">
                  <c:v>35268</c:v>
                </c:pt>
                <c:pt idx="33668">
                  <c:v>35268</c:v>
                </c:pt>
                <c:pt idx="33669">
                  <c:v>35268</c:v>
                </c:pt>
                <c:pt idx="33670">
                  <c:v>35268</c:v>
                </c:pt>
                <c:pt idx="33671">
                  <c:v>35268</c:v>
                </c:pt>
                <c:pt idx="33672">
                  <c:v>35268</c:v>
                </c:pt>
                <c:pt idx="33673">
                  <c:v>35268</c:v>
                </c:pt>
                <c:pt idx="33674">
                  <c:v>35268</c:v>
                </c:pt>
                <c:pt idx="33675">
                  <c:v>35268</c:v>
                </c:pt>
                <c:pt idx="33676">
                  <c:v>35267</c:v>
                </c:pt>
                <c:pt idx="33677">
                  <c:v>35267</c:v>
                </c:pt>
                <c:pt idx="33678">
                  <c:v>35267</c:v>
                </c:pt>
                <c:pt idx="33679">
                  <c:v>35267</c:v>
                </c:pt>
                <c:pt idx="33680">
                  <c:v>35267</c:v>
                </c:pt>
                <c:pt idx="33681">
                  <c:v>35266</c:v>
                </c:pt>
                <c:pt idx="33682">
                  <c:v>35266</c:v>
                </c:pt>
                <c:pt idx="33683">
                  <c:v>35266</c:v>
                </c:pt>
                <c:pt idx="33684">
                  <c:v>35266</c:v>
                </c:pt>
                <c:pt idx="33685">
                  <c:v>35266</c:v>
                </c:pt>
                <c:pt idx="33686">
                  <c:v>35265</c:v>
                </c:pt>
                <c:pt idx="33687">
                  <c:v>35265</c:v>
                </c:pt>
                <c:pt idx="33688">
                  <c:v>35265</c:v>
                </c:pt>
                <c:pt idx="33689">
                  <c:v>35265</c:v>
                </c:pt>
                <c:pt idx="33690">
                  <c:v>35265</c:v>
                </c:pt>
                <c:pt idx="33691">
                  <c:v>35264</c:v>
                </c:pt>
                <c:pt idx="33692">
                  <c:v>35264</c:v>
                </c:pt>
                <c:pt idx="33693">
                  <c:v>35264</c:v>
                </c:pt>
                <c:pt idx="33694">
                  <c:v>35264</c:v>
                </c:pt>
                <c:pt idx="33695">
                  <c:v>35264</c:v>
                </c:pt>
                <c:pt idx="33696">
                  <c:v>35264</c:v>
                </c:pt>
                <c:pt idx="33697">
                  <c:v>35264</c:v>
                </c:pt>
                <c:pt idx="33698">
                  <c:v>35264</c:v>
                </c:pt>
                <c:pt idx="33699">
                  <c:v>35264</c:v>
                </c:pt>
                <c:pt idx="33700">
                  <c:v>35263</c:v>
                </c:pt>
                <c:pt idx="33701">
                  <c:v>35263</c:v>
                </c:pt>
                <c:pt idx="33702">
                  <c:v>35263</c:v>
                </c:pt>
                <c:pt idx="33703">
                  <c:v>35263</c:v>
                </c:pt>
                <c:pt idx="33704">
                  <c:v>35263</c:v>
                </c:pt>
                <c:pt idx="33705">
                  <c:v>35263</c:v>
                </c:pt>
                <c:pt idx="33706">
                  <c:v>35263</c:v>
                </c:pt>
                <c:pt idx="33707">
                  <c:v>35263</c:v>
                </c:pt>
                <c:pt idx="33708">
                  <c:v>35262</c:v>
                </c:pt>
                <c:pt idx="33709">
                  <c:v>35262</c:v>
                </c:pt>
                <c:pt idx="33710">
                  <c:v>35261</c:v>
                </c:pt>
                <c:pt idx="33711">
                  <c:v>35261</c:v>
                </c:pt>
                <c:pt idx="33712">
                  <c:v>35260</c:v>
                </c:pt>
                <c:pt idx="33713">
                  <c:v>35260</c:v>
                </c:pt>
                <c:pt idx="33714">
                  <c:v>35259</c:v>
                </c:pt>
                <c:pt idx="33715">
                  <c:v>35259</c:v>
                </c:pt>
                <c:pt idx="33716">
                  <c:v>35259</c:v>
                </c:pt>
                <c:pt idx="33717">
                  <c:v>35259</c:v>
                </c:pt>
                <c:pt idx="33718">
                  <c:v>35258</c:v>
                </c:pt>
                <c:pt idx="33719">
                  <c:v>35258</c:v>
                </c:pt>
                <c:pt idx="33720">
                  <c:v>35257</c:v>
                </c:pt>
                <c:pt idx="33721">
                  <c:v>35257</c:v>
                </c:pt>
                <c:pt idx="33722">
                  <c:v>35257</c:v>
                </c:pt>
                <c:pt idx="33723">
                  <c:v>35257</c:v>
                </c:pt>
                <c:pt idx="33724">
                  <c:v>35256</c:v>
                </c:pt>
                <c:pt idx="33725">
                  <c:v>35256</c:v>
                </c:pt>
                <c:pt idx="33726">
                  <c:v>35256</c:v>
                </c:pt>
                <c:pt idx="33727">
                  <c:v>35256</c:v>
                </c:pt>
                <c:pt idx="33728">
                  <c:v>35256</c:v>
                </c:pt>
                <c:pt idx="33729">
                  <c:v>35256</c:v>
                </c:pt>
                <c:pt idx="33730">
                  <c:v>35256</c:v>
                </c:pt>
                <c:pt idx="33731">
                  <c:v>35256</c:v>
                </c:pt>
                <c:pt idx="33732">
                  <c:v>35256</c:v>
                </c:pt>
                <c:pt idx="33733">
                  <c:v>35255</c:v>
                </c:pt>
                <c:pt idx="33734">
                  <c:v>35255</c:v>
                </c:pt>
                <c:pt idx="33735">
                  <c:v>35255</c:v>
                </c:pt>
                <c:pt idx="33736">
                  <c:v>35255</c:v>
                </c:pt>
                <c:pt idx="33737">
                  <c:v>35255</c:v>
                </c:pt>
                <c:pt idx="33738">
                  <c:v>35255</c:v>
                </c:pt>
                <c:pt idx="33739">
                  <c:v>35254</c:v>
                </c:pt>
                <c:pt idx="33740">
                  <c:v>35254</c:v>
                </c:pt>
                <c:pt idx="33741">
                  <c:v>35254</c:v>
                </c:pt>
                <c:pt idx="33742">
                  <c:v>35254</c:v>
                </c:pt>
                <c:pt idx="33743">
                  <c:v>35254</c:v>
                </c:pt>
                <c:pt idx="33744">
                  <c:v>35254</c:v>
                </c:pt>
                <c:pt idx="33745">
                  <c:v>35254</c:v>
                </c:pt>
                <c:pt idx="33746">
                  <c:v>35254</c:v>
                </c:pt>
                <c:pt idx="33747">
                  <c:v>35254</c:v>
                </c:pt>
                <c:pt idx="33748">
                  <c:v>35253</c:v>
                </c:pt>
                <c:pt idx="33749">
                  <c:v>35253</c:v>
                </c:pt>
                <c:pt idx="33750">
                  <c:v>35253</c:v>
                </c:pt>
                <c:pt idx="33751">
                  <c:v>35253</c:v>
                </c:pt>
                <c:pt idx="33752">
                  <c:v>35253</c:v>
                </c:pt>
                <c:pt idx="33753">
                  <c:v>35253</c:v>
                </c:pt>
                <c:pt idx="33754">
                  <c:v>35253</c:v>
                </c:pt>
                <c:pt idx="33755">
                  <c:v>35252</c:v>
                </c:pt>
                <c:pt idx="33756">
                  <c:v>35252</c:v>
                </c:pt>
                <c:pt idx="33757">
                  <c:v>35252</c:v>
                </c:pt>
                <c:pt idx="33758">
                  <c:v>35252</c:v>
                </c:pt>
                <c:pt idx="33759">
                  <c:v>35252</c:v>
                </c:pt>
                <c:pt idx="33760">
                  <c:v>35251</c:v>
                </c:pt>
                <c:pt idx="33761">
                  <c:v>35251</c:v>
                </c:pt>
                <c:pt idx="33762">
                  <c:v>35251</c:v>
                </c:pt>
                <c:pt idx="33763">
                  <c:v>35251</c:v>
                </c:pt>
                <c:pt idx="33764">
                  <c:v>35251</c:v>
                </c:pt>
                <c:pt idx="33765">
                  <c:v>35251</c:v>
                </c:pt>
                <c:pt idx="33766">
                  <c:v>35250</c:v>
                </c:pt>
                <c:pt idx="33767">
                  <c:v>35250</c:v>
                </c:pt>
                <c:pt idx="33768">
                  <c:v>35250</c:v>
                </c:pt>
                <c:pt idx="33769">
                  <c:v>35250</c:v>
                </c:pt>
                <c:pt idx="33770">
                  <c:v>35249</c:v>
                </c:pt>
                <c:pt idx="33771">
                  <c:v>35249</c:v>
                </c:pt>
                <c:pt idx="33772">
                  <c:v>35249</c:v>
                </c:pt>
                <c:pt idx="33773">
                  <c:v>35249</c:v>
                </c:pt>
                <c:pt idx="33774">
                  <c:v>35248</c:v>
                </c:pt>
                <c:pt idx="33775">
                  <c:v>35248</c:v>
                </c:pt>
                <c:pt idx="33776">
                  <c:v>35248</c:v>
                </c:pt>
                <c:pt idx="33777">
                  <c:v>35248</c:v>
                </c:pt>
                <c:pt idx="33778">
                  <c:v>35248</c:v>
                </c:pt>
                <c:pt idx="33779">
                  <c:v>35248</c:v>
                </c:pt>
                <c:pt idx="33780">
                  <c:v>35247</c:v>
                </c:pt>
                <c:pt idx="33781">
                  <c:v>35247</c:v>
                </c:pt>
                <c:pt idx="33782">
                  <c:v>35247</c:v>
                </c:pt>
                <c:pt idx="33783">
                  <c:v>35247</c:v>
                </c:pt>
                <c:pt idx="33784">
                  <c:v>35247</c:v>
                </c:pt>
                <c:pt idx="33785">
                  <c:v>35247</c:v>
                </c:pt>
                <c:pt idx="33786">
                  <c:v>35246</c:v>
                </c:pt>
                <c:pt idx="33787">
                  <c:v>35246</c:v>
                </c:pt>
                <c:pt idx="33788">
                  <c:v>35246</c:v>
                </c:pt>
                <c:pt idx="33789">
                  <c:v>35246</c:v>
                </c:pt>
                <c:pt idx="33790">
                  <c:v>35246</c:v>
                </c:pt>
                <c:pt idx="33791">
                  <c:v>35245</c:v>
                </c:pt>
                <c:pt idx="33792">
                  <c:v>35245</c:v>
                </c:pt>
                <c:pt idx="33793">
                  <c:v>35245</c:v>
                </c:pt>
                <c:pt idx="33794">
                  <c:v>35245</c:v>
                </c:pt>
                <c:pt idx="33795">
                  <c:v>35245</c:v>
                </c:pt>
                <c:pt idx="33796">
                  <c:v>35244</c:v>
                </c:pt>
                <c:pt idx="33797">
                  <c:v>35244</c:v>
                </c:pt>
                <c:pt idx="33798">
                  <c:v>35244</c:v>
                </c:pt>
                <c:pt idx="33799">
                  <c:v>35244</c:v>
                </c:pt>
                <c:pt idx="33800">
                  <c:v>35244</c:v>
                </c:pt>
                <c:pt idx="33801">
                  <c:v>35244</c:v>
                </c:pt>
                <c:pt idx="33802">
                  <c:v>35244</c:v>
                </c:pt>
                <c:pt idx="33803">
                  <c:v>35243</c:v>
                </c:pt>
                <c:pt idx="33804">
                  <c:v>35243</c:v>
                </c:pt>
                <c:pt idx="33805">
                  <c:v>35242</c:v>
                </c:pt>
                <c:pt idx="33806">
                  <c:v>35242</c:v>
                </c:pt>
                <c:pt idx="33807">
                  <c:v>35242</c:v>
                </c:pt>
                <c:pt idx="33808">
                  <c:v>35242</c:v>
                </c:pt>
                <c:pt idx="33809">
                  <c:v>35242</c:v>
                </c:pt>
                <c:pt idx="33810">
                  <c:v>35242</c:v>
                </c:pt>
                <c:pt idx="33811">
                  <c:v>35241</c:v>
                </c:pt>
                <c:pt idx="33812">
                  <c:v>35241</c:v>
                </c:pt>
                <c:pt idx="33813">
                  <c:v>35240</c:v>
                </c:pt>
                <c:pt idx="33814">
                  <c:v>35240</c:v>
                </c:pt>
                <c:pt idx="33815">
                  <c:v>35240</c:v>
                </c:pt>
                <c:pt idx="33816">
                  <c:v>35240</c:v>
                </c:pt>
                <c:pt idx="33817">
                  <c:v>35240</c:v>
                </c:pt>
                <c:pt idx="33818">
                  <c:v>35239</c:v>
                </c:pt>
                <c:pt idx="33819">
                  <c:v>35239</c:v>
                </c:pt>
                <c:pt idx="33820">
                  <c:v>35239</c:v>
                </c:pt>
                <c:pt idx="33821">
                  <c:v>35238</c:v>
                </c:pt>
                <c:pt idx="33822">
                  <c:v>35238</c:v>
                </c:pt>
                <c:pt idx="33823">
                  <c:v>35238</c:v>
                </c:pt>
                <c:pt idx="33824">
                  <c:v>35238</c:v>
                </c:pt>
                <c:pt idx="33825">
                  <c:v>35238</c:v>
                </c:pt>
                <c:pt idx="33826">
                  <c:v>35237</c:v>
                </c:pt>
                <c:pt idx="33827">
                  <c:v>35237</c:v>
                </c:pt>
                <c:pt idx="33828">
                  <c:v>35237</c:v>
                </c:pt>
                <c:pt idx="33829">
                  <c:v>35237</c:v>
                </c:pt>
                <c:pt idx="33830">
                  <c:v>35237</c:v>
                </c:pt>
                <c:pt idx="33831">
                  <c:v>35237</c:v>
                </c:pt>
                <c:pt idx="33832">
                  <c:v>35236</c:v>
                </c:pt>
                <c:pt idx="33833">
                  <c:v>35236</c:v>
                </c:pt>
                <c:pt idx="33834">
                  <c:v>35235</c:v>
                </c:pt>
                <c:pt idx="33835">
                  <c:v>35235</c:v>
                </c:pt>
                <c:pt idx="33836">
                  <c:v>35235</c:v>
                </c:pt>
                <c:pt idx="33837">
                  <c:v>35235</c:v>
                </c:pt>
                <c:pt idx="33838">
                  <c:v>35235</c:v>
                </c:pt>
                <c:pt idx="33839">
                  <c:v>35235</c:v>
                </c:pt>
                <c:pt idx="33840">
                  <c:v>35235</c:v>
                </c:pt>
                <c:pt idx="33841">
                  <c:v>35234</c:v>
                </c:pt>
                <c:pt idx="33842">
                  <c:v>35234</c:v>
                </c:pt>
                <c:pt idx="33843">
                  <c:v>35234</c:v>
                </c:pt>
                <c:pt idx="33844">
                  <c:v>35234</c:v>
                </c:pt>
                <c:pt idx="33845">
                  <c:v>35234</c:v>
                </c:pt>
                <c:pt idx="33846">
                  <c:v>35234</c:v>
                </c:pt>
                <c:pt idx="33847">
                  <c:v>35234</c:v>
                </c:pt>
                <c:pt idx="33848">
                  <c:v>35233</c:v>
                </c:pt>
                <c:pt idx="33849">
                  <c:v>35233</c:v>
                </c:pt>
                <c:pt idx="33850">
                  <c:v>35233</c:v>
                </c:pt>
                <c:pt idx="33851">
                  <c:v>35233</c:v>
                </c:pt>
                <c:pt idx="33852">
                  <c:v>35233</c:v>
                </c:pt>
                <c:pt idx="33853">
                  <c:v>35232</c:v>
                </c:pt>
                <c:pt idx="33854">
                  <c:v>35232</c:v>
                </c:pt>
                <c:pt idx="33855">
                  <c:v>35232</c:v>
                </c:pt>
                <c:pt idx="33856">
                  <c:v>35232</c:v>
                </c:pt>
                <c:pt idx="33857">
                  <c:v>35232</c:v>
                </c:pt>
                <c:pt idx="33858">
                  <c:v>35231</c:v>
                </c:pt>
                <c:pt idx="33859">
                  <c:v>35231</c:v>
                </c:pt>
                <c:pt idx="33860">
                  <c:v>35231</c:v>
                </c:pt>
                <c:pt idx="33861">
                  <c:v>35230</c:v>
                </c:pt>
                <c:pt idx="33862">
                  <c:v>35230</c:v>
                </c:pt>
                <c:pt idx="33863">
                  <c:v>35230</c:v>
                </c:pt>
                <c:pt idx="33864">
                  <c:v>35230</c:v>
                </c:pt>
                <c:pt idx="33865">
                  <c:v>35230</c:v>
                </c:pt>
                <c:pt idx="33866">
                  <c:v>35230</c:v>
                </c:pt>
                <c:pt idx="33867">
                  <c:v>35229</c:v>
                </c:pt>
                <c:pt idx="33868">
                  <c:v>35229</c:v>
                </c:pt>
                <c:pt idx="33869">
                  <c:v>35229</c:v>
                </c:pt>
                <c:pt idx="33870">
                  <c:v>35229</c:v>
                </c:pt>
                <c:pt idx="33871">
                  <c:v>35228</c:v>
                </c:pt>
                <c:pt idx="33872">
                  <c:v>35228</c:v>
                </c:pt>
                <c:pt idx="33873">
                  <c:v>35228</c:v>
                </c:pt>
                <c:pt idx="33874">
                  <c:v>35228</c:v>
                </c:pt>
                <c:pt idx="33875">
                  <c:v>35227</c:v>
                </c:pt>
                <c:pt idx="33876">
                  <c:v>35227</c:v>
                </c:pt>
                <c:pt idx="33877">
                  <c:v>35227</c:v>
                </c:pt>
                <c:pt idx="33878">
                  <c:v>35227</c:v>
                </c:pt>
                <c:pt idx="33879">
                  <c:v>35227</c:v>
                </c:pt>
                <c:pt idx="33880">
                  <c:v>35226</c:v>
                </c:pt>
                <c:pt idx="33881">
                  <c:v>35226</c:v>
                </c:pt>
                <c:pt idx="33882">
                  <c:v>35226</c:v>
                </c:pt>
                <c:pt idx="33883">
                  <c:v>35225</c:v>
                </c:pt>
                <c:pt idx="33884">
                  <c:v>35225</c:v>
                </c:pt>
                <c:pt idx="33885">
                  <c:v>35225</c:v>
                </c:pt>
                <c:pt idx="33886">
                  <c:v>35225</c:v>
                </c:pt>
                <c:pt idx="33887">
                  <c:v>35225</c:v>
                </c:pt>
                <c:pt idx="33888">
                  <c:v>35225</c:v>
                </c:pt>
                <c:pt idx="33889">
                  <c:v>35225</c:v>
                </c:pt>
                <c:pt idx="33890">
                  <c:v>35224</c:v>
                </c:pt>
                <c:pt idx="33891">
                  <c:v>35224</c:v>
                </c:pt>
                <c:pt idx="33892">
                  <c:v>35224</c:v>
                </c:pt>
                <c:pt idx="33893">
                  <c:v>35224</c:v>
                </c:pt>
                <c:pt idx="33894">
                  <c:v>35223</c:v>
                </c:pt>
                <c:pt idx="33895">
                  <c:v>35223</c:v>
                </c:pt>
                <c:pt idx="33896">
                  <c:v>35223</c:v>
                </c:pt>
                <c:pt idx="33897">
                  <c:v>35223</c:v>
                </c:pt>
                <c:pt idx="33898">
                  <c:v>35223</c:v>
                </c:pt>
                <c:pt idx="33899">
                  <c:v>35222</c:v>
                </c:pt>
                <c:pt idx="33900">
                  <c:v>35222</c:v>
                </c:pt>
                <c:pt idx="33901">
                  <c:v>35222</c:v>
                </c:pt>
                <c:pt idx="33902">
                  <c:v>35221</c:v>
                </c:pt>
                <c:pt idx="33903">
                  <c:v>35221</c:v>
                </c:pt>
                <c:pt idx="33904">
                  <c:v>35221</c:v>
                </c:pt>
                <c:pt idx="33905">
                  <c:v>35220</c:v>
                </c:pt>
                <c:pt idx="33906">
                  <c:v>35220</c:v>
                </c:pt>
                <c:pt idx="33907">
                  <c:v>35220</c:v>
                </c:pt>
                <c:pt idx="33908">
                  <c:v>35220</c:v>
                </c:pt>
                <c:pt idx="33909">
                  <c:v>35219</c:v>
                </c:pt>
                <c:pt idx="33910">
                  <c:v>35219</c:v>
                </c:pt>
                <c:pt idx="33911">
                  <c:v>35219</c:v>
                </c:pt>
                <c:pt idx="33912">
                  <c:v>35218</c:v>
                </c:pt>
                <c:pt idx="33913">
                  <c:v>35218</c:v>
                </c:pt>
                <c:pt idx="33914">
                  <c:v>35218</c:v>
                </c:pt>
                <c:pt idx="33915">
                  <c:v>35218</c:v>
                </c:pt>
                <c:pt idx="33916">
                  <c:v>35218</c:v>
                </c:pt>
                <c:pt idx="33917">
                  <c:v>35217</c:v>
                </c:pt>
                <c:pt idx="33918">
                  <c:v>35217</c:v>
                </c:pt>
                <c:pt idx="33919">
                  <c:v>35217</c:v>
                </c:pt>
                <c:pt idx="33920">
                  <c:v>35217</c:v>
                </c:pt>
                <c:pt idx="33921">
                  <c:v>35216</c:v>
                </c:pt>
                <c:pt idx="33922">
                  <c:v>35216</c:v>
                </c:pt>
                <c:pt idx="33923">
                  <c:v>35216</c:v>
                </c:pt>
                <c:pt idx="33924">
                  <c:v>35216</c:v>
                </c:pt>
                <c:pt idx="33925">
                  <c:v>35216</c:v>
                </c:pt>
                <c:pt idx="33926">
                  <c:v>35216</c:v>
                </c:pt>
                <c:pt idx="33927">
                  <c:v>35216</c:v>
                </c:pt>
                <c:pt idx="33928">
                  <c:v>35215</c:v>
                </c:pt>
                <c:pt idx="33929">
                  <c:v>35215</c:v>
                </c:pt>
                <c:pt idx="33930">
                  <c:v>35215</c:v>
                </c:pt>
                <c:pt idx="33931">
                  <c:v>35215</c:v>
                </c:pt>
                <c:pt idx="33932">
                  <c:v>35215</c:v>
                </c:pt>
                <c:pt idx="33933">
                  <c:v>35214</c:v>
                </c:pt>
                <c:pt idx="33934">
                  <c:v>35214</c:v>
                </c:pt>
                <c:pt idx="33935">
                  <c:v>35214</c:v>
                </c:pt>
                <c:pt idx="33936">
                  <c:v>35214</c:v>
                </c:pt>
                <c:pt idx="33937">
                  <c:v>35213</c:v>
                </c:pt>
                <c:pt idx="33938">
                  <c:v>35213</c:v>
                </c:pt>
                <c:pt idx="33939">
                  <c:v>35213</c:v>
                </c:pt>
                <c:pt idx="33940">
                  <c:v>35212</c:v>
                </c:pt>
                <c:pt idx="33941">
                  <c:v>35212</c:v>
                </c:pt>
                <c:pt idx="33942">
                  <c:v>35212</c:v>
                </c:pt>
                <c:pt idx="33943">
                  <c:v>35212</c:v>
                </c:pt>
                <c:pt idx="33944">
                  <c:v>35212</c:v>
                </c:pt>
                <c:pt idx="33945">
                  <c:v>35212</c:v>
                </c:pt>
                <c:pt idx="33946">
                  <c:v>35211</c:v>
                </c:pt>
                <c:pt idx="33947">
                  <c:v>35211</c:v>
                </c:pt>
                <c:pt idx="33948">
                  <c:v>35211</c:v>
                </c:pt>
                <c:pt idx="33949">
                  <c:v>35211</c:v>
                </c:pt>
                <c:pt idx="33950">
                  <c:v>35211</c:v>
                </c:pt>
                <c:pt idx="33951">
                  <c:v>35211</c:v>
                </c:pt>
                <c:pt idx="33952">
                  <c:v>35210</c:v>
                </c:pt>
                <c:pt idx="33953">
                  <c:v>35210</c:v>
                </c:pt>
                <c:pt idx="33954">
                  <c:v>35210</c:v>
                </c:pt>
                <c:pt idx="33955">
                  <c:v>35209</c:v>
                </c:pt>
                <c:pt idx="33956">
                  <c:v>35209</c:v>
                </c:pt>
                <c:pt idx="33957">
                  <c:v>35209</c:v>
                </c:pt>
                <c:pt idx="33958">
                  <c:v>35209</c:v>
                </c:pt>
                <c:pt idx="33959">
                  <c:v>35209</c:v>
                </c:pt>
                <c:pt idx="33960">
                  <c:v>35208</c:v>
                </c:pt>
                <c:pt idx="33961">
                  <c:v>35208</c:v>
                </c:pt>
                <c:pt idx="33962">
                  <c:v>35208</c:v>
                </c:pt>
                <c:pt idx="33963">
                  <c:v>35208</c:v>
                </c:pt>
                <c:pt idx="33964">
                  <c:v>35208</c:v>
                </c:pt>
                <c:pt idx="33965">
                  <c:v>35207</c:v>
                </c:pt>
                <c:pt idx="33966">
                  <c:v>35207</c:v>
                </c:pt>
                <c:pt idx="33967">
                  <c:v>35207</c:v>
                </c:pt>
                <c:pt idx="33968">
                  <c:v>35207</c:v>
                </c:pt>
                <c:pt idx="33969">
                  <c:v>35207</c:v>
                </c:pt>
                <c:pt idx="33970">
                  <c:v>35207</c:v>
                </c:pt>
                <c:pt idx="33971">
                  <c:v>35207</c:v>
                </c:pt>
                <c:pt idx="33972">
                  <c:v>35206</c:v>
                </c:pt>
                <c:pt idx="33973">
                  <c:v>35206</c:v>
                </c:pt>
                <c:pt idx="33974">
                  <c:v>35206</c:v>
                </c:pt>
                <c:pt idx="33975">
                  <c:v>35206</c:v>
                </c:pt>
                <c:pt idx="33976">
                  <c:v>35205</c:v>
                </c:pt>
                <c:pt idx="33977">
                  <c:v>35205</c:v>
                </c:pt>
                <c:pt idx="33978">
                  <c:v>35205</c:v>
                </c:pt>
                <c:pt idx="33979">
                  <c:v>35205</c:v>
                </c:pt>
                <c:pt idx="33980">
                  <c:v>35205</c:v>
                </c:pt>
                <c:pt idx="33981">
                  <c:v>35204</c:v>
                </c:pt>
                <c:pt idx="33982">
                  <c:v>35204</c:v>
                </c:pt>
                <c:pt idx="33983">
                  <c:v>35204</c:v>
                </c:pt>
                <c:pt idx="33984">
                  <c:v>35204</c:v>
                </c:pt>
                <c:pt idx="33985">
                  <c:v>35203</c:v>
                </c:pt>
                <c:pt idx="33986">
                  <c:v>35203</c:v>
                </c:pt>
                <c:pt idx="33987">
                  <c:v>35203</c:v>
                </c:pt>
                <c:pt idx="33988">
                  <c:v>35203</c:v>
                </c:pt>
                <c:pt idx="33989">
                  <c:v>35202</c:v>
                </c:pt>
                <c:pt idx="33990">
                  <c:v>35202</c:v>
                </c:pt>
                <c:pt idx="33991">
                  <c:v>35202</c:v>
                </c:pt>
                <c:pt idx="33992">
                  <c:v>35202</c:v>
                </c:pt>
                <c:pt idx="33993">
                  <c:v>35201</c:v>
                </c:pt>
                <c:pt idx="33994">
                  <c:v>35201</c:v>
                </c:pt>
                <c:pt idx="33995">
                  <c:v>35201</c:v>
                </c:pt>
                <c:pt idx="33996">
                  <c:v>35201</c:v>
                </c:pt>
                <c:pt idx="33997">
                  <c:v>35201</c:v>
                </c:pt>
                <c:pt idx="33998">
                  <c:v>35201</c:v>
                </c:pt>
                <c:pt idx="33999">
                  <c:v>35200</c:v>
                </c:pt>
                <c:pt idx="34000">
                  <c:v>35200</c:v>
                </c:pt>
                <c:pt idx="34001">
                  <c:v>35200</c:v>
                </c:pt>
                <c:pt idx="34002">
                  <c:v>35200</c:v>
                </c:pt>
                <c:pt idx="34003">
                  <c:v>35199</c:v>
                </c:pt>
                <c:pt idx="34004">
                  <c:v>35199</c:v>
                </c:pt>
                <c:pt idx="34005">
                  <c:v>35199</c:v>
                </c:pt>
                <c:pt idx="34006">
                  <c:v>35199</c:v>
                </c:pt>
                <c:pt idx="34007">
                  <c:v>35199</c:v>
                </c:pt>
                <c:pt idx="34008">
                  <c:v>35198</c:v>
                </c:pt>
                <c:pt idx="34009">
                  <c:v>35198</c:v>
                </c:pt>
                <c:pt idx="34010">
                  <c:v>35198</c:v>
                </c:pt>
                <c:pt idx="34011">
                  <c:v>35198</c:v>
                </c:pt>
                <c:pt idx="34012">
                  <c:v>35197</c:v>
                </c:pt>
                <c:pt idx="34013">
                  <c:v>35197</c:v>
                </c:pt>
                <c:pt idx="34014">
                  <c:v>35197</c:v>
                </c:pt>
                <c:pt idx="34015">
                  <c:v>35196</c:v>
                </c:pt>
                <c:pt idx="34016">
                  <c:v>35196</c:v>
                </c:pt>
                <c:pt idx="34017">
                  <c:v>35196</c:v>
                </c:pt>
                <c:pt idx="34018">
                  <c:v>35196</c:v>
                </c:pt>
                <c:pt idx="34019">
                  <c:v>35196</c:v>
                </c:pt>
                <c:pt idx="34020">
                  <c:v>35195</c:v>
                </c:pt>
                <c:pt idx="34021">
                  <c:v>35195</c:v>
                </c:pt>
                <c:pt idx="34022">
                  <c:v>35195</c:v>
                </c:pt>
                <c:pt idx="34023">
                  <c:v>35195</c:v>
                </c:pt>
                <c:pt idx="34024">
                  <c:v>35195</c:v>
                </c:pt>
                <c:pt idx="34025">
                  <c:v>35194</c:v>
                </c:pt>
                <c:pt idx="34026">
                  <c:v>35194</c:v>
                </c:pt>
                <c:pt idx="34027">
                  <c:v>35194</c:v>
                </c:pt>
                <c:pt idx="34028">
                  <c:v>35194</c:v>
                </c:pt>
                <c:pt idx="34029">
                  <c:v>35194</c:v>
                </c:pt>
                <c:pt idx="34030">
                  <c:v>35194</c:v>
                </c:pt>
                <c:pt idx="34031">
                  <c:v>35194</c:v>
                </c:pt>
                <c:pt idx="34032">
                  <c:v>35194</c:v>
                </c:pt>
                <c:pt idx="34033">
                  <c:v>35194</c:v>
                </c:pt>
                <c:pt idx="34034">
                  <c:v>35193</c:v>
                </c:pt>
                <c:pt idx="34035">
                  <c:v>35193</c:v>
                </c:pt>
                <c:pt idx="34036">
                  <c:v>35193</c:v>
                </c:pt>
                <c:pt idx="34037">
                  <c:v>35193</c:v>
                </c:pt>
                <c:pt idx="34038">
                  <c:v>35193</c:v>
                </c:pt>
                <c:pt idx="34039">
                  <c:v>35193</c:v>
                </c:pt>
                <c:pt idx="34040">
                  <c:v>35193</c:v>
                </c:pt>
                <c:pt idx="34041">
                  <c:v>35193</c:v>
                </c:pt>
                <c:pt idx="34042">
                  <c:v>35192</c:v>
                </c:pt>
                <c:pt idx="34043">
                  <c:v>35192</c:v>
                </c:pt>
                <c:pt idx="34044">
                  <c:v>35192</c:v>
                </c:pt>
                <c:pt idx="34045">
                  <c:v>35192</c:v>
                </c:pt>
                <c:pt idx="34046">
                  <c:v>35191</c:v>
                </c:pt>
                <c:pt idx="34047">
                  <c:v>35191</c:v>
                </c:pt>
                <c:pt idx="34048">
                  <c:v>35191</c:v>
                </c:pt>
                <c:pt idx="34049">
                  <c:v>35191</c:v>
                </c:pt>
                <c:pt idx="34050">
                  <c:v>35191</c:v>
                </c:pt>
                <c:pt idx="34051">
                  <c:v>35190</c:v>
                </c:pt>
                <c:pt idx="34052">
                  <c:v>35190</c:v>
                </c:pt>
                <c:pt idx="34053">
                  <c:v>35190</c:v>
                </c:pt>
                <c:pt idx="34054">
                  <c:v>35189</c:v>
                </c:pt>
                <c:pt idx="34055">
                  <c:v>35189</c:v>
                </c:pt>
                <c:pt idx="34056">
                  <c:v>35189</c:v>
                </c:pt>
                <c:pt idx="34057">
                  <c:v>35189</c:v>
                </c:pt>
                <c:pt idx="34058">
                  <c:v>35188</c:v>
                </c:pt>
                <c:pt idx="34059">
                  <c:v>35187</c:v>
                </c:pt>
                <c:pt idx="34060">
                  <c:v>35187</c:v>
                </c:pt>
                <c:pt idx="34061">
                  <c:v>35187</c:v>
                </c:pt>
                <c:pt idx="34062">
                  <c:v>35187</c:v>
                </c:pt>
                <c:pt idx="34063">
                  <c:v>35186</c:v>
                </c:pt>
                <c:pt idx="34064">
                  <c:v>35186</c:v>
                </c:pt>
                <c:pt idx="34065">
                  <c:v>35186</c:v>
                </c:pt>
                <c:pt idx="34066">
                  <c:v>35186</c:v>
                </c:pt>
                <c:pt idx="34067">
                  <c:v>35186</c:v>
                </c:pt>
                <c:pt idx="34068">
                  <c:v>35186</c:v>
                </c:pt>
                <c:pt idx="34069">
                  <c:v>35185</c:v>
                </c:pt>
                <c:pt idx="34070">
                  <c:v>35185</c:v>
                </c:pt>
                <c:pt idx="34071">
                  <c:v>35185</c:v>
                </c:pt>
                <c:pt idx="34072">
                  <c:v>35185</c:v>
                </c:pt>
                <c:pt idx="34073">
                  <c:v>35185</c:v>
                </c:pt>
                <c:pt idx="34074">
                  <c:v>35184</c:v>
                </c:pt>
                <c:pt idx="34075">
                  <c:v>35184</c:v>
                </c:pt>
                <c:pt idx="34076">
                  <c:v>35184</c:v>
                </c:pt>
                <c:pt idx="34077">
                  <c:v>35184</c:v>
                </c:pt>
                <c:pt idx="34078">
                  <c:v>35184</c:v>
                </c:pt>
                <c:pt idx="34079">
                  <c:v>35183</c:v>
                </c:pt>
                <c:pt idx="34080">
                  <c:v>35183</c:v>
                </c:pt>
                <c:pt idx="34081">
                  <c:v>35183</c:v>
                </c:pt>
                <c:pt idx="34082">
                  <c:v>35183</c:v>
                </c:pt>
                <c:pt idx="34083">
                  <c:v>35183</c:v>
                </c:pt>
                <c:pt idx="34084">
                  <c:v>35183</c:v>
                </c:pt>
                <c:pt idx="34085">
                  <c:v>35183</c:v>
                </c:pt>
                <c:pt idx="34086">
                  <c:v>35182</c:v>
                </c:pt>
                <c:pt idx="34087">
                  <c:v>35182</c:v>
                </c:pt>
                <c:pt idx="34088">
                  <c:v>35182</c:v>
                </c:pt>
                <c:pt idx="34089">
                  <c:v>35182</c:v>
                </c:pt>
                <c:pt idx="34090">
                  <c:v>35181</c:v>
                </c:pt>
                <c:pt idx="34091">
                  <c:v>35181</c:v>
                </c:pt>
                <c:pt idx="34092">
                  <c:v>35181</c:v>
                </c:pt>
                <c:pt idx="34093">
                  <c:v>35181</c:v>
                </c:pt>
                <c:pt idx="34094">
                  <c:v>35181</c:v>
                </c:pt>
                <c:pt idx="34095">
                  <c:v>35181</c:v>
                </c:pt>
                <c:pt idx="34096">
                  <c:v>35180</c:v>
                </c:pt>
                <c:pt idx="34097">
                  <c:v>35180</c:v>
                </c:pt>
                <c:pt idx="34098">
                  <c:v>35180</c:v>
                </c:pt>
                <c:pt idx="34099">
                  <c:v>35180</c:v>
                </c:pt>
                <c:pt idx="34100">
                  <c:v>35180</c:v>
                </c:pt>
                <c:pt idx="34101">
                  <c:v>35179</c:v>
                </c:pt>
                <c:pt idx="34102">
                  <c:v>35179</c:v>
                </c:pt>
                <c:pt idx="34103">
                  <c:v>35179</c:v>
                </c:pt>
                <c:pt idx="34104">
                  <c:v>35178</c:v>
                </c:pt>
                <c:pt idx="34105">
                  <c:v>35178</c:v>
                </c:pt>
                <c:pt idx="34106">
                  <c:v>35178</c:v>
                </c:pt>
                <c:pt idx="34107">
                  <c:v>35178</c:v>
                </c:pt>
                <c:pt idx="34108">
                  <c:v>35178</c:v>
                </c:pt>
                <c:pt idx="34109">
                  <c:v>35178</c:v>
                </c:pt>
                <c:pt idx="34110">
                  <c:v>35177</c:v>
                </c:pt>
                <c:pt idx="34111">
                  <c:v>35177</c:v>
                </c:pt>
                <c:pt idx="34112">
                  <c:v>35176</c:v>
                </c:pt>
                <c:pt idx="34113">
                  <c:v>35176</c:v>
                </c:pt>
                <c:pt idx="34114">
                  <c:v>35176</c:v>
                </c:pt>
                <c:pt idx="34115">
                  <c:v>35175</c:v>
                </c:pt>
                <c:pt idx="34116">
                  <c:v>35175</c:v>
                </c:pt>
                <c:pt idx="34117">
                  <c:v>35175</c:v>
                </c:pt>
                <c:pt idx="34118">
                  <c:v>35174</c:v>
                </c:pt>
                <c:pt idx="34119">
                  <c:v>35174</c:v>
                </c:pt>
                <c:pt idx="34120">
                  <c:v>35174</c:v>
                </c:pt>
                <c:pt idx="34121">
                  <c:v>35173</c:v>
                </c:pt>
                <c:pt idx="34122">
                  <c:v>35173</c:v>
                </c:pt>
                <c:pt idx="34123">
                  <c:v>35172</c:v>
                </c:pt>
                <c:pt idx="34124">
                  <c:v>35172</c:v>
                </c:pt>
                <c:pt idx="34125">
                  <c:v>35172</c:v>
                </c:pt>
                <c:pt idx="34126">
                  <c:v>35172</c:v>
                </c:pt>
                <c:pt idx="34127">
                  <c:v>35172</c:v>
                </c:pt>
                <c:pt idx="34128">
                  <c:v>35172</c:v>
                </c:pt>
                <c:pt idx="34129">
                  <c:v>35172</c:v>
                </c:pt>
                <c:pt idx="34130">
                  <c:v>35172</c:v>
                </c:pt>
                <c:pt idx="34131">
                  <c:v>35171</c:v>
                </c:pt>
                <c:pt idx="34132">
                  <c:v>35171</c:v>
                </c:pt>
                <c:pt idx="34133">
                  <c:v>35171</c:v>
                </c:pt>
                <c:pt idx="34134">
                  <c:v>35171</c:v>
                </c:pt>
                <c:pt idx="34135">
                  <c:v>35171</c:v>
                </c:pt>
                <c:pt idx="34136">
                  <c:v>35171</c:v>
                </c:pt>
                <c:pt idx="34137">
                  <c:v>35170</c:v>
                </c:pt>
                <c:pt idx="34138">
                  <c:v>35170</c:v>
                </c:pt>
                <c:pt idx="34139">
                  <c:v>35169</c:v>
                </c:pt>
                <c:pt idx="34140">
                  <c:v>35169</c:v>
                </c:pt>
                <c:pt idx="34141">
                  <c:v>35169</c:v>
                </c:pt>
                <c:pt idx="34142">
                  <c:v>35169</c:v>
                </c:pt>
                <c:pt idx="34143">
                  <c:v>35168</c:v>
                </c:pt>
                <c:pt idx="34144">
                  <c:v>35168</c:v>
                </c:pt>
                <c:pt idx="34145">
                  <c:v>35168</c:v>
                </c:pt>
                <c:pt idx="34146">
                  <c:v>35168</c:v>
                </c:pt>
                <c:pt idx="34147">
                  <c:v>35167</c:v>
                </c:pt>
                <c:pt idx="34148">
                  <c:v>35167</c:v>
                </c:pt>
                <c:pt idx="34149">
                  <c:v>35167</c:v>
                </c:pt>
                <c:pt idx="34150">
                  <c:v>35167</c:v>
                </c:pt>
                <c:pt idx="34151">
                  <c:v>35167</c:v>
                </c:pt>
                <c:pt idx="34152">
                  <c:v>35167</c:v>
                </c:pt>
                <c:pt idx="34153">
                  <c:v>35166</c:v>
                </c:pt>
                <c:pt idx="34154">
                  <c:v>35166</c:v>
                </c:pt>
                <c:pt idx="34155">
                  <c:v>35166</c:v>
                </c:pt>
                <c:pt idx="34156">
                  <c:v>35166</c:v>
                </c:pt>
                <c:pt idx="34157">
                  <c:v>35165</c:v>
                </c:pt>
                <c:pt idx="34158">
                  <c:v>35165</c:v>
                </c:pt>
                <c:pt idx="34159">
                  <c:v>35165</c:v>
                </c:pt>
                <c:pt idx="34160">
                  <c:v>35165</c:v>
                </c:pt>
                <c:pt idx="34161">
                  <c:v>35165</c:v>
                </c:pt>
                <c:pt idx="34162">
                  <c:v>35164</c:v>
                </c:pt>
                <c:pt idx="34163">
                  <c:v>35164</c:v>
                </c:pt>
                <c:pt idx="34164">
                  <c:v>35164</c:v>
                </c:pt>
                <c:pt idx="34165">
                  <c:v>35163</c:v>
                </c:pt>
                <c:pt idx="34166">
                  <c:v>35163</c:v>
                </c:pt>
                <c:pt idx="34167">
                  <c:v>35163</c:v>
                </c:pt>
                <c:pt idx="34168">
                  <c:v>35163</c:v>
                </c:pt>
                <c:pt idx="34169">
                  <c:v>35163</c:v>
                </c:pt>
                <c:pt idx="34170">
                  <c:v>35163</c:v>
                </c:pt>
                <c:pt idx="34171">
                  <c:v>35163</c:v>
                </c:pt>
                <c:pt idx="34172">
                  <c:v>35163</c:v>
                </c:pt>
                <c:pt idx="34173">
                  <c:v>35162</c:v>
                </c:pt>
                <c:pt idx="34174">
                  <c:v>35162</c:v>
                </c:pt>
                <c:pt idx="34175">
                  <c:v>35162</c:v>
                </c:pt>
                <c:pt idx="34176">
                  <c:v>35161</c:v>
                </c:pt>
                <c:pt idx="34177">
                  <c:v>35161</c:v>
                </c:pt>
                <c:pt idx="34178">
                  <c:v>35161</c:v>
                </c:pt>
                <c:pt idx="34179">
                  <c:v>35161</c:v>
                </c:pt>
                <c:pt idx="34180">
                  <c:v>35161</c:v>
                </c:pt>
                <c:pt idx="34181">
                  <c:v>35161</c:v>
                </c:pt>
                <c:pt idx="34182">
                  <c:v>35161</c:v>
                </c:pt>
                <c:pt idx="34183">
                  <c:v>35161</c:v>
                </c:pt>
                <c:pt idx="34184">
                  <c:v>35160</c:v>
                </c:pt>
                <c:pt idx="34185">
                  <c:v>35160</c:v>
                </c:pt>
                <c:pt idx="34186">
                  <c:v>35160</c:v>
                </c:pt>
                <c:pt idx="34187">
                  <c:v>35160</c:v>
                </c:pt>
                <c:pt idx="34188">
                  <c:v>35160</c:v>
                </c:pt>
                <c:pt idx="34189">
                  <c:v>35159</c:v>
                </c:pt>
                <c:pt idx="34190">
                  <c:v>35159</c:v>
                </c:pt>
                <c:pt idx="34191">
                  <c:v>35159</c:v>
                </c:pt>
                <c:pt idx="34192">
                  <c:v>35159</c:v>
                </c:pt>
                <c:pt idx="34193">
                  <c:v>35158</c:v>
                </c:pt>
                <c:pt idx="34194">
                  <c:v>35158</c:v>
                </c:pt>
                <c:pt idx="34195">
                  <c:v>35157</c:v>
                </c:pt>
                <c:pt idx="34196">
                  <c:v>35157</c:v>
                </c:pt>
                <c:pt idx="34197">
                  <c:v>35157</c:v>
                </c:pt>
                <c:pt idx="34198">
                  <c:v>35157</c:v>
                </c:pt>
                <c:pt idx="34199">
                  <c:v>35157</c:v>
                </c:pt>
                <c:pt idx="34200">
                  <c:v>35157</c:v>
                </c:pt>
                <c:pt idx="34201">
                  <c:v>35157</c:v>
                </c:pt>
                <c:pt idx="34202">
                  <c:v>35157</c:v>
                </c:pt>
                <c:pt idx="34203">
                  <c:v>35157</c:v>
                </c:pt>
                <c:pt idx="34204">
                  <c:v>35157</c:v>
                </c:pt>
                <c:pt idx="34205">
                  <c:v>35157</c:v>
                </c:pt>
                <c:pt idx="34206">
                  <c:v>35156</c:v>
                </c:pt>
                <c:pt idx="34207">
                  <c:v>35156</c:v>
                </c:pt>
                <c:pt idx="34208">
                  <c:v>35156</c:v>
                </c:pt>
                <c:pt idx="34209">
                  <c:v>35156</c:v>
                </c:pt>
                <c:pt idx="34210">
                  <c:v>35156</c:v>
                </c:pt>
                <c:pt idx="34211">
                  <c:v>35156</c:v>
                </c:pt>
                <c:pt idx="34212">
                  <c:v>35155</c:v>
                </c:pt>
                <c:pt idx="34213">
                  <c:v>35155</c:v>
                </c:pt>
                <c:pt idx="34214">
                  <c:v>35155</c:v>
                </c:pt>
                <c:pt idx="34215">
                  <c:v>35155</c:v>
                </c:pt>
                <c:pt idx="34216">
                  <c:v>35155</c:v>
                </c:pt>
                <c:pt idx="34217">
                  <c:v>35154</c:v>
                </c:pt>
                <c:pt idx="34218">
                  <c:v>35154</c:v>
                </c:pt>
                <c:pt idx="34219">
                  <c:v>35154</c:v>
                </c:pt>
                <c:pt idx="34220">
                  <c:v>35154</c:v>
                </c:pt>
                <c:pt idx="34221">
                  <c:v>35154</c:v>
                </c:pt>
                <c:pt idx="34222">
                  <c:v>35154</c:v>
                </c:pt>
                <c:pt idx="34223">
                  <c:v>35154</c:v>
                </c:pt>
                <c:pt idx="34224">
                  <c:v>35153</c:v>
                </c:pt>
                <c:pt idx="34225">
                  <c:v>35153</c:v>
                </c:pt>
                <c:pt idx="34226">
                  <c:v>35153</c:v>
                </c:pt>
                <c:pt idx="34227">
                  <c:v>35153</c:v>
                </c:pt>
                <c:pt idx="34228">
                  <c:v>35153</c:v>
                </c:pt>
                <c:pt idx="34229">
                  <c:v>35152</c:v>
                </c:pt>
                <c:pt idx="34230">
                  <c:v>35152</c:v>
                </c:pt>
                <c:pt idx="34231">
                  <c:v>35152</c:v>
                </c:pt>
                <c:pt idx="34232">
                  <c:v>35151</c:v>
                </c:pt>
                <c:pt idx="34233">
                  <c:v>35151</c:v>
                </c:pt>
                <c:pt idx="34234">
                  <c:v>35151</c:v>
                </c:pt>
                <c:pt idx="34235">
                  <c:v>35151</c:v>
                </c:pt>
                <c:pt idx="34236">
                  <c:v>35151</c:v>
                </c:pt>
                <c:pt idx="34237">
                  <c:v>35151</c:v>
                </c:pt>
                <c:pt idx="34238">
                  <c:v>35150</c:v>
                </c:pt>
                <c:pt idx="34239">
                  <c:v>35150</c:v>
                </c:pt>
                <c:pt idx="34240">
                  <c:v>35150</c:v>
                </c:pt>
                <c:pt idx="34241">
                  <c:v>35149</c:v>
                </c:pt>
                <c:pt idx="34242">
                  <c:v>35149</c:v>
                </c:pt>
                <c:pt idx="34243">
                  <c:v>35149</c:v>
                </c:pt>
                <c:pt idx="34244">
                  <c:v>35148</c:v>
                </c:pt>
                <c:pt idx="34245">
                  <c:v>35148</c:v>
                </c:pt>
                <c:pt idx="34246">
                  <c:v>35148</c:v>
                </c:pt>
                <c:pt idx="34247">
                  <c:v>35148</c:v>
                </c:pt>
                <c:pt idx="34248">
                  <c:v>35147</c:v>
                </c:pt>
                <c:pt idx="34249">
                  <c:v>35147</c:v>
                </c:pt>
                <c:pt idx="34250">
                  <c:v>35146</c:v>
                </c:pt>
                <c:pt idx="34251">
                  <c:v>35146</c:v>
                </c:pt>
                <c:pt idx="34252">
                  <c:v>35146</c:v>
                </c:pt>
                <c:pt idx="34253">
                  <c:v>35146</c:v>
                </c:pt>
                <c:pt idx="34254">
                  <c:v>35145</c:v>
                </c:pt>
                <c:pt idx="34255">
                  <c:v>35145</c:v>
                </c:pt>
                <c:pt idx="34256">
                  <c:v>35145</c:v>
                </c:pt>
                <c:pt idx="34257">
                  <c:v>35145</c:v>
                </c:pt>
                <c:pt idx="34258">
                  <c:v>35145</c:v>
                </c:pt>
                <c:pt idx="34259">
                  <c:v>35145</c:v>
                </c:pt>
                <c:pt idx="34260">
                  <c:v>35145</c:v>
                </c:pt>
                <c:pt idx="34261">
                  <c:v>35145</c:v>
                </c:pt>
                <c:pt idx="34262">
                  <c:v>35145</c:v>
                </c:pt>
                <c:pt idx="34263">
                  <c:v>35144</c:v>
                </c:pt>
                <c:pt idx="34264">
                  <c:v>35144</c:v>
                </c:pt>
                <c:pt idx="34265">
                  <c:v>35144</c:v>
                </c:pt>
                <c:pt idx="34266">
                  <c:v>35144</c:v>
                </c:pt>
                <c:pt idx="34267">
                  <c:v>35144</c:v>
                </c:pt>
                <c:pt idx="34268">
                  <c:v>35144</c:v>
                </c:pt>
                <c:pt idx="34269">
                  <c:v>35144</c:v>
                </c:pt>
                <c:pt idx="34270">
                  <c:v>35143</c:v>
                </c:pt>
                <c:pt idx="34271">
                  <c:v>35143</c:v>
                </c:pt>
                <c:pt idx="34272">
                  <c:v>35143</c:v>
                </c:pt>
                <c:pt idx="34273">
                  <c:v>35143</c:v>
                </c:pt>
                <c:pt idx="34274">
                  <c:v>35142</c:v>
                </c:pt>
                <c:pt idx="34275">
                  <c:v>35142</c:v>
                </c:pt>
                <c:pt idx="34276">
                  <c:v>35142</c:v>
                </c:pt>
                <c:pt idx="34277">
                  <c:v>35142</c:v>
                </c:pt>
                <c:pt idx="34278">
                  <c:v>35141</c:v>
                </c:pt>
                <c:pt idx="34279">
                  <c:v>35141</c:v>
                </c:pt>
                <c:pt idx="34280">
                  <c:v>35141</c:v>
                </c:pt>
                <c:pt idx="34281">
                  <c:v>35141</c:v>
                </c:pt>
                <c:pt idx="34282">
                  <c:v>35141</c:v>
                </c:pt>
                <c:pt idx="34283">
                  <c:v>35141</c:v>
                </c:pt>
                <c:pt idx="34284">
                  <c:v>35141</c:v>
                </c:pt>
                <c:pt idx="34285">
                  <c:v>35141</c:v>
                </c:pt>
                <c:pt idx="34286">
                  <c:v>35141</c:v>
                </c:pt>
                <c:pt idx="34287">
                  <c:v>35141</c:v>
                </c:pt>
                <c:pt idx="34288">
                  <c:v>35140</c:v>
                </c:pt>
                <c:pt idx="34289">
                  <c:v>35140</c:v>
                </c:pt>
                <c:pt idx="34290">
                  <c:v>35139</c:v>
                </c:pt>
                <c:pt idx="34291">
                  <c:v>35138</c:v>
                </c:pt>
                <c:pt idx="34292">
                  <c:v>35138</c:v>
                </c:pt>
                <c:pt idx="34293">
                  <c:v>35138</c:v>
                </c:pt>
                <c:pt idx="34294">
                  <c:v>35138</c:v>
                </c:pt>
                <c:pt idx="34295">
                  <c:v>35138</c:v>
                </c:pt>
                <c:pt idx="34296">
                  <c:v>35137</c:v>
                </c:pt>
                <c:pt idx="34297">
                  <c:v>35137</c:v>
                </c:pt>
                <c:pt idx="34298">
                  <c:v>35137</c:v>
                </c:pt>
                <c:pt idx="34299">
                  <c:v>35137</c:v>
                </c:pt>
                <c:pt idx="34300">
                  <c:v>35137</c:v>
                </c:pt>
                <c:pt idx="34301">
                  <c:v>35136</c:v>
                </c:pt>
                <c:pt idx="34302">
                  <c:v>35136</c:v>
                </c:pt>
                <c:pt idx="34303">
                  <c:v>35136</c:v>
                </c:pt>
                <c:pt idx="34304">
                  <c:v>35136</c:v>
                </c:pt>
                <c:pt idx="34305">
                  <c:v>35136</c:v>
                </c:pt>
                <c:pt idx="34306">
                  <c:v>35136</c:v>
                </c:pt>
                <c:pt idx="34307">
                  <c:v>35136</c:v>
                </c:pt>
                <c:pt idx="34308">
                  <c:v>35136</c:v>
                </c:pt>
                <c:pt idx="34309">
                  <c:v>35135</c:v>
                </c:pt>
                <c:pt idx="34310">
                  <c:v>35135</c:v>
                </c:pt>
                <c:pt idx="34311">
                  <c:v>35135</c:v>
                </c:pt>
                <c:pt idx="34312">
                  <c:v>35134</c:v>
                </c:pt>
                <c:pt idx="34313">
                  <c:v>35134</c:v>
                </c:pt>
                <c:pt idx="34314">
                  <c:v>35133</c:v>
                </c:pt>
                <c:pt idx="34315">
                  <c:v>35133</c:v>
                </c:pt>
                <c:pt idx="34316">
                  <c:v>35133</c:v>
                </c:pt>
                <c:pt idx="34317">
                  <c:v>35133</c:v>
                </c:pt>
                <c:pt idx="34318">
                  <c:v>35133</c:v>
                </c:pt>
                <c:pt idx="34319">
                  <c:v>35133</c:v>
                </c:pt>
                <c:pt idx="34320">
                  <c:v>35132</c:v>
                </c:pt>
                <c:pt idx="34321">
                  <c:v>35132</c:v>
                </c:pt>
                <c:pt idx="34322">
                  <c:v>35132</c:v>
                </c:pt>
                <c:pt idx="34323">
                  <c:v>35132</c:v>
                </c:pt>
                <c:pt idx="34324">
                  <c:v>35132</c:v>
                </c:pt>
                <c:pt idx="34325">
                  <c:v>35132</c:v>
                </c:pt>
                <c:pt idx="34326">
                  <c:v>35131</c:v>
                </c:pt>
                <c:pt idx="34327">
                  <c:v>35131</c:v>
                </c:pt>
                <c:pt idx="34328">
                  <c:v>35131</c:v>
                </c:pt>
                <c:pt idx="34329">
                  <c:v>35131</c:v>
                </c:pt>
                <c:pt idx="34330">
                  <c:v>35130</c:v>
                </c:pt>
                <c:pt idx="34331">
                  <c:v>35130</c:v>
                </c:pt>
                <c:pt idx="34332">
                  <c:v>35130</c:v>
                </c:pt>
                <c:pt idx="34333">
                  <c:v>35130</c:v>
                </c:pt>
                <c:pt idx="34334">
                  <c:v>35128</c:v>
                </c:pt>
                <c:pt idx="34335">
                  <c:v>35128</c:v>
                </c:pt>
                <c:pt idx="34336">
                  <c:v>35128</c:v>
                </c:pt>
                <c:pt idx="34337">
                  <c:v>35128</c:v>
                </c:pt>
                <c:pt idx="34338">
                  <c:v>35128</c:v>
                </c:pt>
                <c:pt idx="34339">
                  <c:v>35128</c:v>
                </c:pt>
                <c:pt idx="34340">
                  <c:v>35127</c:v>
                </c:pt>
                <c:pt idx="34341">
                  <c:v>35127</c:v>
                </c:pt>
                <c:pt idx="34342">
                  <c:v>35127</c:v>
                </c:pt>
                <c:pt idx="34343">
                  <c:v>35127</c:v>
                </c:pt>
                <c:pt idx="34344">
                  <c:v>35127</c:v>
                </c:pt>
                <c:pt idx="34345">
                  <c:v>35127</c:v>
                </c:pt>
                <c:pt idx="34346">
                  <c:v>35127</c:v>
                </c:pt>
                <c:pt idx="34347">
                  <c:v>35127</c:v>
                </c:pt>
                <c:pt idx="34348">
                  <c:v>35127</c:v>
                </c:pt>
                <c:pt idx="34349">
                  <c:v>35127</c:v>
                </c:pt>
                <c:pt idx="34350">
                  <c:v>35127</c:v>
                </c:pt>
                <c:pt idx="34351">
                  <c:v>35126</c:v>
                </c:pt>
                <c:pt idx="34352">
                  <c:v>35126</c:v>
                </c:pt>
                <c:pt idx="34353">
                  <c:v>35126</c:v>
                </c:pt>
                <c:pt idx="34354">
                  <c:v>35125</c:v>
                </c:pt>
                <c:pt idx="34355">
                  <c:v>35124</c:v>
                </c:pt>
                <c:pt idx="34356">
                  <c:v>35124</c:v>
                </c:pt>
                <c:pt idx="34357">
                  <c:v>35124</c:v>
                </c:pt>
                <c:pt idx="34358">
                  <c:v>35124</c:v>
                </c:pt>
                <c:pt idx="34359">
                  <c:v>35124</c:v>
                </c:pt>
                <c:pt idx="34360">
                  <c:v>35123</c:v>
                </c:pt>
                <c:pt idx="34361">
                  <c:v>35123</c:v>
                </c:pt>
                <c:pt idx="34362">
                  <c:v>35123</c:v>
                </c:pt>
                <c:pt idx="34363">
                  <c:v>35123</c:v>
                </c:pt>
                <c:pt idx="34364">
                  <c:v>35123</c:v>
                </c:pt>
                <c:pt idx="34365">
                  <c:v>35123</c:v>
                </c:pt>
                <c:pt idx="34366">
                  <c:v>35123</c:v>
                </c:pt>
                <c:pt idx="34367">
                  <c:v>35123</c:v>
                </c:pt>
                <c:pt idx="34368">
                  <c:v>35123</c:v>
                </c:pt>
                <c:pt idx="34369">
                  <c:v>35122</c:v>
                </c:pt>
                <c:pt idx="34370">
                  <c:v>35122</c:v>
                </c:pt>
                <c:pt idx="34371">
                  <c:v>35122</c:v>
                </c:pt>
                <c:pt idx="34372">
                  <c:v>35121</c:v>
                </c:pt>
                <c:pt idx="34373">
                  <c:v>35121</c:v>
                </c:pt>
                <c:pt idx="34374">
                  <c:v>35121</c:v>
                </c:pt>
                <c:pt idx="34375">
                  <c:v>35121</c:v>
                </c:pt>
                <c:pt idx="34376">
                  <c:v>35120</c:v>
                </c:pt>
                <c:pt idx="34377">
                  <c:v>35120</c:v>
                </c:pt>
                <c:pt idx="34378">
                  <c:v>35120</c:v>
                </c:pt>
                <c:pt idx="34379">
                  <c:v>35120</c:v>
                </c:pt>
                <c:pt idx="34380">
                  <c:v>35119</c:v>
                </c:pt>
                <c:pt idx="34381">
                  <c:v>35119</c:v>
                </c:pt>
                <c:pt idx="34382">
                  <c:v>35119</c:v>
                </c:pt>
                <c:pt idx="34383">
                  <c:v>35119</c:v>
                </c:pt>
                <c:pt idx="34384">
                  <c:v>35118</c:v>
                </c:pt>
                <c:pt idx="34385">
                  <c:v>35118</c:v>
                </c:pt>
                <c:pt idx="34386">
                  <c:v>35118</c:v>
                </c:pt>
                <c:pt idx="34387">
                  <c:v>35118</c:v>
                </c:pt>
                <c:pt idx="34388">
                  <c:v>35118</c:v>
                </c:pt>
                <c:pt idx="34389">
                  <c:v>35117</c:v>
                </c:pt>
                <c:pt idx="34390">
                  <c:v>35117</c:v>
                </c:pt>
                <c:pt idx="34391">
                  <c:v>35117</c:v>
                </c:pt>
                <c:pt idx="34392">
                  <c:v>35117</c:v>
                </c:pt>
                <c:pt idx="34393">
                  <c:v>35117</c:v>
                </c:pt>
                <c:pt idx="34394">
                  <c:v>35117</c:v>
                </c:pt>
                <c:pt idx="34395">
                  <c:v>35116</c:v>
                </c:pt>
                <c:pt idx="34396">
                  <c:v>35116</c:v>
                </c:pt>
                <c:pt idx="34397">
                  <c:v>35116</c:v>
                </c:pt>
                <c:pt idx="34398">
                  <c:v>35115</c:v>
                </c:pt>
                <c:pt idx="34399">
                  <c:v>35115</c:v>
                </c:pt>
                <c:pt idx="34400">
                  <c:v>35115</c:v>
                </c:pt>
                <c:pt idx="34401">
                  <c:v>35115</c:v>
                </c:pt>
                <c:pt idx="34402">
                  <c:v>35115</c:v>
                </c:pt>
                <c:pt idx="34403">
                  <c:v>35115</c:v>
                </c:pt>
                <c:pt idx="34404">
                  <c:v>35115</c:v>
                </c:pt>
                <c:pt idx="34405">
                  <c:v>35114</c:v>
                </c:pt>
                <c:pt idx="34406">
                  <c:v>35114</c:v>
                </c:pt>
                <c:pt idx="34407">
                  <c:v>35114</c:v>
                </c:pt>
                <c:pt idx="34408">
                  <c:v>35114</c:v>
                </c:pt>
                <c:pt idx="34409">
                  <c:v>35113</c:v>
                </c:pt>
                <c:pt idx="34410">
                  <c:v>35113</c:v>
                </c:pt>
                <c:pt idx="34411">
                  <c:v>35113</c:v>
                </c:pt>
                <c:pt idx="34412">
                  <c:v>35113</c:v>
                </c:pt>
                <c:pt idx="34413">
                  <c:v>35113</c:v>
                </c:pt>
                <c:pt idx="34414">
                  <c:v>35113</c:v>
                </c:pt>
                <c:pt idx="34415">
                  <c:v>35113</c:v>
                </c:pt>
                <c:pt idx="34416">
                  <c:v>35113</c:v>
                </c:pt>
                <c:pt idx="34417">
                  <c:v>35113</c:v>
                </c:pt>
                <c:pt idx="34418">
                  <c:v>35112</c:v>
                </c:pt>
                <c:pt idx="34419">
                  <c:v>35112</c:v>
                </c:pt>
                <c:pt idx="34420">
                  <c:v>35112</c:v>
                </c:pt>
                <c:pt idx="34421">
                  <c:v>35112</c:v>
                </c:pt>
                <c:pt idx="34422">
                  <c:v>35111</c:v>
                </c:pt>
                <c:pt idx="34423">
                  <c:v>35111</c:v>
                </c:pt>
                <c:pt idx="34424">
                  <c:v>35111</c:v>
                </c:pt>
                <c:pt idx="34425">
                  <c:v>35111</c:v>
                </c:pt>
                <c:pt idx="34426">
                  <c:v>35111</c:v>
                </c:pt>
                <c:pt idx="34427">
                  <c:v>35111</c:v>
                </c:pt>
                <c:pt idx="34428">
                  <c:v>35111</c:v>
                </c:pt>
                <c:pt idx="34429">
                  <c:v>35110</c:v>
                </c:pt>
                <c:pt idx="34430">
                  <c:v>35110</c:v>
                </c:pt>
                <c:pt idx="34431">
                  <c:v>35110</c:v>
                </c:pt>
                <c:pt idx="34432">
                  <c:v>35110</c:v>
                </c:pt>
                <c:pt idx="34433">
                  <c:v>35110</c:v>
                </c:pt>
                <c:pt idx="34434">
                  <c:v>35110</c:v>
                </c:pt>
                <c:pt idx="34435">
                  <c:v>35110</c:v>
                </c:pt>
                <c:pt idx="34436">
                  <c:v>35109</c:v>
                </c:pt>
                <c:pt idx="34437">
                  <c:v>35109</c:v>
                </c:pt>
                <c:pt idx="34438">
                  <c:v>35109</c:v>
                </c:pt>
                <c:pt idx="34439">
                  <c:v>35109</c:v>
                </c:pt>
                <c:pt idx="34440">
                  <c:v>35109</c:v>
                </c:pt>
                <c:pt idx="34441">
                  <c:v>35108</c:v>
                </c:pt>
                <c:pt idx="34442">
                  <c:v>35108</c:v>
                </c:pt>
                <c:pt idx="34443">
                  <c:v>35107</c:v>
                </c:pt>
                <c:pt idx="34444">
                  <c:v>35107</c:v>
                </c:pt>
                <c:pt idx="34445">
                  <c:v>35107</c:v>
                </c:pt>
                <c:pt idx="34446">
                  <c:v>35107</c:v>
                </c:pt>
                <c:pt idx="34447">
                  <c:v>35107</c:v>
                </c:pt>
                <c:pt idx="34448">
                  <c:v>35107</c:v>
                </c:pt>
                <c:pt idx="34449">
                  <c:v>35106</c:v>
                </c:pt>
                <c:pt idx="34450">
                  <c:v>35106</c:v>
                </c:pt>
                <c:pt idx="34451">
                  <c:v>35106</c:v>
                </c:pt>
                <c:pt idx="34452">
                  <c:v>35106</c:v>
                </c:pt>
                <c:pt idx="34453">
                  <c:v>35105</c:v>
                </c:pt>
                <c:pt idx="34454">
                  <c:v>35105</c:v>
                </c:pt>
                <c:pt idx="34455">
                  <c:v>35105</c:v>
                </c:pt>
                <c:pt idx="34456">
                  <c:v>35105</c:v>
                </c:pt>
                <c:pt idx="34457">
                  <c:v>35105</c:v>
                </c:pt>
                <c:pt idx="34458">
                  <c:v>35105</c:v>
                </c:pt>
                <c:pt idx="34459">
                  <c:v>35105</c:v>
                </c:pt>
                <c:pt idx="34460">
                  <c:v>35104</c:v>
                </c:pt>
                <c:pt idx="34461">
                  <c:v>35104</c:v>
                </c:pt>
                <c:pt idx="34462">
                  <c:v>35104</c:v>
                </c:pt>
                <c:pt idx="34463">
                  <c:v>35104</c:v>
                </c:pt>
                <c:pt idx="34464">
                  <c:v>35103</c:v>
                </c:pt>
                <c:pt idx="34465">
                  <c:v>35103</c:v>
                </c:pt>
                <c:pt idx="34466">
                  <c:v>35103</c:v>
                </c:pt>
                <c:pt idx="34467">
                  <c:v>35103</c:v>
                </c:pt>
                <c:pt idx="34468">
                  <c:v>35102</c:v>
                </c:pt>
                <c:pt idx="34469">
                  <c:v>35102</c:v>
                </c:pt>
                <c:pt idx="34470">
                  <c:v>35102</c:v>
                </c:pt>
                <c:pt idx="34471">
                  <c:v>35102</c:v>
                </c:pt>
                <c:pt idx="34472">
                  <c:v>35102</c:v>
                </c:pt>
                <c:pt idx="34473">
                  <c:v>35101</c:v>
                </c:pt>
                <c:pt idx="34474">
                  <c:v>35101</c:v>
                </c:pt>
                <c:pt idx="34475">
                  <c:v>35101</c:v>
                </c:pt>
                <c:pt idx="34476">
                  <c:v>35101</c:v>
                </c:pt>
                <c:pt idx="34477">
                  <c:v>35101</c:v>
                </c:pt>
                <c:pt idx="34478">
                  <c:v>35101</c:v>
                </c:pt>
                <c:pt idx="34479">
                  <c:v>35101</c:v>
                </c:pt>
                <c:pt idx="34480">
                  <c:v>35100</c:v>
                </c:pt>
                <c:pt idx="34481">
                  <c:v>35100</c:v>
                </c:pt>
                <c:pt idx="34482">
                  <c:v>35100</c:v>
                </c:pt>
                <c:pt idx="34483">
                  <c:v>35100</c:v>
                </c:pt>
                <c:pt idx="34484">
                  <c:v>35100</c:v>
                </c:pt>
                <c:pt idx="34485">
                  <c:v>35099</c:v>
                </c:pt>
                <c:pt idx="34486">
                  <c:v>35099</c:v>
                </c:pt>
                <c:pt idx="34487">
                  <c:v>35099</c:v>
                </c:pt>
                <c:pt idx="34488">
                  <c:v>35099</c:v>
                </c:pt>
                <c:pt idx="34489">
                  <c:v>35099</c:v>
                </c:pt>
                <c:pt idx="34490">
                  <c:v>35098</c:v>
                </c:pt>
                <c:pt idx="34491">
                  <c:v>35098</c:v>
                </c:pt>
                <c:pt idx="34492">
                  <c:v>35098</c:v>
                </c:pt>
                <c:pt idx="34493">
                  <c:v>35098</c:v>
                </c:pt>
                <c:pt idx="34494">
                  <c:v>35097</c:v>
                </c:pt>
                <c:pt idx="34495">
                  <c:v>35097</c:v>
                </c:pt>
                <c:pt idx="34496">
                  <c:v>35097</c:v>
                </c:pt>
                <c:pt idx="34497">
                  <c:v>35097</c:v>
                </c:pt>
                <c:pt idx="34498">
                  <c:v>35096</c:v>
                </c:pt>
                <c:pt idx="34499">
                  <c:v>35096</c:v>
                </c:pt>
                <c:pt idx="34500">
                  <c:v>35096</c:v>
                </c:pt>
                <c:pt idx="34501">
                  <c:v>35096</c:v>
                </c:pt>
                <c:pt idx="34502">
                  <c:v>35096</c:v>
                </c:pt>
                <c:pt idx="34503">
                  <c:v>35096</c:v>
                </c:pt>
                <c:pt idx="34504">
                  <c:v>35096</c:v>
                </c:pt>
                <c:pt idx="34505">
                  <c:v>35096</c:v>
                </c:pt>
                <c:pt idx="34506">
                  <c:v>35095</c:v>
                </c:pt>
                <c:pt idx="34507">
                  <c:v>35095</c:v>
                </c:pt>
                <c:pt idx="34508">
                  <c:v>35095</c:v>
                </c:pt>
                <c:pt idx="34509">
                  <c:v>35095</c:v>
                </c:pt>
                <c:pt idx="34510">
                  <c:v>35095</c:v>
                </c:pt>
                <c:pt idx="34511">
                  <c:v>35095</c:v>
                </c:pt>
                <c:pt idx="34512">
                  <c:v>35095</c:v>
                </c:pt>
                <c:pt idx="34513">
                  <c:v>35095</c:v>
                </c:pt>
                <c:pt idx="34514">
                  <c:v>35094</c:v>
                </c:pt>
                <c:pt idx="34515">
                  <c:v>35094</c:v>
                </c:pt>
                <c:pt idx="34516">
                  <c:v>35094</c:v>
                </c:pt>
                <c:pt idx="34517">
                  <c:v>35093</c:v>
                </c:pt>
                <c:pt idx="34518">
                  <c:v>35093</c:v>
                </c:pt>
                <c:pt idx="34519">
                  <c:v>35093</c:v>
                </c:pt>
                <c:pt idx="34520">
                  <c:v>35093</c:v>
                </c:pt>
                <c:pt idx="34521">
                  <c:v>35093</c:v>
                </c:pt>
                <c:pt idx="34522">
                  <c:v>35093</c:v>
                </c:pt>
                <c:pt idx="34523">
                  <c:v>35093</c:v>
                </c:pt>
                <c:pt idx="34524">
                  <c:v>35092</c:v>
                </c:pt>
                <c:pt idx="34525">
                  <c:v>35092</c:v>
                </c:pt>
                <c:pt idx="34526">
                  <c:v>35092</c:v>
                </c:pt>
                <c:pt idx="34527">
                  <c:v>35091</c:v>
                </c:pt>
                <c:pt idx="34528">
                  <c:v>35091</c:v>
                </c:pt>
                <c:pt idx="34529">
                  <c:v>35091</c:v>
                </c:pt>
                <c:pt idx="34530">
                  <c:v>35091</c:v>
                </c:pt>
                <c:pt idx="34531">
                  <c:v>35090</c:v>
                </c:pt>
                <c:pt idx="34532">
                  <c:v>35090</c:v>
                </c:pt>
                <c:pt idx="34533">
                  <c:v>35090</c:v>
                </c:pt>
                <c:pt idx="34534">
                  <c:v>35090</c:v>
                </c:pt>
                <c:pt idx="34535">
                  <c:v>35090</c:v>
                </c:pt>
                <c:pt idx="34536">
                  <c:v>35089</c:v>
                </c:pt>
                <c:pt idx="34537">
                  <c:v>35089</c:v>
                </c:pt>
                <c:pt idx="34538">
                  <c:v>35089</c:v>
                </c:pt>
                <c:pt idx="34539">
                  <c:v>35089</c:v>
                </c:pt>
                <c:pt idx="34540">
                  <c:v>35088</c:v>
                </c:pt>
                <c:pt idx="34541">
                  <c:v>35088</c:v>
                </c:pt>
                <c:pt idx="34542">
                  <c:v>35088</c:v>
                </c:pt>
                <c:pt idx="34543">
                  <c:v>35088</c:v>
                </c:pt>
                <c:pt idx="34544">
                  <c:v>35088</c:v>
                </c:pt>
                <c:pt idx="34545">
                  <c:v>35088</c:v>
                </c:pt>
                <c:pt idx="34546">
                  <c:v>35087</c:v>
                </c:pt>
                <c:pt idx="34547">
                  <c:v>35087</c:v>
                </c:pt>
                <c:pt idx="34548">
                  <c:v>35087</c:v>
                </c:pt>
                <c:pt idx="34549">
                  <c:v>35087</c:v>
                </c:pt>
                <c:pt idx="34550">
                  <c:v>35087</c:v>
                </c:pt>
                <c:pt idx="34551">
                  <c:v>35087</c:v>
                </c:pt>
                <c:pt idx="34552">
                  <c:v>35086</c:v>
                </c:pt>
                <c:pt idx="34553">
                  <c:v>35086</c:v>
                </c:pt>
                <c:pt idx="34554">
                  <c:v>35085</c:v>
                </c:pt>
                <c:pt idx="34555">
                  <c:v>35085</c:v>
                </c:pt>
                <c:pt idx="34556">
                  <c:v>35085</c:v>
                </c:pt>
                <c:pt idx="34557">
                  <c:v>35085</c:v>
                </c:pt>
                <c:pt idx="34558">
                  <c:v>35085</c:v>
                </c:pt>
                <c:pt idx="34559">
                  <c:v>35085</c:v>
                </c:pt>
                <c:pt idx="34560">
                  <c:v>35085</c:v>
                </c:pt>
                <c:pt idx="34561">
                  <c:v>35084</c:v>
                </c:pt>
                <c:pt idx="34562">
                  <c:v>35083</c:v>
                </c:pt>
                <c:pt idx="34563">
                  <c:v>35083</c:v>
                </c:pt>
                <c:pt idx="34564">
                  <c:v>35083</c:v>
                </c:pt>
                <c:pt idx="34565">
                  <c:v>35083</c:v>
                </c:pt>
                <c:pt idx="34566">
                  <c:v>35083</c:v>
                </c:pt>
                <c:pt idx="34567">
                  <c:v>35083</c:v>
                </c:pt>
                <c:pt idx="34568">
                  <c:v>35082</c:v>
                </c:pt>
                <c:pt idx="34569">
                  <c:v>35082</c:v>
                </c:pt>
                <c:pt idx="34570">
                  <c:v>35082</c:v>
                </c:pt>
                <c:pt idx="34571">
                  <c:v>35082</c:v>
                </c:pt>
                <c:pt idx="34572">
                  <c:v>35082</c:v>
                </c:pt>
                <c:pt idx="34573">
                  <c:v>35082</c:v>
                </c:pt>
                <c:pt idx="34574">
                  <c:v>35082</c:v>
                </c:pt>
                <c:pt idx="34575">
                  <c:v>35081</c:v>
                </c:pt>
                <c:pt idx="34576">
                  <c:v>35081</c:v>
                </c:pt>
                <c:pt idx="34577">
                  <c:v>35080</c:v>
                </c:pt>
                <c:pt idx="34578">
                  <c:v>35080</c:v>
                </c:pt>
                <c:pt idx="34579">
                  <c:v>35080</c:v>
                </c:pt>
                <c:pt idx="34580">
                  <c:v>35080</c:v>
                </c:pt>
                <c:pt idx="34581">
                  <c:v>35079</c:v>
                </c:pt>
                <c:pt idx="34582">
                  <c:v>35079</c:v>
                </c:pt>
                <c:pt idx="34583">
                  <c:v>35079</c:v>
                </c:pt>
                <c:pt idx="34584">
                  <c:v>35079</c:v>
                </c:pt>
                <c:pt idx="34585">
                  <c:v>35079</c:v>
                </c:pt>
                <c:pt idx="34586">
                  <c:v>35079</c:v>
                </c:pt>
                <c:pt idx="34587">
                  <c:v>35079</c:v>
                </c:pt>
                <c:pt idx="34588">
                  <c:v>35078</c:v>
                </c:pt>
                <c:pt idx="34589">
                  <c:v>35078</c:v>
                </c:pt>
                <c:pt idx="34590">
                  <c:v>35078</c:v>
                </c:pt>
                <c:pt idx="34591">
                  <c:v>35077</c:v>
                </c:pt>
                <c:pt idx="34592">
                  <c:v>35077</c:v>
                </c:pt>
                <c:pt idx="34593">
                  <c:v>35077</c:v>
                </c:pt>
                <c:pt idx="34594">
                  <c:v>35077</c:v>
                </c:pt>
                <c:pt idx="34595">
                  <c:v>35077</c:v>
                </c:pt>
                <c:pt idx="34596">
                  <c:v>35076</c:v>
                </c:pt>
                <c:pt idx="34597">
                  <c:v>35076</c:v>
                </c:pt>
                <c:pt idx="34598">
                  <c:v>35076</c:v>
                </c:pt>
                <c:pt idx="34599">
                  <c:v>35076</c:v>
                </c:pt>
                <c:pt idx="34600">
                  <c:v>35076</c:v>
                </c:pt>
                <c:pt idx="34601">
                  <c:v>35076</c:v>
                </c:pt>
                <c:pt idx="34602">
                  <c:v>35075</c:v>
                </c:pt>
                <c:pt idx="34603">
                  <c:v>35075</c:v>
                </c:pt>
                <c:pt idx="34604">
                  <c:v>35075</c:v>
                </c:pt>
                <c:pt idx="34605">
                  <c:v>35075</c:v>
                </c:pt>
                <c:pt idx="34606">
                  <c:v>35075</c:v>
                </c:pt>
                <c:pt idx="34607">
                  <c:v>35075</c:v>
                </c:pt>
                <c:pt idx="34608">
                  <c:v>35074</c:v>
                </c:pt>
                <c:pt idx="34609">
                  <c:v>35074</c:v>
                </c:pt>
                <c:pt idx="34610">
                  <c:v>35074</c:v>
                </c:pt>
                <c:pt idx="34611">
                  <c:v>35073</c:v>
                </c:pt>
                <c:pt idx="34612">
                  <c:v>35073</c:v>
                </c:pt>
                <c:pt idx="34613">
                  <c:v>35073</c:v>
                </c:pt>
                <c:pt idx="34614">
                  <c:v>35073</c:v>
                </c:pt>
                <c:pt idx="34615">
                  <c:v>35073</c:v>
                </c:pt>
                <c:pt idx="34616">
                  <c:v>35073</c:v>
                </c:pt>
                <c:pt idx="34617">
                  <c:v>35072</c:v>
                </c:pt>
                <c:pt idx="34618">
                  <c:v>35072</c:v>
                </c:pt>
                <c:pt idx="34619">
                  <c:v>35072</c:v>
                </c:pt>
                <c:pt idx="34620">
                  <c:v>35072</c:v>
                </c:pt>
                <c:pt idx="34621">
                  <c:v>35071</c:v>
                </c:pt>
                <c:pt idx="34622">
                  <c:v>35071</c:v>
                </c:pt>
                <c:pt idx="34623">
                  <c:v>35071</c:v>
                </c:pt>
                <c:pt idx="34624">
                  <c:v>35071</c:v>
                </c:pt>
                <c:pt idx="34625">
                  <c:v>35071</c:v>
                </c:pt>
                <c:pt idx="34626">
                  <c:v>35071</c:v>
                </c:pt>
                <c:pt idx="34627">
                  <c:v>35071</c:v>
                </c:pt>
                <c:pt idx="34628">
                  <c:v>35071</c:v>
                </c:pt>
                <c:pt idx="34629">
                  <c:v>35070</c:v>
                </c:pt>
                <c:pt idx="34630">
                  <c:v>35070</c:v>
                </c:pt>
                <c:pt idx="34631">
                  <c:v>35070</c:v>
                </c:pt>
                <c:pt idx="34632">
                  <c:v>35070</c:v>
                </c:pt>
                <c:pt idx="34633">
                  <c:v>35070</c:v>
                </c:pt>
                <c:pt idx="34634">
                  <c:v>35069</c:v>
                </c:pt>
                <c:pt idx="34635">
                  <c:v>35069</c:v>
                </c:pt>
                <c:pt idx="34636">
                  <c:v>35069</c:v>
                </c:pt>
                <c:pt idx="34637">
                  <c:v>35069</c:v>
                </c:pt>
                <c:pt idx="34638">
                  <c:v>35068</c:v>
                </c:pt>
                <c:pt idx="34639">
                  <c:v>35068</c:v>
                </c:pt>
                <c:pt idx="34640">
                  <c:v>35068</c:v>
                </c:pt>
                <c:pt idx="34641">
                  <c:v>35068</c:v>
                </c:pt>
                <c:pt idx="34642">
                  <c:v>35067</c:v>
                </c:pt>
                <c:pt idx="34643">
                  <c:v>35067</c:v>
                </c:pt>
                <c:pt idx="34644">
                  <c:v>35067</c:v>
                </c:pt>
                <c:pt idx="34645">
                  <c:v>35066</c:v>
                </c:pt>
                <c:pt idx="34646">
                  <c:v>35066</c:v>
                </c:pt>
                <c:pt idx="34647">
                  <c:v>35066</c:v>
                </c:pt>
                <c:pt idx="34648">
                  <c:v>35066</c:v>
                </c:pt>
                <c:pt idx="34649">
                  <c:v>35066</c:v>
                </c:pt>
                <c:pt idx="34650">
                  <c:v>35066</c:v>
                </c:pt>
                <c:pt idx="34651">
                  <c:v>35065</c:v>
                </c:pt>
                <c:pt idx="34652">
                  <c:v>35065</c:v>
                </c:pt>
                <c:pt idx="34653">
                  <c:v>35065</c:v>
                </c:pt>
                <c:pt idx="34654">
                  <c:v>35065</c:v>
                </c:pt>
                <c:pt idx="34655">
                  <c:v>35065</c:v>
                </c:pt>
                <c:pt idx="34656">
                  <c:v>35064</c:v>
                </c:pt>
                <c:pt idx="34657">
                  <c:v>35064</c:v>
                </c:pt>
                <c:pt idx="34658">
                  <c:v>35064</c:v>
                </c:pt>
                <c:pt idx="34659">
                  <c:v>35063</c:v>
                </c:pt>
                <c:pt idx="34660">
                  <c:v>35063</c:v>
                </c:pt>
                <c:pt idx="34661">
                  <c:v>35063</c:v>
                </c:pt>
                <c:pt idx="34662">
                  <c:v>35063</c:v>
                </c:pt>
                <c:pt idx="34663">
                  <c:v>35063</c:v>
                </c:pt>
                <c:pt idx="34664">
                  <c:v>35063</c:v>
                </c:pt>
                <c:pt idx="34665">
                  <c:v>35063</c:v>
                </c:pt>
                <c:pt idx="34666">
                  <c:v>35063</c:v>
                </c:pt>
                <c:pt idx="34667">
                  <c:v>35062</c:v>
                </c:pt>
                <c:pt idx="34668">
                  <c:v>35062</c:v>
                </c:pt>
                <c:pt idx="34669">
                  <c:v>35061</c:v>
                </c:pt>
                <c:pt idx="34670">
                  <c:v>35061</c:v>
                </c:pt>
                <c:pt idx="34671">
                  <c:v>35061</c:v>
                </c:pt>
                <c:pt idx="34672">
                  <c:v>35061</c:v>
                </c:pt>
                <c:pt idx="34673">
                  <c:v>35061</c:v>
                </c:pt>
                <c:pt idx="34674">
                  <c:v>35060</c:v>
                </c:pt>
                <c:pt idx="34675">
                  <c:v>35060</c:v>
                </c:pt>
                <c:pt idx="34676">
                  <c:v>35060</c:v>
                </c:pt>
                <c:pt idx="34677">
                  <c:v>35060</c:v>
                </c:pt>
                <c:pt idx="34678">
                  <c:v>35060</c:v>
                </c:pt>
                <c:pt idx="34679">
                  <c:v>35059</c:v>
                </c:pt>
                <c:pt idx="34680">
                  <c:v>35059</c:v>
                </c:pt>
                <c:pt idx="34681">
                  <c:v>35059</c:v>
                </c:pt>
                <c:pt idx="34682">
                  <c:v>35059</c:v>
                </c:pt>
                <c:pt idx="34683">
                  <c:v>35058</c:v>
                </c:pt>
                <c:pt idx="34684">
                  <c:v>35058</c:v>
                </c:pt>
                <c:pt idx="34685">
                  <c:v>35058</c:v>
                </c:pt>
                <c:pt idx="34686">
                  <c:v>35057</c:v>
                </c:pt>
                <c:pt idx="34687">
                  <c:v>35057</c:v>
                </c:pt>
                <c:pt idx="34688">
                  <c:v>35057</c:v>
                </c:pt>
                <c:pt idx="34689">
                  <c:v>35057</c:v>
                </c:pt>
                <c:pt idx="34690">
                  <c:v>35057</c:v>
                </c:pt>
                <c:pt idx="34691">
                  <c:v>35057</c:v>
                </c:pt>
                <c:pt idx="34692">
                  <c:v>35056</c:v>
                </c:pt>
                <c:pt idx="34693">
                  <c:v>35056</c:v>
                </c:pt>
                <c:pt idx="34694">
                  <c:v>35056</c:v>
                </c:pt>
                <c:pt idx="34695">
                  <c:v>35056</c:v>
                </c:pt>
                <c:pt idx="34696">
                  <c:v>35056</c:v>
                </c:pt>
                <c:pt idx="34697">
                  <c:v>35056</c:v>
                </c:pt>
                <c:pt idx="34698">
                  <c:v>35056</c:v>
                </c:pt>
                <c:pt idx="34699">
                  <c:v>35055</c:v>
                </c:pt>
                <c:pt idx="34700">
                  <c:v>35055</c:v>
                </c:pt>
                <c:pt idx="34701">
                  <c:v>35055</c:v>
                </c:pt>
                <c:pt idx="34702">
                  <c:v>35054</c:v>
                </c:pt>
                <c:pt idx="34703">
                  <c:v>35054</c:v>
                </c:pt>
                <c:pt idx="34704">
                  <c:v>35054</c:v>
                </c:pt>
                <c:pt idx="34705">
                  <c:v>35054</c:v>
                </c:pt>
                <c:pt idx="34706">
                  <c:v>35054</c:v>
                </c:pt>
                <c:pt idx="34707">
                  <c:v>35054</c:v>
                </c:pt>
                <c:pt idx="34708">
                  <c:v>35053</c:v>
                </c:pt>
                <c:pt idx="34709">
                  <c:v>35053</c:v>
                </c:pt>
                <c:pt idx="34710">
                  <c:v>35053</c:v>
                </c:pt>
                <c:pt idx="34711">
                  <c:v>35053</c:v>
                </c:pt>
                <c:pt idx="34712">
                  <c:v>35053</c:v>
                </c:pt>
                <c:pt idx="34713">
                  <c:v>35053</c:v>
                </c:pt>
                <c:pt idx="34714">
                  <c:v>35053</c:v>
                </c:pt>
                <c:pt idx="34715">
                  <c:v>35053</c:v>
                </c:pt>
                <c:pt idx="34716">
                  <c:v>35053</c:v>
                </c:pt>
                <c:pt idx="34717">
                  <c:v>35053</c:v>
                </c:pt>
                <c:pt idx="34718">
                  <c:v>35053</c:v>
                </c:pt>
                <c:pt idx="34719">
                  <c:v>35053</c:v>
                </c:pt>
                <c:pt idx="34720">
                  <c:v>35052</c:v>
                </c:pt>
                <c:pt idx="34721">
                  <c:v>35052</c:v>
                </c:pt>
                <c:pt idx="34722">
                  <c:v>35052</c:v>
                </c:pt>
                <c:pt idx="34723">
                  <c:v>35052</c:v>
                </c:pt>
                <c:pt idx="34724">
                  <c:v>35052</c:v>
                </c:pt>
                <c:pt idx="34725">
                  <c:v>35052</c:v>
                </c:pt>
                <c:pt idx="34726">
                  <c:v>35052</c:v>
                </c:pt>
                <c:pt idx="34727">
                  <c:v>35052</c:v>
                </c:pt>
                <c:pt idx="34728">
                  <c:v>35051</c:v>
                </c:pt>
                <c:pt idx="34729">
                  <c:v>35051</c:v>
                </c:pt>
                <c:pt idx="34730">
                  <c:v>35051</c:v>
                </c:pt>
                <c:pt idx="34731">
                  <c:v>35051</c:v>
                </c:pt>
                <c:pt idx="34732">
                  <c:v>35051</c:v>
                </c:pt>
                <c:pt idx="34733">
                  <c:v>35050</c:v>
                </c:pt>
                <c:pt idx="34734">
                  <c:v>35050</c:v>
                </c:pt>
                <c:pt idx="34735">
                  <c:v>35049</c:v>
                </c:pt>
                <c:pt idx="34736">
                  <c:v>35049</c:v>
                </c:pt>
                <c:pt idx="34737">
                  <c:v>35049</c:v>
                </c:pt>
                <c:pt idx="34738">
                  <c:v>35049</c:v>
                </c:pt>
                <c:pt idx="34739">
                  <c:v>35049</c:v>
                </c:pt>
                <c:pt idx="34740">
                  <c:v>35049</c:v>
                </c:pt>
                <c:pt idx="34741">
                  <c:v>35049</c:v>
                </c:pt>
                <c:pt idx="34742">
                  <c:v>35049</c:v>
                </c:pt>
                <c:pt idx="34743">
                  <c:v>35049</c:v>
                </c:pt>
                <c:pt idx="34744">
                  <c:v>35049</c:v>
                </c:pt>
                <c:pt idx="34745">
                  <c:v>35049</c:v>
                </c:pt>
                <c:pt idx="34746">
                  <c:v>35049</c:v>
                </c:pt>
                <c:pt idx="34747">
                  <c:v>35049</c:v>
                </c:pt>
                <c:pt idx="34748">
                  <c:v>35048</c:v>
                </c:pt>
                <c:pt idx="34749">
                  <c:v>35048</c:v>
                </c:pt>
                <c:pt idx="34750">
                  <c:v>35048</c:v>
                </c:pt>
                <c:pt idx="34751">
                  <c:v>35048</c:v>
                </c:pt>
                <c:pt idx="34752">
                  <c:v>35048</c:v>
                </c:pt>
                <c:pt idx="34753">
                  <c:v>35048</c:v>
                </c:pt>
                <c:pt idx="34754">
                  <c:v>35048</c:v>
                </c:pt>
                <c:pt idx="34755">
                  <c:v>35048</c:v>
                </c:pt>
                <c:pt idx="34756">
                  <c:v>35047</c:v>
                </c:pt>
                <c:pt idx="34757">
                  <c:v>35047</c:v>
                </c:pt>
                <c:pt idx="34758">
                  <c:v>35047</c:v>
                </c:pt>
                <c:pt idx="34759">
                  <c:v>35047</c:v>
                </c:pt>
                <c:pt idx="34760">
                  <c:v>35047</c:v>
                </c:pt>
                <c:pt idx="34761">
                  <c:v>35046</c:v>
                </c:pt>
                <c:pt idx="34762">
                  <c:v>35046</c:v>
                </c:pt>
                <c:pt idx="34763">
                  <c:v>35045</c:v>
                </c:pt>
                <c:pt idx="34764">
                  <c:v>35045</c:v>
                </c:pt>
                <c:pt idx="34765">
                  <c:v>35044</c:v>
                </c:pt>
                <c:pt idx="34766">
                  <c:v>35044</c:v>
                </c:pt>
                <c:pt idx="34767">
                  <c:v>35043</c:v>
                </c:pt>
                <c:pt idx="34768">
                  <c:v>35043</c:v>
                </c:pt>
                <c:pt idx="34769">
                  <c:v>35043</c:v>
                </c:pt>
                <c:pt idx="34770">
                  <c:v>35043</c:v>
                </c:pt>
                <c:pt idx="34771">
                  <c:v>35043</c:v>
                </c:pt>
                <c:pt idx="34772">
                  <c:v>35043</c:v>
                </c:pt>
                <c:pt idx="34773">
                  <c:v>35042</c:v>
                </c:pt>
                <c:pt idx="34774">
                  <c:v>35042</c:v>
                </c:pt>
                <c:pt idx="34775">
                  <c:v>35042</c:v>
                </c:pt>
                <c:pt idx="34776">
                  <c:v>35042</c:v>
                </c:pt>
                <c:pt idx="34777">
                  <c:v>35042</c:v>
                </c:pt>
                <c:pt idx="34778">
                  <c:v>35041</c:v>
                </c:pt>
                <c:pt idx="34779">
                  <c:v>35041</c:v>
                </c:pt>
                <c:pt idx="34780">
                  <c:v>35041</c:v>
                </c:pt>
                <c:pt idx="34781">
                  <c:v>35040</c:v>
                </c:pt>
                <c:pt idx="34782">
                  <c:v>35040</c:v>
                </c:pt>
                <c:pt idx="34783">
                  <c:v>35040</c:v>
                </c:pt>
                <c:pt idx="34784">
                  <c:v>35040</c:v>
                </c:pt>
                <c:pt idx="34785">
                  <c:v>35040</c:v>
                </c:pt>
                <c:pt idx="34786">
                  <c:v>35039</c:v>
                </c:pt>
                <c:pt idx="34787">
                  <c:v>35039</c:v>
                </c:pt>
                <c:pt idx="34788">
                  <c:v>35039</c:v>
                </c:pt>
                <c:pt idx="34789">
                  <c:v>35039</c:v>
                </c:pt>
                <c:pt idx="34790">
                  <c:v>35039</c:v>
                </c:pt>
                <c:pt idx="34791">
                  <c:v>35039</c:v>
                </c:pt>
                <c:pt idx="34792">
                  <c:v>35039</c:v>
                </c:pt>
                <c:pt idx="34793">
                  <c:v>35039</c:v>
                </c:pt>
                <c:pt idx="34794">
                  <c:v>35039</c:v>
                </c:pt>
                <c:pt idx="34795">
                  <c:v>35039</c:v>
                </c:pt>
                <c:pt idx="34796">
                  <c:v>35038</c:v>
                </c:pt>
                <c:pt idx="34797">
                  <c:v>35038</c:v>
                </c:pt>
                <c:pt idx="34798">
                  <c:v>35038</c:v>
                </c:pt>
                <c:pt idx="34799">
                  <c:v>35038</c:v>
                </c:pt>
                <c:pt idx="34800">
                  <c:v>35038</c:v>
                </c:pt>
                <c:pt idx="34801">
                  <c:v>35037</c:v>
                </c:pt>
                <c:pt idx="34802">
                  <c:v>35037</c:v>
                </c:pt>
                <c:pt idx="34803">
                  <c:v>35036</c:v>
                </c:pt>
                <c:pt idx="34804">
                  <c:v>35036</c:v>
                </c:pt>
                <c:pt idx="34805">
                  <c:v>35036</c:v>
                </c:pt>
                <c:pt idx="34806">
                  <c:v>35036</c:v>
                </c:pt>
                <c:pt idx="34807">
                  <c:v>35035</c:v>
                </c:pt>
                <c:pt idx="34808">
                  <c:v>35035</c:v>
                </c:pt>
                <c:pt idx="34809">
                  <c:v>35035</c:v>
                </c:pt>
                <c:pt idx="34810">
                  <c:v>35034</c:v>
                </c:pt>
                <c:pt idx="34811">
                  <c:v>35034</c:v>
                </c:pt>
                <c:pt idx="34812">
                  <c:v>35034</c:v>
                </c:pt>
                <c:pt idx="34813">
                  <c:v>35034</c:v>
                </c:pt>
                <c:pt idx="34814">
                  <c:v>35033</c:v>
                </c:pt>
                <c:pt idx="34815">
                  <c:v>35033</c:v>
                </c:pt>
                <c:pt idx="34816">
                  <c:v>35033</c:v>
                </c:pt>
                <c:pt idx="34817">
                  <c:v>35033</c:v>
                </c:pt>
                <c:pt idx="34818">
                  <c:v>35033</c:v>
                </c:pt>
                <c:pt idx="34819">
                  <c:v>35033</c:v>
                </c:pt>
                <c:pt idx="34820">
                  <c:v>35032</c:v>
                </c:pt>
                <c:pt idx="34821">
                  <c:v>35032</c:v>
                </c:pt>
                <c:pt idx="34822">
                  <c:v>35032</c:v>
                </c:pt>
                <c:pt idx="34823">
                  <c:v>35032</c:v>
                </c:pt>
                <c:pt idx="34824">
                  <c:v>35032</c:v>
                </c:pt>
                <c:pt idx="34825">
                  <c:v>35032</c:v>
                </c:pt>
                <c:pt idx="34826">
                  <c:v>35032</c:v>
                </c:pt>
                <c:pt idx="34827">
                  <c:v>35031</c:v>
                </c:pt>
                <c:pt idx="34828">
                  <c:v>35031</c:v>
                </c:pt>
                <c:pt idx="34829">
                  <c:v>35031</c:v>
                </c:pt>
                <c:pt idx="34830">
                  <c:v>35031</c:v>
                </c:pt>
                <c:pt idx="34831">
                  <c:v>35031</c:v>
                </c:pt>
                <c:pt idx="34832">
                  <c:v>35031</c:v>
                </c:pt>
                <c:pt idx="34833">
                  <c:v>35031</c:v>
                </c:pt>
                <c:pt idx="34834">
                  <c:v>35031</c:v>
                </c:pt>
                <c:pt idx="34835">
                  <c:v>35031</c:v>
                </c:pt>
                <c:pt idx="34836">
                  <c:v>35030</c:v>
                </c:pt>
                <c:pt idx="34837">
                  <c:v>35030</c:v>
                </c:pt>
                <c:pt idx="34838">
                  <c:v>35029</c:v>
                </c:pt>
                <c:pt idx="34839">
                  <c:v>35029</c:v>
                </c:pt>
                <c:pt idx="34840">
                  <c:v>35029</c:v>
                </c:pt>
                <c:pt idx="34841">
                  <c:v>35029</c:v>
                </c:pt>
                <c:pt idx="34842">
                  <c:v>35029</c:v>
                </c:pt>
                <c:pt idx="34843">
                  <c:v>35029</c:v>
                </c:pt>
                <c:pt idx="34844">
                  <c:v>35028</c:v>
                </c:pt>
                <c:pt idx="34845">
                  <c:v>35028</c:v>
                </c:pt>
                <c:pt idx="34846">
                  <c:v>35028</c:v>
                </c:pt>
                <c:pt idx="34847">
                  <c:v>35027</c:v>
                </c:pt>
                <c:pt idx="34848">
                  <c:v>35027</c:v>
                </c:pt>
                <c:pt idx="34849">
                  <c:v>35027</c:v>
                </c:pt>
                <c:pt idx="34850">
                  <c:v>35027</c:v>
                </c:pt>
                <c:pt idx="34851">
                  <c:v>35027</c:v>
                </c:pt>
                <c:pt idx="34852">
                  <c:v>35026</c:v>
                </c:pt>
                <c:pt idx="34853">
                  <c:v>35026</c:v>
                </c:pt>
                <c:pt idx="34854">
                  <c:v>35026</c:v>
                </c:pt>
                <c:pt idx="34855">
                  <c:v>35025</c:v>
                </c:pt>
                <c:pt idx="34856">
                  <c:v>35025</c:v>
                </c:pt>
                <c:pt idx="34857">
                  <c:v>35025</c:v>
                </c:pt>
                <c:pt idx="34858">
                  <c:v>35025</c:v>
                </c:pt>
                <c:pt idx="34859">
                  <c:v>35025</c:v>
                </c:pt>
                <c:pt idx="34860">
                  <c:v>35024</c:v>
                </c:pt>
                <c:pt idx="34861">
                  <c:v>35024</c:v>
                </c:pt>
                <c:pt idx="34862">
                  <c:v>35024</c:v>
                </c:pt>
                <c:pt idx="34863">
                  <c:v>35024</c:v>
                </c:pt>
                <c:pt idx="34864">
                  <c:v>35024</c:v>
                </c:pt>
                <c:pt idx="34865">
                  <c:v>35024</c:v>
                </c:pt>
                <c:pt idx="34866">
                  <c:v>35024</c:v>
                </c:pt>
                <c:pt idx="34867">
                  <c:v>35024</c:v>
                </c:pt>
                <c:pt idx="34868">
                  <c:v>35023</c:v>
                </c:pt>
                <c:pt idx="34869">
                  <c:v>35023</c:v>
                </c:pt>
                <c:pt idx="34870">
                  <c:v>35023</c:v>
                </c:pt>
                <c:pt idx="34871">
                  <c:v>35023</c:v>
                </c:pt>
                <c:pt idx="34872">
                  <c:v>35023</c:v>
                </c:pt>
                <c:pt idx="34873">
                  <c:v>35022</c:v>
                </c:pt>
                <c:pt idx="34874">
                  <c:v>35022</c:v>
                </c:pt>
                <c:pt idx="34875">
                  <c:v>35022</c:v>
                </c:pt>
                <c:pt idx="34876">
                  <c:v>35022</c:v>
                </c:pt>
                <c:pt idx="34877">
                  <c:v>35022</c:v>
                </c:pt>
                <c:pt idx="34878">
                  <c:v>35022</c:v>
                </c:pt>
                <c:pt idx="34879">
                  <c:v>35021</c:v>
                </c:pt>
                <c:pt idx="34880">
                  <c:v>35021</c:v>
                </c:pt>
                <c:pt idx="34881">
                  <c:v>35021</c:v>
                </c:pt>
                <c:pt idx="34882">
                  <c:v>35021</c:v>
                </c:pt>
                <c:pt idx="34883">
                  <c:v>35021</c:v>
                </c:pt>
                <c:pt idx="34884">
                  <c:v>35021</c:v>
                </c:pt>
                <c:pt idx="34885">
                  <c:v>35020</c:v>
                </c:pt>
                <c:pt idx="34886">
                  <c:v>35020</c:v>
                </c:pt>
                <c:pt idx="34887">
                  <c:v>35020</c:v>
                </c:pt>
                <c:pt idx="34888">
                  <c:v>35020</c:v>
                </c:pt>
                <c:pt idx="34889">
                  <c:v>35020</c:v>
                </c:pt>
                <c:pt idx="34890">
                  <c:v>35019</c:v>
                </c:pt>
                <c:pt idx="34891">
                  <c:v>35019</c:v>
                </c:pt>
                <c:pt idx="34892">
                  <c:v>35019</c:v>
                </c:pt>
                <c:pt idx="34893">
                  <c:v>35019</c:v>
                </c:pt>
                <c:pt idx="34894">
                  <c:v>35019</c:v>
                </c:pt>
                <c:pt idx="34895">
                  <c:v>35018</c:v>
                </c:pt>
                <c:pt idx="34896">
                  <c:v>35018</c:v>
                </c:pt>
                <c:pt idx="34897">
                  <c:v>35018</c:v>
                </c:pt>
                <c:pt idx="34898">
                  <c:v>35018</c:v>
                </c:pt>
                <c:pt idx="34899">
                  <c:v>35018</c:v>
                </c:pt>
                <c:pt idx="34900">
                  <c:v>35017</c:v>
                </c:pt>
                <c:pt idx="34901">
                  <c:v>35017</c:v>
                </c:pt>
                <c:pt idx="34902">
                  <c:v>35017</c:v>
                </c:pt>
                <c:pt idx="34903">
                  <c:v>35017</c:v>
                </c:pt>
                <c:pt idx="34904">
                  <c:v>35017</c:v>
                </c:pt>
                <c:pt idx="34905">
                  <c:v>35017</c:v>
                </c:pt>
                <c:pt idx="34906">
                  <c:v>35016</c:v>
                </c:pt>
                <c:pt idx="34907">
                  <c:v>35016</c:v>
                </c:pt>
                <c:pt idx="34908">
                  <c:v>35016</c:v>
                </c:pt>
                <c:pt idx="34909">
                  <c:v>35016</c:v>
                </c:pt>
                <c:pt idx="34910">
                  <c:v>35015</c:v>
                </c:pt>
                <c:pt idx="34911">
                  <c:v>35015</c:v>
                </c:pt>
                <c:pt idx="34912">
                  <c:v>35015</c:v>
                </c:pt>
                <c:pt idx="34913">
                  <c:v>35015</c:v>
                </c:pt>
                <c:pt idx="34914">
                  <c:v>35015</c:v>
                </c:pt>
                <c:pt idx="34915">
                  <c:v>35015</c:v>
                </c:pt>
                <c:pt idx="34916">
                  <c:v>35014</c:v>
                </c:pt>
                <c:pt idx="34917">
                  <c:v>35014</c:v>
                </c:pt>
                <c:pt idx="34918">
                  <c:v>35014</c:v>
                </c:pt>
                <c:pt idx="34919">
                  <c:v>35014</c:v>
                </c:pt>
                <c:pt idx="34920">
                  <c:v>35014</c:v>
                </c:pt>
                <c:pt idx="34921">
                  <c:v>35014</c:v>
                </c:pt>
                <c:pt idx="34922">
                  <c:v>35014</c:v>
                </c:pt>
                <c:pt idx="34923">
                  <c:v>35013</c:v>
                </c:pt>
                <c:pt idx="34924">
                  <c:v>35013</c:v>
                </c:pt>
                <c:pt idx="34925">
                  <c:v>35013</c:v>
                </c:pt>
                <c:pt idx="34926">
                  <c:v>35013</c:v>
                </c:pt>
                <c:pt idx="34927">
                  <c:v>35013</c:v>
                </c:pt>
                <c:pt idx="34928">
                  <c:v>35012</c:v>
                </c:pt>
                <c:pt idx="34929">
                  <c:v>35012</c:v>
                </c:pt>
                <c:pt idx="34930">
                  <c:v>35011</c:v>
                </c:pt>
                <c:pt idx="34931">
                  <c:v>35011</c:v>
                </c:pt>
                <c:pt idx="34932">
                  <c:v>35011</c:v>
                </c:pt>
                <c:pt idx="34933">
                  <c:v>35011</c:v>
                </c:pt>
                <c:pt idx="34934">
                  <c:v>35011</c:v>
                </c:pt>
                <c:pt idx="34935">
                  <c:v>35011</c:v>
                </c:pt>
                <c:pt idx="34936">
                  <c:v>35010</c:v>
                </c:pt>
                <c:pt idx="34937">
                  <c:v>35010</c:v>
                </c:pt>
                <c:pt idx="34938">
                  <c:v>35010</c:v>
                </c:pt>
                <c:pt idx="34939">
                  <c:v>35010</c:v>
                </c:pt>
                <c:pt idx="34940">
                  <c:v>35009</c:v>
                </c:pt>
                <c:pt idx="34941">
                  <c:v>35009</c:v>
                </c:pt>
                <c:pt idx="34942">
                  <c:v>35009</c:v>
                </c:pt>
                <c:pt idx="34943">
                  <c:v>35008</c:v>
                </c:pt>
                <c:pt idx="34944">
                  <c:v>35008</c:v>
                </c:pt>
                <c:pt idx="34945">
                  <c:v>35008</c:v>
                </c:pt>
                <c:pt idx="34946">
                  <c:v>35008</c:v>
                </c:pt>
                <c:pt idx="34947">
                  <c:v>35008</c:v>
                </c:pt>
                <c:pt idx="34948">
                  <c:v>35008</c:v>
                </c:pt>
                <c:pt idx="34949">
                  <c:v>35008</c:v>
                </c:pt>
                <c:pt idx="34950">
                  <c:v>35007</c:v>
                </c:pt>
                <c:pt idx="34951">
                  <c:v>35007</c:v>
                </c:pt>
                <c:pt idx="34952">
                  <c:v>35007</c:v>
                </c:pt>
                <c:pt idx="34953">
                  <c:v>35007</c:v>
                </c:pt>
                <c:pt idx="34954">
                  <c:v>35007</c:v>
                </c:pt>
                <c:pt idx="34955">
                  <c:v>35007</c:v>
                </c:pt>
                <c:pt idx="34956">
                  <c:v>35007</c:v>
                </c:pt>
                <c:pt idx="34957">
                  <c:v>35007</c:v>
                </c:pt>
                <c:pt idx="34958">
                  <c:v>35007</c:v>
                </c:pt>
                <c:pt idx="34959">
                  <c:v>35007</c:v>
                </c:pt>
                <c:pt idx="34960">
                  <c:v>35006</c:v>
                </c:pt>
                <c:pt idx="34961">
                  <c:v>35006</c:v>
                </c:pt>
                <c:pt idx="34962">
                  <c:v>35006</c:v>
                </c:pt>
                <c:pt idx="34963">
                  <c:v>35006</c:v>
                </c:pt>
                <c:pt idx="34964">
                  <c:v>35006</c:v>
                </c:pt>
                <c:pt idx="34965">
                  <c:v>35006</c:v>
                </c:pt>
                <c:pt idx="34966">
                  <c:v>35006</c:v>
                </c:pt>
                <c:pt idx="34967">
                  <c:v>35006</c:v>
                </c:pt>
                <c:pt idx="34968">
                  <c:v>35006</c:v>
                </c:pt>
                <c:pt idx="34969">
                  <c:v>35006</c:v>
                </c:pt>
                <c:pt idx="34970">
                  <c:v>35005</c:v>
                </c:pt>
                <c:pt idx="34971">
                  <c:v>35005</c:v>
                </c:pt>
                <c:pt idx="34972">
                  <c:v>35005</c:v>
                </c:pt>
                <c:pt idx="34973">
                  <c:v>35005</c:v>
                </c:pt>
                <c:pt idx="34974">
                  <c:v>35005</c:v>
                </c:pt>
                <c:pt idx="34975">
                  <c:v>35005</c:v>
                </c:pt>
                <c:pt idx="34976">
                  <c:v>35004</c:v>
                </c:pt>
                <c:pt idx="34977">
                  <c:v>35004</c:v>
                </c:pt>
                <c:pt idx="34978">
                  <c:v>35004</c:v>
                </c:pt>
                <c:pt idx="34979">
                  <c:v>35004</c:v>
                </c:pt>
                <c:pt idx="34980">
                  <c:v>35003</c:v>
                </c:pt>
                <c:pt idx="34981">
                  <c:v>35003</c:v>
                </c:pt>
                <c:pt idx="34982">
                  <c:v>35003</c:v>
                </c:pt>
                <c:pt idx="34983">
                  <c:v>35003</c:v>
                </c:pt>
                <c:pt idx="34984">
                  <c:v>35003</c:v>
                </c:pt>
                <c:pt idx="34985">
                  <c:v>35003</c:v>
                </c:pt>
                <c:pt idx="34986">
                  <c:v>35003</c:v>
                </c:pt>
                <c:pt idx="34987">
                  <c:v>35003</c:v>
                </c:pt>
                <c:pt idx="34988">
                  <c:v>35003</c:v>
                </c:pt>
                <c:pt idx="34989">
                  <c:v>35003</c:v>
                </c:pt>
                <c:pt idx="34990">
                  <c:v>35003</c:v>
                </c:pt>
                <c:pt idx="34991">
                  <c:v>35003</c:v>
                </c:pt>
                <c:pt idx="34992">
                  <c:v>35003</c:v>
                </c:pt>
                <c:pt idx="34993">
                  <c:v>35003</c:v>
                </c:pt>
                <c:pt idx="34994">
                  <c:v>35003</c:v>
                </c:pt>
                <c:pt idx="34995">
                  <c:v>35002</c:v>
                </c:pt>
                <c:pt idx="34996">
                  <c:v>35002</c:v>
                </c:pt>
                <c:pt idx="34997">
                  <c:v>35001</c:v>
                </c:pt>
                <c:pt idx="34998">
                  <c:v>35001</c:v>
                </c:pt>
                <c:pt idx="34999">
                  <c:v>35001</c:v>
                </c:pt>
                <c:pt idx="35000">
                  <c:v>35000</c:v>
                </c:pt>
                <c:pt idx="35001">
                  <c:v>35000</c:v>
                </c:pt>
                <c:pt idx="35002">
                  <c:v>34999</c:v>
                </c:pt>
                <c:pt idx="35003">
                  <c:v>34999</c:v>
                </c:pt>
                <c:pt idx="35004">
                  <c:v>34999</c:v>
                </c:pt>
                <c:pt idx="35005">
                  <c:v>34999</c:v>
                </c:pt>
                <c:pt idx="35006">
                  <c:v>34999</c:v>
                </c:pt>
                <c:pt idx="35007">
                  <c:v>34999</c:v>
                </c:pt>
                <c:pt idx="35008">
                  <c:v>34999</c:v>
                </c:pt>
                <c:pt idx="35009">
                  <c:v>34998</c:v>
                </c:pt>
                <c:pt idx="35010">
                  <c:v>34998</c:v>
                </c:pt>
                <c:pt idx="35011">
                  <c:v>34998</c:v>
                </c:pt>
                <c:pt idx="35012">
                  <c:v>34998</c:v>
                </c:pt>
                <c:pt idx="35013">
                  <c:v>34997</c:v>
                </c:pt>
                <c:pt idx="35014">
                  <c:v>34997</c:v>
                </c:pt>
                <c:pt idx="35015">
                  <c:v>34997</c:v>
                </c:pt>
                <c:pt idx="35016">
                  <c:v>34997</c:v>
                </c:pt>
                <c:pt idx="35017">
                  <c:v>34997</c:v>
                </c:pt>
                <c:pt idx="35018">
                  <c:v>34996</c:v>
                </c:pt>
                <c:pt idx="35019">
                  <c:v>34996</c:v>
                </c:pt>
                <c:pt idx="35020">
                  <c:v>34996</c:v>
                </c:pt>
                <c:pt idx="35021">
                  <c:v>34996</c:v>
                </c:pt>
                <c:pt idx="35022">
                  <c:v>34996</c:v>
                </c:pt>
                <c:pt idx="35023">
                  <c:v>34996</c:v>
                </c:pt>
                <c:pt idx="35024">
                  <c:v>34996</c:v>
                </c:pt>
                <c:pt idx="35025">
                  <c:v>34995</c:v>
                </c:pt>
                <c:pt idx="35026">
                  <c:v>34995</c:v>
                </c:pt>
                <c:pt idx="35027">
                  <c:v>34995</c:v>
                </c:pt>
                <c:pt idx="35028">
                  <c:v>34994</c:v>
                </c:pt>
                <c:pt idx="35029">
                  <c:v>34994</c:v>
                </c:pt>
                <c:pt idx="35030">
                  <c:v>34994</c:v>
                </c:pt>
                <c:pt idx="35031">
                  <c:v>34994</c:v>
                </c:pt>
                <c:pt idx="35032">
                  <c:v>34994</c:v>
                </c:pt>
                <c:pt idx="35033">
                  <c:v>34994</c:v>
                </c:pt>
                <c:pt idx="35034">
                  <c:v>34993</c:v>
                </c:pt>
                <c:pt idx="35035">
                  <c:v>34993</c:v>
                </c:pt>
                <c:pt idx="35036">
                  <c:v>34993</c:v>
                </c:pt>
                <c:pt idx="35037">
                  <c:v>34993</c:v>
                </c:pt>
                <c:pt idx="35038">
                  <c:v>34993</c:v>
                </c:pt>
                <c:pt idx="35039">
                  <c:v>34993</c:v>
                </c:pt>
                <c:pt idx="35040">
                  <c:v>34993</c:v>
                </c:pt>
                <c:pt idx="35041">
                  <c:v>34992</c:v>
                </c:pt>
                <c:pt idx="35042">
                  <c:v>34992</c:v>
                </c:pt>
                <c:pt idx="35043">
                  <c:v>34992</c:v>
                </c:pt>
                <c:pt idx="35044">
                  <c:v>34992</c:v>
                </c:pt>
                <c:pt idx="35045">
                  <c:v>34992</c:v>
                </c:pt>
                <c:pt idx="35046">
                  <c:v>34991</c:v>
                </c:pt>
                <c:pt idx="35047">
                  <c:v>34991</c:v>
                </c:pt>
                <c:pt idx="35048">
                  <c:v>34991</c:v>
                </c:pt>
                <c:pt idx="35049">
                  <c:v>34991</c:v>
                </c:pt>
                <c:pt idx="35050">
                  <c:v>34991</c:v>
                </c:pt>
                <c:pt idx="35051">
                  <c:v>34991</c:v>
                </c:pt>
                <c:pt idx="35052">
                  <c:v>34991</c:v>
                </c:pt>
                <c:pt idx="35053">
                  <c:v>34990</c:v>
                </c:pt>
                <c:pt idx="35054">
                  <c:v>34989</c:v>
                </c:pt>
                <c:pt idx="35055">
                  <c:v>34989</c:v>
                </c:pt>
                <c:pt idx="35056">
                  <c:v>34988</c:v>
                </c:pt>
                <c:pt idx="35057">
                  <c:v>34988</c:v>
                </c:pt>
                <c:pt idx="35058">
                  <c:v>34988</c:v>
                </c:pt>
                <c:pt idx="35059">
                  <c:v>34987</c:v>
                </c:pt>
                <c:pt idx="35060">
                  <c:v>34987</c:v>
                </c:pt>
                <c:pt idx="35061">
                  <c:v>34987</c:v>
                </c:pt>
                <c:pt idx="35062">
                  <c:v>34987</c:v>
                </c:pt>
                <c:pt idx="35063">
                  <c:v>34986</c:v>
                </c:pt>
                <c:pt idx="35064">
                  <c:v>34986</c:v>
                </c:pt>
                <c:pt idx="35065">
                  <c:v>34986</c:v>
                </c:pt>
                <c:pt idx="35066">
                  <c:v>34985</c:v>
                </c:pt>
                <c:pt idx="35067">
                  <c:v>34985</c:v>
                </c:pt>
                <c:pt idx="35068">
                  <c:v>34985</c:v>
                </c:pt>
                <c:pt idx="35069">
                  <c:v>34985</c:v>
                </c:pt>
                <c:pt idx="35070">
                  <c:v>34985</c:v>
                </c:pt>
                <c:pt idx="35071">
                  <c:v>34985</c:v>
                </c:pt>
                <c:pt idx="35072">
                  <c:v>34985</c:v>
                </c:pt>
                <c:pt idx="35073">
                  <c:v>34984</c:v>
                </c:pt>
                <c:pt idx="35074">
                  <c:v>34984</c:v>
                </c:pt>
                <c:pt idx="35075">
                  <c:v>34984</c:v>
                </c:pt>
                <c:pt idx="35076">
                  <c:v>34984</c:v>
                </c:pt>
                <c:pt idx="35077">
                  <c:v>34984</c:v>
                </c:pt>
                <c:pt idx="35078">
                  <c:v>34984</c:v>
                </c:pt>
                <c:pt idx="35079">
                  <c:v>34983</c:v>
                </c:pt>
                <c:pt idx="35080">
                  <c:v>34983</c:v>
                </c:pt>
                <c:pt idx="35081">
                  <c:v>34983</c:v>
                </c:pt>
                <c:pt idx="35082">
                  <c:v>34983</c:v>
                </c:pt>
                <c:pt idx="35083">
                  <c:v>34983</c:v>
                </c:pt>
                <c:pt idx="35084">
                  <c:v>34983</c:v>
                </c:pt>
                <c:pt idx="35085">
                  <c:v>34982</c:v>
                </c:pt>
                <c:pt idx="35086">
                  <c:v>34982</c:v>
                </c:pt>
                <c:pt idx="35087">
                  <c:v>34982</c:v>
                </c:pt>
                <c:pt idx="35088">
                  <c:v>34982</c:v>
                </c:pt>
                <c:pt idx="35089">
                  <c:v>34982</c:v>
                </c:pt>
                <c:pt idx="35090">
                  <c:v>34981</c:v>
                </c:pt>
                <c:pt idx="35091">
                  <c:v>34981</c:v>
                </c:pt>
                <c:pt idx="35092">
                  <c:v>34981</c:v>
                </c:pt>
                <c:pt idx="35093">
                  <c:v>34981</c:v>
                </c:pt>
                <c:pt idx="35094">
                  <c:v>34980</c:v>
                </c:pt>
                <c:pt idx="35095">
                  <c:v>34980</c:v>
                </c:pt>
                <c:pt idx="35096">
                  <c:v>34980</c:v>
                </c:pt>
                <c:pt idx="35097">
                  <c:v>34980</c:v>
                </c:pt>
                <c:pt idx="35098">
                  <c:v>34980</c:v>
                </c:pt>
                <c:pt idx="35099">
                  <c:v>34980</c:v>
                </c:pt>
                <c:pt idx="35100">
                  <c:v>34980</c:v>
                </c:pt>
                <c:pt idx="35101">
                  <c:v>34979</c:v>
                </c:pt>
                <c:pt idx="35102">
                  <c:v>34979</c:v>
                </c:pt>
                <c:pt idx="35103">
                  <c:v>34979</c:v>
                </c:pt>
                <c:pt idx="35104">
                  <c:v>34979</c:v>
                </c:pt>
                <c:pt idx="35105">
                  <c:v>34979</c:v>
                </c:pt>
                <c:pt idx="35106">
                  <c:v>34978</c:v>
                </c:pt>
                <c:pt idx="35107">
                  <c:v>34978</c:v>
                </c:pt>
                <c:pt idx="35108">
                  <c:v>34978</c:v>
                </c:pt>
                <c:pt idx="35109">
                  <c:v>34978</c:v>
                </c:pt>
                <c:pt idx="35110">
                  <c:v>34977</c:v>
                </c:pt>
                <c:pt idx="35111">
                  <c:v>34977</c:v>
                </c:pt>
                <c:pt idx="35112">
                  <c:v>34977</c:v>
                </c:pt>
                <c:pt idx="35113">
                  <c:v>34976</c:v>
                </c:pt>
                <c:pt idx="35114">
                  <c:v>34976</c:v>
                </c:pt>
                <c:pt idx="35115">
                  <c:v>34976</c:v>
                </c:pt>
                <c:pt idx="35116">
                  <c:v>34976</c:v>
                </c:pt>
                <c:pt idx="35117">
                  <c:v>34976</c:v>
                </c:pt>
                <c:pt idx="35118">
                  <c:v>34976</c:v>
                </c:pt>
                <c:pt idx="35119">
                  <c:v>34975</c:v>
                </c:pt>
                <c:pt idx="35120">
                  <c:v>34975</c:v>
                </c:pt>
                <c:pt idx="35121">
                  <c:v>34975</c:v>
                </c:pt>
                <c:pt idx="35122">
                  <c:v>34975</c:v>
                </c:pt>
                <c:pt idx="35123">
                  <c:v>34975</c:v>
                </c:pt>
                <c:pt idx="35124">
                  <c:v>34975</c:v>
                </c:pt>
                <c:pt idx="35125">
                  <c:v>34974</c:v>
                </c:pt>
                <c:pt idx="35126">
                  <c:v>34974</c:v>
                </c:pt>
                <c:pt idx="35127">
                  <c:v>34974</c:v>
                </c:pt>
                <c:pt idx="35128">
                  <c:v>34974</c:v>
                </c:pt>
                <c:pt idx="35129">
                  <c:v>34974</c:v>
                </c:pt>
                <c:pt idx="35130">
                  <c:v>34973</c:v>
                </c:pt>
                <c:pt idx="35131">
                  <c:v>34973</c:v>
                </c:pt>
                <c:pt idx="35132">
                  <c:v>34973</c:v>
                </c:pt>
                <c:pt idx="35133">
                  <c:v>34973</c:v>
                </c:pt>
                <c:pt idx="35134">
                  <c:v>34973</c:v>
                </c:pt>
                <c:pt idx="35135">
                  <c:v>34973</c:v>
                </c:pt>
                <c:pt idx="35136">
                  <c:v>34973</c:v>
                </c:pt>
                <c:pt idx="35137">
                  <c:v>34972</c:v>
                </c:pt>
                <c:pt idx="35138">
                  <c:v>34972</c:v>
                </c:pt>
                <c:pt idx="35139">
                  <c:v>34972</c:v>
                </c:pt>
                <c:pt idx="35140">
                  <c:v>34972</c:v>
                </c:pt>
                <c:pt idx="35141">
                  <c:v>34971</c:v>
                </c:pt>
                <c:pt idx="35142">
                  <c:v>34971</c:v>
                </c:pt>
                <c:pt idx="35143">
                  <c:v>34971</c:v>
                </c:pt>
                <c:pt idx="35144">
                  <c:v>34971</c:v>
                </c:pt>
                <c:pt idx="35145">
                  <c:v>34971</c:v>
                </c:pt>
                <c:pt idx="35146">
                  <c:v>34971</c:v>
                </c:pt>
                <c:pt idx="35147">
                  <c:v>34971</c:v>
                </c:pt>
                <c:pt idx="35148">
                  <c:v>34970</c:v>
                </c:pt>
                <c:pt idx="35149">
                  <c:v>34970</c:v>
                </c:pt>
                <c:pt idx="35150">
                  <c:v>34970</c:v>
                </c:pt>
                <c:pt idx="35151">
                  <c:v>34970</c:v>
                </c:pt>
                <c:pt idx="35152">
                  <c:v>34970</c:v>
                </c:pt>
                <c:pt idx="35153">
                  <c:v>34969</c:v>
                </c:pt>
                <c:pt idx="35154">
                  <c:v>34969</c:v>
                </c:pt>
                <c:pt idx="35155">
                  <c:v>34969</c:v>
                </c:pt>
                <c:pt idx="35156">
                  <c:v>34969</c:v>
                </c:pt>
                <c:pt idx="35157">
                  <c:v>34969</c:v>
                </c:pt>
                <c:pt idx="35158">
                  <c:v>34968</c:v>
                </c:pt>
                <c:pt idx="35159">
                  <c:v>34968</c:v>
                </c:pt>
                <c:pt idx="35160">
                  <c:v>34968</c:v>
                </c:pt>
                <c:pt idx="35161">
                  <c:v>34968</c:v>
                </c:pt>
                <c:pt idx="35162">
                  <c:v>34968</c:v>
                </c:pt>
                <c:pt idx="35163">
                  <c:v>34967</c:v>
                </c:pt>
                <c:pt idx="35164">
                  <c:v>34967</c:v>
                </c:pt>
                <c:pt idx="35165">
                  <c:v>34967</c:v>
                </c:pt>
                <c:pt idx="35166">
                  <c:v>34967</c:v>
                </c:pt>
                <c:pt idx="35167">
                  <c:v>34967</c:v>
                </c:pt>
                <c:pt idx="35168">
                  <c:v>34966</c:v>
                </c:pt>
                <c:pt idx="35169">
                  <c:v>34966</c:v>
                </c:pt>
                <c:pt idx="35170">
                  <c:v>34966</c:v>
                </c:pt>
                <c:pt idx="35171">
                  <c:v>34966</c:v>
                </c:pt>
                <c:pt idx="35172">
                  <c:v>34966</c:v>
                </c:pt>
                <c:pt idx="35173">
                  <c:v>34966</c:v>
                </c:pt>
                <c:pt idx="35174">
                  <c:v>34965</c:v>
                </c:pt>
                <c:pt idx="35175">
                  <c:v>34965</c:v>
                </c:pt>
                <c:pt idx="35176">
                  <c:v>34965</c:v>
                </c:pt>
                <c:pt idx="35177">
                  <c:v>34964</c:v>
                </c:pt>
                <c:pt idx="35178">
                  <c:v>34964</c:v>
                </c:pt>
                <c:pt idx="35179">
                  <c:v>34964</c:v>
                </c:pt>
                <c:pt idx="35180">
                  <c:v>34963</c:v>
                </c:pt>
                <c:pt idx="35181">
                  <c:v>34963</c:v>
                </c:pt>
                <c:pt idx="35182">
                  <c:v>34963</c:v>
                </c:pt>
                <c:pt idx="35183">
                  <c:v>34963</c:v>
                </c:pt>
                <c:pt idx="35184">
                  <c:v>34963</c:v>
                </c:pt>
                <c:pt idx="35185">
                  <c:v>34963</c:v>
                </c:pt>
                <c:pt idx="35186">
                  <c:v>34962</c:v>
                </c:pt>
                <c:pt idx="35187">
                  <c:v>34962</c:v>
                </c:pt>
                <c:pt idx="35188">
                  <c:v>34962</c:v>
                </c:pt>
                <c:pt idx="35189">
                  <c:v>34962</c:v>
                </c:pt>
                <c:pt idx="35190">
                  <c:v>34961</c:v>
                </c:pt>
                <c:pt idx="35191">
                  <c:v>34961</c:v>
                </c:pt>
                <c:pt idx="35192">
                  <c:v>34961</c:v>
                </c:pt>
                <c:pt idx="35193">
                  <c:v>34961</c:v>
                </c:pt>
                <c:pt idx="35194">
                  <c:v>34961</c:v>
                </c:pt>
                <c:pt idx="35195">
                  <c:v>34960</c:v>
                </c:pt>
                <c:pt idx="35196">
                  <c:v>34960</c:v>
                </c:pt>
                <c:pt idx="35197">
                  <c:v>34960</c:v>
                </c:pt>
                <c:pt idx="35198">
                  <c:v>34960</c:v>
                </c:pt>
                <c:pt idx="35199">
                  <c:v>34960</c:v>
                </c:pt>
                <c:pt idx="35200">
                  <c:v>34960</c:v>
                </c:pt>
                <c:pt idx="35201">
                  <c:v>34960</c:v>
                </c:pt>
                <c:pt idx="35202">
                  <c:v>34960</c:v>
                </c:pt>
                <c:pt idx="35203">
                  <c:v>34959</c:v>
                </c:pt>
                <c:pt idx="35204">
                  <c:v>34959</c:v>
                </c:pt>
                <c:pt idx="35205">
                  <c:v>34959</c:v>
                </c:pt>
                <c:pt idx="35206">
                  <c:v>34959</c:v>
                </c:pt>
                <c:pt idx="35207">
                  <c:v>34959</c:v>
                </c:pt>
                <c:pt idx="35208">
                  <c:v>34959</c:v>
                </c:pt>
                <c:pt idx="35209">
                  <c:v>34959</c:v>
                </c:pt>
                <c:pt idx="35210">
                  <c:v>34959</c:v>
                </c:pt>
                <c:pt idx="35211">
                  <c:v>34958</c:v>
                </c:pt>
                <c:pt idx="35212">
                  <c:v>34958</c:v>
                </c:pt>
                <c:pt idx="35213">
                  <c:v>34958</c:v>
                </c:pt>
                <c:pt idx="35214">
                  <c:v>34958</c:v>
                </c:pt>
                <c:pt idx="35215">
                  <c:v>34958</c:v>
                </c:pt>
                <c:pt idx="35216">
                  <c:v>34957</c:v>
                </c:pt>
                <c:pt idx="35217">
                  <c:v>34957</c:v>
                </c:pt>
                <c:pt idx="35218">
                  <c:v>34957</c:v>
                </c:pt>
                <c:pt idx="35219">
                  <c:v>34957</c:v>
                </c:pt>
                <c:pt idx="35220">
                  <c:v>34957</c:v>
                </c:pt>
                <c:pt idx="35221">
                  <c:v>34957</c:v>
                </c:pt>
                <c:pt idx="35222">
                  <c:v>34957</c:v>
                </c:pt>
                <c:pt idx="35223">
                  <c:v>34957</c:v>
                </c:pt>
                <c:pt idx="35224">
                  <c:v>34957</c:v>
                </c:pt>
                <c:pt idx="35225">
                  <c:v>34957</c:v>
                </c:pt>
                <c:pt idx="35226">
                  <c:v>34956</c:v>
                </c:pt>
                <c:pt idx="35227">
                  <c:v>34956</c:v>
                </c:pt>
                <c:pt idx="35228">
                  <c:v>34956</c:v>
                </c:pt>
                <c:pt idx="35229">
                  <c:v>34956</c:v>
                </c:pt>
                <c:pt idx="35230">
                  <c:v>34955</c:v>
                </c:pt>
                <c:pt idx="35231">
                  <c:v>34955</c:v>
                </c:pt>
                <c:pt idx="35232">
                  <c:v>34955</c:v>
                </c:pt>
                <c:pt idx="35233">
                  <c:v>34955</c:v>
                </c:pt>
                <c:pt idx="35234">
                  <c:v>34955</c:v>
                </c:pt>
                <c:pt idx="35235">
                  <c:v>34955</c:v>
                </c:pt>
                <c:pt idx="35236">
                  <c:v>34954</c:v>
                </c:pt>
                <c:pt idx="35237">
                  <c:v>34954</c:v>
                </c:pt>
                <c:pt idx="35238">
                  <c:v>34954</c:v>
                </c:pt>
                <c:pt idx="35239">
                  <c:v>34954</c:v>
                </c:pt>
                <c:pt idx="35240">
                  <c:v>34953</c:v>
                </c:pt>
                <c:pt idx="35241">
                  <c:v>34953</c:v>
                </c:pt>
                <c:pt idx="35242">
                  <c:v>34953</c:v>
                </c:pt>
                <c:pt idx="35243">
                  <c:v>34953</c:v>
                </c:pt>
                <c:pt idx="35244">
                  <c:v>34953</c:v>
                </c:pt>
                <c:pt idx="35245">
                  <c:v>34952</c:v>
                </c:pt>
                <c:pt idx="35246">
                  <c:v>34952</c:v>
                </c:pt>
                <c:pt idx="35247">
                  <c:v>34952</c:v>
                </c:pt>
                <c:pt idx="35248">
                  <c:v>34952</c:v>
                </c:pt>
                <c:pt idx="35249">
                  <c:v>34952</c:v>
                </c:pt>
                <c:pt idx="35250">
                  <c:v>34952</c:v>
                </c:pt>
                <c:pt idx="35251">
                  <c:v>34951</c:v>
                </c:pt>
                <c:pt idx="35252">
                  <c:v>34951</c:v>
                </c:pt>
                <c:pt idx="35253">
                  <c:v>34951</c:v>
                </c:pt>
                <c:pt idx="35254">
                  <c:v>34951</c:v>
                </c:pt>
                <c:pt idx="35255">
                  <c:v>34951</c:v>
                </c:pt>
                <c:pt idx="35256">
                  <c:v>34951</c:v>
                </c:pt>
                <c:pt idx="35257">
                  <c:v>34951</c:v>
                </c:pt>
                <c:pt idx="35258">
                  <c:v>34951</c:v>
                </c:pt>
                <c:pt idx="35259">
                  <c:v>34951</c:v>
                </c:pt>
                <c:pt idx="35260">
                  <c:v>34951</c:v>
                </c:pt>
                <c:pt idx="35261">
                  <c:v>34950</c:v>
                </c:pt>
                <c:pt idx="35262">
                  <c:v>34950</c:v>
                </c:pt>
                <c:pt idx="35263">
                  <c:v>34950</c:v>
                </c:pt>
                <c:pt idx="35264">
                  <c:v>34950</c:v>
                </c:pt>
                <c:pt idx="35265">
                  <c:v>34949</c:v>
                </c:pt>
                <c:pt idx="35266">
                  <c:v>34949</c:v>
                </c:pt>
                <c:pt idx="35267">
                  <c:v>34949</c:v>
                </c:pt>
                <c:pt idx="35268">
                  <c:v>34949</c:v>
                </c:pt>
                <c:pt idx="35269">
                  <c:v>34948</c:v>
                </c:pt>
                <c:pt idx="35270">
                  <c:v>34947</c:v>
                </c:pt>
                <c:pt idx="35271">
                  <c:v>34947</c:v>
                </c:pt>
                <c:pt idx="35272">
                  <c:v>34947</c:v>
                </c:pt>
                <c:pt idx="35273">
                  <c:v>34947</c:v>
                </c:pt>
                <c:pt idx="35274">
                  <c:v>34947</c:v>
                </c:pt>
                <c:pt idx="35275">
                  <c:v>34947</c:v>
                </c:pt>
                <c:pt idx="35276">
                  <c:v>34946</c:v>
                </c:pt>
                <c:pt idx="35277">
                  <c:v>34946</c:v>
                </c:pt>
                <c:pt idx="35278">
                  <c:v>34946</c:v>
                </c:pt>
                <c:pt idx="35279">
                  <c:v>34946</c:v>
                </c:pt>
                <c:pt idx="35280">
                  <c:v>34946</c:v>
                </c:pt>
                <c:pt idx="35281">
                  <c:v>34946</c:v>
                </c:pt>
                <c:pt idx="35282">
                  <c:v>34946</c:v>
                </c:pt>
                <c:pt idx="35283">
                  <c:v>34946</c:v>
                </c:pt>
                <c:pt idx="35284">
                  <c:v>34945</c:v>
                </c:pt>
                <c:pt idx="35285">
                  <c:v>34945</c:v>
                </c:pt>
                <c:pt idx="35286">
                  <c:v>34944</c:v>
                </c:pt>
                <c:pt idx="35287">
                  <c:v>34944</c:v>
                </c:pt>
                <c:pt idx="35288">
                  <c:v>34944</c:v>
                </c:pt>
                <c:pt idx="35289">
                  <c:v>34943</c:v>
                </c:pt>
                <c:pt idx="35290">
                  <c:v>34943</c:v>
                </c:pt>
                <c:pt idx="35291">
                  <c:v>34943</c:v>
                </c:pt>
                <c:pt idx="35292">
                  <c:v>34943</c:v>
                </c:pt>
                <c:pt idx="35293">
                  <c:v>34943</c:v>
                </c:pt>
                <c:pt idx="35294">
                  <c:v>34943</c:v>
                </c:pt>
                <c:pt idx="35295">
                  <c:v>34942</c:v>
                </c:pt>
                <c:pt idx="35296">
                  <c:v>34942</c:v>
                </c:pt>
                <c:pt idx="35297">
                  <c:v>34942</c:v>
                </c:pt>
                <c:pt idx="35298">
                  <c:v>34942</c:v>
                </c:pt>
                <c:pt idx="35299">
                  <c:v>34941</c:v>
                </c:pt>
                <c:pt idx="35300">
                  <c:v>34941</c:v>
                </c:pt>
                <c:pt idx="35301">
                  <c:v>34941</c:v>
                </c:pt>
                <c:pt idx="35302">
                  <c:v>34940</c:v>
                </c:pt>
                <c:pt idx="35303">
                  <c:v>34939</c:v>
                </c:pt>
                <c:pt idx="35304">
                  <c:v>34939</c:v>
                </c:pt>
                <c:pt idx="35305">
                  <c:v>34939</c:v>
                </c:pt>
                <c:pt idx="35306">
                  <c:v>34939</c:v>
                </c:pt>
                <c:pt idx="35307">
                  <c:v>34939</c:v>
                </c:pt>
                <c:pt idx="35308">
                  <c:v>34939</c:v>
                </c:pt>
                <c:pt idx="35309">
                  <c:v>34939</c:v>
                </c:pt>
                <c:pt idx="35310">
                  <c:v>34939</c:v>
                </c:pt>
                <c:pt idx="35311">
                  <c:v>34938</c:v>
                </c:pt>
                <c:pt idx="35312">
                  <c:v>34938</c:v>
                </c:pt>
                <c:pt idx="35313">
                  <c:v>34938</c:v>
                </c:pt>
                <c:pt idx="35314">
                  <c:v>34938</c:v>
                </c:pt>
                <c:pt idx="35315">
                  <c:v>34937</c:v>
                </c:pt>
                <c:pt idx="35316">
                  <c:v>34937</c:v>
                </c:pt>
                <c:pt idx="35317">
                  <c:v>34937</c:v>
                </c:pt>
                <c:pt idx="35318">
                  <c:v>34937</c:v>
                </c:pt>
                <c:pt idx="35319">
                  <c:v>34937</c:v>
                </c:pt>
                <c:pt idx="35320">
                  <c:v>34937</c:v>
                </c:pt>
                <c:pt idx="35321">
                  <c:v>34937</c:v>
                </c:pt>
                <c:pt idx="35322">
                  <c:v>34937</c:v>
                </c:pt>
                <c:pt idx="35323">
                  <c:v>34937</c:v>
                </c:pt>
                <c:pt idx="35324">
                  <c:v>34937</c:v>
                </c:pt>
                <c:pt idx="35325">
                  <c:v>34936</c:v>
                </c:pt>
                <c:pt idx="35326">
                  <c:v>34936</c:v>
                </c:pt>
                <c:pt idx="35327">
                  <c:v>34936</c:v>
                </c:pt>
                <c:pt idx="35328">
                  <c:v>34936</c:v>
                </c:pt>
                <c:pt idx="35329">
                  <c:v>34935</c:v>
                </c:pt>
                <c:pt idx="35330">
                  <c:v>34935</c:v>
                </c:pt>
                <c:pt idx="35331">
                  <c:v>34934</c:v>
                </c:pt>
                <c:pt idx="35332">
                  <c:v>34934</c:v>
                </c:pt>
                <c:pt idx="35333">
                  <c:v>34934</c:v>
                </c:pt>
                <c:pt idx="35334">
                  <c:v>34934</c:v>
                </c:pt>
                <c:pt idx="35335">
                  <c:v>34934</c:v>
                </c:pt>
                <c:pt idx="35336">
                  <c:v>34934</c:v>
                </c:pt>
                <c:pt idx="35337">
                  <c:v>34934</c:v>
                </c:pt>
                <c:pt idx="35338">
                  <c:v>34934</c:v>
                </c:pt>
                <c:pt idx="35339">
                  <c:v>34934</c:v>
                </c:pt>
                <c:pt idx="35340">
                  <c:v>34934</c:v>
                </c:pt>
                <c:pt idx="35341">
                  <c:v>34933</c:v>
                </c:pt>
                <c:pt idx="35342">
                  <c:v>34933</c:v>
                </c:pt>
                <c:pt idx="35343">
                  <c:v>34933</c:v>
                </c:pt>
                <c:pt idx="35344">
                  <c:v>34933</c:v>
                </c:pt>
                <c:pt idx="35345">
                  <c:v>34932</c:v>
                </c:pt>
                <c:pt idx="35346">
                  <c:v>34932</c:v>
                </c:pt>
                <c:pt idx="35347">
                  <c:v>34932</c:v>
                </c:pt>
                <c:pt idx="35348">
                  <c:v>34932</c:v>
                </c:pt>
                <c:pt idx="35349">
                  <c:v>34932</c:v>
                </c:pt>
                <c:pt idx="35350">
                  <c:v>34932</c:v>
                </c:pt>
                <c:pt idx="35351">
                  <c:v>34931</c:v>
                </c:pt>
                <c:pt idx="35352">
                  <c:v>34931</c:v>
                </c:pt>
                <c:pt idx="35353">
                  <c:v>34931</c:v>
                </c:pt>
                <c:pt idx="35354">
                  <c:v>34931</c:v>
                </c:pt>
                <c:pt idx="35355">
                  <c:v>34931</c:v>
                </c:pt>
                <c:pt idx="35356">
                  <c:v>34930</c:v>
                </c:pt>
                <c:pt idx="35357">
                  <c:v>34930</c:v>
                </c:pt>
                <c:pt idx="35358">
                  <c:v>34930</c:v>
                </c:pt>
                <c:pt idx="35359">
                  <c:v>34930</c:v>
                </c:pt>
                <c:pt idx="35360">
                  <c:v>34929</c:v>
                </c:pt>
                <c:pt idx="35361">
                  <c:v>34929</c:v>
                </c:pt>
                <c:pt idx="35362">
                  <c:v>34929</c:v>
                </c:pt>
                <c:pt idx="35363">
                  <c:v>34929</c:v>
                </c:pt>
                <c:pt idx="35364">
                  <c:v>34929</c:v>
                </c:pt>
                <c:pt idx="35365">
                  <c:v>34929</c:v>
                </c:pt>
                <c:pt idx="35366">
                  <c:v>34928</c:v>
                </c:pt>
                <c:pt idx="35367">
                  <c:v>34928</c:v>
                </c:pt>
                <c:pt idx="35368">
                  <c:v>34928</c:v>
                </c:pt>
                <c:pt idx="35369">
                  <c:v>34928</c:v>
                </c:pt>
                <c:pt idx="35370">
                  <c:v>34927</c:v>
                </c:pt>
                <c:pt idx="35371">
                  <c:v>34927</c:v>
                </c:pt>
                <c:pt idx="35372">
                  <c:v>34927</c:v>
                </c:pt>
                <c:pt idx="35373">
                  <c:v>34927</c:v>
                </c:pt>
                <c:pt idx="35374">
                  <c:v>34927</c:v>
                </c:pt>
                <c:pt idx="35375">
                  <c:v>34927</c:v>
                </c:pt>
                <c:pt idx="35376">
                  <c:v>34927</c:v>
                </c:pt>
                <c:pt idx="35377">
                  <c:v>34927</c:v>
                </c:pt>
                <c:pt idx="35378">
                  <c:v>34927</c:v>
                </c:pt>
                <c:pt idx="35379">
                  <c:v>34926</c:v>
                </c:pt>
                <c:pt idx="35380">
                  <c:v>34926</c:v>
                </c:pt>
                <c:pt idx="35381">
                  <c:v>34926</c:v>
                </c:pt>
                <c:pt idx="35382">
                  <c:v>34926</c:v>
                </c:pt>
                <c:pt idx="35383">
                  <c:v>34926</c:v>
                </c:pt>
                <c:pt idx="35384">
                  <c:v>34926</c:v>
                </c:pt>
                <c:pt idx="35385">
                  <c:v>34926</c:v>
                </c:pt>
                <c:pt idx="35386">
                  <c:v>34925</c:v>
                </c:pt>
                <c:pt idx="35387">
                  <c:v>34925</c:v>
                </c:pt>
                <c:pt idx="35388">
                  <c:v>34924</c:v>
                </c:pt>
                <c:pt idx="35389">
                  <c:v>34924</c:v>
                </c:pt>
                <c:pt idx="35390">
                  <c:v>34924</c:v>
                </c:pt>
                <c:pt idx="35391">
                  <c:v>34924</c:v>
                </c:pt>
                <c:pt idx="35392">
                  <c:v>34924</c:v>
                </c:pt>
                <c:pt idx="35393">
                  <c:v>34924</c:v>
                </c:pt>
                <c:pt idx="35394">
                  <c:v>34924</c:v>
                </c:pt>
                <c:pt idx="35395">
                  <c:v>34923</c:v>
                </c:pt>
                <c:pt idx="35396">
                  <c:v>34923</c:v>
                </c:pt>
                <c:pt idx="35397">
                  <c:v>34922</c:v>
                </c:pt>
                <c:pt idx="35398">
                  <c:v>34922</c:v>
                </c:pt>
                <c:pt idx="35399">
                  <c:v>34922</c:v>
                </c:pt>
                <c:pt idx="35400">
                  <c:v>34922</c:v>
                </c:pt>
                <c:pt idx="35401">
                  <c:v>34922</c:v>
                </c:pt>
                <c:pt idx="35402">
                  <c:v>34921</c:v>
                </c:pt>
                <c:pt idx="35403">
                  <c:v>34921</c:v>
                </c:pt>
                <c:pt idx="35404">
                  <c:v>34921</c:v>
                </c:pt>
                <c:pt idx="35405">
                  <c:v>34920</c:v>
                </c:pt>
                <c:pt idx="35406">
                  <c:v>34920</c:v>
                </c:pt>
                <c:pt idx="35407">
                  <c:v>34920</c:v>
                </c:pt>
                <c:pt idx="35408">
                  <c:v>34920</c:v>
                </c:pt>
                <c:pt idx="35409">
                  <c:v>34920</c:v>
                </c:pt>
                <c:pt idx="35410">
                  <c:v>34920</c:v>
                </c:pt>
                <c:pt idx="35411">
                  <c:v>34919</c:v>
                </c:pt>
                <c:pt idx="35412">
                  <c:v>34918</c:v>
                </c:pt>
                <c:pt idx="35413">
                  <c:v>34918</c:v>
                </c:pt>
                <c:pt idx="35414">
                  <c:v>34918</c:v>
                </c:pt>
                <c:pt idx="35415">
                  <c:v>34918</c:v>
                </c:pt>
                <c:pt idx="35416">
                  <c:v>34918</c:v>
                </c:pt>
                <c:pt idx="35417">
                  <c:v>34918</c:v>
                </c:pt>
                <c:pt idx="35418">
                  <c:v>34918</c:v>
                </c:pt>
                <c:pt idx="35419">
                  <c:v>34918</c:v>
                </c:pt>
                <c:pt idx="35420">
                  <c:v>34918</c:v>
                </c:pt>
                <c:pt idx="35421">
                  <c:v>34918</c:v>
                </c:pt>
                <c:pt idx="35422">
                  <c:v>34917</c:v>
                </c:pt>
                <c:pt idx="35423">
                  <c:v>34917</c:v>
                </c:pt>
                <c:pt idx="35424">
                  <c:v>34917</c:v>
                </c:pt>
                <c:pt idx="35425">
                  <c:v>34916</c:v>
                </c:pt>
                <c:pt idx="35426">
                  <c:v>34916</c:v>
                </c:pt>
                <c:pt idx="35427">
                  <c:v>34916</c:v>
                </c:pt>
                <c:pt idx="35428">
                  <c:v>34916</c:v>
                </c:pt>
                <c:pt idx="35429">
                  <c:v>34916</c:v>
                </c:pt>
                <c:pt idx="35430">
                  <c:v>34916</c:v>
                </c:pt>
                <c:pt idx="35431">
                  <c:v>34915</c:v>
                </c:pt>
                <c:pt idx="35432">
                  <c:v>34915</c:v>
                </c:pt>
                <c:pt idx="35433">
                  <c:v>34915</c:v>
                </c:pt>
                <c:pt idx="35434">
                  <c:v>34915</c:v>
                </c:pt>
                <c:pt idx="35435">
                  <c:v>34915</c:v>
                </c:pt>
                <c:pt idx="35436">
                  <c:v>34914</c:v>
                </c:pt>
                <c:pt idx="35437">
                  <c:v>34914</c:v>
                </c:pt>
                <c:pt idx="35438">
                  <c:v>34914</c:v>
                </c:pt>
                <c:pt idx="35439">
                  <c:v>34914</c:v>
                </c:pt>
                <c:pt idx="35440">
                  <c:v>34914</c:v>
                </c:pt>
                <c:pt idx="35441">
                  <c:v>34914</c:v>
                </c:pt>
                <c:pt idx="35442">
                  <c:v>34914</c:v>
                </c:pt>
                <c:pt idx="35443">
                  <c:v>34913</c:v>
                </c:pt>
                <c:pt idx="35444">
                  <c:v>34913</c:v>
                </c:pt>
                <c:pt idx="35445">
                  <c:v>34913</c:v>
                </c:pt>
                <c:pt idx="35446">
                  <c:v>34913</c:v>
                </c:pt>
                <c:pt idx="35447">
                  <c:v>34912</c:v>
                </c:pt>
                <c:pt idx="35448">
                  <c:v>34912</c:v>
                </c:pt>
                <c:pt idx="35449">
                  <c:v>34912</c:v>
                </c:pt>
                <c:pt idx="35450">
                  <c:v>34912</c:v>
                </c:pt>
                <c:pt idx="35451">
                  <c:v>34912</c:v>
                </c:pt>
                <c:pt idx="35452">
                  <c:v>34912</c:v>
                </c:pt>
                <c:pt idx="35453">
                  <c:v>34912</c:v>
                </c:pt>
                <c:pt idx="35454">
                  <c:v>34911</c:v>
                </c:pt>
                <c:pt idx="35455">
                  <c:v>34911</c:v>
                </c:pt>
                <c:pt idx="35456">
                  <c:v>34911</c:v>
                </c:pt>
                <c:pt idx="35457">
                  <c:v>34911</c:v>
                </c:pt>
                <c:pt idx="35458">
                  <c:v>34911</c:v>
                </c:pt>
                <c:pt idx="35459">
                  <c:v>34911</c:v>
                </c:pt>
                <c:pt idx="35460">
                  <c:v>34911</c:v>
                </c:pt>
                <c:pt idx="35461">
                  <c:v>34911</c:v>
                </c:pt>
                <c:pt idx="35462">
                  <c:v>34910</c:v>
                </c:pt>
                <c:pt idx="35463">
                  <c:v>34910</c:v>
                </c:pt>
                <c:pt idx="35464">
                  <c:v>34909</c:v>
                </c:pt>
                <c:pt idx="35465">
                  <c:v>34909</c:v>
                </c:pt>
                <c:pt idx="35466">
                  <c:v>34909</c:v>
                </c:pt>
                <c:pt idx="35467">
                  <c:v>34909</c:v>
                </c:pt>
                <c:pt idx="35468">
                  <c:v>34909</c:v>
                </c:pt>
                <c:pt idx="35469">
                  <c:v>34909</c:v>
                </c:pt>
                <c:pt idx="35470">
                  <c:v>34908</c:v>
                </c:pt>
                <c:pt idx="35471">
                  <c:v>34908</c:v>
                </c:pt>
                <c:pt idx="35472">
                  <c:v>34908</c:v>
                </c:pt>
                <c:pt idx="35473">
                  <c:v>34907</c:v>
                </c:pt>
                <c:pt idx="35474">
                  <c:v>34907</c:v>
                </c:pt>
                <c:pt idx="35475">
                  <c:v>34907</c:v>
                </c:pt>
                <c:pt idx="35476">
                  <c:v>34907</c:v>
                </c:pt>
                <c:pt idx="35477">
                  <c:v>34907</c:v>
                </c:pt>
                <c:pt idx="35478">
                  <c:v>34907</c:v>
                </c:pt>
                <c:pt idx="35479">
                  <c:v>34907</c:v>
                </c:pt>
                <c:pt idx="35480">
                  <c:v>34906</c:v>
                </c:pt>
                <c:pt idx="35481">
                  <c:v>34906</c:v>
                </c:pt>
                <c:pt idx="35482">
                  <c:v>34906</c:v>
                </c:pt>
                <c:pt idx="35483">
                  <c:v>34906</c:v>
                </c:pt>
                <c:pt idx="35484">
                  <c:v>34906</c:v>
                </c:pt>
                <c:pt idx="35485">
                  <c:v>34905</c:v>
                </c:pt>
                <c:pt idx="35486">
                  <c:v>34905</c:v>
                </c:pt>
                <c:pt idx="35487">
                  <c:v>34905</c:v>
                </c:pt>
                <c:pt idx="35488">
                  <c:v>34905</c:v>
                </c:pt>
                <c:pt idx="35489">
                  <c:v>34905</c:v>
                </c:pt>
                <c:pt idx="35490">
                  <c:v>34904</c:v>
                </c:pt>
                <c:pt idx="35491">
                  <c:v>34904</c:v>
                </c:pt>
                <c:pt idx="35492">
                  <c:v>34904</c:v>
                </c:pt>
                <c:pt idx="35493">
                  <c:v>34904</c:v>
                </c:pt>
                <c:pt idx="35494">
                  <c:v>34903</c:v>
                </c:pt>
                <c:pt idx="35495">
                  <c:v>34903</c:v>
                </c:pt>
                <c:pt idx="35496">
                  <c:v>34903</c:v>
                </c:pt>
                <c:pt idx="35497">
                  <c:v>34903</c:v>
                </c:pt>
                <c:pt idx="35498">
                  <c:v>34903</c:v>
                </c:pt>
                <c:pt idx="35499">
                  <c:v>34903</c:v>
                </c:pt>
                <c:pt idx="35500">
                  <c:v>34903</c:v>
                </c:pt>
                <c:pt idx="35501">
                  <c:v>34903</c:v>
                </c:pt>
                <c:pt idx="35502">
                  <c:v>34902</c:v>
                </c:pt>
                <c:pt idx="35503">
                  <c:v>34902</c:v>
                </c:pt>
                <c:pt idx="35504">
                  <c:v>34902</c:v>
                </c:pt>
                <c:pt idx="35505">
                  <c:v>34902</c:v>
                </c:pt>
                <c:pt idx="35506">
                  <c:v>34902</c:v>
                </c:pt>
                <c:pt idx="35507">
                  <c:v>34901</c:v>
                </c:pt>
                <c:pt idx="35508">
                  <c:v>34901</c:v>
                </c:pt>
                <c:pt idx="35509">
                  <c:v>34901</c:v>
                </c:pt>
                <c:pt idx="35510">
                  <c:v>34900</c:v>
                </c:pt>
                <c:pt idx="35511">
                  <c:v>34900</c:v>
                </c:pt>
                <c:pt idx="35512">
                  <c:v>34900</c:v>
                </c:pt>
                <c:pt idx="35513">
                  <c:v>34900</c:v>
                </c:pt>
                <c:pt idx="35514">
                  <c:v>34900</c:v>
                </c:pt>
                <c:pt idx="35515">
                  <c:v>34899</c:v>
                </c:pt>
                <c:pt idx="35516">
                  <c:v>34899</c:v>
                </c:pt>
                <c:pt idx="35517">
                  <c:v>34899</c:v>
                </c:pt>
                <c:pt idx="35518">
                  <c:v>34899</c:v>
                </c:pt>
                <c:pt idx="35519">
                  <c:v>34899</c:v>
                </c:pt>
                <c:pt idx="35520">
                  <c:v>34899</c:v>
                </c:pt>
                <c:pt idx="35521">
                  <c:v>34899</c:v>
                </c:pt>
                <c:pt idx="35522">
                  <c:v>34899</c:v>
                </c:pt>
                <c:pt idx="35523">
                  <c:v>34898</c:v>
                </c:pt>
                <c:pt idx="35524">
                  <c:v>34898</c:v>
                </c:pt>
                <c:pt idx="35525">
                  <c:v>34898</c:v>
                </c:pt>
                <c:pt idx="35526">
                  <c:v>34897</c:v>
                </c:pt>
                <c:pt idx="35527">
                  <c:v>34897</c:v>
                </c:pt>
                <c:pt idx="35528">
                  <c:v>34897</c:v>
                </c:pt>
                <c:pt idx="35529">
                  <c:v>34897</c:v>
                </c:pt>
                <c:pt idx="35530">
                  <c:v>34897</c:v>
                </c:pt>
                <c:pt idx="35531">
                  <c:v>34896</c:v>
                </c:pt>
                <c:pt idx="35532">
                  <c:v>34895</c:v>
                </c:pt>
                <c:pt idx="35533">
                  <c:v>34895</c:v>
                </c:pt>
                <c:pt idx="35534">
                  <c:v>34895</c:v>
                </c:pt>
                <c:pt idx="35535">
                  <c:v>34895</c:v>
                </c:pt>
                <c:pt idx="35536">
                  <c:v>34895</c:v>
                </c:pt>
                <c:pt idx="35537">
                  <c:v>34894</c:v>
                </c:pt>
                <c:pt idx="35538">
                  <c:v>34894</c:v>
                </c:pt>
                <c:pt idx="35539">
                  <c:v>34894</c:v>
                </c:pt>
                <c:pt idx="35540">
                  <c:v>34894</c:v>
                </c:pt>
                <c:pt idx="35541">
                  <c:v>34894</c:v>
                </c:pt>
                <c:pt idx="35542">
                  <c:v>34894</c:v>
                </c:pt>
                <c:pt idx="35543">
                  <c:v>34894</c:v>
                </c:pt>
                <c:pt idx="35544">
                  <c:v>34894</c:v>
                </c:pt>
                <c:pt idx="35545">
                  <c:v>34893</c:v>
                </c:pt>
                <c:pt idx="35546">
                  <c:v>34893</c:v>
                </c:pt>
                <c:pt idx="35547">
                  <c:v>34893</c:v>
                </c:pt>
                <c:pt idx="35548">
                  <c:v>34893</c:v>
                </c:pt>
                <c:pt idx="35549">
                  <c:v>34893</c:v>
                </c:pt>
                <c:pt idx="35550">
                  <c:v>34893</c:v>
                </c:pt>
                <c:pt idx="35551">
                  <c:v>34893</c:v>
                </c:pt>
                <c:pt idx="35552">
                  <c:v>34893</c:v>
                </c:pt>
                <c:pt idx="35553">
                  <c:v>34893</c:v>
                </c:pt>
                <c:pt idx="35554">
                  <c:v>34893</c:v>
                </c:pt>
                <c:pt idx="35555">
                  <c:v>34892</c:v>
                </c:pt>
                <c:pt idx="35556">
                  <c:v>34892</c:v>
                </c:pt>
                <c:pt idx="35557">
                  <c:v>34892</c:v>
                </c:pt>
                <c:pt idx="35558">
                  <c:v>34892</c:v>
                </c:pt>
                <c:pt idx="35559">
                  <c:v>34892</c:v>
                </c:pt>
                <c:pt idx="35560">
                  <c:v>34892</c:v>
                </c:pt>
                <c:pt idx="35561">
                  <c:v>34891</c:v>
                </c:pt>
                <c:pt idx="35562">
                  <c:v>34891</c:v>
                </c:pt>
                <c:pt idx="35563">
                  <c:v>34890</c:v>
                </c:pt>
                <c:pt idx="35564">
                  <c:v>34890</c:v>
                </c:pt>
                <c:pt idx="35565">
                  <c:v>34890</c:v>
                </c:pt>
                <c:pt idx="35566">
                  <c:v>34890</c:v>
                </c:pt>
                <c:pt idx="35567">
                  <c:v>34890</c:v>
                </c:pt>
                <c:pt idx="35568">
                  <c:v>34890</c:v>
                </c:pt>
                <c:pt idx="35569">
                  <c:v>34890</c:v>
                </c:pt>
                <c:pt idx="35570">
                  <c:v>34889</c:v>
                </c:pt>
                <c:pt idx="35571">
                  <c:v>34889</c:v>
                </c:pt>
                <c:pt idx="35572">
                  <c:v>34889</c:v>
                </c:pt>
                <c:pt idx="35573">
                  <c:v>34889</c:v>
                </c:pt>
                <c:pt idx="35574">
                  <c:v>34889</c:v>
                </c:pt>
                <c:pt idx="35575">
                  <c:v>34889</c:v>
                </c:pt>
                <c:pt idx="35576">
                  <c:v>34888</c:v>
                </c:pt>
                <c:pt idx="35577">
                  <c:v>34888</c:v>
                </c:pt>
                <c:pt idx="35578">
                  <c:v>34888</c:v>
                </c:pt>
                <c:pt idx="35579">
                  <c:v>34888</c:v>
                </c:pt>
                <c:pt idx="35580">
                  <c:v>34887</c:v>
                </c:pt>
                <c:pt idx="35581">
                  <c:v>34887</c:v>
                </c:pt>
                <c:pt idx="35582">
                  <c:v>34887</c:v>
                </c:pt>
                <c:pt idx="35583">
                  <c:v>34887</c:v>
                </c:pt>
                <c:pt idx="35584">
                  <c:v>34886</c:v>
                </c:pt>
                <c:pt idx="35585">
                  <c:v>34886</c:v>
                </c:pt>
                <c:pt idx="35586">
                  <c:v>34886</c:v>
                </c:pt>
                <c:pt idx="35587">
                  <c:v>34886</c:v>
                </c:pt>
                <c:pt idx="35588">
                  <c:v>34886</c:v>
                </c:pt>
                <c:pt idx="35589">
                  <c:v>34885</c:v>
                </c:pt>
                <c:pt idx="35590">
                  <c:v>34885</c:v>
                </c:pt>
                <c:pt idx="35591">
                  <c:v>34885</c:v>
                </c:pt>
                <c:pt idx="35592">
                  <c:v>34885</c:v>
                </c:pt>
                <c:pt idx="35593">
                  <c:v>34885</c:v>
                </c:pt>
                <c:pt idx="35594">
                  <c:v>34885</c:v>
                </c:pt>
                <c:pt idx="35595">
                  <c:v>34885</c:v>
                </c:pt>
                <c:pt idx="35596">
                  <c:v>34885</c:v>
                </c:pt>
                <c:pt idx="35597">
                  <c:v>34884</c:v>
                </c:pt>
                <c:pt idx="35598">
                  <c:v>34884</c:v>
                </c:pt>
                <c:pt idx="35599">
                  <c:v>34884</c:v>
                </c:pt>
                <c:pt idx="35600">
                  <c:v>34884</c:v>
                </c:pt>
                <c:pt idx="35601">
                  <c:v>34884</c:v>
                </c:pt>
                <c:pt idx="35602">
                  <c:v>34884</c:v>
                </c:pt>
                <c:pt idx="35603">
                  <c:v>34884</c:v>
                </c:pt>
                <c:pt idx="35604">
                  <c:v>34884</c:v>
                </c:pt>
                <c:pt idx="35605">
                  <c:v>34884</c:v>
                </c:pt>
                <c:pt idx="35606">
                  <c:v>34884</c:v>
                </c:pt>
                <c:pt idx="35607">
                  <c:v>34883</c:v>
                </c:pt>
                <c:pt idx="35608">
                  <c:v>34883</c:v>
                </c:pt>
                <c:pt idx="35609">
                  <c:v>34883</c:v>
                </c:pt>
                <c:pt idx="35610">
                  <c:v>34883</c:v>
                </c:pt>
                <c:pt idx="35611">
                  <c:v>34883</c:v>
                </c:pt>
                <c:pt idx="35612">
                  <c:v>34883</c:v>
                </c:pt>
                <c:pt idx="35613">
                  <c:v>34883</c:v>
                </c:pt>
                <c:pt idx="35614">
                  <c:v>34883</c:v>
                </c:pt>
                <c:pt idx="35615">
                  <c:v>34882</c:v>
                </c:pt>
                <c:pt idx="35616">
                  <c:v>34882</c:v>
                </c:pt>
                <c:pt idx="35617">
                  <c:v>34882</c:v>
                </c:pt>
                <c:pt idx="35618">
                  <c:v>34882</c:v>
                </c:pt>
                <c:pt idx="35619">
                  <c:v>34882</c:v>
                </c:pt>
                <c:pt idx="35620">
                  <c:v>34882</c:v>
                </c:pt>
                <c:pt idx="35621">
                  <c:v>34881</c:v>
                </c:pt>
                <c:pt idx="35622">
                  <c:v>34881</c:v>
                </c:pt>
                <c:pt idx="35623">
                  <c:v>34881</c:v>
                </c:pt>
                <c:pt idx="35624">
                  <c:v>34881</c:v>
                </c:pt>
                <c:pt idx="35625">
                  <c:v>34881</c:v>
                </c:pt>
                <c:pt idx="35626">
                  <c:v>34881</c:v>
                </c:pt>
                <c:pt idx="35627">
                  <c:v>34880</c:v>
                </c:pt>
                <c:pt idx="35628">
                  <c:v>34880</c:v>
                </c:pt>
                <c:pt idx="35629">
                  <c:v>34880</c:v>
                </c:pt>
                <c:pt idx="35630">
                  <c:v>34880</c:v>
                </c:pt>
                <c:pt idx="35631">
                  <c:v>34880</c:v>
                </c:pt>
                <c:pt idx="35632">
                  <c:v>34879</c:v>
                </c:pt>
                <c:pt idx="35633">
                  <c:v>34879</c:v>
                </c:pt>
                <c:pt idx="35634">
                  <c:v>34879</c:v>
                </c:pt>
                <c:pt idx="35635">
                  <c:v>34879</c:v>
                </c:pt>
                <c:pt idx="35636">
                  <c:v>34878</c:v>
                </c:pt>
                <c:pt idx="35637">
                  <c:v>34878</c:v>
                </c:pt>
                <c:pt idx="35638">
                  <c:v>34878</c:v>
                </c:pt>
                <c:pt idx="35639">
                  <c:v>34878</c:v>
                </c:pt>
                <c:pt idx="35640">
                  <c:v>34878</c:v>
                </c:pt>
                <c:pt idx="35641">
                  <c:v>34878</c:v>
                </c:pt>
                <c:pt idx="35642">
                  <c:v>34878</c:v>
                </c:pt>
                <c:pt idx="35643">
                  <c:v>34877</c:v>
                </c:pt>
                <c:pt idx="35644">
                  <c:v>34877</c:v>
                </c:pt>
                <c:pt idx="35645">
                  <c:v>34877</c:v>
                </c:pt>
                <c:pt idx="35646">
                  <c:v>34877</c:v>
                </c:pt>
                <c:pt idx="35647">
                  <c:v>34877</c:v>
                </c:pt>
                <c:pt idx="35648">
                  <c:v>34877</c:v>
                </c:pt>
                <c:pt idx="35649">
                  <c:v>34877</c:v>
                </c:pt>
                <c:pt idx="35650">
                  <c:v>34877</c:v>
                </c:pt>
                <c:pt idx="35651">
                  <c:v>34876</c:v>
                </c:pt>
                <c:pt idx="35652">
                  <c:v>34876</c:v>
                </c:pt>
                <c:pt idx="35653">
                  <c:v>34876</c:v>
                </c:pt>
                <c:pt idx="35654">
                  <c:v>34876</c:v>
                </c:pt>
                <c:pt idx="35655">
                  <c:v>34876</c:v>
                </c:pt>
                <c:pt idx="35656">
                  <c:v>34876</c:v>
                </c:pt>
                <c:pt idx="35657">
                  <c:v>34875</c:v>
                </c:pt>
                <c:pt idx="35658">
                  <c:v>34875</c:v>
                </c:pt>
                <c:pt idx="35659">
                  <c:v>34874</c:v>
                </c:pt>
                <c:pt idx="35660">
                  <c:v>34874</c:v>
                </c:pt>
                <c:pt idx="35661">
                  <c:v>34874</c:v>
                </c:pt>
                <c:pt idx="35662">
                  <c:v>34874</c:v>
                </c:pt>
                <c:pt idx="35663">
                  <c:v>34874</c:v>
                </c:pt>
                <c:pt idx="35664">
                  <c:v>34874</c:v>
                </c:pt>
                <c:pt idx="35665">
                  <c:v>34874</c:v>
                </c:pt>
                <c:pt idx="35666">
                  <c:v>34874</c:v>
                </c:pt>
                <c:pt idx="35667">
                  <c:v>34873</c:v>
                </c:pt>
                <c:pt idx="35668">
                  <c:v>34873</c:v>
                </c:pt>
                <c:pt idx="35669">
                  <c:v>34873</c:v>
                </c:pt>
                <c:pt idx="35670">
                  <c:v>34873</c:v>
                </c:pt>
                <c:pt idx="35671">
                  <c:v>34873</c:v>
                </c:pt>
                <c:pt idx="35672">
                  <c:v>34873</c:v>
                </c:pt>
                <c:pt idx="35673">
                  <c:v>34873</c:v>
                </c:pt>
                <c:pt idx="35674">
                  <c:v>34872</c:v>
                </c:pt>
                <c:pt idx="35675">
                  <c:v>34872</c:v>
                </c:pt>
                <c:pt idx="35676">
                  <c:v>34872</c:v>
                </c:pt>
                <c:pt idx="35677">
                  <c:v>34872</c:v>
                </c:pt>
                <c:pt idx="35678">
                  <c:v>34872</c:v>
                </c:pt>
                <c:pt idx="35679">
                  <c:v>34872</c:v>
                </c:pt>
                <c:pt idx="35680">
                  <c:v>34871</c:v>
                </c:pt>
                <c:pt idx="35681">
                  <c:v>34871</c:v>
                </c:pt>
                <c:pt idx="35682">
                  <c:v>34871</c:v>
                </c:pt>
                <c:pt idx="35683">
                  <c:v>34871</c:v>
                </c:pt>
                <c:pt idx="35684">
                  <c:v>34871</c:v>
                </c:pt>
                <c:pt idx="35685">
                  <c:v>34870</c:v>
                </c:pt>
                <c:pt idx="35686">
                  <c:v>34870</c:v>
                </c:pt>
                <c:pt idx="35687">
                  <c:v>34870</c:v>
                </c:pt>
                <c:pt idx="35688">
                  <c:v>34870</c:v>
                </c:pt>
                <c:pt idx="35689">
                  <c:v>34869</c:v>
                </c:pt>
                <c:pt idx="35690">
                  <c:v>34869</c:v>
                </c:pt>
                <c:pt idx="35691">
                  <c:v>34869</c:v>
                </c:pt>
                <c:pt idx="35692">
                  <c:v>34869</c:v>
                </c:pt>
                <c:pt idx="35693">
                  <c:v>34869</c:v>
                </c:pt>
                <c:pt idx="35694">
                  <c:v>34868</c:v>
                </c:pt>
                <c:pt idx="35695">
                  <c:v>34867</c:v>
                </c:pt>
                <c:pt idx="35696">
                  <c:v>34866</c:v>
                </c:pt>
                <c:pt idx="35697">
                  <c:v>34866</c:v>
                </c:pt>
                <c:pt idx="35698">
                  <c:v>34865</c:v>
                </c:pt>
                <c:pt idx="35699">
                  <c:v>34865</c:v>
                </c:pt>
                <c:pt idx="35700">
                  <c:v>34865</c:v>
                </c:pt>
                <c:pt idx="35701">
                  <c:v>34865</c:v>
                </c:pt>
                <c:pt idx="35702">
                  <c:v>34865</c:v>
                </c:pt>
                <c:pt idx="35703">
                  <c:v>34865</c:v>
                </c:pt>
                <c:pt idx="35704">
                  <c:v>34865</c:v>
                </c:pt>
                <c:pt idx="35705">
                  <c:v>34864</c:v>
                </c:pt>
                <c:pt idx="35706">
                  <c:v>34864</c:v>
                </c:pt>
                <c:pt idx="35707">
                  <c:v>34864</c:v>
                </c:pt>
                <c:pt idx="35708">
                  <c:v>34864</c:v>
                </c:pt>
                <c:pt idx="35709">
                  <c:v>34864</c:v>
                </c:pt>
                <c:pt idx="35710">
                  <c:v>34864</c:v>
                </c:pt>
                <c:pt idx="35711">
                  <c:v>34863</c:v>
                </c:pt>
                <c:pt idx="35712">
                  <c:v>34863</c:v>
                </c:pt>
                <c:pt idx="35713">
                  <c:v>34863</c:v>
                </c:pt>
                <c:pt idx="35714">
                  <c:v>34863</c:v>
                </c:pt>
                <c:pt idx="35715">
                  <c:v>34863</c:v>
                </c:pt>
                <c:pt idx="35716">
                  <c:v>34863</c:v>
                </c:pt>
                <c:pt idx="35717">
                  <c:v>34863</c:v>
                </c:pt>
                <c:pt idx="35718">
                  <c:v>34863</c:v>
                </c:pt>
                <c:pt idx="35719">
                  <c:v>34863</c:v>
                </c:pt>
                <c:pt idx="35720">
                  <c:v>34862</c:v>
                </c:pt>
                <c:pt idx="35721">
                  <c:v>34862</c:v>
                </c:pt>
                <c:pt idx="35722">
                  <c:v>34862</c:v>
                </c:pt>
                <c:pt idx="35723">
                  <c:v>34862</c:v>
                </c:pt>
                <c:pt idx="35724">
                  <c:v>34862</c:v>
                </c:pt>
                <c:pt idx="35725">
                  <c:v>34861</c:v>
                </c:pt>
                <c:pt idx="35726">
                  <c:v>34861</c:v>
                </c:pt>
                <c:pt idx="35727">
                  <c:v>34861</c:v>
                </c:pt>
                <c:pt idx="35728">
                  <c:v>34861</c:v>
                </c:pt>
                <c:pt idx="35729">
                  <c:v>34861</c:v>
                </c:pt>
                <c:pt idx="35730">
                  <c:v>34861</c:v>
                </c:pt>
                <c:pt idx="35731">
                  <c:v>34861</c:v>
                </c:pt>
                <c:pt idx="35732">
                  <c:v>34861</c:v>
                </c:pt>
                <c:pt idx="35733">
                  <c:v>34861</c:v>
                </c:pt>
                <c:pt idx="35734">
                  <c:v>34861</c:v>
                </c:pt>
                <c:pt idx="35735">
                  <c:v>34861</c:v>
                </c:pt>
                <c:pt idx="35736">
                  <c:v>34861</c:v>
                </c:pt>
                <c:pt idx="35737">
                  <c:v>34860</c:v>
                </c:pt>
                <c:pt idx="35738">
                  <c:v>34860</c:v>
                </c:pt>
                <c:pt idx="35739">
                  <c:v>34860</c:v>
                </c:pt>
                <c:pt idx="35740">
                  <c:v>34860</c:v>
                </c:pt>
                <c:pt idx="35741">
                  <c:v>34860</c:v>
                </c:pt>
                <c:pt idx="35742">
                  <c:v>34860</c:v>
                </c:pt>
                <c:pt idx="35743">
                  <c:v>34859</c:v>
                </c:pt>
                <c:pt idx="35744">
                  <c:v>34859</c:v>
                </c:pt>
                <c:pt idx="35745">
                  <c:v>34859</c:v>
                </c:pt>
                <c:pt idx="35746">
                  <c:v>34859</c:v>
                </c:pt>
                <c:pt idx="35747">
                  <c:v>34859</c:v>
                </c:pt>
                <c:pt idx="35748">
                  <c:v>34859</c:v>
                </c:pt>
                <c:pt idx="35749">
                  <c:v>34858</c:v>
                </c:pt>
                <c:pt idx="35750">
                  <c:v>34858</c:v>
                </c:pt>
                <c:pt idx="35751">
                  <c:v>34858</c:v>
                </c:pt>
                <c:pt idx="35752">
                  <c:v>34858</c:v>
                </c:pt>
                <c:pt idx="35753">
                  <c:v>34858</c:v>
                </c:pt>
                <c:pt idx="35754">
                  <c:v>34858</c:v>
                </c:pt>
                <c:pt idx="35755">
                  <c:v>34857</c:v>
                </c:pt>
                <c:pt idx="35756">
                  <c:v>34857</c:v>
                </c:pt>
                <c:pt idx="35757">
                  <c:v>34857</c:v>
                </c:pt>
                <c:pt idx="35758">
                  <c:v>34857</c:v>
                </c:pt>
                <c:pt idx="35759">
                  <c:v>34857</c:v>
                </c:pt>
                <c:pt idx="35760">
                  <c:v>34857</c:v>
                </c:pt>
                <c:pt idx="35761">
                  <c:v>34857</c:v>
                </c:pt>
                <c:pt idx="35762">
                  <c:v>34856</c:v>
                </c:pt>
                <c:pt idx="35763">
                  <c:v>34856</c:v>
                </c:pt>
                <c:pt idx="35764">
                  <c:v>34856</c:v>
                </c:pt>
                <c:pt idx="35765">
                  <c:v>34856</c:v>
                </c:pt>
                <c:pt idx="35766">
                  <c:v>34856</c:v>
                </c:pt>
                <c:pt idx="35767">
                  <c:v>34856</c:v>
                </c:pt>
                <c:pt idx="35768">
                  <c:v>34856</c:v>
                </c:pt>
                <c:pt idx="35769">
                  <c:v>34856</c:v>
                </c:pt>
                <c:pt idx="35770">
                  <c:v>34855</c:v>
                </c:pt>
                <c:pt idx="35771">
                  <c:v>34855</c:v>
                </c:pt>
                <c:pt idx="35772">
                  <c:v>34855</c:v>
                </c:pt>
                <c:pt idx="35773">
                  <c:v>34855</c:v>
                </c:pt>
                <c:pt idx="35774">
                  <c:v>34854</c:v>
                </c:pt>
                <c:pt idx="35775">
                  <c:v>34854</c:v>
                </c:pt>
                <c:pt idx="35776">
                  <c:v>34854</c:v>
                </c:pt>
                <c:pt idx="35777">
                  <c:v>34853</c:v>
                </c:pt>
                <c:pt idx="35778">
                  <c:v>34853</c:v>
                </c:pt>
                <c:pt idx="35779">
                  <c:v>34853</c:v>
                </c:pt>
                <c:pt idx="35780">
                  <c:v>34853</c:v>
                </c:pt>
                <c:pt idx="35781">
                  <c:v>34853</c:v>
                </c:pt>
                <c:pt idx="35782">
                  <c:v>34853</c:v>
                </c:pt>
                <c:pt idx="35783">
                  <c:v>34852</c:v>
                </c:pt>
                <c:pt idx="35784">
                  <c:v>34852</c:v>
                </c:pt>
                <c:pt idx="35785">
                  <c:v>34852</c:v>
                </c:pt>
                <c:pt idx="35786">
                  <c:v>34852</c:v>
                </c:pt>
                <c:pt idx="35787">
                  <c:v>34852</c:v>
                </c:pt>
                <c:pt idx="35788">
                  <c:v>34852</c:v>
                </c:pt>
                <c:pt idx="35789">
                  <c:v>34852</c:v>
                </c:pt>
                <c:pt idx="35790">
                  <c:v>34852</c:v>
                </c:pt>
                <c:pt idx="35791">
                  <c:v>34851</c:v>
                </c:pt>
                <c:pt idx="35792">
                  <c:v>34851</c:v>
                </c:pt>
                <c:pt idx="35793">
                  <c:v>34851</c:v>
                </c:pt>
                <c:pt idx="35794">
                  <c:v>34851</c:v>
                </c:pt>
                <c:pt idx="35795">
                  <c:v>34851</c:v>
                </c:pt>
                <c:pt idx="35796">
                  <c:v>34851</c:v>
                </c:pt>
                <c:pt idx="35797">
                  <c:v>34851</c:v>
                </c:pt>
                <c:pt idx="35798">
                  <c:v>34851</c:v>
                </c:pt>
                <c:pt idx="35799">
                  <c:v>34851</c:v>
                </c:pt>
                <c:pt idx="35800">
                  <c:v>34850</c:v>
                </c:pt>
                <c:pt idx="35801">
                  <c:v>34850</c:v>
                </c:pt>
                <c:pt idx="35802">
                  <c:v>34850</c:v>
                </c:pt>
                <c:pt idx="35803">
                  <c:v>34850</c:v>
                </c:pt>
                <c:pt idx="35804">
                  <c:v>34850</c:v>
                </c:pt>
                <c:pt idx="35805">
                  <c:v>34850</c:v>
                </c:pt>
                <c:pt idx="35806">
                  <c:v>34850</c:v>
                </c:pt>
                <c:pt idx="35807">
                  <c:v>34849</c:v>
                </c:pt>
                <c:pt idx="35808">
                  <c:v>34849</c:v>
                </c:pt>
                <c:pt idx="35809">
                  <c:v>34849</c:v>
                </c:pt>
                <c:pt idx="35810">
                  <c:v>34848</c:v>
                </c:pt>
                <c:pt idx="35811">
                  <c:v>34847</c:v>
                </c:pt>
                <c:pt idx="35812">
                  <c:v>34847</c:v>
                </c:pt>
                <c:pt idx="35813">
                  <c:v>34847</c:v>
                </c:pt>
                <c:pt idx="35814">
                  <c:v>34847</c:v>
                </c:pt>
                <c:pt idx="35815">
                  <c:v>34847</c:v>
                </c:pt>
                <c:pt idx="35816">
                  <c:v>34847</c:v>
                </c:pt>
                <c:pt idx="35817">
                  <c:v>34847</c:v>
                </c:pt>
                <c:pt idx="35818">
                  <c:v>34847</c:v>
                </c:pt>
                <c:pt idx="35819">
                  <c:v>34847</c:v>
                </c:pt>
                <c:pt idx="35820">
                  <c:v>34846</c:v>
                </c:pt>
                <c:pt idx="35821">
                  <c:v>34845</c:v>
                </c:pt>
                <c:pt idx="35822">
                  <c:v>34845</c:v>
                </c:pt>
                <c:pt idx="35823">
                  <c:v>34845</c:v>
                </c:pt>
                <c:pt idx="35824">
                  <c:v>34845</c:v>
                </c:pt>
                <c:pt idx="35825">
                  <c:v>34845</c:v>
                </c:pt>
                <c:pt idx="35826">
                  <c:v>34845</c:v>
                </c:pt>
                <c:pt idx="35827">
                  <c:v>34844</c:v>
                </c:pt>
                <c:pt idx="35828">
                  <c:v>34844</c:v>
                </c:pt>
                <c:pt idx="35829">
                  <c:v>34844</c:v>
                </c:pt>
                <c:pt idx="35830">
                  <c:v>34844</c:v>
                </c:pt>
                <c:pt idx="35831">
                  <c:v>34844</c:v>
                </c:pt>
                <c:pt idx="35832">
                  <c:v>34844</c:v>
                </c:pt>
                <c:pt idx="35833">
                  <c:v>34844</c:v>
                </c:pt>
                <c:pt idx="35834">
                  <c:v>34843</c:v>
                </c:pt>
                <c:pt idx="35835">
                  <c:v>34843</c:v>
                </c:pt>
                <c:pt idx="35836">
                  <c:v>34843</c:v>
                </c:pt>
                <c:pt idx="35837">
                  <c:v>34843</c:v>
                </c:pt>
                <c:pt idx="35838">
                  <c:v>34842</c:v>
                </c:pt>
                <c:pt idx="35839">
                  <c:v>34842</c:v>
                </c:pt>
                <c:pt idx="35840">
                  <c:v>34842</c:v>
                </c:pt>
                <c:pt idx="35841">
                  <c:v>34842</c:v>
                </c:pt>
                <c:pt idx="35842">
                  <c:v>34841</c:v>
                </c:pt>
                <c:pt idx="35843">
                  <c:v>34841</c:v>
                </c:pt>
                <c:pt idx="35844">
                  <c:v>34841</c:v>
                </c:pt>
                <c:pt idx="35845">
                  <c:v>34841</c:v>
                </c:pt>
                <c:pt idx="35846">
                  <c:v>34841</c:v>
                </c:pt>
                <c:pt idx="35847">
                  <c:v>34841</c:v>
                </c:pt>
                <c:pt idx="35848">
                  <c:v>34840</c:v>
                </c:pt>
                <c:pt idx="35849">
                  <c:v>34840</c:v>
                </c:pt>
                <c:pt idx="35850">
                  <c:v>34840</c:v>
                </c:pt>
                <c:pt idx="35851">
                  <c:v>34840</c:v>
                </c:pt>
                <c:pt idx="35852">
                  <c:v>34840</c:v>
                </c:pt>
                <c:pt idx="35853">
                  <c:v>34840</c:v>
                </c:pt>
                <c:pt idx="35854">
                  <c:v>34839</c:v>
                </c:pt>
                <c:pt idx="35855">
                  <c:v>34839</c:v>
                </c:pt>
                <c:pt idx="35856">
                  <c:v>34839</c:v>
                </c:pt>
                <c:pt idx="35857">
                  <c:v>34839</c:v>
                </c:pt>
                <c:pt idx="35858">
                  <c:v>34839</c:v>
                </c:pt>
                <c:pt idx="35859">
                  <c:v>34839</c:v>
                </c:pt>
                <c:pt idx="35860">
                  <c:v>34839</c:v>
                </c:pt>
                <c:pt idx="35861">
                  <c:v>34839</c:v>
                </c:pt>
                <c:pt idx="35862">
                  <c:v>34839</c:v>
                </c:pt>
                <c:pt idx="35863">
                  <c:v>34838</c:v>
                </c:pt>
                <c:pt idx="35864">
                  <c:v>34838</c:v>
                </c:pt>
                <c:pt idx="35865">
                  <c:v>34838</c:v>
                </c:pt>
                <c:pt idx="35866">
                  <c:v>34838</c:v>
                </c:pt>
                <c:pt idx="35867">
                  <c:v>34838</c:v>
                </c:pt>
                <c:pt idx="35868">
                  <c:v>34838</c:v>
                </c:pt>
                <c:pt idx="35869">
                  <c:v>34838</c:v>
                </c:pt>
                <c:pt idx="35870">
                  <c:v>34838</c:v>
                </c:pt>
                <c:pt idx="35871">
                  <c:v>34837</c:v>
                </c:pt>
                <c:pt idx="35872">
                  <c:v>34837</c:v>
                </c:pt>
                <c:pt idx="35873">
                  <c:v>34837</c:v>
                </c:pt>
                <c:pt idx="35874">
                  <c:v>34837</c:v>
                </c:pt>
                <c:pt idx="35875">
                  <c:v>34837</c:v>
                </c:pt>
                <c:pt idx="35876">
                  <c:v>34837</c:v>
                </c:pt>
                <c:pt idx="35877">
                  <c:v>34837</c:v>
                </c:pt>
                <c:pt idx="35878">
                  <c:v>34837</c:v>
                </c:pt>
                <c:pt idx="35879">
                  <c:v>34836</c:v>
                </c:pt>
                <c:pt idx="35880">
                  <c:v>34836</c:v>
                </c:pt>
                <c:pt idx="35881">
                  <c:v>34836</c:v>
                </c:pt>
                <c:pt idx="35882">
                  <c:v>34836</c:v>
                </c:pt>
                <c:pt idx="35883">
                  <c:v>34836</c:v>
                </c:pt>
                <c:pt idx="35884">
                  <c:v>34836</c:v>
                </c:pt>
                <c:pt idx="35885">
                  <c:v>34836</c:v>
                </c:pt>
                <c:pt idx="35886">
                  <c:v>34835</c:v>
                </c:pt>
                <c:pt idx="35887">
                  <c:v>34835</c:v>
                </c:pt>
                <c:pt idx="35888">
                  <c:v>34835</c:v>
                </c:pt>
                <c:pt idx="35889">
                  <c:v>34835</c:v>
                </c:pt>
                <c:pt idx="35890">
                  <c:v>34835</c:v>
                </c:pt>
                <c:pt idx="35891">
                  <c:v>34835</c:v>
                </c:pt>
                <c:pt idx="35892">
                  <c:v>34835</c:v>
                </c:pt>
                <c:pt idx="35893">
                  <c:v>34834</c:v>
                </c:pt>
                <c:pt idx="35894">
                  <c:v>34834</c:v>
                </c:pt>
                <c:pt idx="35895">
                  <c:v>34834</c:v>
                </c:pt>
                <c:pt idx="35896">
                  <c:v>34834</c:v>
                </c:pt>
                <c:pt idx="35897">
                  <c:v>34833</c:v>
                </c:pt>
                <c:pt idx="35898">
                  <c:v>34833</c:v>
                </c:pt>
                <c:pt idx="35899">
                  <c:v>34833</c:v>
                </c:pt>
                <c:pt idx="35900">
                  <c:v>34833</c:v>
                </c:pt>
                <c:pt idx="35901">
                  <c:v>34832</c:v>
                </c:pt>
                <c:pt idx="35902">
                  <c:v>34832</c:v>
                </c:pt>
                <c:pt idx="35903">
                  <c:v>34832</c:v>
                </c:pt>
                <c:pt idx="35904">
                  <c:v>34832</c:v>
                </c:pt>
                <c:pt idx="35905">
                  <c:v>34831</c:v>
                </c:pt>
                <c:pt idx="35906">
                  <c:v>34831</c:v>
                </c:pt>
                <c:pt idx="35907">
                  <c:v>34831</c:v>
                </c:pt>
                <c:pt idx="35908">
                  <c:v>34830</c:v>
                </c:pt>
                <c:pt idx="35909">
                  <c:v>34829</c:v>
                </c:pt>
                <c:pt idx="35910">
                  <c:v>34829</c:v>
                </c:pt>
                <c:pt idx="35911">
                  <c:v>34829</c:v>
                </c:pt>
                <c:pt idx="35912">
                  <c:v>34829</c:v>
                </c:pt>
                <c:pt idx="35913">
                  <c:v>34828</c:v>
                </c:pt>
                <c:pt idx="35914">
                  <c:v>34827</c:v>
                </c:pt>
                <c:pt idx="35915">
                  <c:v>34827</c:v>
                </c:pt>
                <c:pt idx="35916">
                  <c:v>34827</c:v>
                </c:pt>
                <c:pt idx="35917">
                  <c:v>34827</c:v>
                </c:pt>
                <c:pt idx="35918">
                  <c:v>34827</c:v>
                </c:pt>
                <c:pt idx="35919">
                  <c:v>34826</c:v>
                </c:pt>
                <c:pt idx="35920">
                  <c:v>34826</c:v>
                </c:pt>
                <c:pt idx="35921">
                  <c:v>34826</c:v>
                </c:pt>
                <c:pt idx="35922">
                  <c:v>34825</c:v>
                </c:pt>
                <c:pt idx="35923">
                  <c:v>34825</c:v>
                </c:pt>
                <c:pt idx="35924">
                  <c:v>34825</c:v>
                </c:pt>
                <c:pt idx="35925">
                  <c:v>34825</c:v>
                </c:pt>
                <c:pt idx="35926">
                  <c:v>34824</c:v>
                </c:pt>
                <c:pt idx="35927">
                  <c:v>34824</c:v>
                </c:pt>
                <c:pt idx="35928">
                  <c:v>34824</c:v>
                </c:pt>
                <c:pt idx="35929">
                  <c:v>34824</c:v>
                </c:pt>
                <c:pt idx="35930">
                  <c:v>34823</c:v>
                </c:pt>
                <c:pt idx="35931">
                  <c:v>34823</c:v>
                </c:pt>
                <c:pt idx="35932">
                  <c:v>34823</c:v>
                </c:pt>
                <c:pt idx="35933">
                  <c:v>34823</c:v>
                </c:pt>
                <c:pt idx="35934">
                  <c:v>34823</c:v>
                </c:pt>
                <c:pt idx="35935">
                  <c:v>34822</c:v>
                </c:pt>
                <c:pt idx="35936">
                  <c:v>34822</c:v>
                </c:pt>
                <c:pt idx="35937">
                  <c:v>34822</c:v>
                </c:pt>
                <c:pt idx="35938">
                  <c:v>34822</c:v>
                </c:pt>
                <c:pt idx="35939">
                  <c:v>34821</c:v>
                </c:pt>
                <c:pt idx="35940">
                  <c:v>34821</c:v>
                </c:pt>
                <c:pt idx="35941">
                  <c:v>34821</c:v>
                </c:pt>
                <c:pt idx="35942">
                  <c:v>34820</c:v>
                </c:pt>
                <c:pt idx="35943">
                  <c:v>34820</c:v>
                </c:pt>
                <c:pt idx="35944">
                  <c:v>34820</c:v>
                </c:pt>
                <c:pt idx="35945">
                  <c:v>34820</c:v>
                </c:pt>
                <c:pt idx="35946">
                  <c:v>34820</c:v>
                </c:pt>
                <c:pt idx="35947">
                  <c:v>34820</c:v>
                </c:pt>
                <c:pt idx="35948">
                  <c:v>34820</c:v>
                </c:pt>
                <c:pt idx="35949">
                  <c:v>34820</c:v>
                </c:pt>
                <c:pt idx="35950">
                  <c:v>34819</c:v>
                </c:pt>
                <c:pt idx="35951">
                  <c:v>34819</c:v>
                </c:pt>
                <c:pt idx="35952">
                  <c:v>34819</c:v>
                </c:pt>
                <c:pt idx="35953">
                  <c:v>34818</c:v>
                </c:pt>
                <c:pt idx="35954">
                  <c:v>34818</c:v>
                </c:pt>
                <c:pt idx="35955">
                  <c:v>34818</c:v>
                </c:pt>
                <c:pt idx="35956">
                  <c:v>34818</c:v>
                </c:pt>
                <c:pt idx="35957">
                  <c:v>34818</c:v>
                </c:pt>
                <c:pt idx="35958">
                  <c:v>34818</c:v>
                </c:pt>
                <c:pt idx="35959">
                  <c:v>34818</c:v>
                </c:pt>
                <c:pt idx="35960">
                  <c:v>34817</c:v>
                </c:pt>
                <c:pt idx="35961">
                  <c:v>34817</c:v>
                </c:pt>
                <c:pt idx="35962">
                  <c:v>34817</c:v>
                </c:pt>
                <c:pt idx="35963">
                  <c:v>34817</c:v>
                </c:pt>
                <c:pt idx="35964">
                  <c:v>34817</c:v>
                </c:pt>
                <c:pt idx="35965">
                  <c:v>34817</c:v>
                </c:pt>
                <c:pt idx="35966">
                  <c:v>34817</c:v>
                </c:pt>
                <c:pt idx="35967">
                  <c:v>34817</c:v>
                </c:pt>
                <c:pt idx="35968">
                  <c:v>34816</c:v>
                </c:pt>
                <c:pt idx="35969">
                  <c:v>34816</c:v>
                </c:pt>
                <c:pt idx="35970">
                  <c:v>34816</c:v>
                </c:pt>
                <c:pt idx="35971">
                  <c:v>34816</c:v>
                </c:pt>
                <c:pt idx="35972">
                  <c:v>34816</c:v>
                </c:pt>
                <c:pt idx="35973">
                  <c:v>34816</c:v>
                </c:pt>
                <c:pt idx="35974">
                  <c:v>34816</c:v>
                </c:pt>
                <c:pt idx="35975">
                  <c:v>34816</c:v>
                </c:pt>
                <c:pt idx="35976">
                  <c:v>34815</c:v>
                </c:pt>
                <c:pt idx="35977">
                  <c:v>34815</c:v>
                </c:pt>
                <c:pt idx="35978">
                  <c:v>34815</c:v>
                </c:pt>
                <c:pt idx="35979">
                  <c:v>34815</c:v>
                </c:pt>
                <c:pt idx="35980">
                  <c:v>34815</c:v>
                </c:pt>
                <c:pt idx="35981">
                  <c:v>34815</c:v>
                </c:pt>
                <c:pt idx="35982">
                  <c:v>34814</c:v>
                </c:pt>
                <c:pt idx="35983">
                  <c:v>34814</c:v>
                </c:pt>
                <c:pt idx="35984">
                  <c:v>34814</c:v>
                </c:pt>
                <c:pt idx="35985">
                  <c:v>34814</c:v>
                </c:pt>
                <c:pt idx="35986">
                  <c:v>34814</c:v>
                </c:pt>
                <c:pt idx="35987">
                  <c:v>34813</c:v>
                </c:pt>
                <c:pt idx="35988">
                  <c:v>34813</c:v>
                </c:pt>
                <c:pt idx="35989">
                  <c:v>34813</c:v>
                </c:pt>
                <c:pt idx="35990">
                  <c:v>34813</c:v>
                </c:pt>
                <c:pt idx="35991">
                  <c:v>34813</c:v>
                </c:pt>
                <c:pt idx="35992">
                  <c:v>34813</c:v>
                </c:pt>
                <c:pt idx="35993">
                  <c:v>34813</c:v>
                </c:pt>
                <c:pt idx="35994">
                  <c:v>34813</c:v>
                </c:pt>
                <c:pt idx="35995">
                  <c:v>34813</c:v>
                </c:pt>
                <c:pt idx="35996">
                  <c:v>34812</c:v>
                </c:pt>
                <c:pt idx="35997">
                  <c:v>34812</c:v>
                </c:pt>
                <c:pt idx="35998">
                  <c:v>34812</c:v>
                </c:pt>
                <c:pt idx="35999">
                  <c:v>34812</c:v>
                </c:pt>
                <c:pt idx="36000">
                  <c:v>34812</c:v>
                </c:pt>
                <c:pt idx="36001">
                  <c:v>34812</c:v>
                </c:pt>
                <c:pt idx="36002">
                  <c:v>34812</c:v>
                </c:pt>
                <c:pt idx="36003">
                  <c:v>34811</c:v>
                </c:pt>
                <c:pt idx="36004">
                  <c:v>34811</c:v>
                </c:pt>
                <c:pt idx="36005">
                  <c:v>34811</c:v>
                </c:pt>
                <c:pt idx="36006">
                  <c:v>34811</c:v>
                </c:pt>
                <c:pt idx="36007">
                  <c:v>34811</c:v>
                </c:pt>
                <c:pt idx="36008">
                  <c:v>34811</c:v>
                </c:pt>
                <c:pt idx="36009">
                  <c:v>34810</c:v>
                </c:pt>
                <c:pt idx="36010">
                  <c:v>34810</c:v>
                </c:pt>
                <c:pt idx="36011">
                  <c:v>34810</c:v>
                </c:pt>
                <c:pt idx="36012">
                  <c:v>34810</c:v>
                </c:pt>
                <c:pt idx="36013">
                  <c:v>34810</c:v>
                </c:pt>
                <c:pt idx="36014">
                  <c:v>34810</c:v>
                </c:pt>
                <c:pt idx="36015">
                  <c:v>34810</c:v>
                </c:pt>
                <c:pt idx="36016">
                  <c:v>34809</c:v>
                </c:pt>
                <c:pt idx="36017">
                  <c:v>34809</c:v>
                </c:pt>
                <c:pt idx="36018">
                  <c:v>34808</c:v>
                </c:pt>
                <c:pt idx="36019">
                  <c:v>34808</c:v>
                </c:pt>
                <c:pt idx="36020">
                  <c:v>34808</c:v>
                </c:pt>
                <c:pt idx="36021">
                  <c:v>34808</c:v>
                </c:pt>
                <c:pt idx="36022">
                  <c:v>34807</c:v>
                </c:pt>
                <c:pt idx="36023">
                  <c:v>34807</c:v>
                </c:pt>
                <c:pt idx="36024">
                  <c:v>34807</c:v>
                </c:pt>
                <c:pt idx="36025">
                  <c:v>34807</c:v>
                </c:pt>
                <c:pt idx="36026">
                  <c:v>34807</c:v>
                </c:pt>
                <c:pt idx="36027">
                  <c:v>34806</c:v>
                </c:pt>
                <c:pt idx="36028">
                  <c:v>34806</c:v>
                </c:pt>
                <c:pt idx="36029">
                  <c:v>34806</c:v>
                </c:pt>
                <c:pt idx="36030">
                  <c:v>34806</c:v>
                </c:pt>
                <c:pt idx="36031">
                  <c:v>34806</c:v>
                </c:pt>
                <c:pt idx="36032">
                  <c:v>34806</c:v>
                </c:pt>
                <c:pt idx="36033">
                  <c:v>34805</c:v>
                </c:pt>
                <c:pt idx="36034">
                  <c:v>34805</c:v>
                </c:pt>
                <c:pt idx="36035">
                  <c:v>34805</c:v>
                </c:pt>
                <c:pt idx="36036">
                  <c:v>34805</c:v>
                </c:pt>
                <c:pt idx="36037">
                  <c:v>34804</c:v>
                </c:pt>
                <c:pt idx="36038">
                  <c:v>34804</c:v>
                </c:pt>
                <c:pt idx="36039">
                  <c:v>34804</c:v>
                </c:pt>
                <c:pt idx="36040">
                  <c:v>34804</c:v>
                </c:pt>
                <c:pt idx="36041">
                  <c:v>34804</c:v>
                </c:pt>
                <c:pt idx="36042">
                  <c:v>34803</c:v>
                </c:pt>
                <c:pt idx="36043">
                  <c:v>34803</c:v>
                </c:pt>
                <c:pt idx="36044">
                  <c:v>34803</c:v>
                </c:pt>
                <c:pt idx="36045">
                  <c:v>34803</c:v>
                </c:pt>
                <c:pt idx="36046">
                  <c:v>34802</c:v>
                </c:pt>
                <c:pt idx="36047">
                  <c:v>34802</c:v>
                </c:pt>
                <c:pt idx="36048">
                  <c:v>34802</c:v>
                </c:pt>
                <c:pt idx="36049">
                  <c:v>34802</c:v>
                </c:pt>
                <c:pt idx="36050">
                  <c:v>34802</c:v>
                </c:pt>
                <c:pt idx="36051">
                  <c:v>34802</c:v>
                </c:pt>
                <c:pt idx="36052">
                  <c:v>34802</c:v>
                </c:pt>
                <c:pt idx="36053">
                  <c:v>34802</c:v>
                </c:pt>
                <c:pt idx="36054">
                  <c:v>34801</c:v>
                </c:pt>
                <c:pt idx="36055">
                  <c:v>34801</c:v>
                </c:pt>
                <c:pt idx="36056">
                  <c:v>34801</c:v>
                </c:pt>
                <c:pt idx="36057">
                  <c:v>34801</c:v>
                </c:pt>
                <c:pt idx="36058">
                  <c:v>34800</c:v>
                </c:pt>
                <c:pt idx="36059">
                  <c:v>34800</c:v>
                </c:pt>
                <c:pt idx="36060">
                  <c:v>34800</c:v>
                </c:pt>
                <c:pt idx="36061">
                  <c:v>34800</c:v>
                </c:pt>
                <c:pt idx="36062">
                  <c:v>34799</c:v>
                </c:pt>
                <c:pt idx="36063">
                  <c:v>34799</c:v>
                </c:pt>
                <c:pt idx="36064">
                  <c:v>34799</c:v>
                </c:pt>
                <c:pt idx="36065">
                  <c:v>34799</c:v>
                </c:pt>
                <c:pt idx="36066">
                  <c:v>34799</c:v>
                </c:pt>
                <c:pt idx="36067">
                  <c:v>34798</c:v>
                </c:pt>
                <c:pt idx="36068">
                  <c:v>34798</c:v>
                </c:pt>
                <c:pt idx="36069">
                  <c:v>34798</c:v>
                </c:pt>
                <c:pt idx="36070">
                  <c:v>34797</c:v>
                </c:pt>
                <c:pt idx="36071">
                  <c:v>34797</c:v>
                </c:pt>
                <c:pt idx="36072">
                  <c:v>34797</c:v>
                </c:pt>
                <c:pt idx="36073">
                  <c:v>34797</c:v>
                </c:pt>
                <c:pt idx="36074">
                  <c:v>34797</c:v>
                </c:pt>
                <c:pt idx="36075">
                  <c:v>34797</c:v>
                </c:pt>
                <c:pt idx="36076">
                  <c:v>34797</c:v>
                </c:pt>
                <c:pt idx="36077">
                  <c:v>34797</c:v>
                </c:pt>
                <c:pt idx="36078">
                  <c:v>34796</c:v>
                </c:pt>
                <c:pt idx="36079">
                  <c:v>34795</c:v>
                </c:pt>
                <c:pt idx="36080">
                  <c:v>34795</c:v>
                </c:pt>
                <c:pt idx="36081">
                  <c:v>34795</c:v>
                </c:pt>
                <c:pt idx="36082">
                  <c:v>34795</c:v>
                </c:pt>
                <c:pt idx="36083">
                  <c:v>34795</c:v>
                </c:pt>
                <c:pt idx="36084">
                  <c:v>34795</c:v>
                </c:pt>
                <c:pt idx="36085">
                  <c:v>34795</c:v>
                </c:pt>
                <c:pt idx="36086">
                  <c:v>34795</c:v>
                </c:pt>
                <c:pt idx="36087">
                  <c:v>34795</c:v>
                </c:pt>
                <c:pt idx="36088">
                  <c:v>34794</c:v>
                </c:pt>
                <c:pt idx="36089">
                  <c:v>34794</c:v>
                </c:pt>
                <c:pt idx="36090">
                  <c:v>34794</c:v>
                </c:pt>
                <c:pt idx="36091">
                  <c:v>34793</c:v>
                </c:pt>
                <c:pt idx="36092">
                  <c:v>34793</c:v>
                </c:pt>
                <c:pt idx="36093">
                  <c:v>34793</c:v>
                </c:pt>
                <c:pt idx="36094">
                  <c:v>34793</c:v>
                </c:pt>
                <c:pt idx="36095">
                  <c:v>34792</c:v>
                </c:pt>
                <c:pt idx="36096">
                  <c:v>34792</c:v>
                </c:pt>
                <c:pt idx="36097">
                  <c:v>34792</c:v>
                </c:pt>
                <c:pt idx="36098">
                  <c:v>34792</c:v>
                </c:pt>
                <c:pt idx="36099">
                  <c:v>34791</c:v>
                </c:pt>
                <c:pt idx="36100">
                  <c:v>34791</c:v>
                </c:pt>
                <c:pt idx="36101">
                  <c:v>34791</c:v>
                </c:pt>
                <c:pt idx="36102">
                  <c:v>34791</c:v>
                </c:pt>
                <c:pt idx="36103">
                  <c:v>34791</c:v>
                </c:pt>
                <c:pt idx="36104">
                  <c:v>34791</c:v>
                </c:pt>
                <c:pt idx="36105">
                  <c:v>34791</c:v>
                </c:pt>
                <c:pt idx="36106">
                  <c:v>34791</c:v>
                </c:pt>
                <c:pt idx="36107">
                  <c:v>34790</c:v>
                </c:pt>
                <c:pt idx="36108">
                  <c:v>34790</c:v>
                </c:pt>
                <c:pt idx="36109">
                  <c:v>34790</c:v>
                </c:pt>
                <c:pt idx="36110">
                  <c:v>34790</c:v>
                </c:pt>
                <c:pt idx="36111">
                  <c:v>34790</c:v>
                </c:pt>
                <c:pt idx="36112">
                  <c:v>34790</c:v>
                </c:pt>
                <c:pt idx="36113">
                  <c:v>34790</c:v>
                </c:pt>
                <c:pt idx="36114">
                  <c:v>34790</c:v>
                </c:pt>
                <c:pt idx="36115">
                  <c:v>34789</c:v>
                </c:pt>
                <c:pt idx="36116">
                  <c:v>34789</c:v>
                </c:pt>
                <c:pt idx="36117">
                  <c:v>34789</c:v>
                </c:pt>
                <c:pt idx="36118">
                  <c:v>34789</c:v>
                </c:pt>
                <c:pt idx="36119">
                  <c:v>34788</c:v>
                </c:pt>
                <c:pt idx="36120">
                  <c:v>34788</c:v>
                </c:pt>
                <c:pt idx="36121">
                  <c:v>34788</c:v>
                </c:pt>
                <c:pt idx="36122">
                  <c:v>34787</c:v>
                </c:pt>
                <c:pt idx="36123">
                  <c:v>34787</c:v>
                </c:pt>
                <c:pt idx="36124">
                  <c:v>34787</c:v>
                </c:pt>
                <c:pt idx="36125">
                  <c:v>34787</c:v>
                </c:pt>
                <c:pt idx="36126">
                  <c:v>34787</c:v>
                </c:pt>
                <c:pt idx="36127">
                  <c:v>34787</c:v>
                </c:pt>
                <c:pt idx="36128">
                  <c:v>34787</c:v>
                </c:pt>
                <c:pt idx="36129">
                  <c:v>34786</c:v>
                </c:pt>
                <c:pt idx="36130">
                  <c:v>34786</c:v>
                </c:pt>
                <c:pt idx="36131">
                  <c:v>34786</c:v>
                </c:pt>
                <c:pt idx="36132">
                  <c:v>34786</c:v>
                </c:pt>
                <c:pt idx="36133">
                  <c:v>34786</c:v>
                </c:pt>
                <c:pt idx="36134">
                  <c:v>34786</c:v>
                </c:pt>
                <c:pt idx="36135">
                  <c:v>34786</c:v>
                </c:pt>
                <c:pt idx="36136">
                  <c:v>34785</c:v>
                </c:pt>
                <c:pt idx="36137">
                  <c:v>34785</c:v>
                </c:pt>
                <c:pt idx="36138">
                  <c:v>34785</c:v>
                </c:pt>
                <c:pt idx="36139">
                  <c:v>34785</c:v>
                </c:pt>
                <c:pt idx="36140">
                  <c:v>34785</c:v>
                </c:pt>
                <c:pt idx="36141">
                  <c:v>34785</c:v>
                </c:pt>
                <c:pt idx="36142">
                  <c:v>34784</c:v>
                </c:pt>
                <c:pt idx="36143">
                  <c:v>34784</c:v>
                </c:pt>
                <c:pt idx="36144">
                  <c:v>34784</c:v>
                </c:pt>
                <c:pt idx="36145">
                  <c:v>34784</c:v>
                </c:pt>
                <c:pt idx="36146">
                  <c:v>34784</c:v>
                </c:pt>
                <c:pt idx="36147">
                  <c:v>34783</c:v>
                </c:pt>
                <c:pt idx="36148">
                  <c:v>34783</c:v>
                </c:pt>
                <c:pt idx="36149">
                  <c:v>34783</c:v>
                </c:pt>
                <c:pt idx="36150">
                  <c:v>34782</c:v>
                </c:pt>
                <c:pt idx="36151">
                  <c:v>34782</c:v>
                </c:pt>
                <c:pt idx="36152">
                  <c:v>34782</c:v>
                </c:pt>
                <c:pt idx="36153">
                  <c:v>34781</c:v>
                </c:pt>
                <c:pt idx="36154">
                  <c:v>34781</c:v>
                </c:pt>
                <c:pt idx="36155">
                  <c:v>34781</c:v>
                </c:pt>
                <c:pt idx="36156">
                  <c:v>34781</c:v>
                </c:pt>
                <c:pt idx="36157">
                  <c:v>34781</c:v>
                </c:pt>
                <c:pt idx="36158">
                  <c:v>34780</c:v>
                </c:pt>
                <c:pt idx="36159">
                  <c:v>34780</c:v>
                </c:pt>
                <c:pt idx="36160">
                  <c:v>34780</c:v>
                </c:pt>
                <c:pt idx="36161">
                  <c:v>34780</c:v>
                </c:pt>
                <c:pt idx="36162">
                  <c:v>34780</c:v>
                </c:pt>
                <c:pt idx="36163">
                  <c:v>34779</c:v>
                </c:pt>
                <c:pt idx="36164">
                  <c:v>34779</c:v>
                </c:pt>
                <c:pt idx="36165">
                  <c:v>34779</c:v>
                </c:pt>
                <c:pt idx="36166">
                  <c:v>34778</c:v>
                </c:pt>
                <c:pt idx="36167">
                  <c:v>34778</c:v>
                </c:pt>
                <c:pt idx="36168">
                  <c:v>34778</c:v>
                </c:pt>
                <c:pt idx="36169">
                  <c:v>34778</c:v>
                </c:pt>
                <c:pt idx="36170">
                  <c:v>34778</c:v>
                </c:pt>
                <c:pt idx="36171">
                  <c:v>34777</c:v>
                </c:pt>
                <c:pt idx="36172">
                  <c:v>34777</c:v>
                </c:pt>
                <c:pt idx="36173">
                  <c:v>34777</c:v>
                </c:pt>
                <c:pt idx="36174">
                  <c:v>34777</c:v>
                </c:pt>
                <c:pt idx="36175">
                  <c:v>34777</c:v>
                </c:pt>
                <c:pt idx="36176">
                  <c:v>34776</c:v>
                </c:pt>
                <c:pt idx="36177">
                  <c:v>34776</c:v>
                </c:pt>
                <c:pt idx="36178">
                  <c:v>34776</c:v>
                </c:pt>
                <c:pt idx="36179">
                  <c:v>34776</c:v>
                </c:pt>
                <c:pt idx="36180">
                  <c:v>34775</c:v>
                </c:pt>
                <c:pt idx="36181">
                  <c:v>34775</c:v>
                </c:pt>
                <c:pt idx="36182">
                  <c:v>34775</c:v>
                </c:pt>
                <c:pt idx="36183">
                  <c:v>34775</c:v>
                </c:pt>
                <c:pt idx="36184">
                  <c:v>34774</c:v>
                </c:pt>
                <c:pt idx="36185">
                  <c:v>34774</c:v>
                </c:pt>
                <c:pt idx="36186">
                  <c:v>34774</c:v>
                </c:pt>
                <c:pt idx="36187">
                  <c:v>34774</c:v>
                </c:pt>
                <c:pt idx="36188">
                  <c:v>34774</c:v>
                </c:pt>
                <c:pt idx="36189">
                  <c:v>34774</c:v>
                </c:pt>
                <c:pt idx="36190">
                  <c:v>34773</c:v>
                </c:pt>
                <c:pt idx="36191">
                  <c:v>34773</c:v>
                </c:pt>
                <c:pt idx="36192">
                  <c:v>34773</c:v>
                </c:pt>
                <c:pt idx="36193">
                  <c:v>34773</c:v>
                </c:pt>
                <c:pt idx="36194">
                  <c:v>34773</c:v>
                </c:pt>
                <c:pt idx="36195">
                  <c:v>34773</c:v>
                </c:pt>
                <c:pt idx="36196">
                  <c:v>34773</c:v>
                </c:pt>
                <c:pt idx="36197">
                  <c:v>34772</c:v>
                </c:pt>
                <c:pt idx="36198">
                  <c:v>34772</c:v>
                </c:pt>
                <c:pt idx="36199">
                  <c:v>34772</c:v>
                </c:pt>
                <c:pt idx="36200">
                  <c:v>34771</c:v>
                </c:pt>
                <c:pt idx="36201">
                  <c:v>34771</c:v>
                </c:pt>
                <c:pt idx="36202">
                  <c:v>34771</c:v>
                </c:pt>
                <c:pt idx="36203">
                  <c:v>34771</c:v>
                </c:pt>
                <c:pt idx="36204">
                  <c:v>34771</c:v>
                </c:pt>
                <c:pt idx="36205">
                  <c:v>34771</c:v>
                </c:pt>
                <c:pt idx="36206">
                  <c:v>34771</c:v>
                </c:pt>
                <c:pt idx="36207">
                  <c:v>34771</c:v>
                </c:pt>
                <c:pt idx="36208">
                  <c:v>34770</c:v>
                </c:pt>
                <c:pt idx="36209">
                  <c:v>34770</c:v>
                </c:pt>
                <c:pt idx="36210">
                  <c:v>34770</c:v>
                </c:pt>
                <c:pt idx="36211">
                  <c:v>34770</c:v>
                </c:pt>
                <c:pt idx="36212">
                  <c:v>34770</c:v>
                </c:pt>
                <c:pt idx="36213">
                  <c:v>34769</c:v>
                </c:pt>
                <c:pt idx="36214">
                  <c:v>34769</c:v>
                </c:pt>
                <c:pt idx="36215">
                  <c:v>34769</c:v>
                </c:pt>
                <c:pt idx="36216">
                  <c:v>34769</c:v>
                </c:pt>
                <c:pt idx="36217">
                  <c:v>34769</c:v>
                </c:pt>
                <c:pt idx="36218">
                  <c:v>34769</c:v>
                </c:pt>
                <c:pt idx="36219">
                  <c:v>34769</c:v>
                </c:pt>
                <c:pt idx="36220">
                  <c:v>34769</c:v>
                </c:pt>
                <c:pt idx="36221">
                  <c:v>34768</c:v>
                </c:pt>
                <c:pt idx="36222">
                  <c:v>34768</c:v>
                </c:pt>
                <c:pt idx="36223">
                  <c:v>34768</c:v>
                </c:pt>
                <c:pt idx="36224">
                  <c:v>34768</c:v>
                </c:pt>
                <c:pt idx="36225">
                  <c:v>34768</c:v>
                </c:pt>
                <c:pt idx="36226">
                  <c:v>34768</c:v>
                </c:pt>
                <c:pt idx="36227">
                  <c:v>34768</c:v>
                </c:pt>
                <c:pt idx="36228">
                  <c:v>34768</c:v>
                </c:pt>
                <c:pt idx="36229">
                  <c:v>34768</c:v>
                </c:pt>
                <c:pt idx="36230">
                  <c:v>34767</c:v>
                </c:pt>
                <c:pt idx="36231">
                  <c:v>34767</c:v>
                </c:pt>
                <c:pt idx="36232">
                  <c:v>34767</c:v>
                </c:pt>
                <c:pt idx="36233">
                  <c:v>34767</c:v>
                </c:pt>
                <c:pt idx="36234">
                  <c:v>34767</c:v>
                </c:pt>
                <c:pt idx="36235">
                  <c:v>34767</c:v>
                </c:pt>
                <c:pt idx="36236">
                  <c:v>34767</c:v>
                </c:pt>
                <c:pt idx="36237">
                  <c:v>34767</c:v>
                </c:pt>
                <c:pt idx="36238">
                  <c:v>34767</c:v>
                </c:pt>
                <c:pt idx="36239">
                  <c:v>34767</c:v>
                </c:pt>
                <c:pt idx="36240">
                  <c:v>34767</c:v>
                </c:pt>
                <c:pt idx="36241">
                  <c:v>34766</c:v>
                </c:pt>
                <c:pt idx="36242">
                  <c:v>34766</c:v>
                </c:pt>
                <c:pt idx="36243">
                  <c:v>34766</c:v>
                </c:pt>
                <c:pt idx="36244">
                  <c:v>34766</c:v>
                </c:pt>
                <c:pt idx="36245">
                  <c:v>34766</c:v>
                </c:pt>
                <c:pt idx="36246">
                  <c:v>34765</c:v>
                </c:pt>
                <c:pt idx="36247">
                  <c:v>34765</c:v>
                </c:pt>
                <c:pt idx="36248">
                  <c:v>34765</c:v>
                </c:pt>
                <c:pt idx="36249">
                  <c:v>34765</c:v>
                </c:pt>
                <c:pt idx="36250">
                  <c:v>34765</c:v>
                </c:pt>
                <c:pt idx="36251">
                  <c:v>34765</c:v>
                </c:pt>
                <c:pt idx="36252">
                  <c:v>34765</c:v>
                </c:pt>
                <c:pt idx="36253">
                  <c:v>34765</c:v>
                </c:pt>
                <c:pt idx="36254">
                  <c:v>34765</c:v>
                </c:pt>
                <c:pt idx="36255">
                  <c:v>34765</c:v>
                </c:pt>
                <c:pt idx="36256">
                  <c:v>34765</c:v>
                </c:pt>
                <c:pt idx="36257">
                  <c:v>34765</c:v>
                </c:pt>
                <c:pt idx="36258">
                  <c:v>34765</c:v>
                </c:pt>
                <c:pt idx="36259">
                  <c:v>34764</c:v>
                </c:pt>
                <c:pt idx="36260">
                  <c:v>34764</c:v>
                </c:pt>
                <c:pt idx="36261">
                  <c:v>34764</c:v>
                </c:pt>
                <c:pt idx="36262">
                  <c:v>34763</c:v>
                </c:pt>
                <c:pt idx="36263">
                  <c:v>34763</c:v>
                </c:pt>
                <c:pt idx="36264">
                  <c:v>34763</c:v>
                </c:pt>
                <c:pt idx="36265">
                  <c:v>34763</c:v>
                </c:pt>
                <c:pt idx="36266">
                  <c:v>34763</c:v>
                </c:pt>
                <c:pt idx="36267">
                  <c:v>34763</c:v>
                </c:pt>
                <c:pt idx="36268">
                  <c:v>34763</c:v>
                </c:pt>
                <c:pt idx="36269">
                  <c:v>34763</c:v>
                </c:pt>
                <c:pt idx="36270">
                  <c:v>34763</c:v>
                </c:pt>
                <c:pt idx="36271">
                  <c:v>34762</c:v>
                </c:pt>
                <c:pt idx="36272">
                  <c:v>34762</c:v>
                </c:pt>
                <c:pt idx="36273">
                  <c:v>34762</c:v>
                </c:pt>
                <c:pt idx="36274">
                  <c:v>34762</c:v>
                </c:pt>
                <c:pt idx="36275">
                  <c:v>34762</c:v>
                </c:pt>
                <c:pt idx="36276">
                  <c:v>34762</c:v>
                </c:pt>
                <c:pt idx="36277">
                  <c:v>34762</c:v>
                </c:pt>
                <c:pt idx="36278">
                  <c:v>34761</c:v>
                </c:pt>
                <c:pt idx="36279">
                  <c:v>34761</c:v>
                </c:pt>
                <c:pt idx="36280">
                  <c:v>34761</c:v>
                </c:pt>
                <c:pt idx="36281">
                  <c:v>34760</c:v>
                </c:pt>
                <c:pt idx="36282">
                  <c:v>34760</c:v>
                </c:pt>
                <c:pt idx="36283">
                  <c:v>34760</c:v>
                </c:pt>
                <c:pt idx="36284">
                  <c:v>34760</c:v>
                </c:pt>
                <c:pt idx="36285">
                  <c:v>34760</c:v>
                </c:pt>
                <c:pt idx="36286">
                  <c:v>34760</c:v>
                </c:pt>
                <c:pt idx="36287">
                  <c:v>34759</c:v>
                </c:pt>
                <c:pt idx="36288">
                  <c:v>34759</c:v>
                </c:pt>
                <c:pt idx="36289">
                  <c:v>34759</c:v>
                </c:pt>
                <c:pt idx="36290">
                  <c:v>34759</c:v>
                </c:pt>
                <c:pt idx="36291">
                  <c:v>34759</c:v>
                </c:pt>
                <c:pt idx="36292">
                  <c:v>34758</c:v>
                </c:pt>
                <c:pt idx="36293">
                  <c:v>34758</c:v>
                </c:pt>
                <c:pt idx="36294">
                  <c:v>34758</c:v>
                </c:pt>
                <c:pt idx="36295">
                  <c:v>34758</c:v>
                </c:pt>
                <c:pt idx="36296">
                  <c:v>34758</c:v>
                </c:pt>
                <c:pt idx="36297">
                  <c:v>34757</c:v>
                </c:pt>
                <c:pt idx="36298">
                  <c:v>34757</c:v>
                </c:pt>
                <c:pt idx="36299">
                  <c:v>34757</c:v>
                </c:pt>
                <c:pt idx="36300">
                  <c:v>34757</c:v>
                </c:pt>
                <c:pt idx="36301">
                  <c:v>34756</c:v>
                </c:pt>
                <c:pt idx="36302">
                  <c:v>34756</c:v>
                </c:pt>
                <c:pt idx="36303">
                  <c:v>34755</c:v>
                </c:pt>
                <c:pt idx="36304">
                  <c:v>34755</c:v>
                </c:pt>
                <c:pt idx="36305">
                  <c:v>34755</c:v>
                </c:pt>
                <c:pt idx="36306">
                  <c:v>34755</c:v>
                </c:pt>
                <c:pt idx="36307">
                  <c:v>34755</c:v>
                </c:pt>
                <c:pt idx="36308">
                  <c:v>34755</c:v>
                </c:pt>
                <c:pt idx="36309">
                  <c:v>34755</c:v>
                </c:pt>
                <c:pt idx="36310">
                  <c:v>34755</c:v>
                </c:pt>
                <c:pt idx="36311">
                  <c:v>34755</c:v>
                </c:pt>
                <c:pt idx="36312">
                  <c:v>34755</c:v>
                </c:pt>
                <c:pt idx="36313">
                  <c:v>34755</c:v>
                </c:pt>
                <c:pt idx="36314">
                  <c:v>34755</c:v>
                </c:pt>
                <c:pt idx="36315">
                  <c:v>34755</c:v>
                </c:pt>
                <c:pt idx="36316">
                  <c:v>34754</c:v>
                </c:pt>
                <c:pt idx="36317">
                  <c:v>34754</c:v>
                </c:pt>
                <c:pt idx="36318">
                  <c:v>34754</c:v>
                </c:pt>
                <c:pt idx="36319">
                  <c:v>34754</c:v>
                </c:pt>
                <c:pt idx="36320">
                  <c:v>34754</c:v>
                </c:pt>
                <c:pt idx="36321">
                  <c:v>34753</c:v>
                </c:pt>
                <c:pt idx="36322">
                  <c:v>34753</c:v>
                </c:pt>
                <c:pt idx="36323">
                  <c:v>34753</c:v>
                </c:pt>
                <c:pt idx="36324">
                  <c:v>34753</c:v>
                </c:pt>
                <c:pt idx="36325">
                  <c:v>34752</c:v>
                </c:pt>
                <c:pt idx="36326">
                  <c:v>34752</c:v>
                </c:pt>
                <c:pt idx="36327">
                  <c:v>34751</c:v>
                </c:pt>
                <c:pt idx="36328">
                  <c:v>34751</c:v>
                </c:pt>
                <c:pt idx="36329">
                  <c:v>34750</c:v>
                </c:pt>
                <c:pt idx="36330">
                  <c:v>34750</c:v>
                </c:pt>
                <c:pt idx="36331">
                  <c:v>34750</c:v>
                </c:pt>
                <c:pt idx="36332">
                  <c:v>34750</c:v>
                </c:pt>
                <c:pt idx="36333">
                  <c:v>34750</c:v>
                </c:pt>
                <c:pt idx="36334">
                  <c:v>34750</c:v>
                </c:pt>
                <c:pt idx="36335">
                  <c:v>34750</c:v>
                </c:pt>
                <c:pt idx="36336">
                  <c:v>34749</c:v>
                </c:pt>
                <c:pt idx="36337">
                  <c:v>34749</c:v>
                </c:pt>
                <c:pt idx="36338">
                  <c:v>34749</c:v>
                </c:pt>
                <c:pt idx="36339">
                  <c:v>34748</c:v>
                </c:pt>
                <c:pt idx="36340">
                  <c:v>34748</c:v>
                </c:pt>
                <c:pt idx="36341">
                  <c:v>34748</c:v>
                </c:pt>
                <c:pt idx="36342">
                  <c:v>34748</c:v>
                </c:pt>
                <c:pt idx="36343">
                  <c:v>34747</c:v>
                </c:pt>
                <c:pt idx="36344">
                  <c:v>34747</c:v>
                </c:pt>
                <c:pt idx="36345">
                  <c:v>34747</c:v>
                </c:pt>
                <c:pt idx="36346">
                  <c:v>34747</c:v>
                </c:pt>
                <c:pt idx="36347">
                  <c:v>34747</c:v>
                </c:pt>
                <c:pt idx="36348">
                  <c:v>34747</c:v>
                </c:pt>
                <c:pt idx="36349">
                  <c:v>34746</c:v>
                </c:pt>
                <c:pt idx="36350">
                  <c:v>34746</c:v>
                </c:pt>
                <c:pt idx="36351">
                  <c:v>34746</c:v>
                </c:pt>
                <c:pt idx="36352">
                  <c:v>34746</c:v>
                </c:pt>
                <c:pt idx="36353">
                  <c:v>34746</c:v>
                </c:pt>
                <c:pt idx="36354">
                  <c:v>34746</c:v>
                </c:pt>
                <c:pt idx="36355">
                  <c:v>34746</c:v>
                </c:pt>
                <c:pt idx="36356">
                  <c:v>34745</c:v>
                </c:pt>
                <c:pt idx="36357">
                  <c:v>34745</c:v>
                </c:pt>
                <c:pt idx="36358">
                  <c:v>34745</c:v>
                </c:pt>
                <c:pt idx="36359">
                  <c:v>34744</c:v>
                </c:pt>
                <c:pt idx="36360">
                  <c:v>34744</c:v>
                </c:pt>
                <c:pt idx="36361">
                  <c:v>34744</c:v>
                </c:pt>
                <c:pt idx="36362">
                  <c:v>34744</c:v>
                </c:pt>
                <c:pt idx="36363">
                  <c:v>34744</c:v>
                </c:pt>
                <c:pt idx="36364">
                  <c:v>34743</c:v>
                </c:pt>
                <c:pt idx="36365">
                  <c:v>34743</c:v>
                </c:pt>
                <c:pt idx="36366">
                  <c:v>34743</c:v>
                </c:pt>
                <c:pt idx="36367">
                  <c:v>34743</c:v>
                </c:pt>
                <c:pt idx="36368">
                  <c:v>34743</c:v>
                </c:pt>
                <c:pt idx="36369">
                  <c:v>34743</c:v>
                </c:pt>
                <c:pt idx="36370">
                  <c:v>34743</c:v>
                </c:pt>
                <c:pt idx="36371">
                  <c:v>34743</c:v>
                </c:pt>
                <c:pt idx="36372">
                  <c:v>34742</c:v>
                </c:pt>
                <c:pt idx="36373">
                  <c:v>34742</c:v>
                </c:pt>
                <c:pt idx="36374">
                  <c:v>34742</c:v>
                </c:pt>
                <c:pt idx="36375">
                  <c:v>34742</c:v>
                </c:pt>
                <c:pt idx="36376">
                  <c:v>34742</c:v>
                </c:pt>
                <c:pt idx="36377">
                  <c:v>34742</c:v>
                </c:pt>
                <c:pt idx="36378">
                  <c:v>34742</c:v>
                </c:pt>
                <c:pt idx="36379">
                  <c:v>34742</c:v>
                </c:pt>
                <c:pt idx="36380">
                  <c:v>34742</c:v>
                </c:pt>
                <c:pt idx="36381">
                  <c:v>34741</c:v>
                </c:pt>
                <c:pt idx="36382">
                  <c:v>34741</c:v>
                </c:pt>
                <c:pt idx="36383">
                  <c:v>34741</c:v>
                </c:pt>
                <c:pt idx="36384">
                  <c:v>34741</c:v>
                </c:pt>
                <c:pt idx="36385">
                  <c:v>34741</c:v>
                </c:pt>
                <c:pt idx="36386">
                  <c:v>34741</c:v>
                </c:pt>
                <c:pt idx="36387">
                  <c:v>34741</c:v>
                </c:pt>
                <c:pt idx="36388">
                  <c:v>34741</c:v>
                </c:pt>
                <c:pt idx="36389">
                  <c:v>34740</c:v>
                </c:pt>
                <c:pt idx="36390">
                  <c:v>34740</c:v>
                </c:pt>
                <c:pt idx="36391">
                  <c:v>34740</c:v>
                </c:pt>
                <c:pt idx="36392">
                  <c:v>34740</c:v>
                </c:pt>
                <c:pt idx="36393">
                  <c:v>34740</c:v>
                </c:pt>
                <c:pt idx="36394">
                  <c:v>34740</c:v>
                </c:pt>
                <c:pt idx="36395">
                  <c:v>34740</c:v>
                </c:pt>
                <c:pt idx="36396">
                  <c:v>34739</c:v>
                </c:pt>
                <c:pt idx="36397">
                  <c:v>34739</c:v>
                </c:pt>
                <c:pt idx="36398">
                  <c:v>34739</c:v>
                </c:pt>
                <c:pt idx="36399">
                  <c:v>34739</c:v>
                </c:pt>
                <c:pt idx="36400">
                  <c:v>34738</c:v>
                </c:pt>
                <c:pt idx="36401">
                  <c:v>34738</c:v>
                </c:pt>
                <c:pt idx="36402">
                  <c:v>34738</c:v>
                </c:pt>
                <c:pt idx="36403">
                  <c:v>34738</c:v>
                </c:pt>
                <c:pt idx="36404">
                  <c:v>34738</c:v>
                </c:pt>
                <c:pt idx="36405">
                  <c:v>34738</c:v>
                </c:pt>
                <c:pt idx="36406">
                  <c:v>34738</c:v>
                </c:pt>
                <c:pt idx="36407">
                  <c:v>34738</c:v>
                </c:pt>
                <c:pt idx="36408">
                  <c:v>34738</c:v>
                </c:pt>
                <c:pt idx="36409">
                  <c:v>34738</c:v>
                </c:pt>
                <c:pt idx="36410">
                  <c:v>34738</c:v>
                </c:pt>
                <c:pt idx="36411">
                  <c:v>34737</c:v>
                </c:pt>
                <c:pt idx="36412">
                  <c:v>34737</c:v>
                </c:pt>
                <c:pt idx="36413">
                  <c:v>34737</c:v>
                </c:pt>
                <c:pt idx="36414">
                  <c:v>34736</c:v>
                </c:pt>
                <c:pt idx="36415">
                  <c:v>34736</c:v>
                </c:pt>
                <c:pt idx="36416">
                  <c:v>34736</c:v>
                </c:pt>
                <c:pt idx="36417">
                  <c:v>34736</c:v>
                </c:pt>
                <c:pt idx="36418">
                  <c:v>34736</c:v>
                </c:pt>
                <c:pt idx="36419">
                  <c:v>34735</c:v>
                </c:pt>
                <c:pt idx="36420">
                  <c:v>34735</c:v>
                </c:pt>
                <c:pt idx="36421">
                  <c:v>34735</c:v>
                </c:pt>
                <c:pt idx="36422">
                  <c:v>34735</c:v>
                </c:pt>
                <c:pt idx="36423">
                  <c:v>34735</c:v>
                </c:pt>
                <c:pt idx="36424">
                  <c:v>34734</c:v>
                </c:pt>
                <c:pt idx="36425">
                  <c:v>34734</c:v>
                </c:pt>
                <c:pt idx="36426">
                  <c:v>34734</c:v>
                </c:pt>
                <c:pt idx="36427">
                  <c:v>34734</c:v>
                </c:pt>
                <c:pt idx="36428">
                  <c:v>34734</c:v>
                </c:pt>
                <c:pt idx="36429">
                  <c:v>34734</c:v>
                </c:pt>
                <c:pt idx="36430">
                  <c:v>34734</c:v>
                </c:pt>
                <c:pt idx="36431">
                  <c:v>34733</c:v>
                </c:pt>
                <c:pt idx="36432">
                  <c:v>34733</c:v>
                </c:pt>
                <c:pt idx="36433">
                  <c:v>34733</c:v>
                </c:pt>
                <c:pt idx="36434">
                  <c:v>34732</c:v>
                </c:pt>
                <c:pt idx="36435">
                  <c:v>34732</c:v>
                </c:pt>
                <c:pt idx="36436">
                  <c:v>34732</c:v>
                </c:pt>
                <c:pt idx="36437">
                  <c:v>34732</c:v>
                </c:pt>
                <c:pt idx="36438">
                  <c:v>34732</c:v>
                </c:pt>
                <c:pt idx="36439">
                  <c:v>34732</c:v>
                </c:pt>
                <c:pt idx="36440">
                  <c:v>34732</c:v>
                </c:pt>
                <c:pt idx="36441">
                  <c:v>34732</c:v>
                </c:pt>
                <c:pt idx="36442">
                  <c:v>34732</c:v>
                </c:pt>
                <c:pt idx="36443">
                  <c:v>34731</c:v>
                </c:pt>
                <c:pt idx="36444">
                  <c:v>34731</c:v>
                </c:pt>
                <c:pt idx="36445">
                  <c:v>34731</c:v>
                </c:pt>
                <c:pt idx="36446">
                  <c:v>34731</c:v>
                </c:pt>
                <c:pt idx="36447">
                  <c:v>34731</c:v>
                </c:pt>
                <c:pt idx="36448">
                  <c:v>34731</c:v>
                </c:pt>
                <c:pt idx="36449">
                  <c:v>34731</c:v>
                </c:pt>
                <c:pt idx="36450">
                  <c:v>34731</c:v>
                </c:pt>
                <c:pt idx="36451">
                  <c:v>34731</c:v>
                </c:pt>
                <c:pt idx="36452">
                  <c:v>34731</c:v>
                </c:pt>
                <c:pt idx="36453">
                  <c:v>34730</c:v>
                </c:pt>
                <c:pt idx="36454">
                  <c:v>34730</c:v>
                </c:pt>
                <c:pt idx="36455">
                  <c:v>34730</c:v>
                </c:pt>
                <c:pt idx="36456">
                  <c:v>34730</c:v>
                </c:pt>
                <c:pt idx="36457">
                  <c:v>34730</c:v>
                </c:pt>
                <c:pt idx="36458">
                  <c:v>34730</c:v>
                </c:pt>
                <c:pt idx="36459">
                  <c:v>34729</c:v>
                </c:pt>
                <c:pt idx="36460">
                  <c:v>34729</c:v>
                </c:pt>
                <c:pt idx="36461">
                  <c:v>34729</c:v>
                </c:pt>
                <c:pt idx="36462">
                  <c:v>34729</c:v>
                </c:pt>
                <c:pt idx="36463">
                  <c:v>34729</c:v>
                </c:pt>
                <c:pt idx="36464">
                  <c:v>34728</c:v>
                </c:pt>
                <c:pt idx="36465">
                  <c:v>34728</c:v>
                </c:pt>
                <c:pt idx="36466">
                  <c:v>34727</c:v>
                </c:pt>
                <c:pt idx="36467">
                  <c:v>34727</c:v>
                </c:pt>
                <c:pt idx="36468">
                  <c:v>34727</c:v>
                </c:pt>
                <c:pt idx="36469">
                  <c:v>34727</c:v>
                </c:pt>
                <c:pt idx="36470">
                  <c:v>34727</c:v>
                </c:pt>
                <c:pt idx="36471">
                  <c:v>34727</c:v>
                </c:pt>
                <c:pt idx="36472">
                  <c:v>34727</c:v>
                </c:pt>
                <c:pt idx="36473">
                  <c:v>34727</c:v>
                </c:pt>
                <c:pt idx="36474">
                  <c:v>34727</c:v>
                </c:pt>
                <c:pt idx="36475">
                  <c:v>34726</c:v>
                </c:pt>
                <c:pt idx="36476">
                  <c:v>34726</c:v>
                </c:pt>
                <c:pt idx="36477">
                  <c:v>34726</c:v>
                </c:pt>
                <c:pt idx="36478">
                  <c:v>34726</c:v>
                </c:pt>
                <c:pt idx="36479">
                  <c:v>34726</c:v>
                </c:pt>
                <c:pt idx="36480">
                  <c:v>34725</c:v>
                </c:pt>
                <c:pt idx="36481">
                  <c:v>34725</c:v>
                </c:pt>
                <c:pt idx="36482">
                  <c:v>34725</c:v>
                </c:pt>
                <c:pt idx="36483">
                  <c:v>34725</c:v>
                </c:pt>
                <c:pt idx="36484">
                  <c:v>34725</c:v>
                </c:pt>
                <c:pt idx="36485">
                  <c:v>34725</c:v>
                </c:pt>
                <c:pt idx="36486">
                  <c:v>34725</c:v>
                </c:pt>
                <c:pt idx="36487">
                  <c:v>34724</c:v>
                </c:pt>
                <c:pt idx="36488">
                  <c:v>34724</c:v>
                </c:pt>
                <c:pt idx="36489">
                  <c:v>34724</c:v>
                </c:pt>
                <c:pt idx="36490">
                  <c:v>34724</c:v>
                </c:pt>
                <c:pt idx="36491">
                  <c:v>34724</c:v>
                </c:pt>
                <c:pt idx="36492">
                  <c:v>34723</c:v>
                </c:pt>
                <c:pt idx="36493">
                  <c:v>34723</c:v>
                </c:pt>
                <c:pt idx="36494">
                  <c:v>34722</c:v>
                </c:pt>
                <c:pt idx="36495">
                  <c:v>34722</c:v>
                </c:pt>
                <c:pt idx="36496">
                  <c:v>34722</c:v>
                </c:pt>
                <c:pt idx="36497">
                  <c:v>34722</c:v>
                </c:pt>
                <c:pt idx="36498">
                  <c:v>34722</c:v>
                </c:pt>
                <c:pt idx="36499">
                  <c:v>34722</c:v>
                </c:pt>
                <c:pt idx="36500">
                  <c:v>34722</c:v>
                </c:pt>
                <c:pt idx="36501">
                  <c:v>34721</c:v>
                </c:pt>
                <c:pt idx="36502">
                  <c:v>34721</c:v>
                </c:pt>
                <c:pt idx="36503">
                  <c:v>34721</c:v>
                </c:pt>
                <c:pt idx="36504">
                  <c:v>34721</c:v>
                </c:pt>
                <c:pt idx="36505">
                  <c:v>34721</c:v>
                </c:pt>
                <c:pt idx="36506">
                  <c:v>34720</c:v>
                </c:pt>
                <c:pt idx="36507">
                  <c:v>34720</c:v>
                </c:pt>
                <c:pt idx="36508">
                  <c:v>34720</c:v>
                </c:pt>
                <c:pt idx="36509">
                  <c:v>34720</c:v>
                </c:pt>
                <c:pt idx="36510">
                  <c:v>34719</c:v>
                </c:pt>
                <c:pt idx="36511">
                  <c:v>34719</c:v>
                </c:pt>
                <c:pt idx="36512">
                  <c:v>34719</c:v>
                </c:pt>
                <c:pt idx="36513">
                  <c:v>34719</c:v>
                </c:pt>
                <c:pt idx="36514">
                  <c:v>34719</c:v>
                </c:pt>
                <c:pt idx="36515">
                  <c:v>34719</c:v>
                </c:pt>
                <c:pt idx="36516">
                  <c:v>34719</c:v>
                </c:pt>
                <c:pt idx="36517">
                  <c:v>34718</c:v>
                </c:pt>
                <c:pt idx="36518">
                  <c:v>34718</c:v>
                </c:pt>
                <c:pt idx="36519">
                  <c:v>34718</c:v>
                </c:pt>
                <c:pt idx="36520">
                  <c:v>34718</c:v>
                </c:pt>
                <c:pt idx="36521">
                  <c:v>34717</c:v>
                </c:pt>
                <c:pt idx="36522">
                  <c:v>34717</c:v>
                </c:pt>
                <c:pt idx="36523">
                  <c:v>34717</c:v>
                </c:pt>
                <c:pt idx="36524">
                  <c:v>34717</c:v>
                </c:pt>
                <c:pt idx="36525">
                  <c:v>34717</c:v>
                </c:pt>
                <c:pt idx="36526">
                  <c:v>34717</c:v>
                </c:pt>
                <c:pt idx="36527">
                  <c:v>34717</c:v>
                </c:pt>
                <c:pt idx="36528">
                  <c:v>34717</c:v>
                </c:pt>
                <c:pt idx="36529">
                  <c:v>34716</c:v>
                </c:pt>
                <c:pt idx="36530">
                  <c:v>34716</c:v>
                </c:pt>
                <c:pt idx="36531">
                  <c:v>34716</c:v>
                </c:pt>
                <c:pt idx="36532">
                  <c:v>34716</c:v>
                </c:pt>
                <c:pt idx="36533">
                  <c:v>34716</c:v>
                </c:pt>
                <c:pt idx="36534">
                  <c:v>34716</c:v>
                </c:pt>
                <c:pt idx="36535">
                  <c:v>34715</c:v>
                </c:pt>
                <c:pt idx="36536">
                  <c:v>34715</c:v>
                </c:pt>
                <c:pt idx="36537">
                  <c:v>34715</c:v>
                </c:pt>
                <c:pt idx="36538">
                  <c:v>34715</c:v>
                </c:pt>
                <c:pt idx="36539">
                  <c:v>34715</c:v>
                </c:pt>
                <c:pt idx="36540">
                  <c:v>34715</c:v>
                </c:pt>
                <c:pt idx="36541">
                  <c:v>34715</c:v>
                </c:pt>
                <c:pt idx="36542">
                  <c:v>34714</c:v>
                </c:pt>
                <c:pt idx="36543">
                  <c:v>34714</c:v>
                </c:pt>
                <c:pt idx="36544">
                  <c:v>34714</c:v>
                </c:pt>
                <c:pt idx="36545">
                  <c:v>34714</c:v>
                </c:pt>
                <c:pt idx="36546">
                  <c:v>34714</c:v>
                </c:pt>
                <c:pt idx="36547">
                  <c:v>34713</c:v>
                </c:pt>
                <c:pt idx="36548">
                  <c:v>34713</c:v>
                </c:pt>
                <c:pt idx="36549">
                  <c:v>34713</c:v>
                </c:pt>
                <c:pt idx="36550">
                  <c:v>34713</c:v>
                </c:pt>
                <c:pt idx="36551">
                  <c:v>34713</c:v>
                </c:pt>
                <c:pt idx="36552">
                  <c:v>34713</c:v>
                </c:pt>
                <c:pt idx="36553">
                  <c:v>34712</c:v>
                </c:pt>
                <c:pt idx="36554">
                  <c:v>34712</c:v>
                </c:pt>
                <c:pt idx="36555">
                  <c:v>34712</c:v>
                </c:pt>
                <c:pt idx="36556">
                  <c:v>34712</c:v>
                </c:pt>
                <c:pt idx="36557">
                  <c:v>34712</c:v>
                </c:pt>
                <c:pt idx="36558">
                  <c:v>34711</c:v>
                </c:pt>
                <c:pt idx="36559">
                  <c:v>34711</c:v>
                </c:pt>
                <c:pt idx="36560">
                  <c:v>34711</c:v>
                </c:pt>
                <c:pt idx="36561">
                  <c:v>34711</c:v>
                </c:pt>
                <c:pt idx="36562">
                  <c:v>34710</c:v>
                </c:pt>
                <c:pt idx="36563">
                  <c:v>34710</c:v>
                </c:pt>
                <c:pt idx="36564">
                  <c:v>34710</c:v>
                </c:pt>
                <c:pt idx="36565">
                  <c:v>34710</c:v>
                </c:pt>
                <c:pt idx="36566">
                  <c:v>34710</c:v>
                </c:pt>
                <c:pt idx="36567">
                  <c:v>34709</c:v>
                </c:pt>
                <c:pt idx="36568">
                  <c:v>34709</c:v>
                </c:pt>
                <c:pt idx="36569">
                  <c:v>34708</c:v>
                </c:pt>
                <c:pt idx="36570">
                  <c:v>34708</c:v>
                </c:pt>
                <c:pt idx="36571">
                  <c:v>34708</c:v>
                </c:pt>
                <c:pt idx="36572">
                  <c:v>34708</c:v>
                </c:pt>
                <c:pt idx="36573">
                  <c:v>34708</c:v>
                </c:pt>
                <c:pt idx="36574">
                  <c:v>34708</c:v>
                </c:pt>
                <c:pt idx="36575">
                  <c:v>34708</c:v>
                </c:pt>
                <c:pt idx="36576">
                  <c:v>34707</c:v>
                </c:pt>
                <c:pt idx="36577">
                  <c:v>34707</c:v>
                </c:pt>
                <c:pt idx="36578">
                  <c:v>34707</c:v>
                </c:pt>
                <c:pt idx="36579">
                  <c:v>34707</c:v>
                </c:pt>
                <c:pt idx="36580">
                  <c:v>34706</c:v>
                </c:pt>
                <c:pt idx="36581">
                  <c:v>34706</c:v>
                </c:pt>
                <c:pt idx="36582">
                  <c:v>34706</c:v>
                </c:pt>
                <c:pt idx="36583">
                  <c:v>34706</c:v>
                </c:pt>
                <c:pt idx="36584">
                  <c:v>34705</c:v>
                </c:pt>
                <c:pt idx="36585">
                  <c:v>34705</c:v>
                </c:pt>
                <c:pt idx="36586">
                  <c:v>34705</c:v>
                </c:pt>
                <c:pt idx="36587">
                  <c:v>34705</c:v>
                </c:pt>
                <c:pt idx="36588">
                  <c:v>34705</c:v>
                </c:pt>
                <c:pt idx="36589">
                  <c:v>34705</c:v>
                </c:pt>
                <c:pt idx="36590">
                  <c:v>34705</c:v>
                </c:pt>
                <c:pt idx="36591">
                  <c:v>34705</c:v>
                </c:pt>
                <c:pt idx="36592">
                  <c:v>34704</c:v>
                </c:pt>
                <c:pt idx="36593">
                  <c:v>34704</c:v>
                </c:pt>
                <c:pt idx="36594">
                  <c:v>34704</c:v>
                </c:pt>
                <c:pt idx="36595">
                  <c:v>34704</c:v>
                </c:pt>
                <c:pt idx="36596">
                  <c:v>34704</c:v>
                </c:pt>
                <c:pt idx="36597">
                  <c:v>34704</c:v>
                </c:pt>
                <c:pt idx="36598">
                  <c:v>34703</c:v>
                </c:pt>
                <c:pt idx="36599">
                  <c:v>34703</c:v>
                </c:pt>
                <c:pt idx="36600">
                  <c:v>34703</c:v>
                </c:pt>
                <c:pt idx="36601">
                  <c:v>34703</c:v>
                </c:pt>
                <c:pt idx="36602">
                  <c:v>34703</c:v>
                </c:pt>
                <c:pt idx="36603">
                  <c:v>34702</c:v>
                </c:pt>
                <c:pt idx="36604">
                  <c:v>34702</c:v>
                </c:pt>
                <c:pt idx="36605">
                  <c:v>34702</c:v>
                </c:pt>
                <c:pt idx="36606">
                  <c:v>34702</c:v>
                </c:pt>
                <c:pt idx="36607">
                  <c:v>34701</c:v>
                </c:pt>
                <c:pt idx="36608">
                  <c:v>34701</c:v>
                </c:pt>
                <c:pt idx="36609">
                  <c:v>34701</c:v>
                </c:pt>
                <c:pt idx="36610">
                  <c:v>34701</c:v>
                </c:pt>
                <c:pt idx="36611">
                  <c:v>34701</c:v>
                </c:pt>
                <c:pt idx="36612">
                  <c:v>34700</c:v>
                </c:pt>
                <c:pt idx="36613">
                  <c:v>34700</c:v>
                </c:pt>
                <c:pt idx="36614">
                  <c:v>34700</c:v>
                </c:pt>
                <c:pt idx="36615">
                  <c:v>34699</c:v>
                </c:pt>
                <c:pt idx="36616">
                  <c:v>34699</c:v>
                </c:pt>
                <c:pt idx="36617">
                  <c:v>34699</c:v>
                </c:pt>
                <c:pt idx="36618">
                  <c:v>34699</c:v>
                </c:pt>
                <c:pt idx="36619">
                  <c:v>34699</c:v>
                </c:pt>
                <c:pt idx="36620">
                  <c:v>34699</c:v>
                </c:pt>
                <c:pt idx="36621">
                  <c:v>34699</c:v>
                </c:pt>
                <c:pt idx="36622">
                  <c:v>34699</c:v>
                </c:pt>
                <c:pt idx="36623">
                  <c:v>34699</c:v>
                </c:pt>
                <c:pt idx="36624">
                  <c:v>34699</c:v>
                </c:pt>
                <c:pt idx="36625">
                  <c:v>34698</c:v>
                </c:pt>
                <c:pt idx="36626">
                  <c:v>34698</c:v>
                </c:pt>
                <c:pt idx="36627">
                  <c:v>34698</c:v>
                </c:pt>
                <c:pt idx="36628">
                  <c:v>34698</c:v>
                </c:pt>
                <c:pt idx="36629">
                  <c:v>34698</c:v>
                </c:pt>
                <c:pt idx="36630">
                  <c:v>34698</c:v>
                </c:pt>
                <c:pt idx="36631">
                  <c:v>34698</c:v>
                </c:pt>
                <c:pt idx="36632">
                  <c:v>34698</c:v>
                </c:pt>
                <c:pt idx="36633">
                  <c:v>34698</c:v>
                </c:pt>
                <c:pt idx="36634">
                  <c:v>34698</c:v>
                </c:pt>
                <c:pt idx="36635">
                  <c:v>34698</c:v>
                </c:pt>
                <c:pt idx="36636">
                  <c:v>34697</c:v>
                </c:pt>
                <c:pt idx="36637">
                  <c:v>34697</c:v>
                </c:pt>
                <c:pt idx="36638">
                  <c:v>34697</c:v>
                </c:pt>
                <c:pt idx="36639">
                  <c:v>34697</c:v>
                </c:pt>
                <c:pt idx="36640">
                  <c:v>34697</c:v>
                </c:pt>
                <c:pt idx="36641">
                  <c:v>34697</c:v>
                </c:pt>
                <c:pt idx="36642">
                  <c:v>34697</c:v>
                </c:pt>
                <c:pt idx="36643">
                  <c:v>34696</c:v>
                </c:pt>
                <c:pt idx="36644">
                  <c:v>34696</c:v>
                </c:pt>
                <c:pt idx="36645">
                  <c:v>34696</c:v>
                </c:pt>
                <c:pt idx="36646">
                  <c:v>34696</c:v>
                </c:pt>
                <c:pt idx="36647">
                  <c:v>34696</c:v>
                </c:pt>
                <c:pt idx="36648">
                  <c:v>34696</c:v>
                </c:pt>
                <c:pt idx="36649">
                  <c:v>34696</c:v>
                </c:pt>
                <c:pt idx="36650">
                  <c:v>34696</c:v>
                </c:pt>
                <c:pt idx="36651">
                  <c:v>34696</c:v>
                </c:pt>
                <c:pt idx="36652">
                  <c:v>34695</c:v>
                </c:pt>
                <c:pt idx="36653">
                  <c:v>34695</c:v>
                </c:pt>
                <c:pt idx="36654">
                  <c:v>34695</c:v>
                </c:pt>
                <c:pt idx="36655">
                  <c:v>34695</c:v>
                </c:pt>
                <c:pt idx="36656">
                  <c:v>34695</c:v>
                </c:pt>
                <c:pt idx="36657">
                  <c:v>34695</c:v>
                </c:pt>
                <c:pt idx="36658">
                  <c:v>34694</c:v>
                </c:pt>
                <c:pt idx="36659">
                  <c:v>34694</c:v>
                </c:pt>
                <c:pt idx="36660">
                  <c:v>34694</c:v>
                </c:pt>
                <c:pt idx="36661">
                  <c:v>34693</c:v>
                </c:pt>
                <c:pt idx="36662">
                  <c:v>34693</c:v>
                </c:pt>
                <c:pt idx="36663">
                  <c:v>34693</c:v>
                </c:pt>
                <c:pt idx="36664">
                  <c:v>34692</c:v>
                </c:pt>
                <c:pt idx="36665">
                  <c:v>34692</c:v>
                </c:pt>
                <c:pt idx="36666">
                  <c:v>34692</c:v>
                </c:pt>
                <c:pt idx="36667">
                  <c:v>34692</c:v>
                </c:pt>
                <c:pt idx="36668">
                  <c:v>34692</c:v>
                </c:pt>
                <c:pt idx="36669">
                  <c:v>34692</c:v>
                </c:pt>
                <c:pt idx="36670">
                  <c:v>34692</c:v>
                </c:pt>
                <c:pt idx="36671">
                  <c:v>34692</c:v>
                </c:pt>
                <c:pt idx="36672">
                  <c:v>34691</c:v>
                </c:pt>
                <c:pt idx="36673">
                  <c:v>34691</c:v>
                </c:pt>
                <c:pt idx="36674">
                  <c:v>34691</c:v>
                </c:pt>
                <c:pt idx="36675">
                  <c:v>34691</c:v>
                </c:pt>
                <c:pt idx="36676">
                  <c:v>34691</c:v>
                </c:pt>
                <c:pt idx="36677">
                  <c:v>34691</c:v>
                </c:pt>
                <c:pt idx="36678">
                  <c:v>34690</c:v>
                </c:pt>
                <c:pt idx="36679">
                  <c:v>34690</c:v>
                </c:pt>
                <c:pt idx="36680">
                  <c:v>34690</c:v>
                </c:pt>
                <c:pt idx="36681">
                  <c:v>34690</c:v>
                </c:pt>
                <c:pt idx="36682">
                  <c:v>34690</c:v>
                </c:pt>
                <c:pt idx="36683">
                  <c:v>34689</c:v>
                </c:pt>
                <c:pt idx="36684">
                  <c:v>34689</c:v>
                </c:pt>
                <c:pt idx="36685">
                  <c:v>34689</c:v>
                </c:pt>
                <c:pt idx="36686">
                  <c:v>34689</c:v>
                </c:pt>
                <c:pt idx="36687">
                  <c:v>34689</c:v>
                </c:pt>
                <c:pt idx="36688">
                  <c:v>34689</c:v>
                </c:pt>
                <c:pt idx="36689">
                  <c:v>34688</c:v>
                </c:pt>
                <c:pt idx="36690">
                  <c:v>34688</c:v>
                </c:pt>
                <c:pt idx="36691">
                  <c:v>34688</c:v>
                </c:pt>
                <c:pt idx="36692">
                  <c:v>34688</c:v>
                </c:pt>
                <c:pt idx="36693">
                  <c:v>34688</c:v>
                </c:pt>
                <c:pt idx="36694">
                  <c:v>34688</c:v>
                </c:pt>
                <c:pt idx="36695">
                  <c:v>34687</c:v>
                </c:pt>
                <c:pt idx="36696">
                  <c:v>34687</c:v>
                </c:pt>
                <c:pt idx="36697">
                  <c:v>34686</c:v>
                </c:pt>
                <c:pt idx="36698">
                  <c:v>34686</c:v>
                </c:pt>
                <c:pt idx="36699">
                  <c:v>34686</c:v>
                </c:pt>
                <c:pt idx="36700">
                  <c:v>34686</c:v>
                </c:pt>
                <c:pt idx="36701">
                  <c:v>34686</c:v>
                </c:pt>
                <c:pt idx="36702">
                  <c:v>34685</c:v>
                </c:pt>
                <c:pt idx="36703">
                  <c:v>34685</c:v>
                </c:pt>
                <c:pt idx="36704">
                  <c:v>34685</c:v>
                </c:pt>
                <c:pt idx="36705">
                  <c:v>34684</c:v>
                </c:pt>
                <c:pt idx="36706">
                  <c:v>34684</c:v>
                </c:pt>
                <c:pt idx="36707">
                  <c:v>34683</c:v>
                </c:pt>
                <c:pt idx="36708">
                  <c:v>34683</c:v>
                </c:pt>
                <c:pt idx="36709">
                  <c:v>34683</c:v>
                </c:pt>
                <c:pt idx="36710">
                  <c:v>34683</c:v>
                </c:pt>
                <c:pt idx="36711">
                  <c:v>34682</c:v>
                </c:pt>
                <c:pt idx="36712">
                  <c:v>34682</c:v>
                </c:pt>
                <c:pt idx="36713">
                  <c:v>34682</c:v>
                </c:pt>
                <c:pt idx="36714">
                  <c:v>34682</c:v>
                </c:pt>
                <c:pt idx="36715">
                  <c:v>34682</c:v>
                </c:pt>
                <c:pt idx="36716">
                  <c:v>34681</c:v>
                </c:pt>
                <c:pt idx="36717">
                  <c:v>34681</c:v>
                </c:pt>
                <c:pt idx="36718">
                  <c:v>34681</c:v>
                </c:pt>
                <c:pt idx="36719">
                  <c:v>34681</c:v>
                </c:pt>
                <c:pt idx="36720">
                  <c:v>34681</c:v>
                </c:pt>
                <c:pt idx="36721">
                  <c:v>34680</c:v>
                </c:pt>
                <c:pt idx="36722">
                  <c:v>34680</c:v>
                </c:pt>
                <c:pt idx="36723">
                  <c:v>34680</c:v>
                </c:pt>
                <c:pt idx="36724">
                  <c:v>34680</c:v>
                </c:pt>
                <c:pt idx="36725">
                  <c:v>34679</c:v>
                </c:pt>
                <c:pt idx="36726">
                  <c:v>34679</c:v>
                </c:pt>
                <c:pt idx="36727">
                  <c:v>34679</c:v>
                </c:pt>
                <c:pt idx="36728">
                  <c:v>34679</c:v>
                </c:pt>
                <c:pt idx="36729">
                  <c:v>34679</c:v>
                </c:pt>
                <c:pt idx="36730">
                  <c:v>34678</c:v>
                </c:pt>
                <c:pt idx="36731">
                  <c:v>34678</c:v>
                </c:pt>
                <c:pt idx="36732">
                  <c:v>34678</c:v>
                </c:pt>
                <c:pt idx="36733">
                  <c:v>34678</c:v>
                </c:pt>
                <c:pt idx="36734">
                  <c:v>34678</c:v>
                </c:pt>
                <c:pt idx="36735">
                  <c:v>34677</c:v>
                </c:pt>
                <c:pt idx="36736">
                  <c:v>34677</c:v>
                </c:pt>
                <c:pt idx="36737">
                  <c:v>34677</c:v>
                </c:pt>
                <c:pt idx="36738">
                  <c:v>34677</c:v>
                </c:pt>
                <c:pt idx="36739">
                  <c:v>34677</c:v>
                </c:pt>
                <c:pt idx="36740">
                  <c:v>34677</c:v>
                </c:pt>
                <c:pt idx="36741">
                  <c:v>34677</c:v>
                </c:pt>
                <c:pt idx="36742">
                  <c:v>34677</c:v>
                </c:pt>
                <c:pt idx="36743">
                  <c:v>34677</c:v>
                </c:pt>
                <c:pt idx="36744">
                  <c:v>34676</c:v>
                </c:pt>
                <c:pt idx="36745">
                  <c:v>34676</c:v>
                </c:pt>
                <c:pt idx="36746">
                  <c:v>34676</c:v>
                </c:pt>
                <c:pt idx="36747">
                  <c:v>34676</c:v>
                </c:pt>
                <c:pt idx="36748">
                  <c:v>34676</c:v>
                </c:pt>
                <c:pt idx="36749">
                  <c:v>34676</c:v>
                </c:pt>
                <c:pt idx="36750">
                  <c:v>34675</c:v>
                </c:pt>
                <c:pt idx="36751">
                  <c:v>34675</c:v>
                </c:pt>
                <c:pt idx="36752">
                  <c:v>34675</c:v>
                </c:pt>
                <c:pt idx="36753">
                  <c:v>34675</c:v>
                </c:pt>
                <c:pt idx="36754">
                  <c:v>34675</c:v>
                </c:pt>
                <c:pt idx="36755">
                  <c:v>34675</c:v>
                </c:pt>
                <c:pt idx="36756">
                  <c:v>34674</c:v>
                </c:pt>
                <c:pt idx="36757">
                  <c:v>34674</c:v>
                </c:pt>
                <c:pt idx="36758">
                  <c:v>34674</c:v>
                </c:pt>
                <c:pt idx="36759">
                  <c:v>34674</c:v>
                </c:pt>
                <c:pt idx="36760">
                  <c:v>34673</c:v>
                </c:pt>
                <c:pt idx="36761">
                  <c:v>34673</c:v>
                </c:pt>
                <c:pt idx="36762">
                  <c:v>34673</c:v>
                </c:pt>
                <c:pt idx="36763">
                  <c:v>34673</c:v>
                </c:pt>
                <c:pt idx="36764">
                  <c:v>34673</c:v>
                </c:pt>
                <c:pt idx="36765">
                  <c:v>34673</c:v>
                </c:pt>
                <c:pt idx="36766">
                  <c:v>34672</c:v>
                </c:pt>
                <c:pt idx="36767">
                  <c:v>34672</c:v>
                </c:pt>
                <c:pt idx="36768">
                  <c:v>34672</c:v>
                </c:pt>
                <c:pt idx="36769">
                  <c:v>34672</c:v>
                </c:pt>
                <c:pt idx="36770">
                  <c:v>34672</c:v>
                </c:pt>
                <c:pt idx="36771">
                  <c:v>34672</c:v>
                </c:pt>
                <c:pt idx="36772">
                  <c:v>34671</c:v>
                </c:pt>
                <c:pt idx="36773">
                  <c:v>34671</c:v>
                </c:pt>
                <c:pt idx="36774">
                  <c:v>34671</c:v>
                </c:pt>
                <c:pt idx="36775">
                  <c:v>34670</c:v>
                </c:pt>
                <c:pt idx="36776">
                  <c:v>34670</c:v>
                </c:pt>
                <c:pt idx="36777">
                  <c:v>34670</c:v>
                </c:pt>
                <c:pt idx="36778">
                  <c:v>34670</c:v>
                </c:pt>
                <c:pt idx="36779">
                  <c:v>34670</c:v>
                </c:pt>
                <c:pt idx="36780">
                  <c:v>34670</c:v>
                </c:pt>
                <c:pt idx="36781">
                  <c:v>34670</c:v>
                </c:pt>
                <c:pt idx="36782">
                  <c:v>34670</c:v>
                </c:pt>
                <c:pt idx="36783">
                  <c:v>34670</c:v>
                </c:pt>
                <c:pt idx="36784">
                  <c:v>34669</c:v>
                </c:pt>
                <c:pt idx="36785">
                  <c:v>34669</c:v>
                </c:pt>
                <c:pt idx="36786">
                  <c:v>34669</c:v>
                </c:pt>
                <c:pt idx="36787">
                  <c:v>34669</c:v>
                </c:pt>
                <c:pt idx="36788">
                  <c:v>34669</c:v>
                </c:pt>
                <c:pt idx="36789">
                  <c:v>34668</c:v>
                </c:pt>
                <c:pt idx="36790">
                  <c:v>34668</c:v>
                </c:pt>
                <c:pt idx="36791">
                  <c:v>34668</c:v>
                </c:pt>
                <c:pt idx="36792">
                  <c:v>34668</c:v>
                </c:pt>
                <c:pt idx="36793">
                  <c:v>34668</c:v>
                </c:pt>
                <c:pt idx="36794">
                  <c:v>34668</c:v>
                </c:pt>
                <c:pt idx="36795">
                  <c:v>34668</c:v>
                </c:pt>
                <c:pt idx="36796">
                  <c:v>34668</c:v>
                </c:pt>
                <c:pt idx="36797">
                  <c:v>34668</c:v>
                </c:pt>
                <c:pt idx="36798">
                  <c:v>34667</c:v>
                </c:pt>
                <c:pt idx="36799">
                  <c:v>34667</c:v>
                </c:pt>
                <c:pt idx="36800">
                  <c:v>34667</c:v>
                </c:pt>
                <c:pt idx="36801">
                  <c:v>34667</c:v>
                </c:pt>
                <c:pt idx="36802">
                  <c:v>34667</c:v>
                </c:pt>
                <c:pt idx="36803">
                  <c:v>34667</c:v>
                </c:pt>
                <c:pt idx="36804">
                  <c:v>34667</c:v>
                </c:pt>
                <c:pt idx="36805">
                  <c:v>34667</c:v>
                </c:pt>
                <c:pt idx="36806">
                  <c:v>34666</c:v>
                </c:pt>
                <c:pt idx="36807">
                  <c:v>34666</c:v>
                </c:pt>
                <c:pt idx="36808">
                  <c:v>34666</c:v>
                </c:pt>
                <c:pt idx="36809">
                  <c:v>34666</c:v>
                </c:pt>
                <c:pt idx="36810">
                  <c:v>34666</c:v>
                </c:pt>
                <c:pt idx="36811">
                  <c:v>34666</c:v>
                </c:pt>
                <c:pt idx="36812">
                  <c:v>34665</c:v>
                </c:pt>
                <c:pt idx="36813">
                  <c:v>34665</c:v>
                </c:pt>
                <c:pt idx="36814">
                  <c:v>34665</c:v>
                </c:pt>
                <c:pt idx="36815">
                  <c:v>34664</c:v>
                </c:pt>
                <c:pt idx="36816">
                  <c:v>34664</c:v>
                </c:pt>
                <c:pt idx="36817">
                  <c:v>34664</c:v>
                </c:pt>
                <c:pt idx="36818">
                  <c:v>34664</c:v>
                </c:pt>
                <c:pt idx="36819">
                  <c:v>34664</c:v>
                </c:pt>
                <c:pt idx="36820">
                  <c:v>34663</c:v>
                </c:pt>
                <c:pt idx="36821">
                  <c:v>34662</c:v>
                </c:pt>
                <c:pt idx="36822">
                  <c:v>34662</c:v>
                </c:pt>
                <c:pt idx="36823">
                  <c:v>34662</c:v>
                </c:pt>
                <c:pt idx="36824">
                  <c:v>34662</c:v>
                </c:pt>
                <c:pt idx="36825">
                  <c:v>34662</c:v>
                </c:pt>
                <c:pt idx="36826">
                  <c:v>34662</c:v>
                </c:pt>
                <c:pt idx="36827">
                  <c:v>34662</c:v>
                </c:pt>
                <c:pt idx="36828">
                  <c:v>34662</c:v>
                </c:pt>
                <c:pt idx="36829">
                  <c:v>34661</c:v>
                </c:pt>
                <c:pt idx="36830">
                  <c:v>34661</c:v>
                </c:pt>
                <c:pt idx="36831">
                  <c:v>34661</c:v>
                </c:pt>
                <c:pt idx="36832">
                  <c:v>34661</c:v>
                </c:pt>
                <c:pt idx="36833">
                  <c:v>34661</c:v>
                </c:pt>
                <c:pt idx="36834">
                  <c:v>34660</c:v>
                </c:pt>
                <c:pt idx="36835">
                  <c:v>34660</c:v>
                </c:pt>
                <c:pt idx="36836">
                  <c:v>34660</c:v>
                </c:pt>
                <c:pt idx="36837">
                  <c:v>34659</c:v>
                </c:pt>
                <c:pt idx="36838">
                  <c:v>34659</c:v>
                </c:pt>
                <c:pt idx="36839">
                  <c:v>34659</c:v>
                </c:pt>
                <c:pt idx="36840">
                  <c:v>34659</c:v>
                </c:pt>
                <c:pt idx="36841">
                  <c:v>34659</c:v>
                </c:pt>
                <c:pt idx="36842">
                  <c:v>34659</c:v>
                </c:pt>
                <c:pt idx="36843">
                  <c:v>34658</c:v>
                </c:pt>
                <c:pt idx="36844">
                  <c:v>34658</c:v>
                </c:pt>
                <c:pt idx="36845">
                  <c:v>34658</c:v>
                </c:pt>
                <c:pt idx="36846">
                  <c:v>34658</c:v>
                </c:pt>
                <c:pt idx="36847">
                  <c:v>34658</c:v>
                </c:pt>
                <c:pt idx="36848">
                  <c:v>34658</c:v>
                </c:pt>
                <c:pt idx="36849">
                  <c:v>34658</c:v>
                </c:pt>
                <c:pt idx="36850">
                  <c:v>34657</c:v>
                </c:pt>
                <c:pt idx="36851">
                  <c:v>34657</c:v>
                </c:pt>
                <c:pt idx="36852">
                  <c:v>34657</c:v>
                </c:pt>
                <c:pt idx="36853">
                  <c:v>34657</c:v>
                </c:pt>
                <c:pt idx="36854">
                  <c:v>34656</c:v>
                </c:pt>
                <c:pt idx="36855">
                  <c:v>34656</c:v>
                </c:pt>
                <c:pt idx="36856">
                  <c:v>34656</c:v>
                </c:pt>
                <c:pt idx="36857">
                  <c:v>34656</c:v>
                </c:pt>
                <c:pt idx="36858">
                  <c:v>34656</c:v>
                </c:pt>
                <c:pt idx="36859">
                  <c:v>34655</c:v>
                </c:pt>
                <c:pt idx="36860">
                  <c:v>34655</c:v>
                </c:pt>
                <c:pt idx="36861">
                  <c:v>34655</c:v>
                </c:pt>
                <c:pt idx="36862">
                  <c:v>34655</c:v>
                </c:pt>
                <c:pt idx="36863">
                  <c:v>34655</c:v>
                </c:pt>
                <c:pt idx="36864">
                  <c:v>34655</c:v>
                </c:pt>
                <c:pt idx="36865">
                  <c:v>34655</c:v>
                </c:pt>
                <c:pt idx="36866">
                  <c:v>34655</c:v>
                </c:pt>
                <c:pt idx="36867">
                  <c:v>34654</c:v>
                </c:pt>
                <c:pt idx="36868">
                  <c:v>34654</c:v>
                </c:pt>
                <c:pt idx="36869">
                  <c:v>34654</c:v>
                </c:pt>
                <c:pt idx="36870">
                  <c:v>34654</c:v>
                </c:pt>
                <c:pt idx="36871">
                  <c:v>34654</c:v>
                </c:pt>
                <c:pt idx="36872">
                  <c:v>34654</c:v>
                </c:pt>
                <c:pt idx="36873">
                  <c:v>34653</c:v>
                </c:pt>
                <c:pt idx="36874">
                  <c:v>34653</c:v>
                </c:pt>
                <c:pt idx="36875">
                  <c:v>34653</c:v>
                </c:pt>
                <c:pt idx="36876">
                  <c:v>34653</c:v>
                </c:pt>
                <c:pt idx="36877">
                  <c:v>34653</c:v>
                </c:pt>
                <c:pt idx="36878">
                  <c:v>34653</c:v>
                </c:pt>
                <c:pt idx="36879">
                  <c:v>34653</c:v>
                </c:pt>
                <c:pt idx="36880">
                  <c:v>34653</c:v>
                </c:pt>
                <c:pt idx="36881">
                  <c:v>34653</c:v>
                </c:pt>
                <c:pt idx="36882">
                  <c:v>34652</c:v>
                </c:pt>
                <c:pt idx="36883">
                  <c:v>34652</c:v>
                </c:pt>
                <c:pt idx="36884">
                  <c:v>34652</c:v>
                </c:pt>
                <c:pt idx="36885">
                  <c:v>34652</c:v>
                </c:pt>
                <c:pt idx="36886">
                  <c:v>34652</c:v>
                </c:pt>
                <c:pt idx="36887">
                  <c:v>34651</c:v>
                </c:pt>
                <c:pt idx="36888">
                  <c:v>34651</c:v>
                </c:pt>
                <c:pt idx="36889">
                  <c:v>34651</c:v>
                </c:pt>
                <c:pt idx="36890">
                  <c:v>34651</c:v>
                </c:pt>
                <c:pt idx="36891">
                  <c:v>34651</c:v>
                </c:pt>
                <c:pt idx="36892">
                  <c:v>34651</c:v>
                </c:pt>
                <c:pt idx="36893">
                  <c:v>34651</c:v>
                </c:pt>
                <c:pt idx="36894">
                  <c:v>34651</c:v>
                </c:pt>
                <c:pt idx="36895">
                  <c:v>34651</c:v>
                </c:pt>
                <c:pt idx="36896">
                  <c:v>34650</c:v>
                </c:pt>
                <c:pt idx="36897">
                  <c:v>34650</c:v>
                </c:pt>
                <c:pt idx="36898">
                  <c:v>34650</c:v>
                </c:pt>
                <c:pt idx="36899">
                  <c:v>34650</c:v>
                </c:pt>
                <c:pt idx="36900">
                  <c:v>34650</c:v>
                </c:pt>
                <c:pt idx="36901">
                  <c:v>34650</c:v>
                </c:pt>
                <c:pt idx="36902">
                  <c:v>34650</c:v>
                </c:pt>
                <c:pt idx="36903">
                  <c:v>34649</c:v>
                </c:pt>
                <c:pt idx="36904">
                  <c:v>34649</c:v>
                </c:pt>
                <c:pt idx="36905">
                  <c:v>34649</c:v>
                </c:pt>
                <c:pt idx="36906">
                  <c:v>34649</c:v>
                </c:pt>
                <c:pt idx="36907">
                  <c:v>34649</c:v>
                </c:pt>
                <c:pt idx="36908">
                  <c:v>34649</c:v>
                </c:pt>
                <c:pt idx="36909">
                  <c:v>34649</c:v>
                </c:pt>
                <c:pt idx="36910">
                  <c:v>34649</c:v>
                </c:pt>
                <c:pt idx="36911">
                  <c:v>34648</c:v>
                </c:pt>
                <c:pt idx="36912">
                  <c:v>34648</c:v>
                </c:pt>
                <c:pt idx="36913">
                  <c:v>34648</c:v>
                </c:pt>
                <c:pt idx="36914">
                  <c:v>34648</c:v>
                </c:pt>
                <c:pt idx="36915">
                  <c:v>34648</c:v>
                </c:pt>
                <c:pt idx="36916">
                  <c:v>34647</c:v>
                </c:pt>
                <c:pt idx="36917">
                  <c:v>34647</c:v>
                </c:pt>
                <c:pt idx="36918">
                  <c:v>34647</c:v>
                </c:pt>
                <c:pt idx="36919">
                  <c:v>34647</c:v>
                </c:pt>
                <c:pt idx="36920">
                  <c:v>34647</c:v>
                </c:pt>
                <c:pt idx="36921">
                  <c:v>34647</c:v>
                </c:pt>
                <c:pt idx="36922">
                  <c:v>34646</c:v>
                </c:pt>
                <c:pt idx="36923">
                  <c:v>34646</c:v>
                </c:pt>
                <c:pt idx="36924">
                  <c:v>34646</c:v>
                </c:pt>
                <c:pt idx="36925">
                  <c:v>34646</c:v>
                </c:pt>
                <c:pt idx="36926">
                  <c:v>34646</c:v>
                </c:pt>
                <c:pt idx="36927">
                  <c:v>34646</c:v>
                </c:pt>
                <c:pt idx="36928">
                  <c:v>34645</c:v>
                </c:pt>
                <c:pt idx="36929">
                  <c:v>34645</c:v>
                </c:pt>
                <c:pt idx="36930">
                  <c:v>34645</c:v>
                </c:pt>
                <c:pt idx="36931">
                  <c:v>34644</c:v>
                </c:pt>
                <c:pt idx="36932">
                  <c:v>34644</c:v>
                </c:pt>
                <c:pt idx="36933">
                  <c:v>34644</c:v>
                </c:pt>
                <c:pt idx="36934">
                  <c:v>34644</c:v>
                </c:pt>
                <c:pt idx="36935">
                  <c:v>34644</c:v>
                </c:pt>
                <c:pt idx="36936">
                  <c:v>34644</c:v>
                </c:pt>
                <c:pt idx="36937">
                  <c:v>34643</c:v>
                </c:pt>
                <c:pt idx="36938">
                  <c:v>34643</c:v>
                </c:pt>
                <c:pt idx="36939">
                  <c:v>34643</c:v>
                </c:pt>
                <c:pt idx="36940">
                  <c:v>34643</c:v>
                </c:pt>
                <c:pt idx="36941">
                  <c:v>34643</c:v>
                </c:pt>
                <c:pt idx="36942">
                  <c:v>34642</c:v>
                </c:pt>
                <c:pt idx="36943">
                  <c:v>34642</c:v>
                </c:pt>
                <c:pt idx="36944">
                  <c:v>34642</c:v>
                </c:pt>
                <c:pt idx="36945">
                  <c:v>34642</c:v>
                </c:pt>
                <c:pt idx="36946">
                  <c:v>34642</c:v>
                </c:pt>
                <c:pt idx="36947">
                  <c:v>34642</c:v>
                </c:pt>
                <c:pt idx="36948">
                  <c:v>34642</c:v>
                </c:pt>
                <c:pt idx="36949">
                  <c:v>34642</c:v>
                </c:pt>
                <c:pt idx="36950">
                  <c:v>34641</c:v>
                </c:pt>
                <c:pt idx="36951">
                  <c:v>34641</c:v>
                </c:pt>
                <c:pt idx="36952">
                  <c:v>34641</c:v>
                </c:pt>
                <c:pt idx="36953">
                  <c:v>34641</c:v>
                </c:pt>
                <c:pt idx="36954">
                  <c:v>34641</c:v>
                </c:pt>
                <c:pt idx="36955">
                  <c:v>34641</c:v>
                </c:pt>
                <c:pt idx="36956">
                  <c:v>34641</c:v>
                </c:pt>
                <c:pt idx="36957">
                  <c:v>34641</c:v>
                </c:pt>
                <c:pt idx="36958">
                  <c:v>34640</c:v>
                </c:pt>
                <c:pt idx="36959">
                  <c:v>34640</c:v>
                </c:pt>
                <c:pt idx="36960">
                  <c:v>34640</c:v>
                </c:pt>
                <c:pt idx="36961">
                  <c:v>34639</c:v>
                </c:pt>
                <c:pt idx="36962">
                  <c:v>34639</c:v>
                </c:pt>
                <c:pt idx="36963">
                  <c:v>34639</c:v>
                </c:pt>
                <c:pt idx="36964">
                  <c:v>34639</c:v>
                </c:pt>
                <c:pt idx="36965">
                  <c:v>34639</c:v>
                </c:pt>
                <c:pt idx="36966">
                  <c:v>34639</c:v>
                </c:pt>
                <c:pt idx="36967">
                  <c:v>34639</c:v>
                </c:pt>
                <c:pt idx="36968">
                  <c:v>34638</c:v>
                </c:pt>
                <c:pt idx="36969">
                  <c:v>34638</c:v>
                </c:pt>
                <c:pt idx="36970">
                  <c:v>34638</c:v>
                </c:pt>
                <c:pt idx="36971">
                  <c:v>34638</c:v>
                </c:pt>
                <c:pt idx="36972">
                  <c:v>34638</c:v>
                </c:pt>
                <c:pt idx="36973">
                  <c:v>34637</c:v>
                </c:pt>
                <c:pt idx="36974">
                  <c:v>34637</c:v>
                </c:pt>
                <c:pt idx="36975">
                  <c:v>34637</c:v>
                </c:pt>
                <c:pt idx="36976">
                  <c:v>34637</c:v>
                </c:pt>
                <c:pt idx="36977">
                  <c:v>34636</c:v>
                </c:pt>
                <c:pt idx="36978">
                  <c:v>34636</c:v>
                </c:pt>
                <c:pt idx="36979">
                  <c:v>34636</c:v>
                </c:pt>
                <c:pt idx="36980">
                  <c:v>34636</c:v>
                </c:pt>
                <c:pt idx="36981">
                  <c:v>34636</c:v>
                </c:pt>
                <c:pt idx="36982">
                  <c:v>34635</c:v>
                </c:pt>
                <c:pt idx="36983">
                  <c:v>34635</c:v>
                </c:pt>
                <c:pt idx="36984">
                  <c:v>34635</c:v>
                </c:pt>
                <c:pt idx="36985">
                  <c:v>34635</c:v>
                </c:pt>
                <c:pt idx="36986">
                  <c:v>34635</c:v>
                </c:pt>
                <c:pt idx="36987">
                  <c:v>34635</c:v>
                </c:pt>
                <c:pt idx="36988">
                  <c:v>34635</c:v>
                </c:pt>
                <c:pt idx="36989">
                  <c:v>34635</c:v>
                </c:pt>
                <c:pt idx="36990">
                  <c:v>34635</c:v>
                </c:pt>
                <c:pt idx="36991">
                  <c:v>34635</c:v>
                </c:pt>
                <c:pt idx="36992">
                  <c:v>34635</c:v>
                </c:pt>
                <c:pt idx="36993">
                  <c:v>34634</c:v>
                </c:pt>
                <c:pt idx="36994">
                  <c:v>34634</c:v>
                </c:pt>
                <c:pt idx="36995">
                  <c:v>34634</c:v>
                </c:pt>
                <c:pt idx="36996">
                  <c:v>34634</c:v>
                </c:pt>
                <c:pt idx="36997">
                  <c:v>34634</c:v>
                </c:pt>
                <c:pt idx="36998">
                  <c:v>34634</c:v>
                </c:pt>
                <c:pt idx="36999">
                  <c:v>34633</c:v>
                </c:pt>
                <c:pt idx="37000">
                  <c:v>34633</c:v>
                </c:pt>
                <c:pt idx="37001">
                  <c:v>34633</c:v>
                </c:pt>
                <c:pt idx="37002">
                  <c:v>34633</c:v>
                </c:pt>
                <c:pt idx="37003">
                  <c:v>34632</c:v>
                </c:pt>
                <c:pt idx="37004">
                  <c:v>34632</c:v>
                </c:pt>
                <c:pt idx="37005">
                  <c:v>34632</c:v>
                </c:pt>
                <c:pt idx="37006">
                  <c:v>34632</c:v>
                </c:pt>
                <c:pt idx="37007">
                  <c:v>34632</c:v>
                </c:pt>
                <c:pt idx="37008">
                  <c:v>34632</c:v>
                </c:pt>
                <c:pt idx="37009">
                  <c:v>34632</c:v>
                </c:pt>
                <c:pt idx="37010">
                  <c:v>34632</c:v>
                </c:pt>
                <c:pt idx="37011">
                  <c:v>34632</c:v>
                </c:pt>
                <c:pt idx="37012">
                  <c:v>34631</c:v>
                </c:pt>
                <c:pt idx="37013">
                  <c:v>34631</c:v>
                </c:pt>
                <c:pt idx="37014">
                  <c:v>34631</c:v>
                </c:pt>
                <c:pt idx="37015">
                  <c:v>34631</c:v>
                </c:pt>
                <c:pt idx="37016">
                  <c:v>34631</c:v>
                </c:pt>
                <c:pt idx="37017">
                  <c:v>34630</c:v>
                </c:pt>
                <c:pt idx="37018">
                  <c:v>34630</c:v>
                </c:pt>
                <c:pt idx="37019">
                  <c:v>34630</c:v>
                </c:pt>
                <c:pt idx="37020">
                  <c:v>34630</c:v>
                </c:pt>
                <c:pt idx="37021">
                  <c:v>34630</c:v>
                </c:pt>
                <c:pt idx="37022">
                  <c:v>34630</c:v>
                </c:pt>
                <c:pt idx="37023">
                  <c:v>34630</c:v>
                </c:pt>
                <c:pt idx="37024">
                  <c:v>34630</c:v>
                </c:pt>
                <c:pt idx="37025">
                  <c:v>34629</c:v>
                </c:pt>
                <c:pt idx="37026">
                  <c:v>34629</c:v>
                </c:pt>
                <c:pt idx="37027">
                  <c:v>34629</c:v>
                </c:pt>
                <c:pt idx="37028">
                  <c:v>34629</c:v>
                </c:pt>
                <c:pt idx="37029">
                  <c:v>34628</c:v>
                </c:pt>
                <c:pt idx="37030">
                  <c:v>34628</c:v>
                </c:pt>
                <c:pt idx="37031">
                  <c:v>34628</c:v>
                </c:pt>
                <c:pt idx="37032">
                  <c:v>34627</c:v>
                </c:pt>
                <c:pt idx="37033">
                  <c:v>34627</c:v>
                </c:pt>
                <c:pt idx="37034">
                  <c:v>34627</c:v>
                </c:pt>
                <c:pt idx="37035">
                  <c:v>34627</c:v>
                </c:pt>
                <c:pt idx="37036">
                  <c:v>34627</c:v>
                </c:pt>
                <c:pt idx="37037">
                  <c:v>34626</c:v>
                </c:pt>
                <c:pt idx="37038">
                  <c:v>34625</c:v>
                </c:pt>
                <c:pt idx="37039">
                  <c:v>34625</c:v>
                </c:pt>
                <c:pt idx="37040">
                  <c:v>34625</c:v>
                </c:pt>
                <c:pt idx="37041">
                  <c:v>34625</c:v>
                </c:pt>
                <c:pt idx="37042">
                  <c:v>34625</c:v>
                </c:pt>
                <c:pt idx="37043">
                  <c:v>34625</c:v>
                </c:pt>
                <c:pt idx="37044">
                  <c:v>34624</c:v>
                </c:pt>
                <c:pt idx="37045">
                  <c:v>34624</c:v>
                </c:pt>
                <c:pt idx="37046">
                  <c:v>34624</c:v>
                </c:pt>
                <c:pt idx="37047">
                  <c:v>34624</c:v>
                </c:pt>
                <c:pt idx="37048">
                  <c:v>34624</c:v>
                </c:pt>
                <c:pt idx="37049">
                  <c:v>34623</c:v>
                </c:pt>
                <c:pt idx="37050">
                  <c:v>34623</c:v>
                </c:pt>
                <c:pt idx="37051">
                  <c:v>34623</c:v>
                </c:pt>
                <c:pt idx="37052">
                  <c:v>34623</c:v>
                </c:pt>
                <c:pt idx="37053">
                  <c:v>34623</c:v>
                </c:pt>
                <c:pt idx="37054">
                  <c:v>34622</c:v>
                </c:pt>
                <c:pt idx="37055">
                  <c:v>34622</c:v>
                </c:pt>
                <c:pt idx="37056">
                  <c:v>34622</c:v>
                </c:pt>
                <c:pt idx="37057">
                  <c:v>34622</c:v>
                </c:pt>
                <c:pt idx="37058">
                  <c:v>34622</c:v>
                </c:pt>
                <c:pt idx="37059">
                  <c:v>34621</c:v>
                </c:pt>
                <c:pt idx="37060">
                  <c:v>34621</c:v>
                </c:pt>
                <c:pt idx="37061">
                  <c:v>34621</c:v>
                </c:pt>
                <c:pt idx="37062">
                  <c:v>34620</c:v>
                </c:pt>
                <c:pt idx="37063">
                  <c:v>34620</c:v>
                </c:pt>
                <c:pt idx="37064">
                  <c:v>34620</c:v>
                </c:pt>
                <c:pt idx="37065">
                  <c:v>34620</c:v>
                </c:pt>
                <c:pt idx="37066">
                  <c:v>34620</c:v>
                </c:pt>
                <c:pt idx="37067">
                  <c:v>34620</c:v>
                </c:pt>
                <c:pt idx="37068">
                  <c:v>34619</c:v>
                </c:pt>
                <c:pt idx="37069">
                  <c:v>34619</c:v>
                </c:pt>
                <c:pt idx="37070">
                  <c:v>34619</c:v>
                </c:pt>
                <c:pt idx="37071">
                  <c:v>34618</c:v>
                </c:pt>
                <c:pt idx="37072">
                  <c:v>34618</c:v>
                </c:pt>
                <c:pt idx="37073">
                  <c:v>34618</c:v>
                </c:pt>
                <c:pt idx="37074">
                  <c:v>34618</c:v>
                </c:pt>
                <c:pt idx="37075">
                  <c:v>34618</c:v>
                </c:pt>
                <c:pt idx="37076">
                  <c:v>34617</c:v>
                </c:pt>
                <c:pt idx="37077">
                  <c:v>34617</c:v>
                </c:pt>
                <c:pt idx="37078">
                  <c:v>34617</c:v>
                </c:pt>
                <c:pt idx="37079">
                  <c:v>34617</c:v>
                </c:pt>
                <c:pt idx="37080">
                  <c:v>34617</c:v>
                </c:pt>
                <c:pt idx="37081">
                  <c:v>34616</c:v>
                </c:pt>
                <c:pt idx="37082">
                  <c:v>34616</c:v>
                </c:pt>
                <c:pt idx="37083">
                  <c:v>34616</c:v>
                </c:pt>
                <c:pt idx="37084">
                  <c:v>34615</c:v>
                </c:pt>
                <c:pt idx="37085">
                  <c:v>34615</c:v>
                </c:pt>
                <c:pt idx="37086">
                  <c:v>34615</c:v>
                </c:pt>
                <c:pt idx="37087">
                  <c:v>34615</c:v>
                </c:pt>
                <c:pt idx="37088">
                  <c:v>34615</c:v>
                </c:pt>
                <c:pt idx="37089">
                  <c:v>34615</c:v>
                </c:pt>
                <c:pt idx="37090">
                  <c:v>34615</c:v>
                </c:pt>
                <c:pt idx="37091">
                  <c:v>34615</c:v>
                </c:pt>
                <c:pt idx="37092">
                  <c:v>34614</c:v>
                </c:pt>
                <c:pt idx="37093">
                  <c:v>34614</c:v>
                </c:pt>
                <c:pt idx="37094">
                  <c:v>34614</c:v>
                </c:pt>
                <c:pt idx="37095">
                  <c:v>34614</c:v>
                </c:pt>
                <c:pt idx="37096">
                  <c:v>34614</c:v>
                </c:pt>
                <c:pt idx="37097">
                  <c:v>34614</c:v>
                </c:pt>
                <c:pt idx="37098">
                  <c:v>34614</c:v>
                </c:pt>
                <c:pt idx="37099">
                  <c:v>34614</c:v>
                </c:pt>
                <c:pt idx="37100">
                  <c:v>34613</c:v>
                </c:pt>
                <c:pt idx="37101">
                  <c:v>34613</c:v>
                </c:pt>
                <c:pt idx="37102">
                  <c:v>34613</c:v>
                </c:pt>
                <c:pt idx="37103">
                  <c:v>34613</c:v>
                </c:pt>
                <c:pt idx="37104">
                  <c:v>34613</c:v>
                </c:pt>
                <c:pt idx="37105">
                  <c:v>34612</c:v>
                </c:pt>
                <c:pt idx="37106">
                  <c:v>34612</c:v>
                </c:pt>
                <c:pt idx="37107">
                  <c:v>34612</c:v>
                </c:pt>
                <c:pt idx="37108">
                  <c:v>34612</c:v>
                </c:pt>
                <c:pt idx="37109">
                  <c:v>34612</c:v>
                </c:pt>
                <c:pt idx="37110">
                  <c:v>34612</c:v>
                </c:pt>
                <c:pt idx="37111">
                  <c:v>34611</c:v>
                </c:pt>
                <c:pt idx="37112">
                  <c:v>34611</c:v>
                </c:pt>
                <c:pt idx="37113">
                  <c:v>34611</c:v>
                </c:pt>
                <c:pt idx="37114">
                  <c:v>34611</c:v>
                </c:pt>
                <c:pt idx="37115">
                  <c:v>34611</c:v>
                </c:pt>
                <c:pt idx="37116">
                  <c:v>34611</c:v>
                </c:pt>
                <c:pt idx="37117">
                  <c:v>34611</c:v>
                </c:pt>
                <c:pt idx="37118">
                  <c:v>34611</c:v>
                </c:pt>
                <c:pt idx="37119">
                  <c:v>34611</c:v>
                </c:pt>
                <c:pt idx="37120">
                  <c:v>34611</c:v>
                </c:pt>
                <c:pt idx="37121">
                  <c:v>34610</c:v>
                </c:pt>
                <c:pt idx="37122">
                  <c:v>34610</c:v>
                </c:pt>
                <c:pt idx="37123">
                  <c:v>34610</c:v>
                </c:pt>
                <c:pt idx="37124">
                  <c:v>34610</c:v>
                </c:pt>
                <c:pt idx="37125">
                  <c:v>34610</c:v>
                </c:pt>
                <c:pt idx="37126">
                  <c:v>34610</c:v>
                </c:pt>
                <c:pt idx="37127">
                  <c:v>34610</c:v>
                </c:pt>
                <c:pt idx="37128">
                  <c:v>34610</c:v>
                </c:pt>
                <c:pt idx="37129">
                  <c:v>34610</c:v>
                </c:pt>
                <c:pt idx="37130">
                  <c:v>34610</c:v>
                </c:pt>
                <c:pt idx="37131">
                  <c:v>34610</c:v>
                </c:pt>
                <c:pt idx="37132">
                  <c:v>34609</c:v>
                </c:pt>
                <c:pt idx="37133">
                  <c:v>34609</c:v>
                </c:pt>
                <c:pt idx="37134">
                  <c:v>34609</c:v>
                </c:pt>
                <c:pt idx="37135">
                  <c:v>34609</c:v>
                </c:pt>
                <c:pt idx="37136">
                  <c:v>34608</c:v>
                </c:pt>
                <c:pt idx="37137">
                  <c:v>34608</c:v>
                </c:pt>
                <c:pt idx="37138">
                  <c:v>34608</c:v>
                </c:pt>
                <c:pt idx="37139">
                  <c:v>34607</c:v>
                </c:pt>
                <c:pt idx="37140">
                  <c:v>34607</c:v>
                </c:pt>
                <c:pt idx="37141">
                  <c:v>34607</c:v>
                </c:pt>
                <c:pt idx="37142">
                  <c:v>34607</c:v>
                </c:pt>
                <c:pt idx="37143">
                  <c:v>34607</c:v>
                </c:pt>
                <c:pt idx="37144">
                  <c:v>34606</c:v>
                </c:pt>
                <c:pt idx="37145">
                  <c:v>34606</c:v>
                </c:pt>
                <c:pt idx="37146">
                  <c:v>34606</c:v>
                </c:pt>
                <c:pt idx="37147">
                  <c:v>34606</c:v>
                </c:pt>
                <c:pt idx="37148">
                  <c:v>34606</c:v>
                </c:pt>
                <c:pt idx="37149">
                  <c:v>34606</c:v>
                </c:pt>
                <c:pt idx="37150">
                  <c:v>34605</c:v>
                </c:pt>
                <c:pt idx="37151">
                  <c:v>34605</c:v>
                </c:pt>
                <c:pt idx="37152">
                  <c:v>34604</c:v>
                </c:pt>
                <c:pt idx="37153">
                  <c:v>34604</c:v>
                </c:pt>
                <c:pt idx="37154">
                  <c:v>34604</c:v>
                </c:pt>
                <c:pt idx="37155">
                  <c:v>34603</c:v>
                </c:pt>
                <c:pt idx="37156">
                  <c:v>34603</c:v>
                </c:pt>
                <c:pt idx="37157">
                  <c:v>34603</c:v>
                </c:pt>
                <c:pt idx="37158">
                  <c:v>34602</c:v>
                </c:pt>
                <c:pt idx="37159">
                  <c:v>34602</c:v>
                </c:pt>
                <c:pt idx="37160">
                  <c:v>34602</c:v>
                </c:pt>
                <c:pt idx="37161">
                  <c:v>34602</c:v>
                </c:pt>
                <c:pt idx="37162">
                  <c:v>34602</c:v>
                </c:pt>
                <c:pt idx="37163">
                  <c:v>34602</c:v>
                </c:pt>
                <c:pt idx="37164">
                  <c:v>34602</c:v>
                </c:pt>
                <c:pt idx="37165">
                  <c:v>34601</c:v>
                </c:pt>
                <c:pt idx="37166">
                  <c:v>34601</c:v>
                </c:pt>
                <c:pt idx="37167">
                  <c:v>34601</c:v>
                </c:pt>
                <c:pt idx="37168">
                  <c:v>34601</c:v>
                </c:pt>
                <c:pt idx="37169">
                  <c:v>34600</c:v>
                </c:pt>
                <c:pt idx="37170">
                  <c:v>34600</c:v>
                </c:pt>
                <c:pt idx="37171">
                  <c:v>34600</c:v>
                </c:pt>
                <c:pt idx="37172">
                  <c:v>34600</c:v>
                </c:pt>
                <c:pt idx="37173">
                  <c:v>34600</c:v>
                </c:pt>
                <c:pt idx="37174">
                  <c:v>34600</c:v>
                </c:pt>
                <c:pt idx="37175">
                  <c:v>34600</c:v>
                </c:pt>
                <c:pt idx="37176">
                  <c:v>34600</c:v>
                </c:pt>
                <c:pt idx="37177">
                  <c:v>34600</c:v>
                </c:pt>
                <c:pt idx="37178">
                  <c:v>34600</c:v>
                </c:pt>
                <c:pt idx="37179">
                  <c:v>34599</c:v>
                </c:pt>
                <c:pt idx="37180">
                  <c:v>34599</c:v>
                </c:pt>
                <c:pt idx="37181">
                  <c:v>34599</c:v>
                </c:pt>
                <c:pt idx="37182">
                  <c:v>34599</c:v>
                </c:pt>
                <c:pt idx="37183">
                  <c:v>34599</c:v>
                </c:pt>
                <c:pt idx="37184">
                  <c:v>34598</c:v>
                </c:pt>
                <c:pt idx="37185">
                  <c:v>34598</c:v>
                </c:pt>
                <c:pt idx="37186">
                  <c:v>34598</c:v>
                </c:pt>
                <c:pt idx="37187">
                  <c:v>34598</c:v>
                </c:pt>
                <c:pt idx="37188">
                  <c:v>34598</c:v>
                </c:pt>
                <c:pt idx="37189">
                  <c:v>34598</c:v>
                </c:pt>
                <c:pt idx="37190">
                  <c:v>34598</c:v>
                </c:pt>
                <c:pt idx="37191">
                  <c:v>34598</c:v>
                </c:pt>
                <c:pt idx="37192">
                  <c:v>34598</c:v>
                </c:pt>
                <c:pt idx="37193">
                  <c:v>34597</c:v>
                </c:pt>
                <c:pt idx="37194">
                  <c:v>34597</c:v>
                </c:pt>
                <c:pt idx="37195">
                  <c:v>34597</c:v>
                </c:pt>
                <c:pt idx="37196">
                  <c:v>34597</c:v>
                </c:pt>
                <c:pt idx="37197">
                  <c:v>34597</c:v>
                </c:pt>
                <c:pt idx="37198">
                  <c:v>34597</c:v>
                </c:pt>
                <c:pt idx="37199">
                  <c:v>34597</c:v>
                </c:pt>
                <c:pt idx="37200">
                  <c:v>34597</c:v>
                </c:pt>
                <c:pt idx="37201">
                  <c:v>34597</c:v>
                </c:pt>
                <c:pt idx="37202">
                  <c:v>34596</c:v>
                </c:pt>
                <c:pt idx="37203">
                  <c:v>34596</c:v>
                </c:pt>
                <c:pt idx="37204">
                  <c:v>34596</c:v>
                </c:pt>
                <c:pt idx="37205">
                  <c:v>34596</c:v>
                </c:pt>
                <c:pt idx="37206">
                  <c:v>34596</c:v>
                </c:pt>
                <c:pt idx="37207">
                  <c:v>34596</c:v>
                </c:pt>
                <c:pt idx="37208">
                  <c:v>34596</c:v>
                </c:pt>
                <c:pt idx="37209">
                  <c:v>34596</c:v>
                </c:pt>
                <c:pt idx="37210">
                  <c:v>34596</c:v>
                </c:pt>
                <c:pt idx="37211">
                  <c:v>34596</c:v>
                </c:pt>
                <c:pt idx="37212">
                  <c:v>34595</c:v>
                </c:pt>
                <c:pt idx="37213">
                  <c:v>34595</c:v>
                </c:pt>
                <c:pt idx="37214">
                  <c:v>34595</c:v>
                </c:pt>
                <c:pt idx="37215">
                  <c:v>34595</c:v>
                </c:pt>
                <c:pt idx="37216">
                  <c:v>34595</c:v>
                </c:pt>
                <c:pt idx="37217">
                  <c:v>34595</c:v>
                </c:pt>
                <c:pt idx="37218">
                  <c:v>34594</c:v>
                </c:pt>
                <c:pt idx="37219">
                  <c:v>34594</c:v>
                </c:pt>
                <c:pt idx="37220">
                  <c:v>34594</c:v>
                </c:pt>
                <c:pt idx="37221">
                  <c:v>34594</c:v>
                </c:pt>
                <c:pt idx="37222">
                  <c:v>34593</c:v>
                </c:pt>
                <c:pt idx="37223">
                  <c:v>34593</c:v>
                </c:pt>
                <c:pt idx="37224">
                  <c:v>34593</c:v>
                </c:pt>
                <c:pt idx="37225">
                  <c:v>34593</c:v>
                </c:pt>
                <c:pt idx="37226">
                  <c:v>34593</c:v>
                </c:pt>
                <c:pt idx="37227">
                  <c:v>34593</c:v>
                </c:pt>
                <c:pt idx="37228">
                  <c:v>34593</c:v>
                </c:pt>
                <c:pt idx="37229">
                  <c:v>34592</c:v>
                </c:pt>
                <c:pt idx="37230">
                  <c:v>34592</c:v>
                </c:pt>
                <c:pt idx="37231">
                  <c:v>34592</c:v>
                </c:pt>
                <c:pt idx="37232">
                  <c:v>34592</c:v>
                </c:pt>
                <c:pt idx="37233">
                  <c:v>34591</c:v>
                </c:pt>
                <c:pt idx="37234">
                  <c:v>34591</c:v>
                </c:pt>
                <c:pt idx="37235">
                  <c:v>34591</c:v>
                </c:pt>
                <c:pt idx="37236">
                  <c:v>34591</c:v>
                </c:pt>
                <c:pt idx="37237">
                  <c:v>34591</c:v>
                </c:pt>
                <c:pt idx="37238">
                  <c:v>34591</c:v>
                </c:pt>
                <c:pt idx="37239">
                  <c:v>34590</c:v>
                </c:pt>
                <c:pt idx="37240">
                  <c:v>34590</c:v>
                </c:pt>
                <c:pt idx="37241">
                  <c:v>34590</c:v>
                </c:pt>
                <c:pt idx="37242">
                  <c:v>34590</c:v>
                </c:pt>
                <c:pt idx="37243">
                  <c:v>34589</c:v>
                </c:pt>
                <c:pt idx="37244">
                  <c:v>34589</c:v>
                </c:pt>
                <c:pt idx="37245">
                  <c:v>34588</c:v>
                </c:pt>
                <c:pt idx="37246">
                  <c:v>34588</c:v>
                </c:pt>
                <c:pt idx="37247">
                  <c:v>34588</c:v>
                </c:pt>
                <c:pt idx="37248">
                  <c:v>34588</c:v>
                </c:pt>
                <c:pt idx="37249">
                  <c:v>34588</c:v>
                </c:pt>
                <c:pt idx="37250">
                  <c:v>34588</c:v>
                </c:pt>
                <c:pt idx="37251">
                  <c:v>34588</c:v>
                </c:pt>
                <c:pt idx="37252">
                  <c:v>34588</c:v>
                </c:pt>
                <c:pt idx="37253">
                  <c:v>34588</c:v>
                </c:pt>
                <c:pt idx="37254">
                  <c:v>34588</c:v>
                </c:pt>
                <c:pt idx="37255">
                  <c:v>34588</c:v>
                </c:pt>
                <c:pt idx="37256">
                  <c:v>34587</c:v>
                </c:pt>
                <c:pt idx="37257">
                  <c:v>34587</c:v>
                </c:pt>
                <c:pt idx="37258">
                  <c:v>34587</c:v>
                </c:pt>
                <c:pt idx="37259">
                  <c:v>34586</c:v>
                </c:pt>
                <c:pt idx="37260">
                  <c:v>34586</c:v>
                </c:pt>
                <c:pt idx="37261">
                  <c:v>34586</c:v>
                </c:pt>
                <c:pt idx="37262">
                  <c:v>34586</c:v>
                </c:pt>
                <c:pt idx="37263">
                  <c:v>34586</c:v>
                </c:pt>
                <c:pt idx="37264">
                  <c:v>34585</c:v>
                </c:pt>
                <c:pt idx="37265">
                  <c:v>34585</c:v>
                </c:pt>
                <c:pt idx="37266">
                  <c:v>34585</c:v>
                </c:pt>
                <c:pt idx="37267">
                  <c:v>34584</c:v>
                </c:pt>
                <c:pt idx="37268">
                  <c:v>34584</c:v>
                </c:pt>
                <c:pt idx="37269">
                  <c:v>34583</c:v>
                </c:pt>
                <c:pt idx="37270">
                  <c:v>34583</c:v>
                </c:pt>
                <c:pt idx="37271">
                  <c:v>34583</c:v>
                </c:pt>
                <c:pt idx="37272">
                  <c:v>34583</c:v>
                </c:pt>
                <c:pt idx="37273">
                  <c:v>34583</c:v>
                </c:pt>
                <c:pt idx="37274">
                  <c:v>34583</c:v>
                </c:pt>
                <c:pt idx="37275">
                  <c:v>34582</c:v>
                </c:pt>
                <c:pt idx="37276">
                  <c:v>34582</c:v>
                </c:pt>
                <c:pt idx="37277">
                  <c:v>34582</c:v>
                </c:pt>
                <c:pt idx="37278">
                  <c:v>34582</c:v>
                </c:pt>
                <c:pt idx="37279">
                  <c:v>34582</c:v>
                </c:pt>
                <c:pt idx="37280">
                  <c:v>34582</c:v>
                </c:pt>
                <c:pt idx="37281">
                  <c:v>34582</c:v>
                </c:pt>
                <c:pt idx="37282">
                  <c:v>34582</c:v>
                </c:pt>
                <c:pt idx="37283">
                  <c:v>34582</c:v>
                </c:pt>
                <c:pt idx="37284">
                  <c:v>34581</c:v>
                </c:pt>
                <c:pt idx="37285">
                  <c:v>34581</c:v>
                </c:pt>
                <c:pt idx="37286">
                  <c:v>34581</c:v>
                </c:pt>
                <c:pt idx="37287">
                  <c:v>34581</c:v>
                </c:pt>
                <c:pt idx="37288">
                  <c:v>34580</c:v>
                </c:pt>
                <c:pt idx="37289">
                  <c:v>34580</c:v>
                </c:pt>
                <c:pt idx="37290">
                  <c:v>34580</c:v>
                </c:pt>
                <c:pt idx="37291">
                  <c:v>34580</c:v>
                </c:pt>
                <c:pt idx="37292">
                  <c:v>34580</c:v>
                </c:pt>
                <c:pt idx="37293">
                  <c:v>34580</c:v>
                </c:pt>
                <c:pt idx="37294">
                  <c:v>34580</c:v>
                </c:pt>
                <c:pt idx="37295">
                  <c:v>34580</c:v>
                </c:pt>
                <c:pt idx="37296">
                  <c:v>34580</c:v>
                </c:pt>
                <c:pt idx="37297">
                  <c:v>34579</c:v>
                </c:pt>
                <c:pt idx="37298">
                  <c:v>34579</c:v>
                </c:pt>
                <c:pt idx="37299">
                  <c:v>34579</c:v>
                </c:pt>
                <c:pt idx="37300">
                  <c:v>34579</c:v>
                </c:pt>
                <c:pt idx="37301">
                  <c:v>34579</c:v>
                </c:pt>
                <c:pt idx="37302">
                  <c:v>34579</c:v>
                </c:pt>
                <c:pt idx="37303">
                  <c:v>34579</c:v>
                </c:pt>
                <c:pt idx="37304">
                  <c:v>34578</c:v>
                </c:pt>
                <c:pt idx="37305">
                  <c:v>34578</c:v>
                </c:pt>
                <c:pt idx="37306">
                  <c:v>34577</c:v>
                </c:pt>
                <c:pt idx="37307">
                  <c:v>34577</c:v>
                </c:pt>
                <c:pt idx="37308">
                  <c:v>34577</c:v>
                </c:pt>
                <c:pt idx="37309">
                  <c:v>34577</c:v>
                </c:pt>
                <c:pt idx="37310">
                  <c:v>34577</c:v>
                </c:pt>
                <c:pt idx="37311">
                  <c:v>34576</c:v>
                </c:pt>
                <c:pt idx="37312">
                  <c:v>34576</c:v>
                </c:pt>
                <c:pt idx="37313">
                  <c:v>34576</c:v>
                </c:pt>
                <c:pt idx="37314">
                  <c:v>34576</c:v>
                </c:pt>
                <c:pt idx="37315">
                  <c:v>34576</c:v>
                </c:pt>
                <c:pt idx="37316">
                  <c:v>34576</c:v>
                </c:pt>
                <c:pt idx="37317">
                  <c:v>34576</c:v>
                </c:pt>
                <c:pt idx="37318">
                  <c:v>34576</c:v>
                </c:pt>
                <c:pt idx="37319">
                  <c:v>34575</c:v>
                </c:pt>
                <c:pt idx="37320">
                  <c:v>34575</c:v>
                </c:pt>
                <c:pt idx="37321">
                  <c:v>34575</c:v>
                </c:pt>
                <c:pt idx="37322">
                  <c:v>34575</c:v>
                </c:pt>
                <c:pt idx="37323">
                  <c:v>34575</c:v>
                </c:pt>
                <c:pt idx="37324">
                  <c:v>34575</c:v>
                </c:pt>
                <c:pt idx="37325">
                  <c:v>34575</c:v>
                </c:pt>
                <c:pt idx="37326">
                  <c:v>34575</c:v>
                </c:pt>
                <c:pt idx="37327">
                  <c:v>34575</c:v>
                </c:pt>
                <c:pt idx="37328">
                  <c:v>34574</c:v>
                </c:pt>
                <c:pt idx="37329">
                  <c:v>34574</c:v>
                </c:pt>
                <c:pt idx="37330">
                  <c:v>34574</c:v>
                </c:pt>
                <c:pt idx="37331">
                  <c:v>34574</c:v>
                </c:pt>
                <c:pt idx="37332">
                  <c:v>34574</c:v>
                </c:pt>
                <c:pt idx="37333">
                  <c:v>34573</c:v>
                </c:pt>
                <c:pt idx="37334">
                  <c:v>34573</c:v>
                </c:pt>
                <c:pt idx="37335">
                  <c:v>34573</c:v>
                </c:pt>
                <c:pt idx="37336">
                  <c:v>34573</c:v>
                </c:pt>
                <c:pt idx="37337">
                  <c:v>34573</c:v>
                </c:pt>
                <c:pt idx="37338">
                  <c:v>34572</c:v>
                </c:pt>
                <c:pt idx="37339">
                  <c:v>34572</c:v>
                </c:pt>
                <c:pt idx="37340">
                  <c:v>34571</c:v>
                </c:pt>
                <c:pt idx="37341">
                  <c:v>34571</c:v>
                </c:pt>
                <c:pt idx="37342">
                  <c:v>34571</c:v>
                </c:pt>
                <c:pt idx="37343">
                  <c:v>34571</c:v>
                </c:pt>
                <c:pt idx="37344">
                  <c:v>34571</c:v>
                </c:pt>
                <c:pt idx="37345">
                  <c:v>34571</c:v>
                </c:pt>
                <c:pt idx="37346">
                  <c:v>34571</c:v>
                </c:pt>
                <c:pt idx="37347">
                  <c:v>34571</c:v>
                </c:pt>
                <c:pt idx="37348">
                  <c:v>34570</c:v>
                </c:pt>
                <c:pt idx="37349">
                  <c:v>34570</c:v>
                </c:pt>
                <c:pt idx="37350">
                  <c:v>34570</c:v>
                </c:pt>
                <c:pt idx="37351">
                  <c:v>34570</c:v>
                </c:pt>
                <c:pt idx="37352">
                  <c:v>34569</c:v>
                </c:pt>
                <c:pt idx="37353">
                  <c:v>34569</c:v>
                </c:pt>
                <c:pt idx="37354">
                  <c:v>34569</c:v>
                </c:pt>
                <c:pt idx="37355">
                  <c:v>34568</c:v>
                </c:pt>
                <c:pt idx="37356">
                  <c:v>34568</c:v>
                </c:pt>
                <c:pt idx="37357">
                  <c:v>34568</c:v>
                </c:pt>
                <c:pt idx="37358">
                  <c:v>34567</c:v>
                </c:pt>
                <c:pt idx="37359">
                  <c:v>34567</c:v>
                </c:pt>
                <c:pt idx="37360">
                  <c:v>34567</c:v>
                </c:pt>
                <c:pt idx="37361">
                  <c:v>34567</c:v>
                </c:pt>
                <c:pt idx="37362">
                  <c:v>34567</c:v>
                </c:pt>
                <c:pt idx="37363">
                  <c:v>34567</c:v>
                </c:pt>
                <c:pt idx="37364">
                  <c:v>34566</c:v>
                </c:pt>
                <c:pt idx="37365">
                  <c:v>34566</c:v>
                </c:pt>
                <c:pt idx="37366">
                  <c:v>34566</c:v>
                </c:pt>
                <c:pt idx="37367">
                  <c:v>34566</c:v>
                </c:pt>
                <c:pt idx="37368">
                  <c:v>34565</c:v>
                </c:pt>
                <c:pt idx="37369">
                  <c:v>34565</c:v>
                </c:pt>
                <c:pt idx="37370">
                  <c:v>34565</c:v>
                </c:pt>
                <c:pt idx="37371">
                  <c:v>34565</c:v>
                </c:pt>
                <c:pt idx="37372">
                  <c:v>34565</c:v>
                </c:pt>
                <c:pt idx="37373">
                  <c:v>34565</c:v>
                </c:pt>
                <c:pt idx="37374">
                  <c:v>34565</c:v>
                </c:pt>
                <c:pt idx="37375">
                  <c:v>34565</c:v>
                </c:pt>
                <c:pt idx="37376">
                  <c:v>34565</c:v>
                </c:pt>
                <c:pt idx="37377">
                  <c:v>34565</c:v>
                </c:pt>
                <c:pt idx="37378">
                  <c:v>34564</c:v>
                </c:pt>
                <c:pt idx="37379">
                  <c:v>34564</c:v>
                </c:pt>
                <c:pt idx="37380">
                  <c:v>34564</c:v>
                </c:pt>
                <c:pt idx="37381">
                  <c:v>34564</c:v>
                </c:pt>
                <c:pt idx="37382">
                  <c:v>34563</c:v>
                </c:pt>
                <c:pt idx="37383">
                  <c:v>34563</c:v>
                </c:pt>
                <c:pt idx="37384">
                  <c:v>34563</c:v>
                </c:pt>
                <c:pt idx="37385">
                  <c:v>34563</c:v>
                </c:pt>
                <c:pt idx="37386">
                  <c:v>34562</c:v>
                </c:pt>
                <c:pt idx="37387">
                  <c:v>34562</c:v>
                </c:pt>
                <c:pt idx="37388">
                  <c:v>34562</c:v>
                </c:pt>
                <c:pt idx="37389">
                  <c:v>34562</c:v>
                </c:pt>
                <c:pt idx="37390">
                  <c:v>34562</c:v>
                </c:pt>
                <c:pt idx="37391">
                  <c:v>34561</c:v>
                </c:pt>
                <c:pt idx="37392">
                  <c:v>34561</c:v>
                </c:pt>
                <c:pt idx="37393">
                  <c:v>34561</c:v>
                </c:pt>
                <c:pt idx="37394">
                  <c:v>34561</c:v>
                </c:pt>
                <c:pt idx="37395">
                  <c:v>34561</c:v>
                </c:pt>
                <c:pt idx="37396">
                  <c:v>34561</c:v>
                </c:pt>
                <c:pt idx="37397">
                  <c:v>34560</c:v>
                </c:pt>
                <c:pt idx="37398">
                  <c:v>34560</c:v>
                </c:pt>
                <c:pt idx="37399">
                  <c:v>34560</c:v>
                </c:pt>
                <c:pt idx="37400">
                  <c:v>34560</c:v>
                </c:pt>
                <c:pt idx="37401">
                  <c:v>34560</c:v>
                </c:pt>
                <c:pt idx="37402">
                  <c:v>34560</c:v>
                </c:pt>
                <c:pt idx="37403">
                  <c:v>34560</c:v>
                </c:pt>
                <c:pt idx="37404">
                  <c:v>34560</c:v>
                </c:pt>
                <c:pt idx="37405">
                  <c:v>34560</c:v>
                </c:pt>
                <c:pt idx="37406">
                  <c:v>34560</c:v>
                </c:pt>
                <c:pt idx="37407">
                  <c:v>34559</c:v>
                </c:pt>
                <c:pt idx="37408">
                  <c:v>34559</c:v>
                </c:pt>
                <c:pt idx="37409">
                  <c:v>34559</c:v>
                </c:pt>
                <c:pt idx="37410">
                  <c:v>34558</c:v>
                </c:pt>
                <c:pt idx="37411">
                  <c:v>34558</c:v>
                </c:pt>
                <c:pt idx="37412">
                  <c:v>34557</c:v>
                </c:pt>
                <c:pt idx="37413">
                  <c:v>34557</c:v>
                </c:pt>
                <c:pt idx="37414">
                  <c:v>34557</c:v>
                </c:pt>
                <c:pt idx="37415">
                  <c:v>34557</c:v>
                </c:pt>
                <c:pt idx="37416">
                  <c:v>34557</c:v>
                </c:pt>
                <c:pt idx="37417">
                  <c:v>34557</c:v>
                </c:pt>
                <c:pt idx="37418">
                  <c:v>34557</c:v>
                </c:pt>
                <c:pt idx="37419">
                  <c:v>34557</c:v>
                </c:pt>
                <c:pt idx="37420">
                  <c:v>34556</c:v>
                </c:pt>
                <c:pt idx="37421">
                  <c:v>34556</c:v>
                </c:pt>
                <c:pt idx="37422">
                  <c:v>34556</c:v>
                </c:pt>
                <c:pt idx="37423">
                  <c:v>34556</c:v>
                </c:pt>
                <c:pt idx="37424">
                  <c:v>34556</c:v>
                </c:pt>
                <c:pt idx="37425">
                  <c:v>34556</c:v>
                </c:pt>
                <c:pt idx="37426">
                  <c:v>34556</c:v>
                </c:pt>
                <c:pt idx="37427">
                  <c:v>34556</c:v>
                </c:pt>
                <c:pt idx="37428">
                  <c:v>34556</c:v>
                </c:pt>
                <c:pt idx="37429">
                  <c:v>34555</c:v>
                </c:pt>
                <c:pt idx="37430">
                  <c:v>34555</c:v>
                </c:pt>
                <c:pt idx="37431">
                  <c:v>34555</c:v>
                </c:pt>
                <c:pt idx="37432">
                  <c:v>34555</c:v>
                </c:pt>
                <c:pt idx="37433">
                  <c:v>34555</c:v>
                </c:pt>
                <c:pt idx="37434">
                  <c:v>34554</c:v>
                </c:pt>
                <c:pt idx="37435">
                  <c:v>34554</c:v>
                </c:pt>
                <c:pt idx="37436">
                  <c:v>34553</c:v>
                </c:pt>
                <c:pt idx="37437">
                  <c:v>34553</c:v>
                </c:pt>
                <c:pt idx="37438">
                  <c:v>34553</c:v>
                </c:pt>
                <c:pt idx="37439">
                  <c:v>34553</c:v>
                </c:pt>
                <c:pt idx="37440">
                  <c:v>34553</c:v>
                </c:pt>
                <c:pt idx="37441">
                  <c:v>34552</c:v>
                </c:pt>
                <c:pt idx="37442">
                  <c:v>34552</c:v>
                </c:pt>
                <c:pt idx="37443">
                  <c:v>34552</c:v>
                </c:pt>
                <c:pt idx="37444">
                  <c:v>34552</c:v>
                </c:pt>
                <c:pt idx="37445">
                  <c:v>34552</c:v>
                </c:pt>
                <c:pt idx="37446">
                  <c:v>34552</c:v>
                </c:pt>
                <c:pt idx="37447">
                  <c:v>34552</c:v>
                </c:pt>
                <c:pt idx="37448">
                  <c:v>34551</c:v>
                </c:pt>
                <c:pt idx="37449">
                  <c:v>34551</c:v>
                </c:pt>
                <c:pt idx="37450">
                  <c:v>34551</c:v>
                </c:pt>
                <c:pt idx="37451">
                  <c:v>34551</c:v>
                </c:pt>
                <c:pt idx="37452">
                  <c:v>34550</c:v>
                </c:pt>
                <c:pt idx="37453">
                  <c:v>34550</c:v>
                </c:pt>
                <c:pt idx="37454">
                  <c:v>34550</c:v>
                </c:pt>
                <c:pt idx="37455">
                  <c:v>34550</c:v>
                </c:pt>
                <c:pt idx="37456">
                  <c:v>34550</c:v>
                </c:pt>
                <c:pt idx="37457">
                  <c:v>34550</c:v>
                </c:pt>
                <c:pt idx="37458">
                  <c:v>34550</c:v>
                </c:pt>
                <c:pt idx="37459">
                  <c:v>34549</c:v>
                </c:pt>
                <c:pt idx="37460">
                  <c:v>34549</c:v>
                </c:pt>
                <c:pt idx="37461">
                  <c:v>34548</c:v>
                </c:pt>
                <c:pt idx="37462">
                  <c:v>34548</c:v>
                </c:pt>
                <c:pt idx="37463">
                  <c:v>34547</c:v>
                </c:pt>
                <c:pt idx="37464">
                  <c:v>34547</c:v>
                </c:pt>
                <c:pt idx="37465">
                  <c:v>34547</c:v>
                </c:pt>
                <c:pt idx="37466">
                  <c:v>34546</c:v>
                </c:pt>
                <c:pt idx="37467">
                  <c:v>34546</c:v>
                </c:pt>
                <c:pt idx="37468">
                  <c:v>34546</c:v>
                </c:pt>
                <c:pt idx="37469">
                  <c:v>34546</c:v>
                </c:pt>
                <c:pt idx="37470">
                  <c:v>34546</c:v>
                </c:pt>
                <c:pt idx="37471">
                  <c:v>34545</c:v>
                </c:pt>
                <c:pt idx="37472">
                  <c:v>34545</c:v>
                </c:pt>
                <c:pt idx="37473">
                  <c:v>34545</c:v>
                </c:pt>
                <c:pt idx="37474">
                  <c:v>34545</c:v>
                </c:pt>
                <c:pt idx="37475">
                  <c:v>34545</c:v>
                </c:pt>
                <c:pt idx="37476">
                  <c:v>34544</c:v>
                </c:pt>
                <c:pt idx="37477">
                  <c:v>34544</c:v>
                </c:pt>
                <c:pt idx="37478">
                  <c:v>34544</c:v>
                </c:pt>
                <c:pt idx="37479">
                  <c:v>34544</c:v>
                </c:pt>
                <c:pt idx="37480">
                  <c:v>34544</c:v>
                </c:pt>
                <c:pt idx="37481">
                  <c:v>34543</c:v>
                </c:pt>
                <c:pt idx="37482">
                  <c:v>34543</c:v>
                </c:pt>
                <c:pt idx="37483">
                  <c:v>34543</c:v>
                </c:pt>
                <c:pt idx="37484">
                  <c:v>34542</c:v>
                </c:pt>
                <c:pt idx="37485">
                  <c:v>34542</c:v>
                </c:pt>
                <c:pt idx="37486">
                  <c:v>34542</c:v>
                </c:pt>
                <c:pt idx="37487">
                  <c:v>34542</c:v>
                </c:pt>
                <c:pt idx="37488">
                  <c:v>34542</c:v>
                </c:pt>
                <c:pt idx="37489">
                  <c:v>34542</c:v>
                </c:pt>
                <c:pt idx="37490">
                  <c:v>34542</c:v>
                </c:pt>
                <c:pt idx="37491">
                  <c:v>34542</c:v>
                </c:pt>
                <c:pt idx="37492">
                  <c:v>34542</c:v>
                </c:pt>
                <c:pt idx="37493">
                  <c:v>34542</c:v>
                </c:pt>
                <c:pt idx="37494">
                  <c:v>34541</c:v>
                </c:pt>
                <c:pt idx="37495">
                  <c:v>34541</c:v>
                </c:pt>
                <c:pt idx="37496">
                  <c:v>34541</c:v>
                </c:pt>
                <c:pt idx="37497">
                  <c:v>34541</c:v>
                </c:pt>
                <c:pt idx="37498">
                  <c:v>34541</c:v>
                </c:pt>
                <c:pt idx="37499">
                  <c:v>34541</c:v>
                </c:pt>
                <c:pt idx="37500">
                  <c:v>34540</c:v>
                </c:pt>
                <c:pt idx="37501">
                  <c:v>34540</c:v>
                </c:pt>
                <c:pt idx="37502">
                  <c:v>34539</c:v>
                </c:pt>
                <c:pt idx="37503">
                  <c:v>34539</c:v>
                </c:pt>
                <c:pt idx="37504">
                  <c:v>34539</c:v>
                </c:pt>
                <c:pt idx="37505">
                  <c:v>34539</c:v>
                </c:pt>
                <c:pt idx="37506">
                  <c:v>34539</c:v>
                </c:pt>
                <c:pt idx="37507">
                  <c:v>34539</c:v>
                </c:pt>
                <c:pt idx="37508">
                  <c:v>34539</c:v>
                </c:pt>
                <c:pt idx="37509">
                  <c:v>34539</c:v>
                </c:pt>
                <c:pt idx="37510">
                  <c:v>34539</c:v>
                </c:pt>
                <c:pt idx="37511">
                  <c:v>34539</c:v>
                </c:pt>
                <c:pt idx="37512">
                  <c:v>34538</c:v>
                </c:pt>
                <c:pt idx="37513">
                  <c:v>34538</c:v>
                </c:pt>
                <c:pt idx="37514">
                  <c:v>34538</c:v>
                </c:pt>
                <c:pt idx="37515">
                  <c:v>34538</c:v>
                </c:pt>
                <c:pt idx="37516">
                  <c:v>34538</c:v>
                </c:pt>
                <c:pt idx="37517">
                  <c:v>34538</c:v>
                </c:pt>
                <c:pt idx="37518">
                  <c:v>34538</c:v>
                </c:pt>
                <c:pt idx="37519">
                  <c:v>34538</c:v>
                </c:pt>
                <c:pt idx="37520">
                  <c:v>34537</c:v>
                </c:pt>
                <c:pt idx="37521">
                  <c:v>34537</c:v>
                </c:pt>
                <c:pt idx="37522">
                  <c:v>34537</c:v>
                </c:pt>
                <c:pt idx="37523">
                  <c:v>34537</c:v>
                </c:pt>
                <c:pt idx="37524">
                  <c:v>34537</c:v>
                </c:pt>
                <c:pt idx="37525">
                  <c:v>34536</c:v>
                </c:pt>
                <c:pt idx="37526">
                  <c:v>34536</c:v>
                </c:pt>
                <c:pt idx="37527">
                  <c:v>34536</c:v>
                </c:pt>
                <c:pt idx="37528">
                  <c:v>34536</c:v>
                </c:pt>
                <c:pt idx="37529">
                  <c:v>34536</c:v>
                </c:pt>
                <c:pt idx="37530">
                  <c:v>34536</c:v>
                </c:pt>
                <c:pt idx="37531">
                  <c:v>34536</c:v>
                </c:pt>
                <c:pt idx="37532">
                  <c:v>34536</c:v>
                </c:pt>
                <c:pt idx="37533">
                  <c:v>34536</c:v>
                </c:pt>
                <c:pt idx="37534">
                  <c:v>34535</c:v>
                </c:pt>
                <c:pt idx="37535">
                  <c:v>34535</c:v>
                </c:pt>
                <c:pt idx="37536">
                  <c:v>34535</c:v>
                </c:pt>
                <c:pt idx="37537">
                  <c:v>34535</c:v>
                </c:pt>
                <c:pt idx="37538">
                  <c:v>34535</c:v>
                </c:pt>
                <c:pt idx="37539">
                  <c:v>34535</c:v>
                </c:pt>
                <c:pt idx="37540">
                  <c:v>34535</c:v>
                </c:pt>
                <c:pt idx="37541">
                  <c:v>34535</c:v>
                </c:pt>
                <c:pt idx="37542">
                  <c:v>34535</c:v>
                </c:pt>
                <c:pt idx="37543">
                  <c:v>34534</c:v>
                </c:pt>
                <c:pt idx="37544">
                  <c:v>34534</c:v>
                </c:pt>
                <c:pt idx="37545">
                  <c:v>34534</c:v>
                </c:pt>
                <c:pt idx="37546">
                  <c:v>34534</c:v>
                </c:pt>
                <c:pt idx="37547">
                  <c:v>34534</c:v>
                </c:pt>
                <c:pt idx="37548">
                  <c:v>34533</c:v>
                </c:pt>
                <c:pt idx="37549">
                  <c:v>34533</c:v>
                </c:pt>
                <c:pt idx="37550">
                  <c:v>34533</c:v>
                </c:pt>
                <c:pt idx="37551">
                  <c:v>34533</c:v>
                </c:pt>
                <c:pt idx="37552">
                  <c:v>34533</c:v>
                </c:pt>
                <c:pt idx="37553">
                  <c:v>34533</c:v>
                </c:pt>
                <c:pt idx="37554">
                  <c:v>34533</c:v>
                </c:pt>
                <c:pt idx="37555">
                  <c:v>34532</c:v>
                </c:pt>
                <c:pt idx="37556">
                  <c:v>34532</c:v>
                </c:pt>
                <c:pt idx="37557">
                  <c:v>34532</c:v>
                </c:pt>
                <c:pt idx="37558">
                  <c:v>34532</c:v>
                </c:pt>
                <c:pt idx="37559">
                  <c:v>34532</c:v>
                </c:pt>
                <c:pt idx="37560">
                  <c:v>34532</c:v>
                </c:pt>
                <c:pt idx="37561">
                  <c:v>34531</c:v>
                </c:pt>
                <c:pt idx="37562">
                  <c:v>34531</c:v>
                </c:pt>
                <c:pt idx="37563">
                  <c:v>34531</c:v>
                </c:pt>
                <c:pt idx="37564">
                  <c:v>34531</c:v>
                </c:pt>
                <c:pt idx="37565">
                  <c:v>34530</c:v>
                </c:pt>
                <c:pt idx="37566">
                  <c:v>34530</c:v>
                </c:pt>
                <c:pt idx="37567">
                  <c:v>34530</c:v>
                </c:pt>
                <c:pt idx="37568">
                  <c:v>34530</c:v>
                </c:pt>
                <c:pt idx="37569">
                  <c:v>34530</c:v>
                </c:pt>
                <c:pt idx="37570">
                  <c:v>34530</c:v>
                </c:pt>
                <c:pt idx="37571">
                  <c:v>34530</c:v>
                </c:pt>
                <c:pt idx="37572">
                  <c:v>34530</c:v>
                </c:pt>
                <c:pt idx="37573">
                  <c:v>34530</c:v>
                </c:pt>
                <c:pt idx="37574">
                  <c:v>34530</c:v>
                </c:pt>
                <c:pt idx="37575">
                  <c:v>34530</c:v>
                </c:pt>
                <c:pt idx="37576">
                  <c:v>34530</c:v>
                </c:pt>
                <c:pt idx="37577">
                  <c:v>34530</c:v>
                </c:pt>
                <c:pt idx="37578">
                  <c:v>34529</c:v>
                </c:pt>
                <c:pt idx="37579">
                  <c:v>34529</c:v>
                </c:pt>
                <c:pt idx="37580">
                  <c:v>34529</c:v>
                </c:pt>
                <c:pt idx="37581">
                  <c:v>34529</c:v>
                </c:pt>
                <c:pt idx="37582">
                  <c:v>34529</c:v>
                </c:pt>
                <c:pt idx="37583">
                  <c:v>34529</c:v>
                </c:pt>
                <c:pt idx="37584">
                  <c:v>34529</c:v>
                </c:pt>
                <c:pt idx="37585">
                  <c:v>34529</c:v>
                </c:pt>
                <c:pt idx="37586">
                  <c:v>34528</c:v>
                </c:pt>
                <c:pt idx="37587">
                  <c:v>34528</c:v>
                </c:pt>
                <c:pt idx="37588">
                  <c:v>34528</c:v>
                </c:pt>
                <c:pt idx="37589">
                  <c:v>34528</c:v>
                </c:pt>
                <c:pt idx="37590">
                  <c:v>34528</c:v>
                </c:pt>
                <c:pt idx="37591">
                  <c:v>34527</c:v>
                </c:pt>
                <c:pt idx="37592">
                  <c:v>34527</c:v>
                </c:pt>
                <c:pt idx="37593">
                  <c:v>34527</c:v>
                </c:pt>
                <c:pt idx="37594">
                  <c:v>34527</c:v>
                </c:pt>
                <c:pt idx="37595">
                  <c:v>34527</c:v>
                </c:pt>
                <c:pt idx="37596">
                  <c:v>34526</c:v>
                </c:pt>
                <c:pt idx="37597">
                  <c:v>34526</c:v>
                </c:pt>
                <c:pt idx="37598">
                  <c:v>34526</c:v>
                </c:pt>
                <c:pt idx="37599">
                  <c:v>34526</c:v>
                </c:pt>
                <c:pt idx="37600">
                  <c:v>34526</c:v>
                </c:pt>
                <c:pt idx="37601">
                  <c:v>34526</c:v>
                </c:pt>
                <c:pt idx="37602">
                  <c:v>34526</c:v>
                </c:pt>
                <c:pt idx="37603">
                  <c:v>34525</c:v>
                </c:pt>
                <c:pt idx="37604">
                  <c:v>34525</c:v>
                </c:pt>
                <c:pt idx="37605">
                  <c:v>34525</c:v>
                </c:pt>
                <c:pt idx="37606">
                  <c:v>34525</c:v>
                </c:pt>
                <c:pt idx="37607">
                  <c:v>34525</c:v>
                </c:pt>
                <c:pt idx="37608">
                  <c:v>34525</c:v>
                </c:pt>
                <c:pt idx="37609">
                  <c:v>34525</c:v>
                </c:pt>
                <c:pt idx="37610">
                  <c:v>34525</c:v>
                </c:pt>
                <c:pt idx="37611">
                  <c:v>34525</c:v>
                </c:pt>
                <c:pt idx="37612">
                  <c:v>34524</c:v>
                </c:pt>
                <c:pt idx="37613">
                  <c:v>34524</c:v>
                </c:pt>
                <c:pt idx="37614">
                  <c:v>34524</c:v>
                </c:pt>
                <c:pt idx="37615">
                  <c:v>34524</c:v>
                </c:pt>
                <c:pt idx="37616">
                  <c:v>34524</c:v>
                </c:pt>
                <c:pt idx="37617">
                  <c:v>34524</c:v>
                </c:pt>
                <c:pt idx="37618">
                  <c:v>34523</c:v>
                </c:pt>
                <c:pt idx="37619">
                  <c:v>34523</c:v>
                </c:pt>
                <c:pt idx="37620">
                  <c:v>34523</c:v>
                </c:pt>
                <c:pt idx="37621">
                  <c:v>34523</c:v>
                </c:pt>
                <c:pt idx="37622">
                  <c:v>34523</c:v>
                </c:pt>
                <c:pt idx="37623">
                  <c:v>34523</c:v>
                </c:pt>
                <c:pt idx="37624">
                  <c:v>34523</c:v>
                </c:pt>
                <c:pt idx="37625">
                  <c:v>34523</c:v>
                </c:pt>
                <c:pt idx="37626">
                  <c:v>34523</c:v>
                </c:pt>
                <c:pt idx="37627">
                  <c:v>34522</c:v>
                </c:pt>
                <c:pt idx="37628">
                  <c:v>34522</c:v>
                </c:pt>
                <c:pt idx="37629">
                  <c:v>34522</c:v>
                </c:pt>
                <c:pt idx="37630">
                  <c:v>34522</c:v>
                </c:pt>
                <c:pt idx="37631">
                  <c:v>34522</c:v>
                </c:pt>
                <c:pt idx="37632">
                  <c:v>34522</c:v>
                </c:pt>
                <c:pt idx="37633">
                  <c:v>34522</c:v>
                </c:pt>
                <c:pt idx="37634">
                  <c:v>34521</c:v>
                </c:pt>
                <c:pt idx="37635">
                  <c:v>34521</c:v>
                </c:pt>
                <c:pt idx="37636">
                  <c:v>34521</c:v>
                </c:pt>
                <c:pt idx="37637">
                  <c:v>34521</c:v>
                </c:pt>
                <c:pt idx="37638">
                  <c:v>34521</c:v>
                </c:pt>
                <c:pt idx="37639">
                  <c:v>34520</c:v>
                </c:pt>
                <c:pt idx="37640">
                  <c:v>34520</c:v>
                </c:pt>
                <c:pt idx="37641">
                  <c:v>34520</c:v>
                </c:pt>
                <c:pt idx="37642">
                  <c:v>34520</c:v>
                </c:pt>
                <c:pt idx="37643">
                  <c:v>34520</c:v>
                </c:pt>
                <c:pt idx="37644">
                  <c:v>34519</c:v>
                </c:pt>
                <c:pt idx="37645">
                  <c:v>34519</c:v>
                </c:pt>
                <c:pt idx="37646">
                  <c:v>34519</c:v>
                </c:pt>
                <c:pt idx="37647">
                  <c:v>34519</c:v>
                </c:pt>
                <c:pt idx="37648">
                  <c:v>34519</c:v>
                </c:pt>
                <c:pt idx="37649">
                  <c:v>34519</c:v>
                </c:pt>
                <c:pt idx="37650">
                  <c:v>34519</c:v>
                </c:pt>
                <c:pt idx="37651">
                  <c:v>34518</c:v>
                </c:pt>
                <c:pt idx="37652">
                  <c:v>34518</c:v>
                </c:pt>
                <c:pt idx="37653">
                  <c:v>34518</c:v>
                </c:pt>
                <c:pt idx="37654">
                  <c:v>34518</c:v>
                </c:pt>
                <c:pt idx="37655">
                  <c:v>34517</c:v>
                </c:pt>
                <c:pt idx="37656">
                  <c:v>34517</c:v>
                </c:pt>
                <c:pt idx="37657">
                  <c:v>34517</c:v>
                </c:pt>
                <c:pt idx="37658">
                  <c:v>34517</c:v>
                </c:pt>
                <c:pt idx="37659">
                  <c:v>34517</c:v>
                </c:pt>
                <c:pt idx="37660">
                  <c:v>34516</c:v>
                </c:pt>
                <c:pt idx="37661">
                  <c:v>34516</c:v>
                </c:pt>
                <c:pt idx="37662">
                  <c:v>34516</c:v>
                </c:pt>
                <c:pt idx="37663">
                  <c:v>34516</c:v>
                </c:pt>
                <c:pt idx="37664">
                  <c:v>34516</c:v>
                </c:pt>
                <c:pt idx="37665">
                  <c:v>34516</c:v>
                </c:pt>
                <c:pt idx="37666">
                  <c:v>34516</c:v>
                </c:pt>
                <c:pt idx="37667">
                  <c:v>34516</c:v>
                </c:pt>
                <c:pt idx="37668">
                  <c:v>34515</c:v>
                </c:pt>
                <c:pt idx="37669">
                  <c:v>34515</c:v>
                </c:pt>
                <c:pt idx="37670">
                  <c:v>34515</c:v>
                </c:pt>
                <c:pt idx="37671">
                  <c:v>34515</c:v>
                </c:pt>
                <c:pt idx="37672">
                  <c:v>34515</c:v>
                </c:pt>
                <c:pt idx="37673">
                  <c:v>34514</c:v>
                </c:pt>
                <c:pt idx="37674">
                  <c:v>34514</c:v>
                </c:pt>
                <c:pt idx="37675">
                  <c:v>34514</c:v>
                </c:pt>
                <c:pt idx="37676">
                  <c:v>34514</c:v>
                </c:pt>
                <c:pt idx="37677">
                  <c:v>34514</c:v>
                </c:pt>
                <c:pt idx="37678">
                  <c:v>34514</c:v>
                </c:pt>
                <c:pt idx="37679">
                  <c:v>34514</c:v>
                </c:pt>
                <c:pt idx="37680">
                  <c:v>34514</c:v>
                </c:pt>
                <c:pt idx="37681">
                  <c:v>34513</c:v>
                </c:pt>
                <c:pt idx="37682">
                  <c:v>34513</c:v>
                </c:pt>
                <c:pt idx="37683">
                  <c:v>34513</c:v>
                </c:pt>
                <c:pt idx="37684">
                  <c:v>34513</c:v>
                </c:pt>
                <c:pt idx="37685">
                  <c:v>34513</c:v>
                </c:pt>
                <c:pt idx="37686">
                  <c:v>34512</c:v>
                </c:pt>
                <c:pt idx="37687">
                  <c:v>34512</c:v>
                </c:pt>
                <c:pt idx="37688">
                  <c:v>34512</c:v>
                </c:pt>
                <c:pt idx="37689">
                  <c:v>34512</c:v>
                </c:pt>
                <c:pt idx="37690">
                  <c:v>34512</c:v>
                </c:pt>
                <c:pt idx="37691">
                  <c:v>34511</c:v>
                </c:pt>
                <c:pt idx="37692">
                  <c:v>34511</c:v>
                </c:pt>
                <c:pt idx="37693">
                  <c:v>34510</c:v>
                </c:pt>
                <c:pt idx="37694">
                  <c:v>34510</c:v>
                </c:pt>
                <c:pt idx="37695">
                  <c:v>34510</c:v>
                </c:pt>
                <c:pt idx="37696">
                  <c:v>34510</c:v>
                </c:pt>
                <c:pt idx="37697">
                  <c:v>34510</c:v>
                </c:pt>
                <c:pt idx="37698">
                  <c:v>34509</c:v>
                </c:pt>
                <c:pt idx="37699">
                  <c:v>34509</c:v>
                </c:pt>
                <c:pt idx="37700">
                  <c:v>34509</c:v>
                </c:pt>
                <c:pt idx="37701">
                  <c:v>34509</c:v>
                </c:pt>
                <c:pt idx="37702">
                  <c:v>34509</c:v>
                </c:pt>
                <c:pt idx="37703">
                  <c:v>34509</c:v>
                </c:pt>
                <c:pt idx="37704">
                  <c:v>34509</c:v>
                </c:pt>
                <c:pt idx="37705">
                  <c:v>34509</c:v>
                </c:pt>
                <c:pt idx="37706">
                  <c:v>34509</c:v>
                </c:pt>
                <c:pt idx="37707">
                  <c:v>34508</c:v>
                </c:pt>
                <c:pt idx="37708">
                  <c:v>34508</c:v>
                </c:pt>
                <c:pt idx="37709">
                  <c:v>34508</c:v>
                </c:pt>
                <c:pt idx="37710">
                  <c:v>34508</c:v>
                </c:pt>
                <c:pt idx="37711">
                  <c:v>34508</c:v>
                </c:pt>
                <c:pt idx="37712">
                  <c:v>34508</c:v>
                </c:pt>
                <c:pt idx="37713">
                  <c:v>34508</c:v>
                </c:pt>
                <c:pt idx="37714">
                  <c:v>34507</c:v>
                </c:pt>
                <c:pt idx="37715">
                  <c:v>34507</c:v>
                </c:pt>
                <c:pt idx="37716">
                  <c:v>34507</c:v>
                </c:pt>
                <c:pt idx="37717">
                  <c:v>34507</c:v>
                </c:pt>
                <c:pt idx="37718">
                  <c:v>34506</c:v>
                </c:pt>
                <c:pt idx="37719">
                  <c:v>34506</c:v>
                </c:pt>
                <c:pt idx="37720">
                  <c:v>34505</c:v>
                </c:pt>
                <c:pt idx="37721">
                  <c:v>34505</c:v>
                </c:pt>
                <c:pt idx="37722">
                  <c:v>34505</c:v>
                </c:pt>
                <c:pt idx="37723">
                  <c:v>34505</c:v>
                </c:pt>
                <c:pt idx="37724">
                  <c:v>34505</c:v>
                </c:pt>
                <c:pt idx="37725">
                  <c:v>34504</c:v>
                </c:pt>
                <c:pt idx="37726">
                  <c:v>34504</c:v>
                </c:pt>
                <c:pt idx="37727">
                  <c:v>34504</c:v>
                </c:pt>
                <c:pt idx="37728">
                  <c:v>34504</c:v>
                </c:pt>
                <c:pt idx="37729">
                  <c:v>34504</c:v>
                </c:pt>
                <c:pt idx="37730">
                  <c:v>34504</c:v>
                </c:pt>
                <c:pt idx="37731">
                  <c:v>34503</c:v>
                </c:pt>
                <c:pt idx="37732">
                  <c:v>34503</c:v>
                </c:pt>
                <c:pt idx="37733">
                  <c:v>34503</c:v>
                </c:pt>
                <c:pt idx="37734">
                  <c:v>34502</c:v>
                </c:pt>
                <c:pt idx="37735">
                  <c:v>34502</c:v>
                </c:pt>
                <c:pt idx="37736">
                  <c:v>34502</c:v>
                </c:pt>
                <c:pt idx="37737">
                  <c:v>34502</c:v>
                </c:pt>
                <c:pt idx="37738">
                  <c:v>34501</c:v>
                </c:pt>
                <c:pt idx="37739">
                  <c:v>34501</c:v>
                </c:pt>
                <c:pt idx="37740">
                  <c:v>34500</c:v>
                </c:pt>
                <c:pt idx="37741">
                  <c:v>34500</c:v>
                </c:pt>
                <c:pt idx="37742">
                  <c:v>34500</c:v>
                </c:pt>
                <c:pt idx="37743">
                  <c:v>34499</c:v>
                </c:pt>
                <c:pt idx="37744">
                  <c:v>34499</c:v>
                </c:pt>
                <c:pt idx="37745">
                  <c:v>34499</c:v>
                </c:pt>
                <c:pt idx="37746">
                  <c:v>34499</c:v>
                </c:pt>
                <c:pt idx="37747">
                  <c:v>34498</c:v>
                </c:pt>
                <c:pt idx="37748">
                  <c:v>34498</c:v>
                </c:pt>
                <c:pt idx="37749">
                  <c:v>34498</c:v>
                </c:pt>
                <c:pt idx="37750">
                  <c:v>34498</c:v>
                </c:pt>
                <c:pt idx="37751">
                  <c:v>34498</c:v>
                </c:pt>
                <c:pt idx="37752">
                  <c:v>34498</c:v>
                </c:pt>
                <c:pt idx="37753">
                  <c:v>34498</c:v>
                </c:pt>
                <c:pt idx="37754">
                  <c:v>34497</c:v>
                </c:pt>
                <c:pt idx="37755">
                  <c:v>34497</c:v>
                </c:pt>
                <c:pt idx="37756">
                  <c:v>34497</c:v>
                </c:pt>
                <c:pt idx="37757">
                  <c:v>34497</c:v>
                </c:pt>
                <c:pt idx="37758">
                  <c:v>34496</c:v>
                </c:pt>
                <c:pt idx="37759">
                  <c:v>34496</c:v>
                </c:pt>
                <c:pt idx="37760">
                  <c:v>34496</c:v>
                </c:pt>
                <c:pt idx="37761">
                  <c:v>34496</c:v>
                </c:pt>
                <c:pt idx="37762">
                  <c:v>34495</c:v>
                </c:pt>
                <c:pt idx="37763">
                  <c:v>34495</c:v>
                </c:pt>
                <c:pt idx="37764">
                  <c:v>34495</c:v>
                </c:pt>
                <c:pt idx="37765">
                  <c:v>34495</c:v>
                </c:pt>
                <c:pt idx="37766">
                  <c:v>34494</c:v>
                </c:pt>
                <c:pt idx="37767">
                  <c:v>34494</c:v>
                </c:pt>
                <c:pt idx="37768">
                  <c:v>34494</c:v>
                </c:pt>
                <c:pt idx="37769">
                  <c:v>34494</c:v>
                </c:pt>
                <c:pt idx="37770">
                  <c:v>34494</c:v>
                </c:pt>
                <c:pt idx="37771">
                  <c:v>34494</c:v>
                </c:pt>
                <c:pt idx="37772">
                  <c:v>34494</c:v>
                </c:pt>
                <c:pt idx="37773">
                  <c:v>34494</c:v>
                </c:pt>
                <c:pt idx="37774">
                  <c:v>34494</c:v>
                </c:pt>
                <c:pt idx="37775">
                  <c:v>34493</c:v>
                </c:pt>
                <c:pt idx="37776">
                  <c:v>34493</c:v>
                </c:pt>
                <c:pt idx="37777">
                  <c:v>34493</c:v>
                </c:pt>
                <c:pt idx="37778">
                  <c:v>34493</c:v>
                </c:pt>
                <c:pt idx="37779">
                  <c:v>34493</c:v>
                </c:pt>
                <c:pt idx="37780">
                  <c:v>34493</c:v>
                </c:pt>
                <c:pt idx="37781">
                  <c:v>34493</c:v>
                </c:pt>
                <c:pt idx="37782">
                  <c:v>34493</c:v>
                </c:pt>
                <c:pt idx="37783">
                  <c:v>34493</c:v>
                </c:pt>
                <c:pt idx="37784">
                  <c:v>34492</c:v>
                </c:pt>
                <c:pt idx="37785">
                  <c:v>34492</c:v>
                </c:pt>
                <c:pt idx="37786">
                  <c:v>34492</c:v>
                </c:pt>
                <c:pt idx="37787">
                  <c:v>34492</c:v>
                </c:pt>
                <c:pt idx="37788">
                  <c:v>34492</c:v>
                </c:pt>
                <c:pt idx="37789">
                  <c:v>34492</c:v>
                </c:pt>
                <c:pt idx="37790">
                  <c:v>34492</c:v>
                </c:pt>
                <c:pt idx="37791">
                  <c:v>34492</c:v>
                </c:pt>
                <c:pt idx="37792">
                  <c:v>34492</c:v>
                </c:pt>
                <c:pt idx="37793">
                  <c:v>34491</c:v>
                </c:pt>
                <c:pt idx="37794">
                  <c:v>34491</c:v>
                </c:pt>
                <c:pt idx="37795">
                  <c:v>34491</c:v>
                </c:pt>
                <c:pt idx="37796">
                  <c:v>34491</c:v>
                </c:pt>
                <c:pt idx="37797">
                  <c:v>34491</c:v>
                </c:pt>
                <c:pt idx="37798">
                  <c:v>34491</c:v>
                </c:pt>
                <c:pt idx="37799">
                  <c:v>34491</c:v>
                </c:pt>
                <c:pt idx="37800">
                  <c:v>34491</c:v>
                </c:pt>
                <c:pt idx="37801">
                  <c:v>34491</c:v>
                </c:pt>
                <c:pt idx="37802">
                  <c:v>34491</c:v>
                </c:pt>
                <c:pt idx="37803">
                  <c:v>34491</c:v>
                </c:pt>
                <c:pt idx="37804">
                  <c:v>34491</c:v>
                </c:pt>
                <c:pt idx="37805">
                  <c:v>34490</c:v>
                </c:pt>
                <c:pt idx="37806">
                  <c:v>34490</c:v>
                </c:pt>
                <c:pt idx="37807">
                  <c:v>34490</c:v>
                </c:pt>
                <c:pt idx="37808">
                  <c:v>34490</c:v>
                </c:pt>
                <c:pt idx="37809">
                  <c:v>34490</c:v>
                </c:pt>
                <c:pt idx="37810">
                  <c:v>34490</c:v>
                </c:pt>
                <c:pt idx="37811">
                  <c:v>34490</c:v>
                </c:pt>
                <c:pt idx="37812">
                  <c:v>34490</c:v>
                </c:pt>
                <c:pt idx="37813">
                  <c:v>34490</c:v>
                </c:pt>
                <c:pt idx="37814">
                  <c:v>34489</c:v>
                </c:pt>
                <c:pt idx="37815">
                  <c:v>34489</c:v>
                </c:pt>
                <c:pt idx="37816">
                  <c:v>34489</c:v>
                </c:pt>
                <c:pt idx="37817">
                  <c:v>34489</c:v>
                </c:pt>
                <c:pt idx="37818">
                  <c:v>34489</c:v>
                </c:pt>
                <c:pt idx="37819">
                  <c:v>34489</c:v>
                </c:pt>
                <c:pt idx="37820">
                  <c:v>34489</c:v>
                </c:pt>
                <c:pt idx="37821">
                  <c:v>34488</c:v>
                </c:pt>
                <c:pt idx="37822">
                  <c:v>34488</c:v>
                </c:pt>
                <c:pt idx="37823">
                  <c:v>34488</c:v>
                </c:pt>
                <c:pt idx="37824">
                  <c:v>34488</c:v>
                </c:pt>
                <c:pt idx="37825">
                  <c:v>34487</c:v>
                </c:pt>
                <c:pt idx="37826">
                  <c:v>34487</c:v>
                </c:pt>
                <c:pt idx="37827">
                  <c:v>34487</c:v>
                </c:pt>
                <c:pt idx="37828">
                  <c:v>34487</c:v>
                </c:pt>
                <c:pt idx="37829">
                  <c:v>34487</c:v>
                </c:pt>
                <c:pt idx="37830">
                  <c:v>34487</c:v>
                </c:pt>
                <c:pt idx="37831">
                  <c:v>34487</c:v>
                </c:pt>
                <c:pt idx="37832">
                  <c:v>34487</c:v>
                </c:pt>
                <c:pt idx="37833">
                  <c:v>34487</c:v>
                </c:pt>
                <c:pt idx="37834">
                  <c:v>34487</c:v>
                </c:pt>
                <c:pt idx="37835">
                  <c:v>34487</c:v>
                </c:pt>
                <c:pt idx="37836">
                  <c:v>34487</c:v>
                </c:pt>
                <c:pt idx="37837">
                  <c:v>34486</c:v>
                </c:pt>
                <c:pt idx="37838">
                  <c:v>34486</c:v>
                </c:pt>
                <c:pt idx="37839">
                  <c:v>34486</c:v>
                </c:pt>
                <c:pt idx="37840">
                  <c:v>34486</c:v>
                </c:pt>
                <c:pt idx="37841">
                  <c:v>34485</c:v>
                </c:pt>
                <c:pt idx="37842">
                  <c:v>34485</c:v>
                </c:pt>
                <c:pt idx="37843">
                  <c:v>34485</c:v>
                </c:pt>
                <c:pt idx="37844">
                  <c:v>34485</c:v>
                </c:pt>
                <c:pt idx="37845">
                  <c:v>34485</c:v>
                </c:pt>
                <c:pt idx="37846">
                  <c:v>34484</c:v>
                </c:pt>
                <c:pt idx="37847">
                  <c:v>34484</c:v>
                </c:pt>
                <c:pt idx="37848">
                  <c:v>34484</c:v>
                </c:pt>
                <c:pt idx="37849">
                  <c:v>34484</c:v>
                </c:pt>
                <c:pt idx="37850">
                  <c:v>34484</c:v>
                </c:pt>
                <c:pt idx="37851">
                  <c:v>34484</c:v>
                </c:pt>
                <c:pt idx="37852">
                  <c:v>34484</c:v>
                </c:pt>
                <c:pt idx="37853">
                  <c:v>34484</c:v>
                </c:pt>
                <c:pt idx="37854">
                  <c:v>34483</c:v>
                </c:pt>
                <c:pt idx="37855">
                  <c:v>34483</c:v>
                </c:pt>
                <c:pt idx="37856">
                  <c:v>34483</c:v>
                </c:pt>
                <c:pt idx="37857">
                  <c:v>34483</c:v>
                </c:pt>
                <c:pt idx="37858">
                  <c:v>34483</c:v>
                </c:pt>
                <c:pt idx="37859">
                  <c:v>34482</c:v>
                </c:pt>
                <c:pt idx="37860">
                  <c:v>34482</c:v>
                </c:pt>
                <c:pt idx="37861">
                  <c:v>34482</c:v>
                </c:pt>
                <c:pt idx="37862">
                  <c:v>34482</c:v>
                </c:pt>
                <c:pt idx="37863">
                  <c:v>34482</c:v>
                </c:pt>
                <c:pt idx="37864">
                  <c:v>34482</c:v>
                </c:pt>
                <c:pt idx="37865">
                  <c:v>34482</c:v>
                </c:pt>
                <c:pt idx="37866">
                  <c:v>34482</c:v>
                </c:pt>
                <c:pt idx="37867">
                  <c:v>34481</c:v>
                </c:pt>
                <c:pt idx="37868">
                  <c:v>34481</c:v>
                </c:pt>
                <c:pt idx="37869">
                  <c:v>34481</c:v>
                </c:pt>
                <c:pt idx="37870">
                  <c:v>34481</c:v>
                </c:pt>
                <c:pt idx="37871">
                  <c:v>34481</c:v>
                </c:pt>
                <c:pt idx="37872">
                  <c:v>34481</c:v>
                </c:pt>
                <c:pt idx="37873">
                  <c:v>34481</c:v>
                </c:pt>
                <c:pt idx="37874">
                  <c:v>34481</c:v>
                </c:pt>
                <c:pt idx="37875">
                  <c:v>34481</c:v>
                </c:pt>
                <c:pt idx="37876">
                  <c:v>34481</c:v>
                </c:pt>
                <c:pt idx="37877">
                  <c:v>34481</c:v>
                </c:pt>
                <c:pt idx="37878">
                  <c:v>34480</c:v>
                </c:pt>
                <c:pt idx="37879">
                  <c:v>34480</c:v>
                </c:pt>
                <c:pt idx="37880">
                  <c:v>34480</c:v>
                </c:pt>
                <c:pt idx="37881">
                  <c:v>34480</c:v>
                </c:pt>
                <c:pt idx="37882">
                  <c:v>34480</c:v>
                </c:pt>
                <c:pt idx="37883">
                  <c:v>34479</c:v>
                </c:pt>
                <c:pt idx="37884">
                  <c:v>34479</c:v>
                </c:pt>
                <c:pt idx="37885">
                  <c:v>34479</c:v>
                </c:pt>
                <c:pt idx="37886">
                  <c:v>34479</c:v>
                </c:pt>
                <c:pt idx="37887">
                  <c:v>34479</c:v>
                </c:pt>
                <c:pt idx="37888">
                  <c:v>34479</c:v>
                </c:pt>
                <c:pt idx="37889">
                  <c:v>34479</c:v>
                </c:pt>
                <c:pt idx="37890">
                  <c:v>34479</c:v>
                </c:pt>
                <c:pt idx="37891">
                  <c:v>34478</c:v>
                </c:pt>
                <c:pt idx="37892">
                  <c:v>34478</c:v>
                </c:pt>
                <c:pt idx="37893">
                  <c:v>34478</c:v>
                </c:pt>
                <c:pt idx="37894">
                  <c:v>34478</c:v>
                </c:pt>
                <c:pt idx="37895">
                  <c:v>34478</c:v>
                </c:pt>
                <c:pt idx="37896">
                  <c:v>34478</c:v>
                </c:pt>
                <c:pt idx="37897">
                  <c:v>34478</c:v>
                </c:pt>
                <c:pt idx="37898">
                  <c:v>34478</c:v>
                </c:pt>
                <c:pt idx="37899">
                  <c:v>34478</c:v>
                </c:pt>
                <c:pt idx="37900">
                  <c:v>34477</c:v>
                </c:pt>
                <c:pt idx="37901">
                  <c:v>34476</c:v>
                </c:pt>
                <c:pt idx="37902">
                  <c:v>34476</c:v>
                </c:pt>
                <c:pt idx="37903">
                  <c:v>34476</c:v>
                </c:pt>
                <c:pt idx="37904">
                  <c:v>34476</c:v>
                </c:pt>
                <c:pt idx="37905">
                  <c:v>34476</c:v>
                </c:pt>
                <c:pt idx="37906">
                  <c:v>34476</c:v>
                </c:pt>
                <c:pt idx="37907">
                  <c:v>34475</c:v>
                </c:pt>
                <c:pt idx="37908">
                  <c:v>34475</c:v>
                </c:pt>
                <c:pt idx="37909">
                  <c:v>34475</c:v>
                </c:pt>
                <c:pt idx="37910">
                  <c:v>34475</c:v>
                </c:pt>
                <c:pt idx="37911">
                  <c:v>34475</c:v>
                </c:pt>
                <c:pt idx="37912">
                  <c:v>34475</c:v>
                </c:pt>
                <c:pt idx="37913">
                  <c:v>34475</c:v>
                </c:pt>
                <c:pt idx="37914">
                  <c:v>34475</c:v>
                </c:pt>
                <c:pt idx="37915">
                  <c:v>34475</c:v>
                </c:pt>
                <c:pt idx="37916">
                  <c:v>34474</c:v>
                </c:pt>
                <c:pt idx="37917">
                  <c:v>34474</c:v>
                </c:pt>
                <c:pt idx="37918">
                  <c:v>34474</c:v>
                </c:pt>
                <c:pt idx="37919">
                  <c:v>34474</c:v>
                </c:pt>
                <c:pt idx="37920">
                  <c:v>34474</c:v>
                </c:pt>
                <c:pt idx="37921">
                  <c:v>34474</c:v>
                </c:pt>
                <c:pt idx="37922">
                  <c:v>34474</c:v>
                </c:pt>
                <c:pt idx="37923">
                  <c:v>34474</c:v>
                </c:pt>
                <c:pt idx="37924">
                  <c:v>34474</c:v>
                </c:pt>
                <c:pt idx="37925">
                  <c:v>34473</c:v>
                </c:pt>
                <c:pt idx="37926">
                  <c:v>34473</c:v>
                </c:pt>
                <c:pt idx="37927">
                  <c:v>34473</c:v>
                </c:pt>
                <c:pt idx="37928">
                  <c:v>34473</c:v>
                </c:pt>
                <c:pt idx="37929">
                  <c:v>34473</c:v>
                </c:pt>
                <c:pt idx="37930">
                  <c:v>34473</c:v>
                </c:pt>
                <c:pt idx="37931">
                  <c:v>34473</c:v>
                </c:pt>
                <c:pt idx="37932">
                  <c:v>34473</c:v>
                </c:pt>
                <c:pt idx="37933">
                  <c:v>34473</c:v>
                </c:pt>
                <c:pt idx="37934">
                  <c:v>34473</c:v>
                </c:pt>
                <c:pt idx="37935">
                  <c:v>34473</c:v>
                </c:pt>
                <c:pt idx="37936">
                  <c:v>34473</c:v>
                </c:pt>
                <c:pt idx="37937">
                  <c:v>34472</c:v>
                </c:pt>
                <c:pt idx="37938">
                  <c:v>34472</c:v>
                </c:pt>
                <c:pt idx="37939">
                  <c:v>34472</c:v>
                </c:pt>
                <c:pt idx="37940">
                  <c:v>34472</c:v>
                </c:pt>
                <c:pt idx="37941">
                  <c:v>34472</c:v>
                </c:pt>
                <c:pt idx="37942">
                  <c:v>34472</c:v>
                </c:pt>
                <c:pt idx="37943">
                  <c:v>34471</c:v>
                </c:pt>
                <c:pt idx="37944">
                  <c:v>34471</c:v>
                </c:pt>
                <c:pt idx="37945">
                  <c:v>34471</c:v>
                </c:pt>
                <c:pt idx="37946">
                  <c:v>34471</c:v>
                </c:pt>
                <c:pt idx="37947">
                  <c:v>34471</c:v>
                </c:pt>
                <c:pt idx="37948">
                  <c:v>34471</c:v>
                </c:pt>
                <c:pt idx="37949">
                  <c:v>34471</c:v>
                </c:pt>
                <c:pt idx="37950">
                  <c:v>34471</c:v>
                </c:pt>
                <c:pt idx="37951">
                  <c:v>34470</c:v>
                </c:pt>
                <c:pt idx="37952">
                  <c:v>34470</c:v>
                </c:pt>
                <c:pt idx="37953">
                  <c:v>34469</c:v>
                </c:pt>
                <c:pt idx="37954">
                  <c:v>34469</c:v>
                </c:pt>
                <c:pt idx="37955">
                  <c:v>34469</c:v>
                </c:pt>
                <c:pt idx="37956">
                  <c:v>34469</c:v>
                </c:pt>
                <c:pt idx="37957">
                  <c:v>34469</c:v>
                </c:pt>
                <c:pt idx="37958">
                  <c:v>34469</c:v>
                </c:pt>
                <c:pt idx="37959">
                  <c:v>34469</c:v>
                </c:pt>
                <c:pt idx="37960">
                  <c:v>34468</c:v>
                </c:pt>
                <c:pt idx="37961">
                  <c:v>34468</c:v>
                </c:pt>
                <c:pt idx="37962">
                  <c:v>34468</c:v>
                </c:pt>
                <c:pt idx="37963">
                  <c:v>34468</c:v>
                </c:pt>
                <c:pt idx="37964">
                  <c:v>34468</c:v>
                </c:pt>
                <c:pt idx="37965">
                  <c:v>34468</c:v>
                </c:pt>
                <c:pt idx="37966">
                  <c:v>34468</c:v>
                </c:pt>
                <c:pt idx="37967">
                  <c:v>34468</c:v>
                </c:pt>
                <c:pt idx="37968">
                  <c:v>34468</c:v>
                </c:pt>
                <c:pt idx="37969">
                  <c:v>34467</c:v>
                </c:pt>
                <c:pt idx="37970">
                  <c:v>34467</c:v>
                </c:pt>
                <c:pt idx="37971">
                  <c:v>34467</c:v>
                </c:pt>
                <c:pt idx="37972">
                  <c:v>34467</c:v>
                </c:pt>
                <c:pt idx="37973">
                  <c:v>34467</c:v>
                </c:pt>
                <c:pt idx="37974">
                  <c:v>34467</c:v>
                </c:pt>
                <c:pt idx="37975">
                  <c:v>34467</c:v>
                </c:pt>
                <c:pt idx="37976">
                  <c:v>34467</c:v>
                </c:pt>
                <c:pt idx="37977">
                  <c:v>34467</c:v>
                </c:pt>
                <c:pt idx="37978">
                  <c:v>34466</c:v>
                </c:pt>
                <c:pt idx="37979">
                  <c:v>34466</c:v>
                </c:pt>
                <c:pt idx="37980">
                  <c:v>34466</c:v>
                </c:pt>
                <c:pt idx="37981">
                  <c:v>34466</c:v>
                </c:pt>
                <c:pt idx="37982">
                  <c:v>34466</c:v>
                </c:pt>
                <c:pt idx="37983">
                  <c:v>34465</c:v>
                </c:pt>
                <c:pt idx="37984">
                  <c:v>34465</c:v>
                </c:pt>
                <c:pt idx="37985">
                  <c:v>34465</c:v>
                </c:pt>
                <c:pt idx="37986">
                  <c:v>34465</c:v>
                </c:pt>
                <c:pt idx="37987">
                  <c:v>34465</c:v>
                </c:pt>
                <c:pt idx="37988">
                  <c:v>34465</c:v>
                </c:pt>
                <c:pt idx="37989">
                  <c:v>34465</c:v>
                </c:pt>
                <c:pt idx="37990">
                  <c:v>34464</c:v>
                </c:pt>
                <c:pt idx="37991">
                  <c:v>34464</c:v>
                </c:pt>
                <c:pt idx="37992">
                  <c:v>34464</c:v>
                </c:pt>
                <c:pt idx="37993">
                  <c:v>34464</c:v>
                </c:pt>
                <c:pt idx="37994">
                  <c:v>34464</c:v>
                </c:pt>
                <c:pt idx="37995">
                  <c:v>34464</c:v>
                </c:pt>
                <c:pt idx="37996">
                  <c:v>34464</c:v>
                </c:pt>
                <c:pt idx="37997">
                  <c:v>34463</c:v>
                </c:pt>
                <c:pt idx="37998">
                  <c:v>34463</c:v>
                </c:pt>
                <c:pt idx="37999">
                  <c:v>34463</c:v>
                </c:pt>
                <c:pt idx="38000">
                  <c:v>34463</c:v>
                </c:pt>
                <c:pt idx="38001">
                  <c:v>34463</c:v>
                </c:pt>
                <c:pt idx="38002">
                  <c:v>34463</c:v>
                </c:pt>
                <c:pt idx="38003">
                  <c:v>34462</c:v>
                </c:pt>
                <c:pt idx="38004">
                  <c:v>34462</c:v>
                </c:pt>
                <c:pt idx="38005">
                  <c:v>34462</c:v>
                </c:pt>
                <c:pt idx="38006">
                  <c:v>34461</c:v>
                </c:pt>
                <c:pt idx="38007">
                  <c:v>34460</c:v>
                </c:pt>
                <c:pt idx="38008">
                  <c:v>34460</c:v>
                </c:pt>
                <c:pt idx="38009">
                  <c:v>34460</c:v>
                </c:pt>
                <c:pt idx="38010">
                  <c:v>34460</c:v>
                </c:pt>
                <c:pt idx="38011">
                  <c:v>34460</c:v>
                </c:pt>
                <c:pt idx="38012">
                  <c:v>34460</c:v>
                </c:pt>
                <c:pt idx="38013">
                  <c:v>34460</c:v>
                </c:pt>
                <c:pt idx="38014">
                  <c:v>34459</c:v>
                </c:pt>
                <c:pt idx="38015">
                  <c:v>34459</c:v>
                </c:pt>
                <c:pt idx="38016">
                  <c:v>34459</c:v>
                </c:pt>
                <c:pt idx="38017">
                  <c:v>34459</c:v>
                </c:pt>
                <c:pt idx="38018">
                  <c:v>34459</c:v>
                </c:pt>
                <c:pt idx="38019">
                  <c:v>34459</c:v>
                </c:pt>
                <c:pt idx="38020">
                  <c:v>34459</c:v>
                </c:pt>
                <c:pt idx="38021">
                  <c:v>34459</c:v>
                </c:pt>
                <c:pt idx="38022">
                  <c:v>34458</c:v>
                </c:pt>
                <c:pt idx="38023">
                  <c:v>34458</c:v>
                </c:pt>
                <c:pt idx="38024">
                  <c:v>34458</c:v>
                </c:pt>
                <c:pt idx="38025">
                  <c:v>34458</c:v>
                </c:pt>
                <c:pt idx="38026">
                  <c:v>34458</c:v>
                </c:pt>
                <c:pt idx="38027">
                  <c:v>34458</c:v>
                </c:pt>
                <c:pt idx="38028">
                  <c:v>34457</c:v>
                </c:pt>
                <c:pt idx="38029">
                  <c:v>34457</c:v>
                </c:pt>
                <c:pt idx="38030">
                  <c:v>34457</c:v>
                </c:pt>
                <c:pt idx="38031">
                  <c:v>34457</c:v>
                </c:pt>
                <c:pt idx="38032">
                  <c:v>34456</c:v>
                </c:pt>
                <c:pt idx="38033">
                  <c:v>34456</c:v>
                </c:pt>
                <c:pt idx="38034">
                  <c:v>34456</c:v>
                </c:pt>
                <c:pt idx="38035">
                  <c:v>34456</c:v>
                </c:pt>
                <c:pt idx="38036">
                  <c:v>34456</c:v>
                </c:pt>
                <c:pt idx="38037">
                  <c:v>34456</c:v>
                </c:pt>
                <c:pt idx="38038">
                  <c:v>34456</c:v>
                </c:pt>
                <c:pt idx="38039">
                  <c:v>34456</c:v>
                </c:pt>
                <c:pt idx="38040">
                  <c:v>34456</c:v>
                </c:pt>
                <c:pt idx="38041">
                  <c:v>34456</c:v>
                </c:pt>
                <c:pt idx="38042">
                  <c:v>34456</c:v>
                </c:pt>
                <c:pt idx="38043">
                  <c:v>34456</c:v>
                </c:pt>
                <c:pt idx="38044">
                  <c:v>34455</c:v>
                </c:pt>
                <c:pt idx="38045">
                  <c:v>34455</c:v>
                </c:pt>
                <c:pt idx="38046">
                  <c:v>34455</c:v>
                </c:pt>
                <c:pt idx="38047">
                  <c:v>34455</c:v>
                </c:pt>
                <c:pt idx="38048">
                  <c:v>34454</c:v>
                </c:pt>
                <c:pt idx="38049">
                  <c:v>34454</c:v>
                </c:pt>
                <c:pt idx="38050">
                  <c:v>34454</c:v>
                </c:pt>
                <c:pt idx="38051">
                  <c:v>34454</c:v>
                </c:pt>
                <c:pt idx="38052">
                  <c:v>34453</c:v>
                </c:pt>
                <c:pt idx="38053">
                  <c:v>34453</c:v>
                </c:pt>
                <c:pt idx="38054">
                  <c:v>34453</c:v>
                </c:pt>
                <c:pt idx="38055">
                  <c:v>34453</c:v>
                </c:pt>
                <c:pt idx="38056">
                  <c:v>34453</c:v>
                </c:pt>
                <c:pt idx="38057">
                  <c:v>34452</c:v>
                </c:pt>
                <c:pt idx="38058">
                  <c:v>34452</c:v>
                </c:pt>
                <c:pt idx="38059">
                  <c:v>34452</c:v>
                </c:pt>
                <c:pt idx="38060">
                  <c:v>34452</c:v>
                </c:pt>
                <c:pt idx="38061">
                  <c:v>34452</c:v>
                </c:pt>
                <c:pt idx="38062">
                  <c:v>34451</c:v>
                </c:pt>
                <c:pt idx="38063">
                  <c:v>34451</c:v>
                </c:pt>
                <c:pt idx="38064">
                  <c:v>34451</c:v>
                </c:pt>
                <c:pt idx="38065">
                  <c:v>34451</c:v>
                </c:pt>
                <c:pt idx="38066">
                  <c:v>34451</c:v>
                </c:pt>
                <c:pt idx="38067">
                  <c:v>34450</c:v>
                </c:pt>
                <c:pt idx="38068">
                  <c:v>34450</c:v>
                </c:pt>
                <c:pt idx="38069">
                  <c:v>34450</c:v>
                </c:pt>
                <c:pt idx="38070">
                  <c:v>34450</c:v>
                </c:pt>
                <c:pt idx="38071">
                  <c:v>34450</c:v>
                </c:pt>
                <c:pt idx="38072">
                  <c:v>34450</c:v>
                </c:pt>
                <c:pt idx="38073">
                  <c:v>34450</c:v>
                </c:pt>
                <c:pt idx="38074">
                  <c:v>34450</c:v>
                </c:pt>
                <c:pt idx="38075">
                  <c:v>34450</c:v>
                </c:pt>
                <c:pt idx="38076">
                  <c:v>34449</c:v>
                </c:pt>
                <c:pt idx="38077">
                  <c:v>34449</c:v>
                </c:pt>
                <c:pt idx="38078">
                  <c:v>34449</c:v>
                </c:pt>
                <c:pt idx="38079">
                  <c:v>34449</c:v>
                </c:pt>
                <c:pt idx="38080">
                  <c:v>34449</c:v>
                </c:pt>
                <c:pt idx="38081">
                  <c:v>34449</c:v>
                </c:pt>
                <c:pt idx="38082">
                  <c:v>34448</c:v>
                </c:pt>
                <c:pt idx="38083">
                  <c:v>34448</c:v>
                </c:pt>
                <c:pt idx="38084">
                  <c:v>34448</c:v>
                </c:pt>
                <c:pt idx="38085">
                  <c:v>34448</c:v>
                </c:pt>
                <c:pt idx="38086">
                  <c:v>34448</c:v>
                </c:pt>
                <c:pt idx="38087">
                  <c:v>34448</c:v>
                </c:pt>
                <c:pt idx="38088">
                  <c:v>34448</c:v>
                </c:pt>
                <c:pt idx="38089">
                  <c:v>34448</c:v>
                </c:pt>
                <c:pt idx="38090">
                  <c:v>34447</c:v>
                </c:pt>
                <c:pt idx="38091">
                  <c:v>34447</c:v>
                </c:pt>
                <c:pt idx="38092">
                  <c:v>34447</c:v>
                </c:pt>
                <c:pt idx="38093">
                  <c:v>34446</c:v>
                </c:pt>
                <c:pt idx="38094">
                  <c:v>34446</c:v>
                </c:pt>
                <c:pt idx="38095">
                  <c:v>34446</c:v>
                </c:pt>
                <c:pt idx="38096">
                  <c:v>34446</c:v>
                </c:pt>
                <c:pt idx="38097">
                  <c:v>34446</c:v>
                </c:pt>
                <c:pt idx="38098">
                  <c:v>34446</c:v>
                </c:pt>
                <c:pt idx="38099">
                  <c:v>34446</c:v>
                </c:pt>
                <c:pt idx="38100">
                  <c:v>34446</c:v>
                </c:pt>
                <c:pt idx="38101">
                  <c:v>34445</c:v>
                </c:pt>
                <c:pt idx="38102">
                  <c:v>34445</c:v>
                </c:pt>
                <c:pt idx="38103">
                  <c:v>34445</c:v>
                </c:pt>
                <c:pt idx="38104">
                  <c:v>34445</c:v>
                </c:pt>
                <c:pt idx="38105">
                  <c:v>34444</c:v>
                </c:pt>
                <c:pt idx="38106">
                  <c:v>34444</c:v>
                </c:pt>
                <c:pt idx="38107">
                  <c:v>34444</c:v>
                </c:pt>
                <c:pt idx="38108">
                  <c:v>34444</c:v>
                </c:pt>
                <c:pt idx="38109">
                  <c:v>34444</c:v>
                </c:pt>
                <c:pt idx="38110">
                  <c:v>34444</c:v>
                </c:pt>
                <c:pt idx="38111">
                  <c:v>34443</c:v>
                </c:pt>
                <c:pt idx="38112">
                  <c:v>34443</c:v>
                </c:pt>
                <c:pt idx="38113">
                  <c:v>34443</c:v>
                </c:pt>
                <c:pt idx="38114">
                  <c:v>34443</c:v>
                </c:pt>
                <c:pt idx="38115">
                  <c:v>34443</c:v>
                </c:pt>
                <c:pt idx="38116">
                  <c:v>34443</c:v>
                </c:pt>
                <c:pt idx="38117">
                  <c:v>34443</c:v>
                </c:pt>
                <c:pt idx="38118">
                  <c:v>34442</c:v>
                </c:pt>
                <c:pt idx="38119">
                  <c:v>34442</c:v>
                </c:pt>
                <c:pt idx="38120">
                  <c:v>34442</c:v>
                </c:pt>
                <c:pt idx="38121">
                  <c:v>34441</c:v>
                </c:pt>
                <c:pt idx="38122">
                  <c:v>34441</c:v>
                </c:pt>
                <c:pt idx="38123">
                  <c:v>34441</c:v>
                </c:pt>
                <c:pt idx="38124">
                  <c:v>34441</c:v>
                </c:pt>
                <c:pt idx="38125">
                  <c:v>34441</c:v>
                </c:pt>
                <c:pt idx="38126">
                  <c:v>34441</c:v>
                </c:pt>
                <c:pt idx="38127">
                  <c:v>34441</c:v>
                </c:pt>
                <c:pt idx="38128">
                  <c:v>34440</c:v>
                </c:pt>
                <c:pt idx="38129">
                  <c:v>34440</c:v>
                </c:pt>
                <c:pt idx="38130">
                  <c:v>34440</c:v>
                </c:pt>
                <c:pt idx="38131">
                  <c:v>34440</c:v>
                </c:pt>
                <c:pt idx="38132">
                  <c:v>34440</c:v>
                </c:pt>
                <c:pt idx="38133">
                  <c:v>34440</c:v>
                </c:pt>
                <c:pt idx="38134">
                  <c:v>34440</c:v>
                </c:pt>
                <c:pt idx="38135">
                  <c:v>34439</c:v>
                </c:pt>
                <c:pt idx="38136">
                  <c:v>34439</c:v>
                </c:pt>
                <c:pt idx="38137">
                  <c:v>34439</c:v>
                </c:pt>
                <c:pt idx="38138">
                  <c:v>34439</c:v>
                </c:pt>
                <c:pt idx="38139">
                  <c:v>34439</c:v>
                </c:pt>
                <c:pt idx="38140">
                  <c:v>34439</c:v>
                </c:pt>
                <c:pt idx="38141">
                  <c:v>34438</c:v>
                </c:pt>
                <c:pt idx="38142">
                  <c:v>34438</c:v>
                </c:pt>
                <c:pt idx="38143">
                  <c:v>34438</c:v>
                </c:pt>
                <c:pt idx="38144">
                  <c:v>34438</c:v>
                </c:pt>
                <c:pt idx="38145">
                  <c:v>34438</c:v>
                </c:pt>
                <c:pt idx="38146">
                  <c:v>34438</c:v>
                </c:pt>
                <c:pt idx="38147">
                  <c:v>34438</c:v>
                </c:pt>
                <c:pt idx="38148">
                  <c:v>34437</c:v>
                </c:pt>
                <c:pt idx="38149">
                  <c:v>34437</c:v>
                </c:pt>
                <c:pt idx="38150">
                  <c:v>34437</c:v>
                </c:pt>
                <c:pt idx="38151">
                  <c:v>34437</c:v>
                </c:pt>
                <c:pt idx="38152">
                  <c:v>34436</c:v>
                </c:pt>
                <c:pt idx="38153">
                  <c:v>34436</c:v>
                </c:pt>
                <c:pt idx="38154">
                  <c:v>34436</c:v>
                </c:pt>
                <c:pt idx="38155">
                  <c:v>34436</c:v>
                </c:pt>
                <c:pt idx="38156">
                  <c:v>34436</c:v>
                </c:pt>
                <c:pt idx="38157">
                  <c:v>34436</c:v>
                </c:pt>
                <c:pt idx="38158">
                  <c:v>34436</c:v>
                </c:pt>
                <c:pt idx="38159">
                  <c:v>34436</c:v>
                </c:pt>
                <c:pt idx="38160">
                  <c:v>34436</c:v>
                </c:pt>
                <c:pt idx="38161">
                  <c:v>34435</c:v>
                </c:pt>
                <c:pt idx="38162">
                  <c:v>34435</c:v>
                </c:pt>
                <c:pt idx="38163">
                  <c:v>34435</c:v>
                </c:pt>
                <c:pt idx="38164">
                  <c:v>34435</c:v>
                </c:pt>
                <c:pt idx="38165">
                  <c:v>34435</c:v>
                </c:pt>
                <c:pt idx="38166">
                  <c:v>34435</c:v>
                </c:pt>
                <c:pt idx="38167">
                  <c:v>34435</c:v>
                </c:pt>
                <c:pt idx="38168">
                  <c:v>34434</c:v>
                </c:pt>
                <c:pt idx="38169">
                  <c:v>34434</c:v>
                </c:pt>
                <c:pt idx="38170">
                  <c:v>34434</c:v>
                </c:pt>
                <c:pt idx="38171">
                  <c:v>34434</c:v>
                </c:pt>
                <c:pt idx="38172">
                  <c:v>34434</c:v>
                </c:pt>
                <c:pt idx="38173">
                  <c:v>34434</c:v>
                </c:pt>
                <c:pt idx="38174">
                  <c:v>34433</c:v>
                </c:pt>
                <c:pt idx="38175">
                  <c:v>34433</c:v>
                </c:pt>
                <c:pt idx="38176">
                  <c:v>34433</c:v>
                </c:pt>
                <c:pt idx="38177">
                  <c:v>34433</c:v>
                </c:pt>
                <c:pt idx="38178">
                  <c:v>34433</c:v>
                </c:pt>
                <c:pt idx="38179">
                  <c:v>34433</c:v>
                </c:pt>
                <c:pt idx="38180">
                  <c:v>34433</c:v>
                </c:pt>
                <c:pt idx="38181">
                  <c:v>34433</c:v>
                </c:pt>
                <c:pt idx="38182">
                  <c:v>34432</c:v>
                </c:pt>
                <c:pt idx="38183">
                  <c:v>34432</c:v>
                </c:pt>
                <c:pt idx="38184">
                  <c:v>34432</c:v>
                </c:pt>
                <c:pt idx="38185">
                  <c:v>34432</c:v>
                </c:pt>
                <c:pt idx="38186">
                  <c:v>34431</c:v>
                </c:pt>
                <c:pt idx="38187">
                  <c:v>34431</c:v>
                </c:pt>
                <c:pt idx="38188">
                  <c:v>34431</c:v>
                </c:pt>
                <c:pt idx="38189">
                  <c:v>34431</c:v>
                </c:pt>
                <c:pt idx="38190">
                  <c:v>34431</c:v>
                </c:pt>
                <c:pt idx="38191">
                  <c:v>34431</c:v>
                </c:pt>
                <c:pt idx="38192">
                  <c:v>34431</c:v>
                </c:pt>
                <c:pt idx="38193">
                  <c:v>34430</c:v>
                </c:pt>
                <c:pt idx="38194">
                  <c:v>34430</c:v>
                </c:pt>
                <c:pt idx="38195">
                  <c:v>34430</c:v>
                </c:pt>
                <c:pt idx="38196">
                  <c:v>34430</c:v>
                </c:pt>
                <c:pt idx="38197">
                  <c:v>34430</c:v>
                </c:pt>
                <c:pt idx="38198">
                  <c:v>34430</c:v>
                </c:pt>
                <c:pt idx="38199">
                  <c:v>34430</c:v>
                </c:pt>
                <c:pt idx="38200">
                  <c:v>34430</c:v>
                </c:pt>
                <c:pt idx="38201">
                  <c:v>34429</c:v>
                </c:pt>
                <c:pt idx="38202">
                  <c:v>34429</c:v>
                </c:pt>
                <c:pt idx="38203">
                  <c:v>34429</c:v>
                </c:pt>
                <c:pt idx="38204">
                  <c:v>34429</c:v>
                </c:pt>
                <c:pt idx="38205">
                  <c:v>34428</c:v>
                </c:pt>
                <c:pt idx="38206">
                  <c:v>34428</c:v>
                </c:pt>
                <c:pt idx="38207">
                  <c:v>34428</c:v>
                </c:pt>
                <c:pt idx="38208">
                  <c:v>34428</c:v>
                </c:pt>
                <c:pt idx="38209">
                  <c:v>34427</c:v>
                </c:pt>
                <c:pt idx="38210">
                  <c:v>34427</c:v>
                </c:pt>
                <c:pt idx="38211">
                  <c:v>34427</c:v>
                </c:pt>
                <c:pt idx="38212">
                  <c:v>34427</c:v>
                </c:pt>
                <c:pt idx="38213">
                  <c:v>34427</c:v>
                </c:pt>
                <c:pt idx="38214">
                  <c:v>34426</c:v>
                </c:pt>
                <c:pt idx="38215">
                  <c:v>34426</c:v>
                </c:pt>
                <c:pt idx="38216">
                  <c:v>34426</c:v>
                </c:pt>
                <c:pt idx="38217">
                  <c:v>34426</c:v>
                </c:pt>
                <c:pt idx="38218">
                  <c:v>34426</c:v>
                </c:pt>
                <c:pt idx="38219">
                  <c:v>34425</c:v>
                </c:pt>
                <c:pt idx="38220">
                  <c:v>34425</c:v>
                </c:pt>
                <c:pt idx="38221">
                  <c:v>34425</c:v>
                </c:pt>
                <c:pt idx="38222">
                  <c:v>34425</c:v>
                </c:pt>
                <c:pt idx="38223">
                  <c:v>34424</c:v>
                </c:pt>
                <c:pt idx="38224">
                  <c:v>34423</c:v>
                </c:pt>
                <c:pt idx="38225">
                  <c:v>34423</c:v>
                </c:pt>
                <c:pt idx="38226">
                  <c:v>34423</c:v>
                </c:pt>
                <c:pt idx="38227">
                  <c:v>34423</c:v>
                </c:pt>
                <c:pt idx="38228">
                  <c:v>34423</c:v>
                </c:pt>
                <c:pt idx="38229">
                  <c:v>34423</c:v>
                </c:pt>
                <c:pt idx="38230">
                  <c:v>34423</c:v>
                </c:pt>
                <c:pt idx="38231">
                  <c:v>34423</c:v>
                </c:pt>
                <c:pt idx="38232">
                  <c:v>34423</c:v>
                </c:pt>
                <c:pt idx="38233">
                  <c:v>34423</c:v>
                </c:pt>
                <c:pt idx="38234">
                  <c:v>34423</c:v>
                </c:pt>
                <c:pt idx="38235">
                  <c:v>34423</c:v>
                </c:pt>
                <c:pt idx="38236">
                  <c:v>34422</c:v>
                </c:pt>
                <c:pt idx="38237">
                  <c:v>34422</c:v>
                </c:pt>
                <c:pt idx="38238">
                  <c:v>34422</c:v>
                </c:pt>
                <c:pt idx="38239">
                  <c:v>34422</c:v>
                </c:pt>
                <c:pt idx="38240">
                  <c:v>34422</c:v>
                </c:pt>
                <c:pt idx="38241">
                  <c:v>34422</c:v>
                </c:pt>
                <c:pt idx="38242">
                  <c:v>34422</c:v>
                </c:pt>
                <c:pt idx="38243">
                  <c:v>34422</c:v>
                </c:pt>
                <c:pt idx="38244">
                  <c:v>34422</c:v>
                </c:pt>
                <c:pt idx="38245">
                  <c:v>34421</c:v>
                </c:pt>
                <c:pt idx="38246">
                  <c:v>34421</c:v>
                </c:pt>
                <c:pt idx="38247">
                  <c:v>34421</c:v>
                </c:pt>
                <c:pt idx="38248">
                  <c:v>34421</c:v>
                </c:pt>
                <c:pt idx="38249">
                  <c:v>34421</c:v>
                </c:pt>
                <c:pt idx="38250">
                  <c:v>34420</c:v>
                </c:pt>
                <c:pt idx="38251">
                  <c:v>34420</c:v>
                </c:pt>
                <c:pt idx="38252">
                  <c:v>34420</c:v>
                </c:pt>
                <c:pt idx="38253">
                  <c:v>34420</c:v>
                </c:pt>
                <c:pt idx="38254">
                  <c:v>34419</c:v>
                </c:pt>
                <c:pt idx="38255">
                  <c:v>34419</c:v>
                </c:pt>
                <c:pt idx="38256">
                  <c:v>34419</c:v>
                </c:pt>
                <c:pt idx="38257">
                  <c:v>34419</c:v>
                </c:pt>
                <c:pt idx="38258">
                  <c:v>34419</c:v>
                </c:pt>
                <c:pt idx="38259">
                  <c:v>34419</c:v>
                </c:pt>
                <c:pt idx="38260">
                  <c:v>34418</c:v>
                </c:pt>
                <c:pt idx="38261">
                  <c:v>34418</c:v>
                </c:pt>
                <c:pt idx="38262">
                  <c:v>34417</c:v>
                </c:pt>
                <c:pt idx="38263">
                  <c:v>34417</c:v>
                </c:pt>
                <c:pt idx="38264">
                  <c:v>34417</c:v>
                </c:pt>
                <c:pt idx="38265">
                  <c:v>34417</c:v>
                </c:pt>
                <c:pt idx="38266">
                  <c:v>34417</c:v>
                </c:pt>
                <c:pt idx="38267">
                  <c:v>34417</c:v>
                </c:pt>
                <c:pt idx="38268">
                  <c:v>34416</c:v>
                </c:pt>
                <c:pt idx="38269">
                  <c:v>34416</c:v>
                </c:pt>
                <c:pt idx="38270">
                  <c:v>34416</c:v>
                </c:pt>
                <c:pt idx="38271">
                  <c:v>34416</c:v>
                </c:pt>
                <c:pt idx="38272">
                  <c:v>34416</c:v>
                </c:pt>
                <c:pt idx="38273">
                  <c:v>34416</c:v>
                </c:pt>
                <c:pt idx="38274">
                  <c:v>34415</c:v>
                </c:pt>
                <c:pt idx="38275">
                  <c:v>34415</c:v>
                </c:pt>
                <c:pt idx="38276">
                  <c:v>34415</c:v>
                </c:pt>
                <c:pt idx="38277">
                  <c:v>34415</c:v>
                </c:pt>
                <c:pt idx="38278">
                  <c:v>34415</c:v>
                </c:pt>
                <c:pt idx="38279">
                  <c:v>34414</c:v>
                </c:pt>
                <c:pt idx="38280">
                  <c:v>34414</c:v>
                </c:pt>
                <c:pt idx="38281">
                  <c:v>34414</c:v>
                </c:pt>
                <c:pt idx="38282">
                  <c:v>34414</c:v>
                </c:pt>
                <c:pt idx="38283">
                  <c:v>34414</c:v>
                </c:pt>
                <c:pt idx="38284">
                  <c:v>34414</c:v>
                </c:pt>
                <c:pt idx="38285">
                  <c:v>34414</c:v>
                </c:pt>
                <c:pt idx="38286">
                  <c:v>34413</c:v>
                </c:pt>
                <c:pt idx="38287">
                  <c:v>34413</c:v>
                </c:pt>
                <c:pt idx="38288">
                  <c:v>34413</c:v>
                </c:pt>
                <c:pt idx="38289">
                  <c:v>34413</c:v>
                </c:pt>
                <c:pt idx="38290">
                  <c:v>34413</c:v>
                </c:pt>
                <c:pt idx="38291">
                  <c:v>34413</c:v>
                </c:pt>
                <c:pt idx="38292">
                  <c:v>34412</c:v>
                </c:pt>
                <c:pt idx="38293">
                  <c:v>34412</c:v>
                </c:pt>
                <c:pt idx="38294">
                  <c:v>34412</c:v>
                </c:pt>
                <c:pt idx="38295">
                  <c:v>34412</c:v>
                </c:pt>
                <c:pt idx="38296">
                  <c:v>34412</c:v>
                </c:pt>
                <c:pt idx="38297">
                  <c:v>34412</c:v>
                </c:pt>
                <c:pt idx="38298">
                  <c:v>34412</c:v>
                </c:pt>
                <c:pt idx="38299">
                  <c:v>34412</c:v>
                </c:pt>
                <c:pt idx="38300">
                  <c:v>34412</c:v>
                </c:pt>
                <c:pt idx="38301">
                  <c:v>34412</c:v>
                </c:pt>
                <c:pt idx="38302">
                  <c:v>34411</c:v>
                </c:pt>
                <c:pt idx="38303">
                  <c:v>34411</c:v>
                </c:pt>
                <c:pt idx="38304">
                  <c:v>34411</c:v>
                </c:pt>
                <c:pt idx="38305">
                  <c:v>34411</c:v>
                </c:pt>
                <c:pt idx="38306">
                  <c:v>34411</c:v>
                </c:pt>
                <c:pt idx="38307">
                  <c:v>34411</c:v>
                </c:pt>
                <c:pt idx="38308">
                  <c:v>34410</c:v>
                </c:pt>
                <c:pt idx="38309">
                  <c:v>34410</c:v>
                </c:pt>
                <c:pt idx="38310">
                  <c:v>34410</c:v>
                </c:pt>
                <c:pt idx="38311">
                  <c:v>34410</c:v>
                </c:pt>
                <c:pt idx="38312">
                  <c:v>34410</c:v>
                </c:pt>
                <c:pt idx="38313">
                  <c:v>34410</c:v>
                </c:pt>
                <c:pt idx="38314">
                  <c:v>34410</c:v>
                </c:pt>
                <c:pt idx="38315">
                  <c:v>34410</c:v>
                </c:pt>
                <c:pt idx="38316">
                  <c:v>34410</c:v>
                </c:pt>
                <c:pt idx="38317">
                  <c:v>34409</c:v>
                </c:pt>
                <c:pt idx="38318">
                  <c:v>34409</c:v>
                </c:pt>
                <c:pt idx="38319">
                  <c:v>34409</c:v>
                </c:pt>
                <c:pt idx="38320">
                  <c:v>34409</c:v>
                </c:pt>
                <c:pt idx="38321">
                  <c:v>34409</c:v>
                </c:pt>
                <c:pt idx="38322">
                  <c:v>34409</c:v>
                </c:pt>
                <c:pt idx="38323">
                  <c:v>34408</c:v>
                </c:pt>
                <c:pt idx="38324">
                  <c:v>34408</c:v>
                </c:pt>
                <c:pt idx="38325">
                  <c:v>34408</c:v>
                </c:pt>
                <c:pt idx="38326">
                  <c:v>34408</c:v>
                </c:pt>
                <c:pt idx="38327">
                  <c:v>34408</c:v>
                </c:pt>
                <c:pt idx="38328">
                  <c:v>34408</c:v>
                </c:pt>
                <c:pt idx="38329">
                  <c:v>34408</c:v>
                </c:pt>
                <c:pt idx="38330">
                  <c:v>34408</c:v>
                </c:pt>
                <c:pt idx="38331">
                  <c:v>34408</c:v>
                </c:pt>
                <c:pt idx="38332">
                  <c:v>34408</c:v>
                </c:pt>
                <c:pt idx="38333">
                  <c:v>34408</c:v>
                </c:pt>
                <c:pt idx="38334">
                  <c:v>34408</c:v>
                </c:pt>
                <c:pt idx="38335">
                  <c:v>34407</c:v>
                </c:pt>
                <c:pt idx="38336">
                  <c:v>34407</c:v>
                </c:pt>
                <c:pt idx="38337">
                  <c:v>34407</c:v>
                </c:pt>
                <c:pt idx="38338">
                  <c:v>34407</c:v>
                </c:pt>
                <c:pt idx="38339">
                  <c:v>34407</c:v>
                </c:pt>
                <c:pt idx="38340">
                  <c:v>34406</c:v>
                </c:pt>
                <c:pt idx="38341">
                  <c:v>34406</c:v>
                </c:pt>
                <c:pt idx="38342">
                  <c:v>34405</c:v>
                </c:pt>
                <c:pt idx="38343">
                  <c:v>34405</c:v>
                </c:pt>
                <c:pt idx="38344">
                  <c:v>34405</c:v>
                </c:pt>
                <c:pt idx="38345">
                  <c:v>34405</c:v>
                </c:pt>
                <c:pt idx="38346">
                  <c:v>34405</c:v>
                </c:pt>
                <c:pt idx="38347">
                  <c:v>34405</c:v>
                </c:pt>
                <c:pt idx="38348">
                  <c:v>34405</c:v>
                </c:pt>
                <c:pt idx="38349">
                  <c:v>34404</c:v>
                </c:pt>
                <c:pt idx="38350">
                  <c:v>34404</c:v>
                </c:pt>
                <c:pt idx="38351">
                  <c:v>34404</c:v>
                </c:pt>
                <c:pt idx="38352">
                  <c:v>34404</c:v>
                </c:pt>
                <c:pt idx="38353">
                  <c:v>34404</c:v>
                </c:pt>
                <c:pt idx="38354">
                  <c:v>34404</c:v>
                </c:pt>
                <c:pt idx="38355">
                  <c:v>34404</c:v>
                </c:pt>
                <c:pt idx="38356">
                  <c:v>34403</c:v>
                </c:pt>
                <c:pt idx="38357">
                  <c:v>34403</c:v>
                </c:pt>
                <c:pt idx="38358">
                  <c:v>34403</c:v>
                </c:pt>
                <c:pt idx="38359">
                  <c:v>34403</c:v>
                </c:pt>
                <c:pt idx="38360">
                  <c:v>34402</c:v>
                </c:pt>
                <c:pt idx="38361">
                  <c:v>34402</c:v>
                </c:pt>
                <c:pt idx="38362">
                  <c:v>34402</c:v>
                </c:pt>
                <c:pt idx="38363">
                  <c:v>34402</c:v>
                </c:pt>
                <c:pt idx="38364">
                  <c:v>34402</c:v>
                </c:pt>
                <c:pt idx="38365">
                  <c:v>34402</c:v>
                </c:pt>
                <c:pt idx="38366">
                  <c:v>34401</c:v>
                </c:pt>
                <c:pt idx="38367">
                  <c:v>34401</c:v>
                </c:pt>
                <c:pt idx="38368">
                  <c:v>34401</c:v>
                </c:pt>
                <c:pt idx="38369">
                  <c:v>34401</c:v>
                </c:pt>
                <c:pt idx="38370">
                  <c:v>34401</c:v>
                </c:pt>
                <c:pt idx="38371">
                  <c:v>34401</c:v>
                </c:pt>
                <c:pt idx="38372">
                  <c:v>34401</c:v>
                </c:pt>
                <c:pt idx="38373">
                  <c:v>34400</c:v>
                </c:pt>
                <c:pt idx="38374">
                  <c:v>34400</c:v>
                </c:pt>
                <c:pt idx="38375">
                  <c:v>34400</c:v>
                </c:pt>
                <c:pt idx="38376">
                  <c:v>34400</c:v>
                </c:pt>
                <c:pt idx="38377">
                  <c:v>34399</c:v>
                </c:pt>
                <c:pt idx="38378">
                  <c:v>34399</c:v>
                </c:pt>
                <c:pt idx="38379">
                  <c:v>34399</c:v>
                </c:pt>
                <c:pt idx="38380">
                  <c:v>34399</c:v>
                </c:pt>
                <c:pt idx="38381">
                  <c:v>34399</c:v>
                </c:pt>
                <c:pt idx="38382">
                  <c:v>34399</c:v>
                </c:pt>
                <c:pt idx="38383">
                  <c:v>34399</c:v>
                </c:pt>
                <c:pt idx="38384">
                  <c:v>34399</c:v>
                </c:pt>
                <c:pt idx="38385">
                  <c:v>34398</c:v>
                </c:pt>
                <c:pt idx="38386">
                  <c:v>34398</c:v>
                </c:pt>
                <c:pt idx="38387">
                  <c:v>34398</c:v>
                </c:pt>
                <c:pt idx="38388">
                  <c:v>34398</c:v>
                </c:pt>
                <c:pt idx="38389">
                  <c:v>34398</c:v>
                </c:pt>
                <c:pt idx="38390">
                  <c:v>34398</c:v>
                </c:pt>
                <c:pt idx="38391">
                  <c:v>34398</c:v>
                </c:pt>
                <c:pt idx="38392">
                  <c:v>34398</c:v>
                </c:pt>
                <c:pt idx="38393">
                  <c:v>34397</c:v>
                </c:pt>
                <c:pt idx="38394">
                  <c:v>34397</c:v>
                </c:pt>
                <c:pt idx="38395">
                  <c:v>34397</c:v>
                </c:pt>
                <c:pt idx="38396">
                  <c:v>34397</c:v>
                </c:pt>
                <c:pt idx="38397">
                  <c:v>34397</c:v>
                </c:pt>
                <c:pt idx="38398">
                  <c:v>34397</c:v>
                </c:pt>
                <c:pt idx="38399">
                  <c:v>34397</c:v>
                </c:pt>
                <c:pt idx="38400">
                  <c:v>34396</c:v>
                </c:pt>
                <c:pt idx="38401">
                  <c:v>34395</c:v>
                </c:pt>
                <c:pt idx="38402">
                  <c:v>34395</c:v>
                </c:pt>
                <c:pt idx="38403">
                  <c:v>34395</c:v>
                </c:pt>
                <c:pt idx="38404">
                  <c:v>34395</c:v>
                </c:pt>
                <c:pt idx="38405">
                  <c:v>34395</c:v>
                </c:pt>
                <c:pt idx="38406">
                  <c:v>34395</c:v>
                </c:pt>
                <c:pt idx="38407">
                  <c:v>34394</c:v>
                </c:pt>
                <c:pt idx="38408">
                  <c:v>34394</c:v>
                </c:pt>
                <c:pt idx="38409">
                  <c:v>34394</c:v>
                </c:pt>
                <c:pt idx="38410">
                  <c:v>34394</c:v>
                </c:pt>
                <c:pt idx="38411">
                  <c:v>34394</c:v>
                </c:pt>
                <c:pt idx="38412">
                  <c:v>34394</c:v>
                </c:pt>
                <c:pt idx="38413">
                  <c:v>34394</c:v>
                </c:pt>
                <c:pt idx="38414">
                  <c:v>34393</c:v>
                </c:pt>
                <c:pt idx="38415">
                  <c:v>34393</c:v>
                </c:pt>
                <c:pt idx="38416">
                  <c:v>34393</c:v>
                </c:pt>
                <c:pt idx="38417">
                  <c:v>34393</c:v>
                </c:pt>
                <c:pt idx="38418">
                  <c:v>34393</c:v>
                </c:pt>
                <c:pt idx="38419">
                  <c:v>34393</c:v>
                </c:pt>
                <c:pt idx="38420">
                  <c:v>34393</c:v>
                </c:pt>
                <c:pt idx="38421">
                  <c:v>34393</c:v>
                </c:pt>
                <c:pt idx="38422">
                  <c:v>34392</c:v>
                </c:pt>
                <c:pt idx="38423">
                  <c:v>34392</c:v>
                </c:pt>
                <c:pt idx="38424">
                  <c:v>34392</c:v>
                </c:pt>
                <c:pt idx="38425">
                  <c:v>34392</c:v>
                </c:pt>
                <c:pt idx="38426">
                  <c:v>34392</c:v>
                </c:pt>
                <c:pt idx="38427">
                  <c:v>34392</c:v>
                </c:pt>
                <c:pt idx="38428">
                  <c:v>34391</c:v>
                </c:pt>
                <c:pt idx="38429">
                  <c:v>34391</c:v>
                </c:pt>
                <c:pt idx="38430">
                  <c:v>34391</c:v>
                </c:pt>
                <c:pt idx="38431">
                  <c:v>34391</c:v>
                </c:pt>
                <c:pt idx="38432">
                  <c:v>34390</c:v>
                </c:pt>
                <c:pt idx="38433">
                  <c:v>34390</c:v>
                </c:pt>
                <c:pt idx="38434">
                  <c:v>34390</c:v>
                </c:pt>
                <c:pt idx="38435">
                  <c:v>34390</c:v>
                </c:pt>
                <c:pt idx="38436">
                  <c:v>34390</c:v>
                </c:pt>
                <c:pt idx="38437">
                  <c:v>34390</c:v>
                </c:pt>
                <c:pt idx="38438">
                  <c:v>34390</c:v>
                </c:pt>
                <c:pt idx="38439">
                  <c:v>34390</c:v>
                </c:pt>
                <c:pt idx="38440">
                  <c:v>34390</c:v>
                </c:pt>
                <c:pt idx="38441">
                  <c:v>34389</c:v>
                </c:pt>
                <c:pt idx="38442">
                  <c:v>34389</c:v>
                </c:pt>
                <c:pt idx="38443">
                  <c:v>34389</c:v>
                </c:pt>
                <c:pt idx="38444">
                  <c:v>34389</c:v>
                </c:pt>
                <c:pt idx="38445">
                  <c:v>34388</c:v>
                </c:pt>
                <c:pt idx="38446">
                  <c:v>34388</c:v>
                </c:pt>
                <c:pt idx="38447">
                  <c:v>34388</c:v>
                </c:pt>
                <c:pt idx="38448">
                  <c:v>34388</c:v>
                </c:pt>
                <c:pt idx="38449">
                  <c:v>34388</c:v>
                </c:pt>
                <c:pt idx="38450">
                  <c:v>34388</c:v>
                </c:pt>
                <c:pt idx="38451">
                  <c:v>34388</c:v>
                </c:pt>
                <c:pt idx="38452">
                  <c:v>34388</c:v>
                </c:pt>
                <c:pt idx="38453">
                  <c:v>34388</c:v>
                </c:pt>
                <c:pt idx="38454">
                  <c:v>34388</c:v>
                </c:pt>
                <c:pt idx="38455">
                  <c:v>34388</c:v>
                </c:pt>
                <c:pt idx="38456">
                  <c:v>34387</c:v>
                </c:pt>
                <c:pt idx="38457">
                  <c:v>34387</c:v>
                </c:pt>
                <c:pt idx="38458">
                  <c:v>34387</c:v>
                </c:pt>
                <c:pt idx="38459">
                  <c:v>34387</c:v>
                </c:pt>
                <c:pt idx="38460">
                  <c:v>34387</c:v>
                </c:pt>
                <c:pt idx="38461">
                  <c:v>34386</c:v>
                </c:pt>
                <c:pt idx="38462">
                  <c:v>34386</c:v>
                </c:pt>
                <c:pt idx="38463">
                  <c:v>34386</c:v>
                </c:pt>
                <c:pt idx="38464">
                  <c:v>34385</c:v>
                </c:pt>
                <c:pt idx="38465">
                  <c:v>34385</c:v>
                </c:pt>
                <c:pt idx="38466">
                  <c:v>34385</c:v>
                </c:pt>
                <c:pt idx="38467">
                  <c:v>34385</c:v>
                </c:pt>
                <c:pt idx="38468">
                  <c:v>34385</c:v>
                </c:pt>
                <c:pt idx="38469">
                  <c:v>34385</c:v>
                </c:pt>
                <c:pt idx="38470">
                  <c:v>34384</c:v>
                </c:pt>
                <c:pt idx="38471">
                  <c:v>34384</c:v>
                </c:pt>
                <c:pt idx="38472">
                  <c:v>34384</c:v>
                </c:pt>
                <c:pt idx="38473">
                  <c:v>34384</c:v>
                </c:pt>
                <c:pt idx="38474">
                  <c:v>34384</c:v>
                </c:pt>
                <c:pt idx="38475">
                  <c:v>34384</c:v>
                </c:pt>
                <c:pt idx="38476">
                  <c:v>34384</c:v>
                </c:pt>
                <c:pt idx="38477">
                  <c:v>34384</c:v>
                </c:pt>
                <c:pt idx="38478">
                  <c:v>34384</c:v>
                </c:pt>
                <c:pt idx="38479">
                  <c:v>34383</c:v>
                </c:pt>
                <c:pt idx="38480">
                  <c:v>34383</c:v>
                </c:pt>
                <c:pt idx="38481">
                  <c:v>34383</c:v>
                </c:pt>
                <c:pt idx="38482">
                  <c:v>34383</c:v>
                </c:pt>
                <c:pt idx="38483">
                  <c:v>34382</c:v>
                </c:pt>
                <c:pt idx="38484">
                  <c:v>34382</c:v>
                </c:pt>
                <c:pt idx="38485">
                  <c:v>34382</c:v>
                </c:pt>
                <c:pt idx="38486">
                  <c:v>34382</c:v>
                </c:pt>
                <c:pt idx="38487">
                  <c:v>34382</c:v>
                </c:pt>
                <c:pt idx="38488">
                  <c:v>34382</c:v>
                </c:pt>
                <c:pt idx="38489">
                  <c:v>34382</c:v>
                </c:pt>
                <c:pt idx="38490">
                  <c:v>34382</c:v>
                </c:pt>
                <c:pt idx="38491">
                  <c:v>34381</c:v>
                </c:pt>
                <c:pt idx="38492">
                  <c:v>34381</c:v>
                </c:pt>
                <c:pt idx="38493">
                  <c:v>34381</c:v>
                </c:pt>
                <c:pt idx="38494">
                  <c:v>34380</c:v>
                </c:pt>
                <c:pt idx="38495">
                  <c:v>34380</c:v>
                </c:pt>
                <c:pt idx="38496">
                  <c:v>34380</c:v>
                </c:pt>
                <c:pt idx="38497">
                  <c:v>34380</c:v>
                </c:pt>
                <c:pt idx="38498">
                  <c:v>34380</c:v>
                </c:pt>
                <c:pt idx="38499">
                  <c:v>34380</c:v>
                </c:pt>
                <c:pt idx="38500">
                  <c:v>34380</c:v>
                </c:pt>
                <c:pt idx="38501">
                  <c:v>34379</c:v>
                </c:pt>
                <c:pt idx="38502">
                  <c:v>34379</c:v>
                </c:pt>
                <c:pt idx="38503">
                  <c:v>34379</c:v>
                </c:pt>
                <c:pt idx="38504">
                  <c:v>34379</c:v>
                </c:pt>
                <c:pt idx="38505">
                  <c:v>34379</c:v>
                </c:pt>
                <c:pt idx="38506">
                  <c:v>34378</c:v>
                </c:pt>
                <c:pt idx="38507">
                  <c:v>34378</c:v>
                </c:pt>
                <c:pt idx="38508">
                  <c:v>34378</c:v>
                </c:pt>
                <c:pt idx="38509">
                  <c:v>34378</c:v>
                </c:pt>
                <c:pt idx="38510">
                  <c:v>34378</c:v>
                </c:pt>
                <c:pt idx="38511">
                  <c:v>34377</c:v>
                </c:pt>
                <c:pt idx="38512">
                  <c:v>34377</c:v>
                </c:pt>
                <c:pt idx="38513">
                  <c:v>34377</c:v>
                </c:pt>
                <c:pt idx="38514">
                  <c:v>34377</c:v>
                </c:pt>
                <c:pt idx="38515">
                  <c:v>34376</c:v>
                </c:pt>
                <c:pt idx="38516">
                  <c:v>34376</c:v>
                </c:pt>
                <c:pt idx="38517">
                  <c:v>34376</c:v>
                </c:pt>
                <c:pt idx="38518">
                  <c:v>34376</c:v>
                </c:pt>
                <c:pt idx="38519">
                  <c:v>34375</c:v>
                </c:pt>
                <c:pt idx="38520">
                  <c:v>34375</c:v>
                </c:pt>
                <c:pt idx="38521">
                  <c:v>34375</c:v>
                </c:pt>
                <c:pt idx="38522">
                  <c:v>34375</c:v>
                </c:pt>
                <c:pt idx="38523">
                  <c:v>34375</c:v>
                </c:pt>
                <c:pt idx="38524">
                  <c:v>34374</c:v>
                </c:pt>
                <c:pt idx="38525">
                  <c:v>34374</c:v>
                </c:pt>
                <c:pt idx="38526">
                  <c:v>34374</c:v>
                </c:pt>
                <c:pt idx="38527">
                  <c:v>34373</c:v>
                </c:pt>
                <c:pt idx="38528">
                  <c:v>34373</c:v>
                </c:pt>
                <c:pt idx="38529">
                  <c:v>34373</c:v>
                </c:pt>
                <c:pt idx="38530">
                  <c:v>34373</c:v>
                </c:pt>
                <c:pt idx="38531">
                  <c:v>34373</c:v>
                </c:pt>
                <c:pt idx="38532">
                  <c:v>34373</c:v>
                </c:pt>
                <c:pt idx="38533">
                  <c:v>34373</c:v>
                </c:pt>
                <c:pt idx="38534">
                  <c:v>34372</c:v>
                </c:pt>
                <c:pt idx="38535">
                  <c:v>34372</c:v>
                </c:pt>
                <c:pt idx="38536">
                  <c:v>34372</c:v>
                </c:pt>
                <c:pt idx="38537">
                  <c:v>34372</c:v>
                </c:pt>
                <c:pt idx="38538">
                  <c:v>34372</c:v>
                </c:pt>
                <c:pt idx="38539">
                  <c:v>34371</c:v>
                </c:pt>
                <c:pt idx="38540">
                  <c:v>34371</c:v>
                </c:pt>
                <c:pt idx="38541">
                  <c:v>34370</c:v>
                </c:pt>
                <c:pt idx="38542">
                  <c:v>34370</c:v>
                </c:pt>
                <c:pt idx="38543">
                  <c:v>34370</c:v>
                </c:pt>
                <c:pt idx="38544">
                  <c:v>34370</c:v>
                </c:pt>
                <c:pt idx="38545">
                  <c:v>34370</c:v>
                </c:pt>
                <c:pt idx="38546">
                  <c:v>34370</c:v>
                </c:pt>
                <c:pt idx="38547">
                  <c:v>34369</c:v>
                </c:pt>
                <c:pt idx="38548">
                  <c:v>34369</c:v>
                </c:pt>
                <c:pt idx="38549">
                  <c:v>34369</c:v>
                </c:pt>
                <c:pt idx="38550">
                  <c:v>34369</c:v>
                </c:pt>
                <c:pt idx="38551">
                  <c:v>34369</c:v>
                </c:pt>
                <c:pt idx="38552">
                  <c:v>34369</c:v>
                </c:pt>
                <c:pt idx="38553">
                  <c:v>34369</c:v>
                </c:pt>
                <c:pt idx="38554">
                  <c:v>34368</c:v>
                </c:pt>
                <c:pt idx="38555">
                  <c:v>34368</c:v>
                </c:pt>
                <c:pt idx="38556">
                  <c:v>34368</c:v>
                </c:pt>
                <c:pt idx="38557">
                  <c:v>34368</c:v>
                </c:pt>
                <c:pt idx="38558">
                  <c:v>34368</c:v>
                </c:pt>
                <c:pt idx="38559">
                  <c:v>34368</c:v>
                </c:pt>
                <c:pt idx="38560">
                  <c:v>34368</c:v>
                </c:pt>
                <c:pt idx="38561">
                  <c:v>34368</c:v>
                </c:pt>
                <c:pt idx="38562">
                  <c:v>34367</c:v>
                </c:pt>
                <c:pt idx="38563">
                  <c:v>34367</c:v>
                </c:pt>
                <c:pt idx="38564">
                  <c:v>34367</c:v>
                </c:pt>
                <c:pt idx="38565">
                  <c:v>34367</c:v>
                </c:pt>
                <c:pt idx="38566">
                  <c:v>34367</c:v>
                </c:pt>
                <c:pt idx="38567">
                  <c:v>34367</c:v>
                </c:pt>
                <c:pt idx="38568">
                  <c:v>34367</c:v>
                </c:pt>
                <c:pt idx="38569">
                  <c:v>34366</c:v>
                </c:pt>
                <c:pt idx="38570">
                  <c:v>34366</c:v>
                </c:pt>
                <c:pt idx="38571">
                  <c:v>34366</c:v>
                </c:pt>
                <c:pt idx="38572">
                  <c:v>34365</c:v>
                </c:pt>
                <c:pt idx="38573">
                  <c:v>34365</c:v>
                </c:pt>
                <c:pt idx="38574">
                  <c:v>34365</c:v>
                </c:pt>
                <c:pt idx="38575">
                  <c:v>34365</c:v>
                </c:pt>
                <c:pt idx="38576">
                  <c:v>34363</c:v>
                </c:pt>
                <c:pt idx="38577">
                  <c:v>34363</c:v>
                </c:pt>
                <c:pt idx="38578">
                  <c:v>34363</c:v>
                </c:pt>
                <c:pt idx="38579">
                  <c:v>34363</c:v>
                </c:pt>
                <c:pt idx="38580">
                  <c:v>34362</c:v>
                </c:pt>
                <c:pt idx="38581">
                  <c:v>34362</c:v>
                </c:pt>
                <c:pt idx="38582">
                  <c:v>34362</c:v>
                </c:pt>
                <c:pt idx="38583">
                  <c:v>34362</c:v>
                </c:pt>
                <c:pt idx="38584">
                  <c:v>34362</c:v>
                </c:pt>
                <c:pt idx="38585">
                  <c:v>34361</c:v>
                </c:pt>
                <c:pt idx="38586">
                  <c:v>34361</c:v>
                </c:pt>
                <c:pt idx="38587">
                  <c:v>34361</c:v>
                </c:pt>
                <c:pt idx="38588">
                  <c:v>34361</c:v>
                </c:pt>
                <c:pt idx="38589">
                  <c:v>34361</c:v>
                </c:pt>
                <c:pt idx="38590">
                  <c:v>34361</c:v>
                </c:pt>
                <c:pt idx="38591">
                  <c:v>34360</c:v>
                </c:pt>
                <c:pt idx="38592">
                  <c:v>34360</c:v>
                </c:pt>
                <c:pt idx="38593">
                  <c:v>34360</c:v>
                </c:pt>
                <c:pt idx="38594">
                  <c:v>34360</c:v>
                </c:pt>
                <c:pt idx="38595">
                  <c:v>34360</c:v>
                </c:pt>
                <c:pt idx="38596">
                  <c:v>34360</c:v>
                </c:pt>
                <c:pt idx="38597">
                  <c:v>34360</c:v>
                </c:pt>
                <c:pt idx="38598">
                  <c:v>34359</c:v>
                </c:pt>
                <c:pt idx="38599">
                  <c:v>34359</c:v>
                </c:pt>
                <c:pt idx="38600">
                  <c:v>34359</c:v>
                </c:pt>
                <c:pt idx="38601">
                  <c:v>34359</c:v>
                </c:pt>
                <c:pt idx="38602">
                  <c:v>34359</c:v>
                </c:pt>
                <c:pt idx="38603">
                  <c:v>34359</c:v>
                </c:pt>
                <c:pt idx="38604">
                  <c:v>34359</c:v>
                </c:pt>
                <c:pt idx="38605">
                  <c:v>34359</c:v>
                </c:pt>
                <c:pt idx="38606">
                  <c:v>34359</c:v>
                </c:pt>
                <c:pt idx="38607">
                  <c:v>34359</c:v>
                </c:pt>
                <c:pt idx="38608">
                  <c:v>34359</c:v>
                </c:pt>
                <c:pt idx="38609">
                  <c:v>34359</c:v>
                </c:pt>
                <c:pt idx="38610">
                  <c:v>34358</c:v>
                </c:pt>
                <c:pt idx="38611">
                  <c:v>34358</c:v>
                </c:pt>
                <c:pt idx="38612">
                  <c:v>34358</c:v>
                </c:pt>
                <c:pt idx="38613">
                  <c:v>34358</c:v>
                </c:pt>
                <c:pt idx="38614">
                  <c:v>34358</c:v>
                </c:pt>
                <c:pt idx="38615">
                  <c:v>34358</c:v>
                </c:pt>
                <c:pt idx="38616">
                  <c:v>34357</c:v>
                </c:pt>
                <c:pt idx="38617">
                  <c:v>34357</c:v>
                </c:pt>
                <c:pt idx="38618">
                  <c:v>34357</c:v>
                </c:pt>
                <c:pt idx="38619">
                  <c:v>34357</c:v>
                </c:pt>
                <c:pt idx="38620">
                  <c:v>34357</c:v>
                </c:pt>
                <c:pt idx="38621">
                  <c:v>34357</c:v>
                </c:pt>
                <c:pt idx="38622">
                  <c:v>34357</c:v>
                </c:pt>
                <c:pt idx="38623">
                  <c:v>34357</c:v>
                </c:pt>
                <c:pt idx="38624">
                  <c:v>34357</c:v>
                </c:pt>
                <c:pt idx="38625">
                  <c:v>34356</c:v>
                </c:pt>
                <c:pt idx="38626">
                  <c:v>34356</c:v>
                </c:pt>
                <c:pt idx="38627">
                  <c:v>34356</c:v>
                </c:pt>
                <c:pt idx="38628">
                  <c:v>34356</c:v>
                </c:pt>
                <c:pt idx="38629">
                  <c:v>34356</c:v>
                </c:pt>
                <c:pt idx="38630">
                  <c:v>34355</c:v>
                </c:pt>
                <c:pt idx="38631">
                  <c:v>34355</c:v>
                </c:pt>
                <c:pt idx="38632">
                  <c:v>34355</c:v>
                </c:pt>
                <c:pt idx="38633">
                  <c:v>34355</c:v>
                </c:pt>
                <c:pt idx="38634">
                  <c:v>34355</c:v>
                </c:pt>
                <c:pt idx="38635">
                  <c:v>34354</c:v>
                </c:pt>
                <c:pt idx="38636">
                  <c:v>34354</c:v>
                </c:pt>
                <c:pt idx="38637">
                  <c:v>34354</c:v>
                </c:pt>
                <c:pt idx="38638">
                  <c:v>34354</c:v>
                </c:pt>
                <c:pt idx="38639">
                  <c:v>34354</c:v>
                </c:pt>
                <c:pt idx="38640">
                  <c:v>34354</c:v>
                </c:pt>
                <c:pt idx="38641">
                  <c:v>34354</c:v>
                </c:pt>
                <c:pt idx="38642">
                  <c:v>34354</c:v>
                </c:pt>
                <c:pt idx="38643">
                  <c:v>34354</c:v>
                </c:pt>
                <c:pt idx="38644">
                  <c:v>34354</c:v>
                </c:pt>
                <c:pt idx="38645">
                  <c:v>34354</c:v>
                </c:pt>
                <c:pt idx="38646">
                  <c:v>34354</c:v>
                </c:pt>
                <c:pt idx="38647">
                  <c:v>34354</c:v>
                </c:pt>
                <c:pt idx="38648">
                  <c:v>34353</c:v>
                </c:pt>
                <c:pt idx="38649">
                  <c:v>34353</c:v>
                </c:pt>
                <c:pt idx="38650">
                  <c:v>34353</c:v>
                </c:pt>
                <c:pt idx="38651">
                  <c:v>34353</c:v>
                </c:pt>
                <c:pt idx="38652">
                  <c:v>34353</c:v>
                </c:pt>
                <c:pt idx="38653">
                  <c:v>34353</c:v>
                </c:pt>
                <c:pt idx="38654">
                  <c:v>34353</c:v>
                </c:pt>
                <c:pt idx="38655">
                  <c:v>34353</c:v>
                </c:pt>
                <c:pt idx="38656">
                  <c:v>34353</c:v>
                </c:pt>
                <c:pt idx="38657">
                  <c:v>34353</c:v>
                </c:pt>
                <c:pt idx="38658">
                  <c:v>34353</c:v>
                </c:pt>
                <c:pt idx="38659">
                  <c:v>34353</c:v>
                </c:pt>
                <c:pt idx="38660">
                  <c:v>34353</c:v>
                </c:pt>
                <c:pt idx="38661">
                  <c:v>34352</c:v>
                </c:pt>
                <c:pt idx="38662">
                  <c:v>34352</c:v>
                </c:pt>
                <c:pt idx="38663">
                  <c:v>34352</c:v>
                </c:pt>
                <c:pt idx="38664">
                  <c:v>34352</c:v>
                </c:pt>
                <c:pt idx="38665">
                  <c:v>34352</c:v>
                </c:pt>
                <c:pt idx="38666">
                  <c:v>34352</c:v>
                </c:pt>
                <c:pt idx="38667">
                  <c:v>34351</c:v>
                </c:pt>
                <c:pt idx="38668">
                  <c:v>34351</c:v>
                </c:pt>
                <c:pt idx="38669">
                  <c:v>34351</c:v>
                </c:pt>
                <c:pt idx="38670">
                  <c:v>34351</c:v>
                </c:pt>
                <c:pt idx="38671">
                  <c:v>34351</c:v>
                </c:pt>
                <c:pt idx="38672">
                  <c:v>34351</c:v>
                </c:pt>
                <c:pt idx="38673">
                  <c:v>34350</c:v>
                </c:pt>
                <c:pt idx="38674">
                  <c:v>34350</c:v>
                </c:pt>
                <c:pt idx="38675">
                  <c:v>34350</c:v>
                </c:pt>
                <c:pt idx="38676">
                  <c:v>34350</c:v>
                </c:pt>
                <c:pt idx="38677">
                  <c:v>34350</c:v>
                </c:pt>
                <c:pt idx="38678">
                  <c:v>34350</c:v>
                </c:pt>
                <c:pt idx="38679">
                  <c:v>34350</c:v>
                </c:pt>
                <c:pt idx="38680">
                  <c:v>34349</c:v>
                </c:pt>
                <c:pt idx="38681">
                  <c:v>34349</c:v>
                </c:pt>
                <c:pt idx="38682">
                  <c:v>34349</c:v>
                </c:pt>
                <c:pt idx="38683">
                  <c:v>34349</c:v>
                </c:pt>
                <c:pt idx="38684">
                  <c:v>34349</c:v>
                </c:pt>
                <c:pt idx="38685">
                  <c:v>34349</c:v>
                </c:pt>
                <c:pt idx="38686">
                  <c:v>34348</c:v>
                </c:pt>
                <c:pt idx="38687">
                  <c:v>34348</c:v>
                </c:pt>
                <c:pt idx="38688">
                  <c:v>34348</c:v>
                </c:pt>
                <c:pt idx="38689">
                  <c:v>34348</c:v>
                </c:pt>
                <c:pt idx="38690">
                  <c:v>34348</c:v>
                </c:pt>
                <c:pt idx="38691">
                  <c:v>34347</c:v>
                </c:pt>
                <c:pt idx="38692">
                  <c:v>34347</c:v>
                </c:pt>
                <c:pt idx="38693">
                  <c:v>34347</c:v>
                </c:pt>
                <c:pt idx="38694">
                  <c:v>34347</c:v>
                </c:pt>
                <c:pt idx="38695">
                  <c:v>34347</c:v>
                </c:pt>
                <c:pt idx="38696">
                  <c:v>34346</c:v>
                </c:pt>
                <c:pt idx="38697">
                  <c:v>34346</c:v>
                </c:pt>
                <c:pt idx="38698">
                  <c:v>34346</c:v>
                </c:pt>
                <c:pt idx="38699">
                  <c:v>34346</c:v>
                </c:pt>
                <c:pt idx="38700">
                  <c:v>34346</c:v>
                </c:pt>
                <c:pt idx="38701">
                  <c:v>34346</c:v>
                </c:pt>
                <c:pt idx="38702">
                  <c:v>34345</c:v>
                </c:pt>
                <c:pt idx="38703">
                  <c:v>34345</c:v>
                </c:pt>
                <c:pt idx="38704">
                  <c:v>34345</c:v>
                </c:pt>
                <c:pt idx="38705">
                  <c:v>34345</c:v>
                </c:pt>
                <c:pt idx="38706">
                  <c:v>34344</c:v>
                </c:pt>
                <c:pt idx="38707">
                  <c:v>34344</c:v>
                </c:pt>
                <c:pt idx="38708">
                  <c:v>34344</c:v>
                </c:pt>
                <c:pt idx="38709">
                  <c:v>34344</c:v>
                </c:pt>
                <c:pt idx="38710">
                  <c:v>34344</c:v>
                </c:pt>
                <c:pt idx="38711">
                  <c:v>34344</c:v>
                </c:pt>
                <c:pt idx="38712">
                  <c:v>34343</c:v>
                </c:pt>
                <c:pt idx="38713">
                  <c:v>34343</c:v>
                </c:pt>
                <c:pt idx="38714">
                  <c:v>34343</c:v>
                </c:pt>
                <c:pt idx="38715">
                  <c:v>34342</c:v>
                </c:pt>
                <c:pt idx="38716">
                  <c:v>34342</c:v>
                </c:pt>
                <c:pt idx="38717">
                  <c:v>34342</c:v>
                </c:pt>
                <c:pt idx="38718">
                  <c:v>34342</c:v>
                </c:pt>
                <c:pt idx="38719">
                  <c:v>34342</c:v>
                </c:pt>
                <c:pt idx="38720">
                  <c:v>34341</c:v>
                </c:pt>
                <c:pt idx="38721">
                  <c:v>34341</c:v>
                </c:pt>
                <c:pt idx="38722">
                  <c:v>34341</c:v>
                </c:pt>
                <c:pt idx="38723">
                  <c:v>34341</c:v>
                </c:pt>
                <c:pt idx="38724">
                  <c:v>34341</c:v>
                </c:pt>
                <c:pt idx="38725">
                  <c:v>34341</c:v>
                </c:pt>
                <c:pt idx="38726">
                  <c:v>34341</c:v>
                </c:pt>
                <c:pt idx="38727">
                  <c:v>34340</c:v>
                </c:pt>
                <c:pt idx="38728">
                  <c:v>34340</c:v>
                </c:pt>
                <c:pt idx="38729">
                  <c:v>34340</c:v>
                </c:pt>
                <c:pt idx="38730">
                  <c:v>34340</c:v>
                </c:pt>
                <c:pt idx="38731">
                  <c:v>34340</c:v>
                </c:pt>
                <c:pt idx="38732">
                  <c:v>34340</c:v>
                </c:pt>
                <c:pt idx="38733">
                  <c:v>34340</c:v>
                </c:pt>
                <c:pt idx="38734">
                  <c:v>34339</c:v>
                </c:pt>
                <c:pt idx="38735">
                  <c:v>34339</c:v>
                </c:pt>
                <c:pt idx="38736">
                  <c:v>34339</c:v>
                </c:pt>
                <c:pt idx="38737">
                  <c:v>34339</c:v>
                </c:pt>
                <c:pt idx="38738">
                  <c:v>34338</c:v>
                </c:pt>
                <c:pt idx="38739">
                  <c:v>34338</c:v>
                </c:pt>
                <c:pt idx="38740">
                  <c:v>34338</c:v>
                </c:pt>
                <c:pt idx="38741">
                  <c:v>34338</c:v>
                </c:pt>
                <c:pt idx="38742">
                  <c:v>34338</c:v>
                </c:pt>
                <c:pt idx="38743">
                  <c:v>34338</c:v>
                </c:pt>
                <c:pt idx="38744">
                  <c:v>34338</c:v>
                </c:pt>
                <c:pt idx="38745">
                  <c:v>34337</c:v>
                </c:pt>
                <c:pt idx="38746">
                  <c:v>34337</c:v>
                </c:pt>
                <c:pt idx="38747">
                  <c:v>34337</c:v>
                </c:pt>
                <c:pt idx="38748">
                  <c:v>34337</c:v>
                </c:pt>
                <c:pt idx="38749">
                  <c:v>34336</c:v>
                </c:pt>
                <c:pt idx="38750">
                  <c:v>34336</c:v>
                </c:pt>
                <c:pt idx="38751">
                  <c:v>34336</c:v>
                </c:pt>
                <c:pt idx="38752">
                  <c:v>34336</c:v>
                </c:pt>
                <c:pt idx="38753">
                  <c:v>34336</c:v>
                </c:pt>
                <c:pt idx="38754">
                  <c:v>34336</c:v>
                </c:pt>
                <c:pt idx="38755">
                  <c:v>34335</c:v>
                </c:pt>
                <c:pt idx="38756">
                  <c:v>34335</c:v>
                </c:pt>
                <c:pt idx="38757">
                  <c:v>34335</c:v>
                </c:pt>
                <c:pt idx="38758">
                  <c:v>34335</c:v>
                </c:pt>
                <c:pt idx="38759">
                  <c:v>34335</c:v>
                </c:pt>
                <c:pt idx="38760">
                  <c:v>34334</c:v>
                </c:pt>
                <c:pt idx="38761">
                  <c:v>34334</c:v>
                </c:pt>
                <c:pt idx="38762">
                  <c:v>34334</c:v>
                </c:pt>
                <c:pt idx="38763">
                  <c:v>34334</c:v>
                </c:pt>
                <c:pt idx="38764">
                  <c:v>34333</c:v>
                </c:pt>
                <c:pt idx="38765">
                  <c:v>34333</c:v>
                </c:pt>
                <c:pt idx="38766">
                  <c:v>34333</c:v>
                </c:pt>
                <c:pt idx="38767">
                  <c:v>34333</c:v>
                </c:pt>
                <c:pt idx="38768">
                  <c:v>34333</c:v>
                </c:pt>
                <c:pt idx="38769">
                  <c:v>34333</c:v>
                </c:pt>
                <c:pt idx="38770">
                  <c:v>34332</c:v>
                </c:pt>
                <c:pt idx="38771">
                  <c:v>34332</c:v>
                </c:pt>
                <c:pt idx="38772">
                  <c:v>34332</c:v>
                </c:pt>
                <c:pt idx="38773">
                  <c:v>34332</c:v>
                </c:pt>
                <c:pt idx="38774">
                  <c:v>34332</c:v>
                </c:pt>
                <c:pt idx="38775">
                  <c:v>34332</c:v>
                </c:pt>
                <c:pt idx="38776">
                  <c:v>34332</c:v>
                </c:pt>
                <c:pt idx="38777">
                  <c:v>34332</c:v>
                </c:pt>
                <c:pt idx="38778">
                  <c:v>34331</c:v>
                </c:pt>
                <c:pt idx="38779">
                  <c:v>34331</c:v>
                </c:pt>
                <c:pt idx="38780">
                  <c:v>34331</c:v>
                </c:pt>
                <c:pt idx="38781">
                  <c:v>34331</c:v>
                </c:pt>
                <c:pt idx="38782">
                  <c:v>34330</c:v>
                </c:pt>
                <c:pt idx="38783">
                  <c:v>34330</c:v>
                </c:pt>
                <c:pt idx="38784">
                  <c:v>34330</c:v>
                </c:pt>
                <c:pt idx="38785">
                  <c:v>34330</c:v>
                </c:pt>
                <c:pt idx="38786">
                  <c:v>34330</c:v>
                </c:pt>
                <c:pt idx="38787">
                  <c:v>34329</c:v>
                </c:pt>
                <c:pt idx="38788">
                  <c:v>34329</c:v>
                </c:pt>
                <c:pt idx="38789">
                  <c:v>34329</c:v>
                </c:pt>
                <c:pt idx="38790">
                  <c:v>34329</c:v>
                </c:pt>
                <c:pt idx="38791">
                  <c:v>34329</c:v>
                </c:pt>
                <c:pt idx="38792">
                  <c:v>34329</c:v>
                </c:pt>
                <c:pt idx="38793">
                  <c:v>34329</c:v>
                </c:pt>
                <c:pt idx="38794">
                  <c:v>34328</c:v>
                </c:pt>
                <c:pt idx="38795">
                  <c:v>34328</c:v>
                </c:pt>
                <c:pt idx="38796">
                  <c:v>34328</c:v>
                </c:pt>
                <c:pt idx="38797">
                  <c:v>34328</c:v>
                </c:pt>
                <c:pt idx="38798">
                  <c:v>34328</c:v>
                </c:pt>
                <c:pt idx="38799">
                  <c:v>34328</c:v>
                </c:pt>
                <c:pt idx="38800">
                  <c:v>34328</c:v>
                </c:pt>
                <c:pt idx="38801">
                  <c:v>34328</c:v>
                </c:pt>
                <c:pt idx="38802">
                  <c:v>34328</c:v>
                </c:pt>
                <c:pt idx="38803">
                  <c:v>34327</c:v>
                </c:pt>
                <c:pt idx="38804">
                  <c:v>34327</c:v>
                </c:pt>
                <c:pt idx="38805">
                  <c:v>34327</c:v>
                </c:pt>
                <c:pt idx="38806">
                  <c:v>34327</c:v>
                </c:pt>
                <c:pt idx="38807">
                  <c:v>34327</c:v>
                </c:pt>
                <c:pt idx="38808">
                  <c:v>34327</c:v>
                </c:pt>
                <c:pt idx="38809">
                  <c:v>34326</c:v>
                </c:pt>
                <c:pt idx="38810">
                  <c:v>34326</c:v>
                </c:pt>
                <c:pt idx="38811">
                  <c:v>34326</c:v>
                </c:pt>
                <c:pt idx="38812">
                  <c:v>34326</c:v>
                </c:pt>
                <c:pt idx="38813">
                  <c:v>34326</c:v>
                </c:pt>
                <c:pt idx="38814">
                  <c:v>34326</c:v>
                </c:pt>
                <c:pt idx="38815">
                  <c:v>34326</c:v>
                </c:pt>
                <c:pt idx="38816">
                  <c:v>34326</c:v>
                </c:pt>
                <c:pt idx="38817">
                  <c:v>34325</c:v>
                </c:pt>
                <c:pt idx="38818">
                  <c:v>34325</c:v>
                </c:pt>
                <c:pt idx="38819">
                  <c:v>34325</c:v>
                </c:pt>
                <c:pt idx="38820">
                  <c:v>34324</c:v>
                </c:pt>
                <c:pt idx="38821">
                  <c:v>34324</c:v>
                </c:pt>
                <c:pt idx="38822">
                  <c:v>34324</c:v>
                </c:pt>
                <c:pt idx="38823">
                  <c:v>34324</c:v>
                </c:pt>
                <c:pt idx="38824">
                  <c:v>34324</c:v>
                </c:pt>
                <c:pt idx="38825">
                  <c:v>34323</c:v>
                </c:pt>
                <c:pt idx="38826">
                  <c:v>34323</c:v>
                </c:pt>
                <c:pt idx="38827">
                  <c:v>34323</c:v>
                </c:pt>
                <c:pt idx="38828">
                  <c:v>34323</c:v>
                </c:pt>
                <c:pt idx="38829">
                  <c:v>34323</c:v>
                </c:pt>
                <c:pt idx="38830">
                  <c:v>34323</c:v>
                </c:pt>
                <c:pt idx="38831">
                  <c:v>34323</c:v>
                </c:pt>
                <c:pt idx="38832">
                  <c:v>34322</c:v>
                </c:pt>
                <c:pt idx="38833">
                  <c:v>34322</c:v>
                </c:pt>
                <c:pt idx="38834">
                  <c:v>34322</c:v>
                </c:pt>
                <c:pt idx="38835">
                  <c:v>34322</c:v>
                </c:pt>
                <c:pt idx="38836">
                  <c:v>34322</c:v>
                </c:pt>
                <c:pt idx="38837">
                  <c:v>34322</c:v>
                </c:pt>
                <c:pt idx="38838">
                  <c:v>34322</c:v>
                </c:pt>
                <c:pt idx="38839">
                  <c:v>34322</c:v>
                </c:pt>
                <c:pt idx="38840">
                  <c:v>34322</c:v>
                </c:pt>
                <c:pt idx="38841">
                  <c:v>34322</c:v>
                </c:pt>
                <c:pt idx="38842">
                  <c:v>34321</c:v>
                </c:pt>
                <c:pt idx="38843">
                  <c:v>34321</c:v>
                </c:pt>
                <c:pt idx="38844">
                  <c:v>34321</c:v>
                </c:pt>
                <c:pt idx="38845">
                  <c:v>34321</c:v>
                </c:pt>
                <c:pt idx="38846">
                  <c:v>34320</c:v>
                </c:pt>
                <c:pt idx="38847">
                  <c:v>34320</c:v>
                </c:pt>
                <c:pt idx="38848">
                  <c:v>34320</c:v>
                </c:pt>
                <c:pt idx="38849">
                  <c:v>34320</c:v>
                </c:pt>
                <c:pt idx="38850">
                  <c:v>34320</c:v>
                </c:pt>
                <c:pt idx="38851">
                  <c:v>34320</c:v>
                </c:pt>
                <c:pt idx="38852">
                  <c:v>34320</c:v>
                </c:pt>
                <c:pt idx="38853">
                  <c:v>34320</c:v>
                </c:pt>
                <c:pt idx="38854">
                  <c:v>34320</c:v>
                </c:pt>
                <c:pt idx="38855">
                  <c:v>34320</c:v>
                </c:pt>
                <c:pt idx="38856">
                  <c:v>34320</c:v>
                </c:pt>
                <c:pt idx="38857">
                  <c:v>34320</c:v>
                </c:pt>
                <c:pt idx="38858">
                  <c:v>34319</c:v>
                </c:pt>
                <c:pt idx="38859">
                  <c:v>34319</c:v>
                </c:pt>
                <c:pt idx="38860">
                  <c:v>34319</c:v>
                </c:pt>
                <c:pt idx="38861">
                  <c:v>34319</c:v>
                </c:pt>
                <c:pt idx="38862">
                  <c:v>34319</c:v>
                </c:pt>
                <c:pt idx="38863">
                  <c:v>34318</c:v>
                </c:pt>
                <c:pt idx="38864">
                  <c:v>34318</c:v>
                </c:pt>
                <c:pt idx="38865">
                  <c:v>34318</c:v>
                </c:pt>
                <c:pt idx="38866">
                  <c:v>34318</c:v>
                </c:pt>
                <c:pt idx="38867">
                  <c:v>34318</c:v>
                </c:pt>
                <c:pt idx="38868">
                  <c:v>34317</c:v>
                </c:pt>
                <c:pt idx="38869">
                  <c:v>34317</c:v>
                </c:pt>
                <c:pt idx="38870">
                  <c:v>34317</c:v>
                </c:pt>
                <c:pt idx="38871">
                  <c:v>34317</c:v>
                </c:pt>
                <c:pt idx="38872">
                  <c:v>34317</c:v>
                </c:pt>
                <c:pt idx="38873">
                  <c:v>34317</c:v>
                </c:pt>
                <c:pt idx="38874">
                  <c:v>34316</c:v>
                </c:pt>
                <c:pt idx="38875">
                  <c:v>34316</c:v>
                </c:pt>
                <c:pt idx="38876">
                  <c:v>34316</c:v>
                </c:pt>
                <c:pt idx="38877">
                  <c:v>34316</c:v>
                </c:pt>
                <c:pt idx="38878">
                  <c:v>34316</c:v>
                </c:pt>
                <c:pt idx="38879">
                  <c:v>34316</c:v>
                </c:pt>
                <c:pt idx="38880">
                  <c:v>34316</c:v>
                </c:pt>
                <c:pt idx="38881">
                  <c:v>34315</c:v>
                </c:pt>
                <c:pt idx="38882">
                  <c:v>34315</c:v>
                </c:pt>
                <c:pt idx="38883">
                  <c:v>34315</c:v>
                </c:pt>
                <c:pt idx="38884">
                  <c:v>34315</c:v>
                </c:pt>
                <c:pt idx="38885">
                  <c:v>34315</c:v>
                </c:pt>
                <c:pt idx="38886">
                  <c:v>34315</c:v>
                </c:pt>
                <c:pt idx="38887">
                  <c:v>34315</c:v>
                </c:pt>
                <c:pt idx="38888">
                  <c:v>34314</c:v>
                </c:pt>
                <c:pt idx="38889">
                  <c:v>34314</c:v>
                </c:pt>
                <c:pt idx="38890">
                  <c:v>34314</c:v>
                </c:pt>
                <c:pt idx="38891">
                  <c:v>34313</c:v>
                </c:pt>
                <c:pt idx="38892">
                  <c:v>34313</c:v>
                </c:pt>
                <c:pt idx="38893">
                  <c:v>34313</c:v>
                </c:pt>
                <c:pt idx="38894">
                  <c:v>34313</c:v>
                </c:pt>
                <c:pt idx="38895">
                  <c:v>34313</c:v>
                </c:pt>
                <c:pt idx="38896">
                  <c:v>34313</c:v>
                </c:pt>
                <c:pt idx="38897">
                  <c:v>34313</c:v>
                </c:pt>
                <c:pt idx="38898">
                  <c:v>34313</c:v>
                </c:pt>
                <c:pt idx="38899">
                  <c:v>34312</c:v>
                </c:pt>
                <c:pt idx="38900">
                  <c:v>34312</c:v>
                </c:pt>
                <c:pt idx="38901">
                  <c:v>34312</c:v>
                </c:pt>
                <c:pt idx="38902">
                  <c:v>34312</c:v>
                </c:pt>
                <c:pt idx="38903">
                  <c:v>34312</c:v>
                </c:pt>
                <c:pt idx="38904">
                  <c:v>34312</c:v>
                </c:pt>
                <c:pt idx="38905">
                  <c:v>34312</c:v>
                </c:pt>
                <c:pt idx="38906">
                  <c:v>34312</c:v>
                </c:pt>
                <c:pt idx="38907">
                  <c:v>34312</c:v>
                </c:pt>
                <c:pt idx="38908">
                  <c:v>34310</c:v>
                </c:pt>
                <c:pt idx="38909">
                  <c:v>34310</c:v>
                </c:pt>
                <c:pt idx="38910">
                  <c:v>34310</c:v>
                </c:pt>
                <c:pt idx="38911">
                  <c:v>34310</c:v>
                </c:pt>
                <c:pt idx="38912">
                  <c:v>34310</c:v>
                </c:pt>
                <c:pt idx="38913">
                  <c:v>34310</c:v>
                </c:pt>
                <c:pt idx="38914">
                  <c:v>34309</c:v>
                </c:pt>
                <c:pt idx="38915">
                  <c:v>34309</c:v>
                </c:pt>
                <c:pt idx="38916">
                  <c:v>34309</c:v>
                </c:pt>
                <c:pt idx="38917">
                  <c:v>34309</c:v>
                </c:pt>
                <c:pt idx="38918">
                  <c:v>34309</c:v>
                </c:pt>
                <c:pt idx="38919">
                  <c:v>34308</c:v>
                </c:pt>
                <c:pt idx="38920">
                  <c:v>34308</c:v>
                </c:pt>
                <c:pt idx="38921">
                  <c:v>34308</c:v>
                </c:pt>
                <c:pt idx="38922">
                  <c:v>34307</c:v>
                </c:pt>
                <c:pt idx="38923">
                  <c:v>34307</c:v>
                </c:pt>
                <c:pt idx="38924">
                  <c:v>34307</c:v>
                </c:pt>
                <c:pt idx="38925">
                  <c:v>34307</c:v>
                </c:pt>
                <c:pt idx="38926">
                  <c:v>34307</c:v>
                </c:pt>
                <c:pt idx="38927">
                  <c:v>34307</c:v>
                </c:pt>
                <c:pt idx="38928">
                  <c:v>34307</c:v>
                </c:pt>
                <c:pt idx="38929">
                  <c:v>34307</c:v>
                </c:pt>
                <c:pt idx="38930">
                  <c:v>34307</c:v>
                </c:pt>
                <c:pt idx="38931">
                  <c:v>34307</c:v>
                </c:pt>
                <c:pt idx="38932">
                  <c:v>34306</c:v>
                </c:pt>
                <c:pt idx="38933">
                  <c:v>34306</c:v>
                </c:pt>
                <c:pt idx="38934">
                  <c:v>34306</c:v>
                </c:pt>
                <c:pt idx="38935">
                  <c:v>34306</c:v>
                </c:pt>
                <c:pt idx="38936">
                  <c:v>34306</c:v>
                </c:pt>
                <c:pt idx="38937">
                  <c:v>34306</c:v>
                </c:pt>
                <c:pt idx="38938">
                  <c:v>34306</c:v>
                </c:pt>
                <c:pt idx="38939">
                  <c:v>34305</c:v>
                </c:pt>
                <c:pt idx="38940">
                  <c:v>34305</c:v>
                </c:pt>
                <c:pt idx="38941">
                  <c:v>34304</c:v>
                </c:pt>
                <c:pt idx="38942">
                  <c:v>34304</c:v>
                </c:pt>
                <c:pt idx="38943">
                  <c:v>34304</c:v>
                </c:pt>
                <c:pt idx="38944">
                  <c:v>34304</c:v>
                </c:pt>
                <c:pt idx="38945">
                  <c:v>34304</c:v>
                </c:pt>
                <c:pt idx="38946">
                  <c:v>34304</c:v>
                </c:pt>
                <c:pt idx="38947">
                  <c:v>34303</c:v>
                </c:pt>
                <c:pt idx="38948">
                  <c:v>34303</c:v>
                </c:pt>
                <c:pt idx="38949">
                  <c:v>34303</c:v>
                </c:pt>
                <c:pt idx="38950">
                  <c:v>34303</c:v>
                </c:pt>
                <c:pt idx="38951">
                  <c:v>34303</c:v>
                </c:pt>
                <c:pt idx="38952">
                  <c:v>34303</c:v>
                </c:pt>
                <c:pt idx="38953">
                  <c:v>34303</c:v>
                </c:pt>
                <c:pt idx="38954">
                  <c:v>34303</c:v>
                </c:pt>
                <c:pt idx="38955">
                  <c:v>34303</c:v>
                </c:pt>
                <c:pt idx="38956">
                  <c:v>34302</c:v>
                </c:pt>
                <c:pt idx="38957">
                  <c:v>34302</c:v>
                </c:pt>
                <c:pt idx="38958">
                  <c:v>34302</c:v>
                </c:pt>
                <c:pt idx="38959">
                  <c:v>34302</c:v>
                </c:pt>
                <c:pt idx="38960">
                  <c:v>34302</c:v>
                </c:pt>
                <c:pt idx="38961">
                  <c:v>34302</c:v>
                </c:pt>
                <c:pt idx="38962">
                  <c:v>34302</c:v>
                </c:pt>
                <c:pt idx="38963">
                  <c:v>34302</c:v>
                </c:pt>
                <c:pt idx="38964">
                  <c:v>34302</c:v>
                </c:pt>
                <c:pt idx="38965">
                  <c:v>34301</c:v>
                </c:pt>
                <c:pt idx="38966">
                  <c:v>34301</c:v>
                </c:pt>
                <c:pt idx="38967">
                  <c:v>34301</c:v>
                </c:pt>
                <c:pt idx="38968">
                  <c:v>34301</c:v>
                </c:pt>
                <c:pt idx="38969">
                  <c:v>34301</c:v>
                </c:pt>
                <c:pt idx="38970">
                  <c:v>34300</c:v>
                </c:pt>
                <c:pt idx="38971">
                  <c:v>34300</c:v>
                </c:pt>
                <c:pt idx="38972">
                  <c:v>34300</c:v>
                </c:pt>
                <c:pt idx="38973">
                  <c:v>34300</c:v>
                </c:pt>
                <c:pt idx="38974">
                  <c:v>34300</c:v>
                </c:pt>
                <c:pt idx="38975">
                  <c:v>34300</c:v>
                </c:pt>
                <c:pt idx="38976">
                  <c:v>34300</c:v>
                </c:pt>
                <c:pt idx="38977">
                  <c:v>34300</c:v>
                </c:pt>
                <c:pt idx="38978">
                  <c:v>34300</c:v>
                </c:pt>
                <c:pt idx="38979">
                  <c:v>34300</c:v>
                </c:pt>
                <c:pt idx="38980">
                  <c:v>34299</c:v>
                </c:pt>
                <c:pt idx="38981">
                  <c:v>34299</c:v>
                </c:pt>
                <c:pt idx="38982">
                  <c:v>34299</c:v>
                </c:pt>
                <c:pt idx="38983">
                  <c:v>34299</c:v>
                </c:pt>
                <c:pt idx="38984">
                  <c:v>34299</c:v>
                </c:pt>
                <c:pt idx="38985">
                  <c:v>34299</c:v>
                </c:pt>
                <c:pt idx="38986">
                  <c:v>34298</c:v>
                </c:pt>
                <c:pt idx="38987">
                  <c:v>34298</c:v>
                </c:pt>
                <c:pt idx="38988">
                  <c:v>34298</c:v>
                </c:pt>
                <c:pt idx="38989">
                  <c:v>34298</c:v>
                </c:pt>
                <c:pt idx="38990">
                  <c:v>34298</c:v>
                </c:pt>
                <c:pt idx="38991">
                  <c:v>34298</c:v>
                </c:pt>
                <c:pt idx="38992">
                  <c:v>34298</c:v>
                </c:pt>
                <c:pt idx="38993">
                  <c:v>34298</c:v>
                </c:pt>
                <c:pt idx="38994">
                  <c:v>34298</c:v>
                </c:pt>
                <c:pt idx="38995">
                  <c:v>34298</c:v>
                </c:pt>
                <c:pt idx="38996">
                  <c:v>34297</c:v>
                </c:pt>
                <c:pt idx="38997">
                  <c:v>34297</c:v>
                </c:pt>
                <c:pt idx="38998">
                  <c:v>34297</c:v>
                </c:pt>
                <c:pt idx="38999">
                  <c:v>34297</c:v>
                </c:pt>
                <c:pt idx="39000">
                  <c:v>34297</c:v>
                </c:pt>
                <c:pt idx="39001">
                  <c:v>34297</c:v>
                </c:pt>
                <c:pt idx="39002">
                  <c:v>34297</c:v>
                </c:pt>
                <c:pt idx="39003">
                  <c:v>34297</c:v>
                </c:pt>
                <c:pt idx="39004">
                  <c:v>34297</c:v>
                </c:pt>
                <c:pt idx="39005">
                  <c:v>34296</c:v>
                </c:pt>
                <c:pt idx="39006">
                  <c:v>34296</c:v>
                </c:pt>
                <c:pt idx="39007">
                  <c:v>34296</c:v>
                </c:pt>
                <c:pt idx="39008">
                  <c:v>34296</c:v>
                </c:pt>
                <c:pt idx="39009">
                  <c:v>34295</c:v>
                </c:pt>
                <c:pt idx="39010">
                  <c:v>34295</c:v>
                </c:pt>
                <c:pt idx="39011">
                  <c:v>34294</c:v>
                </c:pt>
                <c:pt idx="39012">
                  <c:v>34294</c:v>
                </c:pt>
                <c:pt idx="39013">
                  <c:v>34294</c:v>
                </c:pt>
                <c:pt idx="39014">
                  <c:v>34294</c:v>
                </c:pt>
                <c:pt idx="39015">
                  <c:v>34294</c:v>
                </c:pt>
                <c:pt idx="39016">
                  <c:v>34294</c:v>
                </c:pt>
                <c:pt idx="39017">
                  <c:v>34293</c:v>
                </c:pt>
                <c:pt idx="39018">
                  <c:v>34293</c:v>
                </c:pt>
                <c:pt idx="39019">
                  <c:v>34293</c:v>
                </c:pt>
                <c:pt idx="39020">
                  <c:v>34293</c:v>
                </c:pt>
                <c:pt idx="39021">
                  <c:v>34293</c:v>
                </c:pt>
                <c:pt idx="39022">
                  <c:v>34293</c:v>
                </c:pt>
                <c:pt idx="39023">
                  <c:v>34293</c:v>
                </c:pt>
                <c:pt idx="39024">
                  <c:v>34292</c:v>
                </c:pt>
                <c:pt idx="39025">
                  <c:v>34292</c:v>
                </c:pt>
                <c:pt idx="39026">
                  <c:v>34292</c:v>
                </c:pt>
                <c:pt idx="39027">
                  <c:v>34291</c:v>
                </c:pt>
                <c:pt idx="39028">
                  <c:v>34291</c:v>
                </c:pt>
                <c:pt idx="39029">
                  <c:v>34291</c:v>
                </c:pt>
                <c:pt idx="39030">
                  <c:v>34291</c:v>
                </c:pt>
                <c:pt idx="39031">
                  <c:v>34291</c:v>
                </c:pt>
                <c:pt idx="39032">
                  <c:v>34290</c:v>
                </c:pt>
                <c:pt idx="39033">
                  <c:v>34290</c:v>
                </c:pt>
                <c:pt idx="39034">
                  <c:v>34289</c:v>
                </c:pt>
                <c:pt idx="39035">
                  <c:v>34289</c:v>
                </c:pt>
                <c:pt idx="39036">
                  <c:v>34289</c:v>
                </c:pt>
                <c:pt idx="39037">
                  <c:v>34289</c:v>
                </c:pt>
                <c:pt idx="39038">
                  <c:v>34289</c:v>
                </c:pt>
                <c:pt idx="39039">
                  <c:v>34289</c:v>
                </c:pt>
                <c:pt idx="39040">
                  <c:v>34289</c:v>
                </c:pt>
                <c:pt idx="39041">
                  <c:v>34288</c:v>
                </c:pt>
                <c:pt idx="39042">
                  <c:v>34288</c:v>
                </c:pt>
                <c:pt idx="39043">
                  <c:v>34288</c:v>
                </c:pt>
                <c:pt idx="39044">
                  <c:v>34288</c:v>
                </c:pt>
                <c:pt idx="39045">
                  <c:v>34288</c:v>
                </c:pt>
                <c:pt idx="39046">
                  <c:v>34288</c:v>
                </c:pt>
                <c:pt idx="39047">
                  <c:v>34287</c:v>
                </c:pt>
                <c:pt idx="39048">
                  <c:v>34287</c:v>
                </c:pt>
                <c:pt idx="39049">
                  <c:v>34287</c:v>
                </c:pt>
                <c:pt idx="39050">
                  <c:v>34287</c:v>
                </c:pt>
                <c:pt idx="39051">
                  <c:v>34287</c:v>
                </c:pt>
                <c:pt idx="39052">
                  <c:v>34287</c:v>
                </c:pt>
                <c:pt idx="39053">
                  <c:v>34286</c:v>
                </c:pt>
                <c:pt idx="39054">
                  <c:v>34286</c:v>
                </c:pt>
                <c:pt idx="39055">
                  <c:v>34286</c:v>
                </c:pt>
                <c:pt idx="39056">
                  <c:v>34286</c:v>
                </c:pt>
                <c:pt idx="39057">
                  <c:v>34285</c:v>
                </c:pt>
                <c:pt idx="39058">
                  <c:v>34285</c:v>
                </c:pt>
                <c:pt idx="39059">
                  <c:v>34285</c:v>
                </c:pt>
                <c:pt idx="39060">
                  <c:v>34285</c:v>
                </c:pt>
                <c:pt idx="39061">
                  <c:v>34285</c:v>
                </c:pt>
                <c:pt idx="39062">
                  <c:v>34285</c:v>
                </c:pt>
                <c:pt idx="39063">
                  <c:v>34285</c:v>
                </c:pt>
                <c:pt idx="39064">
                  <c:v>34285</c:v>
                </c:pt>
                <c:pt idx="39065">
                  <c:v>34285</c:v>
                </c:pt>
                <c:pt idx="39066">
                  <c:v>34284</c:v>
                </c:pt>
                <c:pt idx="39067">
                  <c:v>34284</c:v>
                </c:pt>
                <c:pt idx="39068">
                  <c:v>34284</c:v>
                </c:pt>
                <c:pt idx="39069">
                  <c:v>34283</c:v>
                </c:pt>
                <c:pt idx="39070">
                  <c:v>34283</c:v>
                </c:pt>
                <c:pt idx="39071">
                  <c:v>34283</c:v>
                </c:pt>
                <c:pt idx="39072">
                  <c:v>34283</c:v>
                </c:pt>
                <c:pt idx="39073">
                  <c:v>34283</c:v>
                </c:pt>
                <c:pt idx="39074">
                  <c:v>34282</c:v>
                </c:pt>
                <c:pt idx="39075">
                  <c:v>34282</c:v>
                </c:pt>
                <c:pt idx="39076">
                  <c:v>34282</c:v>
                </c:pt>
                <c:pt idx="39077">
                  <c:v>34282</c:v>
                </c:pt>
                <c:pt idx="39078">
                  <c:v>34282</c:v>
                </c:pt>
                <c:pt idx="39079">
                  <c:v>34282</c:v>
                </c:pt>
                <c:pt idx="39080">
                  <c:v>34282</c:v>
                </c:pt>
                <c:pt idx="39081">
                  <c:v>34281</c:v>
                </c:pt>
                <c:pt idx="39082">
                  <c:v>34281</c:v>
                </c:pt>
                <c:pt idx="39083">
                  <c:v>34281</c:v>
                </c:pt>
                <c:pt idx="39084">
                  <c:v>34281</c:v>
                </c:pt>
                <c:pt idx="39085">
                  <c:v>34281</c:v>
                </c:pt>
                <c:pt idx="39086">
                  <c:v>34281</c:v>
                </c:pt>
                <c:pt idx="39087">
                  <c:v>34280</c:v>
                </c:pt>
                <c:pt idx="39088">
                  <c:v>34280</c:v>
                </c:pt>
                <c:pt idx="39089">
                  <c:v>34280</c:v>
                </c:pt>
                <c:pt idx="39090">
                  <c:v>34280</c:v>
                </c:pt>
                <c:pt idx="39091">
                  <c:v>34280</c:v>
                </c:pt>
                <c:pt idx="39092">
                  <c:v>34280</c:v>
                </c:pt>
                <c:pt idx="39093">
                  <c:v>34280</c:v>
                </c:pt>
                <c:pt idx="39094">
                  <c:v>34279</c:v>
                </c:pt>
                <c:pt idx="39095">
                  <c:v>34279</c:v>
                </c:pt>
                <c:pt idx="39096">
                  <c:v>34279</c:v>
                </c:pt>
                <c:pt idx="39097">
                  <c:v>34279</c:v>
                </c:pt>
                <c:pt idx="39098">
                  <c:v>34279</c:v>
                </c:pt>
                <c:pt idx="39099">
                  <c:v>34279</c:v>
                </c:pt>
                <c:pt idx="39100">
                  <c:v>34279</c:v>
                </c:pt>
                <c:pt idx="39101">
                  <c:v>34278</c:v>
                </c:pt>
                <c:pt idx="39102">
                  <c:v>34278</c:v>
                </c:pt>
                <c:pt idx="39103">
                  <c:v>34278</c:v>
                </c:pt>
                <c:pt idx="39104">
                  <c:v>34278</c:v>
                </c:pt>
                <c:pt idx="39105">
                  <c:v>34278</c:v>
                </c:pt>
                <c:pt idx="39106">
                  <c:v>34278</c:v>
                </c:pt>
                <c:pt idx="39107">
                  <c:v>34277</c:v>
                </c:pt>
                <c:pt idx="39108">
                  <c:v>34277</c:v>
                </c:pt>
                <c:pt idx="39109">
                  <c:v>34277</c:v>
                </c:pt>
                <c:pt idx="39110">
                  <c:v>34277</c:v>
                </c:pt>
                <c:pt idx="39111">
                  <c:v>34277</c:v>
                </c:pt>
                <c:pt idx="39112">
                  <c:v>34277</c:v>
                </c:pt>
                <c:pt idx="39113">
                  <c:v>34277</c:v>
                </c:pt>
                <c:pt idx="39114">
                  <c:v>34277</c:v>
                </c:pt>
                <c:pt idx="39115">
                  <c:v>34276</c:v>
                </c:pt>
                <c:pt idx="39116">
                  <c:v>34276</c:v>
                </c:pt>
                <c:pt idx="39117">
                  <c:v>34276</c:v>
                </c:pt>
                <c:pt idx="39118">
                  <c:v>34276</c:v>
                </c:pt>
                <c:pt idx="39119">
                  <c:v>34276</c:v>
                </c:pt>
                <c:pt idx="39120">
                  <c:v>34276</c:v>
                </c:pt>
                <c:pt idx="39121">
                  <c:v>34276</c:v>
                </c:pt>
                <c:pt idx="39122">
                  <c:v>34276</c:v>
                </c:pt>
                <c:pt idx="39123">
                  <c:v>34276</c:v>
                </c:pt>
                <c:pt idx="39124">
                  <c:v>34276</c:v>
                </c:pt>
                <c:pt idx="39125">
                  <c:v>34275</c:v>
                </c:pt>
                <c:pt idx="39126">
                  <c:v>34275</c:v>
                </c:pt>
                <c:pt idx="39127">
                  <c:v>34275</c:v>
                </c:pt>
                <c:pt idx="39128">
                  <c:v>34275</c:v>
                </c:pt>
                <c:pt idx="39129">
                  <c:v>34275</c:v>
                </c:pt>
                <c:pt idx="39130">
                  <c:v>34275</c:v>
                </c:pt>
                <c:pt idx="39131">
                  <c:v>34274</c:v>
                </c:pt>
                <c:pt idx="39132">
                  <c:v>34274</c:v>
                </c:pt>
                <c:pt idx="39133">
                  <c:v>34274</c:v>
                </c:pt>
                <c:pt idx="39134">
                  <c:v>34274</c:v>
                </c:pt>
                <c:pt idx="39135">
                  <c:v>34274</c:v>
                </c:pt>
                <c:pt idx="39136">
                  <c:v>34274</c:v>
                </c:pt>
                <c:pt idx="39137">
                  <c:v>34273</c:v>
                </c:pt>
                <c:pt idx="39138">
                  <c:v>34273</c:v>
                </c:pt>
                <c:pt idx="39139">
                  <c:v>34273</c:v>
                </c:pt>
                <c:pt idx="39140">
                  <c:v>34272</c:v>
                </c:pt>
                <c:pt idx="39141">
                  <c:v>34272</c:v>
                </c:pt>
                <c:pt idx="39142">
                  <c:v>34272</c:v>
                </c:pt>
                <c:pt idx="39143">
                  <c:v>34272</c:v>
                </c:pt>
                <c:pt idx="39144">
                  <c:v>34272</c:v>
                </c:pt>
                <c:pt idx="39145">
                  <c:v>34272</c:v>
                </c:pt>
                <c:pt idx="39146">
                  <c:v>34271</c:v>
                </c:pt>
                <c:pt idx="39147">
                  <c:v>34271</c:v>
                </c:pt>
                <c:pt idx="39148">
                  <c:v>34271</c:v>
                </c:pt>
                <c:pt idx="39149">
                  <c:v>34271</c:v>
                </c:pt>
                <c:pt idx="39150">
                  <c:v>34270</c:v>
                </c:pt>
                <c:pt idx="39151">
                  <c:v>34270</c:v>
                </c:pt>
                <c:pt idx="39152">
                  <c:v>34270</c:v>
                </c:pt>
                <c:pt idx="39153">
                  <c:v>34270</c:v>
                </c:pt>
                <c:pt idx="39154">
                  <c:v>34270</c:v>
                </c:pt>
                <c:pt idx="39155">
                  <c:v>34270</c:v>
                </c:pt>
                <c:pt idx="39156">
                  <c:v>34270</c:v>
                </c:pt>
                <c:pt idx="39157">
                  <c:v>34270</c:v>
                </c:pt>
                <c:pt idx="39158">
                  <c:v>34270</c:v>
                </c:pt>
                <c:pt idx="39159">
                  <c:v>34270</c:v>
                </c:pt>
                <c:pt idx="39160">
                  <c:v>34269</c:v>
                </c:pt>
                <c:pt idx="39161">
                  <c:v>34269</c:v>
                </c:pt>
                <c:pt idx="39162">
                  <c:v>34269</c:v>
                </c:pt>
                <c:pt idx="39163">
                  <c:v>34269</c:v>
                </c:pt>
                <c:pt idx="39164">
                  <c:v>34269</c:v>
                </c:pt>
                <c:pt idx="39165">
                  <c:v>34269</c:v>
                </c:pt>
                <c:pt idx="39166">
                  <c:v>34269</c:v>
                </c:pt>
                <c:pt idx="39167">
                  <c:v>34269</c:v>
                </c:pt>
                <c:pt idx="39168">
                  <c:v>34269</c:v>
                </c:pt>
                <c:pt idx="39169">
                  <c:v>34269</c:v>
                </c:pt>
                <c:pt idx="39170">
                  <c:v>34268</c:v>
                </c:pt>
                <c:pt idx="39171">
                  <c:v>34268</c:v>
                </c:pt>
                <c:pt idx="39172">
                  <c:v>34268</c:v>
                </c:pt>
                <c:pt idx="39173">
                  <c:v>34268</c:v>
                </c:pt>
                <c:pt idx="39174">
                  <c:v>34267</c:v>
                </c:pt>
                <c:pt idx="39175">
                  <c:v>34267</c:v>
                </c:pt>
                <c:pt idx="39176">
                  <c:v>34267</c:v>
                </c:pt>
                <c:pt idx="39177">
                  <c:v>34267</c:v>
                </c:pt>
                <c:pt idx="39178">
                  <c:v>34267</c:v>
                </c:pt>
                <c:pt idx="39179">
                  <c:v>34267</c:v>
                </c:pt>
                <c:pt idx="39180">
                  <c:v>34267</c:v>
                </c:pt>
                <c:pt idx="39181">
                  <c:v>34266</c:v>
                </c:pt>
                <c:pt idx="39182">
                  <c:v>34266</c:v>
                </c:pt>
                <c:pt idx="39183">
                  <c:v>34266</c:v>
                </c:pt>
                <c:pt idx="39184">
                  <c:v>34265</c:v>
                </c:pt>
                <c:pt idx="39185">
                  <c:v>34265</c:v>
                </c:pt>
                <c:pt idx="39186">
                  <c:v>34265</c:v>
                </c:pt>
                <c:pt idx="39187">
                  <c:v>34265</c:v>
                </c:pt>
                <c:pt idx="39188">
                  <c:v>34265</c:v>
                </c:pt>
                <c:pt idx="39189">
                  <c:v>34264</c:v>
                </c:pt>
                <c:pt idx="39190">
                  <c:v>34264</c:v>
                </c:pt>
                <c:pt idx="39191">
                  <c:v>34264</c:v>
                </c:pt>
                <c:pt idx="39192">
                  <c:v>34264</c:v>
                </c:pt>
                <c:pt idx="39193">
                  <c:v>34264</c:v>
                </c:pt>
                <c:pt idx="39194">
                  <c:v>34264</c:v>
                </c:pt>
                <c:pt idx="39195">
                  <c:v>34264</c:v>
                </c:pt>
                <c:pt idx="39196">
                  <c:v>34264</c:v>
                </c:pt>
                <c:pt idx="39197">
                  <c:v>34263</c:v>
                </c:pt>
                <c:pt idx="39198">
                  <c:v>34263</c:v>
                </c:pt>
                <c:pt idx="39199">
                  <c:v>34263</c:v>
                </c:pt>
                <c:pt idx="39200">
                  <c:v>34263</c:v>
                </c:pt>
                <c:pt idx="39201">
                  <c:v>34263</c:v>
                </c:pt>
                <c:pt idx="39202">
                  <c:v>34263</c:v>
                </c:pt>
                <c:pt idx="39203">
                  <c:v>34263</c:v>
                </c:pt>
                <c:pt idx="39204">
                  <c:v>34263</c:v>
                </c:pt>
                <c:pt idx="39205">
                  <c:v>34263</c:v>
                </c:pt>
                <c:pt idx="39206">
                  <c:v>34262</c:v>
                </c:pt>
                <c:pt idx="39207">
                  <c:v>34262</c:v>
                </c:pt>
                <c:pt idx="39208">
                  <c:v>34262</c:v>
                </c:pt>
                <c:pt idx="39209">
                  <c:v>34262</c:v>
                </c:pt>
                <c:pt idx="39210">
                  <c:v>34262</c:v>
                </c:pt>
                <c:pt idx="39211">
                  <c:v>34262</c:v>
                </c:pt>
                <c:pt idx="39212">
                  <c:v>34261</c:v>
                </c:pt>
                <c:pt idx="39213">
                  <c:v>34261</c:v>
                </c:pt>
                <c:pt idx="39214">
                  <c:v>34261</c:v>
                </c:pt>
                <c:pt idx="39215">
                  <c:v>34261</c:v>
                </c:pt>
                <c:pt idx="39216">
                  <c:v>34261</c:v>
                </c:pt>
                <c:pt idx="39217">
                  <c:v>34260</c:v>
                </c:pt>
                <c:pt idx="39218">
                  <c:v>34260</c:v>
                </c:pt>
                <c:pt idx="39219">
                  <c:v>34260</c:v>
                </c:pt>
                <c:pt idx="39220">
                  <c:v>34260</c:v>
                </c:pt>
                <c:pt idx="39221">
                  <c:v>34260</c:v>
                </c:pt>
                <c:pt idx="39222">
                  <c:v>34259</c:v>
                </c:pt>
                <c:pt idx="39223">
                  <c:v>34259</c:v>
                </c:pt>
                <c:pt idx="39224">
                  <c:v>34259</c:v>
                </c:pt>
                <c:pt idx="39225">
                  <c:v>34259</c:v>
                </c:pt>
                <c:pt idx="39226">
                  <c:v>34259</c:v>
                </c:pt>
                <c:pt idx="39227">
                  <c:v>34259</c:v>
                </c:pt>
                <c:pt idx="39228">
                  <c:v>34259</c:v>
                </c:pt>
                <c:pt idx="39229">
                  <c:v>34259</c:v>
                </c:pt>
                <c:pt idx="39230">
                  <c:v>34259</c:v>
                </c:pt>
                <c:pt idx="39231">
                  <c:v>34259</c:v>
                </c:pt>
                <c:pt idx="39232">
                  <c:v>34259</c:v>
                </c:pt>
                <c:pt idx="39233">
                  <c:v>34259</c:v>
                </c:pt>
                <c:pt idx="39234">
                  <c:v>34258</c:v>
                </c:pt>
                <c:pt idx="39235">
                  <c:v>34258</c:v>
                </c:pt>
                <c:pt idx="39236">
                  <c:v>34258</c:v>
                </c:pt>
                <c:pt idx="39237">
                  <c:v>34257</c:v>
                </c:pt>
                <c:pt idx="39238">
                  <c:v>34257</c:v>
                </c:pt>
                <c:pt idx="39239">
                  <c:v>34257</c:v>
                </c:pt>
                <c:pt idx="39240">
                  <c:v>34257</c:v>
                </c:pt>
                <c:pt idx="39241">
                  <c:v>34257</c:v>
                </c:pt>
                <c:pt idx="39242">
                  <c:v>34257</c:v>
                </c:pt>
                <c:pt idx="39243">
                  <c:v>34256</c:v>
                </c:pt>
                <c:pt idx="39244">
                  <c:v>34256</c:v>
                </c:pt>
                <c:pt idx="39245">
                  <c:v>34256</c:v>
                </c:pt>
                <c:pt idx="39246">
                  <c:v>34256</c:v>
                </c:pt>
                <c:pt idx="39247">
                  <c:v>34256</c:v>
                </c:pt>
                <c:pt idx="39248">
                  <c:v>34256</c:v>
                </c:pt>
                <c:pt idx="39249">
                  <c:v>34256</c:v>
                </c:pt>
                <c:pt idx="39250">
                  <c:v>34256</c:v>
                </c:pt>
                <c:pt idx="39251">
                  <c:v>34255</c:v>
                </c:pt>
                <c:pt idx="39252">
                  <c:v>34255</c:v>
                </c:pt>
                <c:pt idx="39253">
                  <c:v>34255</c:v>
                </c:pt>
                <c:pt idx="39254">
                  <c:v>34255</c:v>
                </c:pt>
                <c:pt idx="39255">
                  <c:v>34255</c:v>
                </c:pt>
                <c:pt idx="39256">
                  <c:v>34255</c:v>
                </c:pt>
                <c:pt idx="39257">
                  <c:v>34255</c:v>
                </c:pt>
                <c:pt idx="39258">
                  <c:v>34254</c:v>
                </c:pt>
                <c:pt idx="39259">
                  <c:v>34254</c:v>
                </c:pt>
                <c:pt idx="39260">
                  <c:v>34254</c:v>
                </c:pt>
                <c:pt idx="39261">
                  <c:v>34254</c:v>
                </c:pt>
                <c:pt idx="39262">
                  <c:v>34254</c:v>
                </c:pt>
                <c:pt idx="39263">
                  <c:v>34253</c:v>
                </c:pt>
                <c:pt idx="39264">
                  <c:v>34253</c:v>
                </c:pt>
                <c:pt idx="39265">
                  <c:v>34253</c:v>
                </c:pt>
                <c:pt idx="39266">
                  <c:v>34253</c:v>
                </c:pt>
                <c:pt idx="39267">
                  <c:v>34252</c:v>
                </c:pt>
                <c:pt idx="39268">
                  <c:v>34252</c:v>
                </c:pt>
                <c:pt idx="39269">
                  <c:v>34252</c:v>
                </c:pt>
                <c:pt idx="39270">
                  <c:v>34252</c:v>
                </c:pt>
                <c:pt idx="39271">
                  <c:v>34252</c:v>
                </c:pt>
                <c:pt idx="39272">
                  <c:v>34252</c:v>
                </c:pt>
                <c:pt idx="39273">
                  <c:v>34251</c:v>
                </c:pt>
                <c:pt idx="39274">
                  <c:v>34251</c:v>
                </c:pt>
                <c:pt idx="39275">
                  <c:v>34251</c:v>
                </c:pt>
                <c:pt idx="39276">
                  <c:v>34251</c:v>
                </c:pt>
                <c:pt idx="39277">
                  <c:v>34251</c:v>
                </c:pt>
                <c:pt idx="39278">
                  <c:v>34251</c:v>
                </c:pt>
                <c:pt idx="39279">
                  <c:v>34250</c:v>
                </c:pt>
                <c:pt idx="39280">
                  <c:v>34250</c:v>
                </c:pt>
                <c:pt idx="39281">
                  <c:v>34250</c:v>
                </c:pt>
                <c:pt idx="39282">
                  <c:v>34250</c:v>
                </c:pt>
                <c:pt idx="39283">
                  <c:v>34250</c:v>
                </c:pt>
                <c:pt idx="39284">
                  <c:v>34250</c:v>
                </c:pt>
                <c:pt idx="39285">
                  <c:v>34249</c:v>
                </c:pt>
                <c:pt idx="39286">
                  <c:v>34249</c:v>
                </c:pt>
                <c:pt idx="39287">
                  <c:v>34249</c:v>
                </c:pt>
                <c:pt idx="39288">
                  <c:v>34249</c:v>
                </c:pt>
                <c:pt idx="39289">
                  <c:v>34249</c:v>
                </c:pt>
                <c:pt idx="39290">
                  <c:v>34249</c:v>
                </c:pt>
                <c:pt idx="39291">
                  <c:v>34248</c:v>
                </c:pt>
                <c:pt idx="39292">
                  <c:v>34248</c:v>
                </c:pt>
                <c:pt idx="39293">
                  <c:v>34248</c:v>
                </c:pt>
                <c:pt idx="39294">
                  <c:v>34248</c:v>
                </c:pt>
                <c:pt idx="39295">
                  <c:v>34248</c:v>
                </c:pt>
                <c:pt idx="39296">
                  <c:v>34248</c:v>
                </c:pt>
                <c:pt idx="39297">
                  <c:v>34247</c:v>
                </c:pt>
                <c:pt idx="39298">
                  <c:v>34247</c:v>
                </c:pt>
                <c:pt idx="39299">
                  <c:v>34247</c:v>
                </c:pt>
                <c:pt idx="39300">
                  <c:v>34246</c:v>
                </c:pt>
                <c:pt idx="39301">
                  <c:v>34246</c:v>
                </c:pt>
                <c:pt idx="39302">
                  <c:v>34246</c:v>
                </c:pt>
                <c:pt idx="39303">
                  <c:v>34246</c:v>
                </c:pt>
                <c:pt idx="39304">
                  <c:v>34246</c:v>
                </c:pt>
                <c:pt idx="39305">
                  <c:v>34245</c:v>
                </c:pt>
                <c:pt idx="39306">
                  <c:v>34245</c:v>
                </c:pt>
                <c:pt idx="39307">
                  <c:v>34245</c:v>
                </c:pt>
                <c:pt idx="39308">
                  <c:v>34245</c:v>
                </c:pt>
                <c:pt idx="39309">
                  <c:v>34245</c:v>
                </c:pt>
                <c:pt idx="39310">
                  <c:v>34245</c:v>
                </c:pt>
                <c:pt idx="39311">
                  <c:v>34245</c:v>
                </c:pt>
                <c:pt idx="39312">
                  <c:v>34245</c:v>
                </c:pt>
                <c:pt idx="39313">
                  <c:v>34244</c:v>
                </c:pt>
                <c:pt idx="39314">
                  <c:v>34244</c:v>
                </c:pt>
                <c:pt idx="39315">
                  <c:v>34244</c:v>
                </c:pt>
                <c:pt idx="39316">
                  <c:v>34244</c:v>
                </c:pt>
                <c:pt idx="39317">
                  <c:v>34244</c:v>
                </c:pt>
                <c:pt idx="39318">
                  <c:v>34244</c:v>
                </c:pt>
                <c:pt idx="39319">
                  <c:v>34243</c:v>
                </c:pt>
                <c:pt idx="39320">
                  <c:v>34243</c:v>
                </c:pt>
                <c:pt idx="39321">
                  <c:v>34243</c:v>
                </c:pt>
                <c:pt idx="39322">
                  <c:v>34243</c:v>
                </c:pt>
                <c:pt idx="39323">
                  <c:v>34243</c:v>
                </c:pt>
                <c:pt idx="39324">
                  <c:v>34243</c:v>
                </c:pt>
                <c:pt idx="39325">
                  <c:v>34243</c:v>
                </c:pt>
                <c:pt idx="39326">
                  <c:v>34243</c:v>
                </c:pt>
                <c:pt idx="39327">
                  <c:v>34243</c:v>
                </c:pt>
                <c:pt idx="39328">
                  <c:v>34242</c:v>
                </c:pt>
                <c:pt idx="39329">
                  <c:v>34242</c:v>
                </c:pt>
                <c:pt idx="39330">
                  <c:v>34242</c:v>
                </c:pt>
                <c:pt idx="39331">
                  <c:v>34242</c:v>
                </c:pt>
                <c:pt idx="39332">
                  <c:v>34242</c:v>
                </c:pt>
                <c:pt idx="39333">
                  <c:v>34242</c:v>
                </c:pt>
                <c:pt idx="39334">
                  <c:v>34241</c:v>
                </c:pt>
                <c:pt idx="39335">
                  <c:v>34241</c:v>
                </c:pt>
                <c:pt idx="39336">
                  <c:v>34241</c:v>
                </c:pt>
                <c:pt idx="39337">
                  <c:v>34241</c:v>
                </c:pt>
                <c:pt idx="39338">
                  <c:v>34241</c:v>
                </c:pt>
                <c:pt idx="39339">
                  <c:v>34241</c:v>
                </c:pt>
                <c:pt idx="39340">
                  <c:v>34241</c:v>
                </c:pt>
                <c:pt idx="39341">
                  <c:v>34240</c:v>
                </c:pt>
                <c:pt idx="39342">
                  <c:v>34240</c:v>
                </c:pt>
                <c:pt idx="39343">
                  <c:v>34240</c:v>
                </c:pt>
                <c:pt idx="39344">
                  <c:v>34240</c:v>
                </c:pt>
                <c:pt idx="39345">
                  <c:v>34239</c:v>
                </c:pt>
                <c:pt idx="39346">
                  <c:v>34239</c:v>
                </c:pt>
                <c:pt idx="39347">
                  <c:v>34239</c:v>
                </c:pt>
                <c:pt idx="39348">
                  <c:v>34239</c:v>
                </c:pt>
                <c:pt idx="39349">
                  <c:v>34239</c:v>
                </c:pt>
                <c:pt idx="39350">
                  <c:v>34239</c:v>
                </c:pt>
                <c:pt idx="39351">
                  <c:v>34239</c:v>
                </c:pt>
                <c:pt idx="39352">
                  <c:v>34239</c:v>
                </c:pt>
                <c:pt idx="39353">
                  <c:v>34239</c:v>
                </c:pt>
                <c:pt idx="39354">
                  <c:v>34239</c:v>
                </c:pt>
                <c:pt idx="39355">
                  <c:v>34239</c:v>
                </c:pt>
                <c:pt idx="39356">
                  <c:v>34238</c:v>
                </c:pt>
                <c:pt idx="39357">
                  <c:v>34238</c:v>
                </c:pt>
                <c:pt idx="39358">
                  <c:v>34238</c:v>
                </c:pt>
                <c:pt idx="39359">
                  <c:v>34238</c:v>
                </c:pt>
                <c:pt idx="39360">
                  <c:v>34238</c:v>
                </c:pt>
                <c:pt idx="39361">
                  <c:v>34238</c:v>
                </c:pt>
                <c:pt idx="39362">
                  <c:v>34238</c:v>
                </c:pt>
                <c:pt idx="39363">
                  <c:v>34238</c:v>
                </c:pt>
                <c:pt idx="39364">
                  <c:v>34238</c:v>
                </c:pt>
                <c:pt idx="39365">
                  <c:v>34237</c:v>
                </c:pt>
                <c:pt idx="39366">
                  <c:v>34237</c:v>
                </c:pt>
                <c:pt idx="39367">
                  <c:v>34237</c:v>
                </c:pt>
                <c:pt idx="39368">
                  <c:v>34237</c:v>
                </c:pt>
                <c:pt idx="39369">
                  <c:v>34237</c:v>
                </c:pt>
                <c:pt idx="39370">
                  <c:v>34237</c:v>
                </c:pt>
                <c:pt idx="39371">
                  <c:v>34237</c:v>
                </c:pt>
                <c:pt idx="39372">
                  <c:v>34237</c:v>
                </c:pt>
                <c:pt idx="39373">
                  <c:v>34236</c:v>
                </c:pt>
                <c:pt idx="39374">
                  <c:v>34236</c:v>
                </c:pt>
                <c:pt idx="39375">
                  <c:v>34236</c:v>
                </c:pt>
                <c:pt idx="39376">
                  <c:v>34236</c:v>
                </c:pt>
                <c:pt idx="39377">
                  <c:v>34235</c:v>
                </c:pt>
                <c:pt idx="39378">
                  <c:v>34235</c:v>
                </c:pt>
                <c:pt idx="39379">
                  <c:v>34235</c:v>
                </c:pt>
                <c:pt idx="39380">
                  <c:v>34235</c:v>
                </c:pt>
                <c:pt idx="39381">
                  <c:v>34235</c:v>
                </c:pt>
                <c:pt idx="39382">
                  <c:v>34235</c:v>
                </c:pt>
                <c:pt idx="39383">
                  <c:v>34235</c:v>
                </c:pt>
                <c:pt idx="39384">
                  <c:v>34234</c:v>
                </c:pt>
                <c:pt idx="39385">
                  <c:v>34234</c:v>
                </c:pt>
                <c:pt idx="39386">
                  <c:v>34234</c:v>
                </c:pt>
                <c:pt idx="39387">
                  <c:v>34234</c:v>
                </c:pt>
                <c:pt idx="39388">
                  <c:v>34234</c:v>
                </c:pt>
                <c:pt idx="39389">
                  <c:v>34234</c:v>
                </c:pt>
                <c:pt idx="39390">
                  <c:v>34234</c:v>
                </c:pt>
                <c:pt idx="39391">
                  <c:v>34234</c:v>
                </c:pt>
                <c:pt idx="39392">
                  <c:v>34233</c:v>
                </c:pt>
                <c:pt idx="39393">
                  <c:v>34233</c:v>
                </c:pt>
                <c:pt idx="39394">
                  <c:v>34233</c:v>
                </c:pt>
                <c:pt idx="39395">
                  <c:v>34233</c:v>
                </c:pt>
                <c:pt idx="39396">
                  <c:v>34233</c:v>
                </c:pt>
                <c:pt idx="39397">
                  <c:v>34233</c:v>
                </c:pt>
                <c:pt idx="39398">
                  <c:v>34233</c:v>
                </c:pt>
                <c:pt idx="39399">
                  <c:v>34232</c:v>
                </c:pt>
                <c:pt idx="39400">
                  <c:v>34232</c:v>
                </c:pt>
                <c:pt idx="39401">
                  <c:v>34232</c:v>
                </c:pt>
                <c:pt idx="39402">
                  <c:v>34232</c:v>
                </c:pt>
                <c:pt idx="39403">
                  <c:v>34232</c:v>
                </c:pt>
                <c:pt idx="39404">
                  <c:v>34232</c:v>
                </c:pt>
                <c:pt idx="39405">
                  <c:v>34232</c:v>
                </c:pt>
                <c:pt idx="39406">
                  <c:v>34232</c:v>
                </c:pt>
                <c:pt idx="39407">
                  <c:v>34231</c:v>
                </c:pt>
                <c:pt idx="39408">
                  <c:v>34231</c:v>
                </c:pt>
                <c:pt idx="39409">
                  <c:v>34231</c:v>
                </c:pt>
                <c:pt idx="39410">
                  <c:v>34231</c:v>
                </c:pt>
                <c:pt idx="39411">
                  <c:v>34231</c:v>
                </c:pt>
                <c:pt idx="39412">
                  <c:v>34231</c:v>
                </c:pt>
                <c:pt idx="39413">
                  <c:v>34231</c:v>
                </c:pt>
                <c:pt idx="39414">
                  <c:v>34230</c:v>
                </c:pt>
                <c:pt idx="39415">
                  <c:v>34230</c:v>
                </c:pt>
                <c:pt idx="39416">
                  <c:v>34230</c:v>
                </c:pt>
                <c:pt idx="39417">
                  <c:v>34230</c:v>
                </c:pt>
                <c:pt idx="39418">
                  <c:v>34230</c:v>
                </c:pt>
                <c:pt idx="39419">
                  <c:v>34229</c:v>
                </c:pt>
                <c:pt idx="39420">
                  <c:v>34229</c:v>
                </c:pt>
                <c:pt idx="39421">
                  <c:v>34229</c:v>
                </c:pt>
                <c:pt idx="39422">
                  <c:v>34229</c:v>
                </c:pt>
                <c:pt idx="39423">
                  <c:v>34229</c:v>
                </c:pt>
                <c:pt idx="39424">
                  <c:v>34229</c:v>
                </c:pt>
                <c:pt idx="39425">
                  <c:v>34229</c:v>
                </c:pt>
                <c:pt idx="39426">
                  <c:v>34228</c:v>
                </c:pt>
                <c:pt idx="39427">
                  <c:v>34228</c:v>
                </c:pt>
                <c:pt idx="39428">
                  <c:v>34228</c:v>
                </c:pt>
                <c:pt idx="39429">
                  <c:v>34228</c:v>
                </c:pt>
                <c:pt idx="39430">
                  <c:v>34228</c:v>
                </c:pt>
                <c:pt idx="39431">
                  <c:v>34227</c:v>
                </c:pt>
                <c:pt idx="39432">
                  <c:v>34227</c:v>
                </c:pt>
                <c:pt idx="39433">
                  <c:v>34227</c:v>
                </c:pt>
                <c:pt idx="39434">
                  <c:v>34227</c:v>
                </c:pt>
                <c:pt idx="39435">
                  <c:v>34227</c:v>
                </c:pt>
                <c:pt idx="39436">
                  <c:v>34227</c:v>
                </c:pt>
                <c:pt idx="39437">
                  <c:v>34227</c:v>
                </c:pt>
                <c:pt idx="39438">
                  <c:v>34226</c:v>
                </c:pt>
                <c:pt idx="39439">
                  <c:v>34226</c:v>
                </c:pt>
                <c:pt idx="39440">
                  <c:v>34226</c:v>
                </c:pt>
                <c:pt idx="39441">
                  <c:v>34226</c:v>
                </c:pt>
                <c:pt idx="39442">
                  <c:v>34226</c:v>
                </c:pt>
                <c:pt idx="39443">
                  <c:v>34226</c:v>
                </c:pt>
                <c:pt idx="39444">
                  <c:v>34226</c:v>
                </c:pt>
                <c:pt idx="39445">
                  <c:v>34226</c:v>
                </c:pt>
                <c:pt idx="39446">
                  <c:v>34225</c:v>
                </c:pt>
                <c:pt idx="39447">
                  <c:v>34225</c:v>
                </c:pt>
                <c:pt idx="39448">
                  <c:v>34225</c:v>
                </c:pt>
                <c:pt idx="39449">
                  <c:v>34225</c:v>
                </c:pt>
                <c:pt idx="39450">
                  <c:v>34225</c:v>
                </c:pt>
                <c:pt idx="39451">
                  <c:v>34225</c:v>
                </c:pt>
                <c:pt idx="39452">
                  <c:v>34225</c:v>
                </c:pt>
                <c:pt idx="39453">
                  <c:v>34225</c:v>
                </c:pt>
                <c:pt idx="39454">
                  <c:v>34225</c:v>
                </c:pt>
                <c:pt idx="39455">
                  <c:v>34225</c:v>
                </c:pt>
                <c:pt idx="39456">
                  <c:v>34225</c:v>
                </c:pt>
                <c:pt idx="39457">
                  <c:v>34225</c:v>
                </c:pt>
                <c:pt idx="39458">
                  <c:v>34224</c:v>
                </c:pt>
                <c:pt idx="39459">
                  <c:v>34224</c:v>
                </c:pt>
                <c:pt idx="39460">
                  <c:v>34223</c:v>
                </c:pt>
                <c:pt idx="39461">
                  <c:v>34223</c:v>
                </c:pt>
                <c:pt idx="39462">
                  <c:v>34223</c:v>
                </c:pt>
                <c:pt idx="39463">
                  <c:v>34223</c:v>
                </c:pt>
                <c:pt idx="39464">
                  <c:v>34223</c:v>
                </c:pt>
                <c:pt idx="39465">
                  <c:v>34222</c:v>
                </c:pt>
                <c:pt idx="39466">
                  <c:v>34222</c:v>
                </c:pt>
                <c:pt idx="39467">
                  <c:v>34222</c:v>
                </c:pt>
                <c:pt idx="39468">
                  <c:v>34222</c:v>
                </c:pt>
                <c:pt idx="39469">
                  <c:v>34222</c:v>
                </c:pt>
                <c:pt idx="39470">
                  <c:v>34222</c:v>
                </c:pt>
                <c:pt idx="39471">
                  <c:v>34222</c:v>
                </c:pt>
                <c:pt idx="39472">
                  <c:v>34222</c:v>
                </c:pt>
                <c:pt idx="39473">
                  <c:v>34221</c:v>
                </c:pt>
                <c:pt idx="39474">
                  <c:v>34221</c:v>
                </c:pt>
                <c:pt idx="39475">
                  <c:v>34221</c:v>
                </c:pt>
                <c:pt idx="39476">
                  <c:v>34221</c:v>
                </c:pt>
                <c:pt idx="39477">
                  <c:v>34221</c:v>
                </c:pt>
                <c:pt idx="39478">
                  <c:v>34221</c:v>
                </c:pt>
                <c:pt idx="39479">
                  <c:v>34221</c:v>
                </c:pt>
                <c:pt idx="39480">
                  <c:v>34221</c:v>
                </c:pt>
                <c:pt idx="39481">
                  <c:v>34221</c:v>
                </c:pt>
                <c:pt idx="39482">
                  <c:v>34221</c:v>
                </c:pt>
                <c:pt idx="39483">
                  <c:v>34221</c:v>
                </c:pt>
                <c:pt idx="39484">
                  <c:v>34221</c:v>
                </c:pt>
                <c:pt idx="39485">
                  <c:v>34221</c:v>
                </c:pt>
                <c:pt idx="39486">
                  <c:v>34221</c:v>
                </c:pt>
                <c:pt idx="39487">
                  <c:v>34220</c:v>
                </c:pt>
                <c:pt idx="39488">
                  <c:v>34220</c:v>
                </c:pt>
                <c:pt idx="39489">
                  <c:v>34220</c:v>
                </c:pt>
                <c:pt idx="39490">
                  <c:v>34219</c:v>
                </c:pt>
                <c:pt idx="39491">
                  <c:v>34219</c:v>
                </c:pt>
                <c:pt idx="39492">
                  <c:v>34219</c:v>
                </c:pt>
                <c:pt idx="39493">
                  <c:v>34219</c:v>
                </c:pt>
                <c:pt idx="39494">
                  <c:v>34219</c:v>
                </c:pt>
                <c:pt idx="39495">
                  <c:v>34219</c:v>
                </c:pt>
                <c:pt idx="39496">
                  <c:v>34219</c:v>
                </c:pt>
                <c:pt idx="39497">
                  <c:v>34218</c:v>
                </c:pt>
                <c:pt idx="39498">
                  <c:v>34218</c:v>
                </c:pt>
                <c:pt idx="39499">
                  <c:v>34218</c:v>
                </c:pt>
                <c:pt idx="39500">
                  <c:v>34218</c:v>
                </c:pt>
                <c:pt idx="39501">
                  <c:v>34218</c:v>
                </c:pt>
                <c:pt idx="39502">
                  <c:v>34218</c:v>
                </c:pt>
                <c:pt idx="39503">
                  <c:v>34218</c:v>
                </c:pt>
                <c:pt idx="39504">
                  <c:v>34217</c:v>
                </c:pt>
                <c:pt idx="39505">
                  <c:v>34217</c:v>
                </c:pt>
                <c:pt idx="39506">
                  <c:v>34217</c:v>
                </c:pt>
                <c:pt idx="39507">
                  <c:v>34217</c:v>
                </c:pt>
                <c:pt idx="39508">
                  <c:v>34217</c:v>
                </c:pt>
                <c:pt idx="39509">
                  <c:v>34216</c:v>
                </c:pt>
                <c:pt idx="39510">
                  <c:v>34216</c:v>
                </c:pt>
                <c:pt idx="39511">
                  <c:v>34216</c:v>
                </c:pt>
                <c:pt idx="39512">
                  <c:v>34216</c:v>
                </c:pt>
                <c:pt idx="39513">
                  <c:v>34216</c:v>
                </c:pt>
                <c:pt idx="39514">
                  <c:v>34216</c:v>
                </c:pt>
                <c:pt idx="39515">
                  <c:v>34216</c:v>
                </c:pt>
                <c:pt idx="39516">
                  <c:v>34215</c:v>
                </c:pt>
                <c:pt idx="39517">
                  <c:v>34215</c:v>
                </c:pt>
                <c:pt idx="39518">
                  <c:v>34215</c:v>
                </c:pt>
                <c:pt idx="39519">
                  <c:v>34215</c:v>
                </c:pt>
                <c:pt idx="39520">
                  <c:v>34215</c:v>
                </c:pt>
                <c:pt idx="39521">
                  <c:v>34214</c:v>
                </c:pt>
                <c:pt idx="39522">
                  <c:v>34214</c:v>
                </c:pt>
                <c:pt idx="39523">
                  <c:v>34214</c:v>
                </c:pt>
                <c:pt idx="39524">
                  <c:v>34214</c:v>
                </c:pt>
                <c:pt idx="39525">
                  <c:v>34214</c:v>
                </c:pt>
                <c:pt idx="39526">
                  <c:v>34214</c:v>
                </c:pt>
                <c:pt idx="39527">
                  <c:v>34213</c:v>
                </c:pt>
                <c:pt idx="39528">
                  <c:v>34213</c:v>
                </c:pt>
                <c:pt idx="39529">
                  <c:v>34213</c:v>
                </c:pt>
                <c:pt idx="39530">
                  <c:v>34213</c:v>
                </c:pt>
                <c:pt idx="39531">
                  <c:v>34213</c:v>
                </c:pt>
                <c:pt idx="39532">
                  <c:v>34213</c:v>
                </c:pt>
                <c:pt idx="39533">
                  <c:v>34212</c:v>
                </c:pt>
                <c:pt idx="39534">
                  <c:v>34212</c:v>
                </c:pt>
                <c:pt idx="39535">
                  <c:v>34211</c:v>
                </c:pt>
                <c:pt idx="39536">
                  <c:v>34211</c:v>
                </c:pt>
                <c:pt idx="39537">
                  <c:v>34211</c:v>
                </c:pt>
                <c:pt idx="39538">
                  <c:v>34210</c:v>
                </c:pt>
                <c:pt idx="39539">
                  <c:v>34210</c:v>
                </c:pt>
                <c:pt idx="39540">
                  <c:v>34210</c:v>
                </c:pt>
                <c:pt idx="39541">
                  <c:v>34210</c:v>
                </c:pt>
                <c:pt idx="39542">
                  <c:v>34210</c:v>
                </c:pt>
                <c:pt idx="39543">
                  <c:v>34210</c:v>
                </c:pt>
                <c:pt idx="39544">
                  <c:v>34210</c:v>
                </c:pt>
                <c:pt idx="39545">
                  <c:v>34209</c:v>
                </c:pt>
                <c:pt idx="39546">
                  <c:v>34209</c:v>
                </c:pt>
                <c:pt idx="39547">
                  <c:v>34209</c:v>
                </c:pt>
                <c:pt idx="39548">
                  <c:v>34209</c:v>
                </c:pt>
                <c:pt idx="39549">
                  <c:v>34209</c:v>
                </c:pt>
                <c:pt idx="39550">
                  <c:v>34209</c:v>
                </c:pt>
                <c:pt idx="39551">
                  <c:v>34209</c:v>
                </c:pt>
                <c:pt idx="39552">
                  <c:v>34209</c:v>
                </c:pt>
                <c:pt idx="39553">
                  <c:v>34208</c:v>
                </c:pt>
                <c:pt idx="39554">
                  <c:v>34208</c:v>
                </c:pt>
                <c:pt idx="39555">
                  <c:v>34208</c:v>
                </c:pt>
                <c:pt idx="39556">
                  <c:v>34208</c:v>
                </c:pt>
                <c:pt idx="39557">
                  <c:v>34208</c:v>
                </c:pt>
                <c:pt idx="39558">
                  <c:v>34208</c:v>
                </c:pt>
                <c:pt idx="39559">
                  <c:v>34208</c:v>
                </c:pt>
                <c:pt idx="39560">
                  <c:v>34208</c:v>
                </c:pt>
                <c:pt idx="39561">
                  <c:v>34207</c:v>
                </c:pt>
                <c:pt idx="39562">
                  <c:v>34207</c:v>
                </c:pt>
                <c:pt idx="39563">
                  <c:v>34207</c:v>
                </c:pt>
                <c:pt idx="39564">
                  <c:v>34207</c:v>
                </c:pt>
                <c:pt idx="39565">
                  <c:v>34206</c:v>
                </c:pt>
                <c:pt idx="39566">
                  <c:v>34206</c:v>
                </c:pt>
                <c:pt idx="39567">
                  <c:v>34206</c:v>
                </c:pt>
                <c:pt idx="39568">
                  <c:v>34206</c:v>
                </c:pt>
                <c:pt idx="39569">
                  <c:v>34206</c:v>
                </c:pt>
                <c:pt idx="39570">
                  <c:v>34206</c:v>
                </c:pt>
                <c:pt idx="39571">
                  <c:v>34205</c:v>
                </c:pt>
                <c:pt idx="39572">
                  <c:v>34205</c:v>
                </c:pt>
                <c:pt idx="39573">
                  <c:v>34205</c:v>
                </c:pt>
                <c:pt idx="39574">
                  <c:v>34205</c:v>
                </c:pt>
                <c:pt idx="39575">
                  <c:v>34205</c:v>
                </c:pt>
                <c:pt idx="39576">
                  <c:v>34204</c:v>
                </c:pt>
                <c:pt idx="39577">
                  <c:v>34204</c:v>
                </c:pt>
                <c:pt idx="39578">
                  <c:v>34204</c:v>
                </c:pt>
                <c:pt idx="39579">
                  <c:v>34203</c:v>
                </c:pt>
                <c:pt idx="39580">
                  <c:v>34203</c:v>
                </c:pt>
                <c:pt idx="39581">
                  <c:v>34203</c:v>
                </c:pt>
                <c:pt idx="39582">
                  <c:v>34203</c:v>
                </c:pt>
                <c:pt idx="39583">
                  <c:v>34203</c:v>
                </c:pt>
                <c:pt idx="39584">
                  <c:v>34203</c:v>
                </c:pt>
                <c:pt idx="39585">
                  <c:v>34203</c:v>
                </c:pt>
                <c:pt idx="39586">
                  <c:v>34202</c:v>
                </c:pt>
                <c:pt idx="39587">
                  <c:v>34202</c:v>
                </c:pt>
                <c:pt idx="39588">
                  <c:v>34202</c:v>
                </c:pt>
                <c:pt idx="39589">
                  <c:v>34202</c:v>
                </c:pt>
                <c:pt idx="39590">
                  <c:v>34201</c:v>
                </c:pt>
                <c:pt idx="39591">
                  <c:v>34201</c:v>
                </c:pt>
                <c:pt idx="39592">
                  <c:v>34201</c:v>
                </c:pt>
                <c:pt idx="39593">
                  <c:v>34201</c:v>
                </c:pt>
                <c:pt idx="39594">
                  <c:v>34201</c:v>
                </c:pt>
                <c:pt idx="39595">
                  <c:v>34201</c:v>
                </c:pt>
                <c:pt idx="39596">
                  <c:v>34201</c:v>
                </c:pt>
                <c:pt idx="39597">
                  <c:v>34200</c:v>
                </c:pt>
                <c:pt idx="39598">
                  <c:v>34200</c:v>
                </c:pt>
                <c:pt idx="39599">
                  <c:v>34200</c:v>
                </c:pt>
                <c:pt idx="39600">
                  <c:v>34200</c:v>
                </c:pt>
                <c:pt idx="39601">
                  <c:v>34199</c:v>
                </c:pt>
                <c:pt idx="39602">
                  <c:v>34199</c:v>
                </c:pt>
                <c:pt idx="39603">
                  <c:v>34199</c:v>
                </c:pt>
                <c:pt idx="39604">
                  <c:v>34199</c:v>
                </c:pt>
                <c:pt idx="39605">
                  <c:v>34199</c:v>
                </c:pt>
                <c:pt idx="39606">
                  <c:v>34198</c:v>
                </c:pt>
                <c:pt idx="39607">
                  <c:v>34198</c:v>
                </c:pt>
                <c:pt idx="39608">
                  <c:v>34198</c:v>
                </c:pt>
                <c:pt idx="39609">
                  <c:v>34197</c:v>
                </c:pt>
                <c:pt idx="39610">
                  <c:v>34197</c:v>
                </c:pt>
                <c:pt idx="39611">
                  <c:v>34197</c:v>
                </c:pt>
                <c:pt idx="39612">
                  <c:v>34197</c:v>
                </c:pt>
                <c:pt idx="39613">
                  <c:v>34197</c:v>
                </c:pt>
                <c:pt idx="39614">
                  <c:v>34197</c:v>
                </c:pt>
                <c:pt idx="39615">
                  <c:v>34197</c:v>
                </c:pt>
                <c:pt idx="39616">
                  <c:v>34197</c:v>
                </c:pt>
                <c:pt idx="39617">
                  <c:v>34197</c:v>
                </c:pt>
                <c:pt idx="39618">
                  <c:v>34196</c:v>
                </c:pt>
                <c:pt idx="39619">
                  <c:v>34196</c:v>
                </c:pt>
                <c:pt idx="39620">
                  <c:v>34196</c:v>
                </c:pt>
                <c:pt idx="39621">
                  <c:v>34196</c:v>
                </c:pt>
                <c:pt idx="39622">
                  <c:v>34196</c:v>
                </c:pt>
                <c:pt idx="39623">
                  <c:v>34196</c:v>
                </c:pt>
                <c:pt idx="39624">
                  <c:v>34196</c:v>
                </c:pt>
                <c:pt idx="39625">
                  <c:v>34195</c:v>
                </c:pt>
                <c:pt idx="39626">
                  <c:v>34195</c:v>
                </c:pt>
                <c:pt idx="39627">
                  <c:v>34195</c:v>
                </c:pt>
                <c:pt idx="39628">
                  <c:v>34195</c:v>
                </c:pt>
                <c:pt idx="39629">
                  <c:v>34195</c:v>
                </c:pt>
                <c:pt idx="39630">
                  <c:v>34195</c:v>
                </c:pt>
                <c:pt idx="39631">
                  <c:v>34195</c:v>
                </c:pt>
                <c:pt idx="39632">
                  <c:v>34195</c:v>
                </c:pt>
                <c:pt idx="39633">
                  <c:v>34194</c:v>
                </c:pt>
                <c:pt idx="39634">
                  <c:v>34194</c:v>
                </c:pt>
                <c:pt idx="39635">
                  <c:v>34194</c:v>
                </c:pt>
                <c:pt idx="39636">
                  <c:v>34194</c:v>
                </c:pt>
                <c:pt idx="39637">
                  <c:v>34194</c:v>
                </c:pt>
                <c:pt idx="39638">
                  <c:v>34194</c:v>
                </c:pt>
                <c:pt idx="39639">
                  <c:v>34194</c:v>
                </c:pt>
                <c:pt idx="39640">
                  <c:v>34193</c:v>
                </c:pt>
                <c:pt idx="39641">
                  <c:v>34193</c:v>
                </c:pt>
                <c:pt idx="39642">
                  <c:v>34193</c:v>
                </c:pt>
                <c:pt idx="39643">
                  <c:v>34193</c:v>
                </c:pt>
                <c:pt idx="39644">
                  <c:v>34193</c:v>
                </c:pt>
                <c:pt idx="39645">
                  <c:v>34193</c:v>
                </c:pt>
                <c:pt idx="39646">
                  <c:v>34193</c:v>
                </c:pt>
                <c:pt idx="39647">
                  <c:v>34192</c:v>
                </c:pt>
                <c:pt idx="39648">
                  <c:v>34192</c:v>
                </c:pt>
                <c:pt idx="39649">
                  <c:v>34192</c:v>
                </c:pt>
                <c:pt idx="39650">
                  <c:v>34192</c:v>
                </c:pt>
                <c:pt idx="39651">
                  <c:v>34192</c:v>
                </c:pt>
                <c:pt idx="39652">
                  <c:v>34192</c:v>
                </c:pt>
                <c:pt idx="39653">
                  <c:v>34192</c:v>
                </c:pt>
                <c:pt idx="39654">
                  <c:v>34192</c:v>
                </c:pt>
                <c:pt idx="39655">
                  <c:v>34191</c:v>
                </c:pt>
                <c:pt idx="39656">
                  <c:v>34191</c:v>
                </c:pt>
                <c:pt idx="39657">
                  <c:v>34191</c:v>
                </c:pt>
                <c:pt idx="39658">
                  <c:v>34191</c:v>
                </c:pt>
                <c:pt idx="39659">
                  <c:v>34191</c:v>
                </c:pt>
                <c:pt idx="39660">
                  <c:v>34191</c:v>
                </c:pt>
                <c:pt idx="39661">
                  <c:v>34191</c:v>
                </c:pt>
                <c:pt idx="39662">
                  <c:v>34191</c:v>
                </c:pt>
                <c:pt idx="39663">
                  <c:v>34190</c:v>
                </c:pt>
                <c:pt idx="39664">
                  <c:v>34190</c:v>
                </c:pt>
                <c:pt idx="39665">
                  <c:v>34190</c:v>
                </c:pt>
                <c:pt idx="39666">
                  <c:v>34190</c:v>
                </c:pt>
                <c:pt idx="39667">
                  <c:v>34190</c:v>
                </c:pt>
                <c:pt idx="39668">
                  <c:v>34190</c:v>
                </c:pt>
                <c:pt idx="39669">
                  <c:v>34189</c:v>
                </c:pt>
                <c:pt idx="39670">
                  <c:v>34189</c:v>
                </c:pt>
                <c:pt idx="39671">
                  <c:v>34189</c:v>
                </c:pt>
                <c:pt idx="39672">
                  <c:v>34189</c:v>
                </c:pt>
                <c:pt idx="39673">
                  <c:v>34189</c:v>
                </c:pt>
                <c:pt idx="39674">
                  <c:v>34189</c:v>
                </c:pt>
                <c:pt idx="39675">
                  <c:v>34188</c:v>
                </c:pt>
                <c:pt idx="39676">
                  <c:v>34188</c:v>
                </c:pt>
                <c:pt idx="39677">
                  <c:v>34188</c:v>
                </c:pt>
                <c:pt idx="39678">
                  <c:v>34188</c:v>
                </c:pt>
                <c:pt idx="39679">
                  <c:v>34188</c:v>
                </c:pt>
                <c:pt idx="39680">
                  <c:v>34188</c:v>
                </c:pt>
                <c:pt idx="39681">
                  <c:v>34188</c:v>
                </c:pt>
                <c:pt idx="39682">
                  <c:v>34188</c:v>
                </c:pt>
                <c:pt idx="39683">
                  <c:v>34188</c:v>
                </c:pt>
                <c:pt idx="39684">
                  <c:v>34187</c:v>
                </c:pt>
                <c:pt idx="39685">
                  <c:v>34187</c:v>
                </c:pt>
                <c:pt idx="39686">
                  <c:v>34187</c:v>
                </c:pt>
                <c:pt idx="39687">
                  <c:v>34187</c:v>
                </c:pt>
                <c:pt idx="39688">
                  <c:v>34186</c:v>
                </c:pt>
                <c:pt idx="39689">
                  <c:v>34186</c:v>
                </c:pt>
                <c:pt idx="39690">
                  <c:v>34186</c:v>
                </c:pt>
                <c:pt idx="39691">
                  <c:v>34186</c:v>
                </c:pt>
                <c:pt idx="39692">
                  <c:v>34186</c:v>
                </c:pt>
                <c:pt idx="39693">
                  <c:v>34186</c:v>
                </c:pt>
                <c:pt idx="39694">
                  <c:v>34186</c:v>
                </c:pt>
                <c:pt idx="39695">
                  <c:v>34186</c:v>
                </c:pt>
                <c:pt idx="39696">
                  <c:v>34185</c:v>
                </c:pt>
                <c:pt idx="39697">
                  <c:v>34185</c:v>
                </c:pt>
                <c:pt idx="39698">
                  <c:v>34185</c:v>
                </c:pt>
                <c:pt idx="39699">
                  <c:v>34185</c:v>
                </c:pt>
                <c:pt idx="39700">
                  <c:v>34185</c:v>
                </c:pt>
                <c:pt idx="39701">
                  <c:v>34185</c:v>
                </c:pt>
                <c:pt idx="39702">
                  <c:v>34185</c:v>
                </c:pt>
                <c:pt idx="39703">
                  <c:v>34184</c:v>
                </c:pt>
                <c:pt idx="39704">
                  <c:v>34184</c:v>
                </c:pt>
                <c:pt idx="39705">
                  <c:v>34184</c:v>
                </c:pt>
                <c:pt idx="39706">
                  <c:v>34184</c:v>
                </c:pt>
                <c:pt idx="39707">
                  <c:v>34183</c:v>
                </c:pt>
                <c:pt idx="39708">
                  <c:v>34183</c:v>
                </c:pt>
                <c:pt idx="39709">
                  <c:v>34183</c:v>
                </c:pt>
                <c:pt idx="39710">
                  <c:v>34183</c:v>
                </c:pt>
                <c:pt idx="39711">
                  <c:v>34183</c:v>
                </c:pt>
                <c:pt idx="39712">
                  <c:v>34183</c:v>
                </c:pt>
                <c:pt idx="39713">
                  <c:v>34183</c:v>
                </c:pt>
                <c:pt idx="39714">
                  <c:v>34183</c:v>
                </c:pt>
                <c:pt idx="39715">
                  <c:v>34182</c:v>
                </c:pt>
                <c:pt idx="39716">
                  <c:v>34182</c:v>
                </c:pt>
                <c:pt idx="39717">
                  <c:v>34182</c:v>
                </c:pt>
                <c:pt idx="39718">
                  <c:v>34182</c:v>
                </c:pt>
                <c:pt idx="39719">
                  <c:v>34182</c:v>
                </c:pt>
                <c:pt idx="39720">
                  <c:v>34182</c:v>
                </c:pt>
                <c:pt idx="39721">
                  <c:v>34182</c:v>
                </c:pt>
                <c:pt idx="39722">
                  <c:v>34181</c:v>
                </c:pt>
                <c:pt idx="39723">
                  <c:v>34181</c:v>
                </c:pt>
                <c:pt idx="39724">
                  <c:v>34181</c:v>
                </c:pt>
                <c:pt idx="39725">
                  <c:v>34181</c:v>
                </c:pt>
                <c:pt idx="39726">
                  <c:v>34181</c:v>
                </c:pt>
                <c:pt idx="39727">
                  <c:v>34181</c:v>
                </c:pt>
                <c:pt idx="39728">
                  <c:v>34180</c:v>
                </c:pt>
                <c:pt idx="39729">
                  <c:v>34180</c:v>
                </c:pt>
                <c:pt idx="39730">
                  <c:v>34180</c:v>
                </c:pt>
                <c:pt idx="39731">
                  <c:v>34180</c:v>
                </c:pt>
                <c:pt idx="39732">
                  <c:v>34180</c:v>
                </c:pt>
                <c:pt idx="39733">
                  <c:v>34179</c:v>
                </c:pt>
                <c:pt idx="39734">
                  <c:v>34179</c:v>
                </c:pt>
                <c:pt idx="39735">
                  <c:v>34179</c:v>
                </c:pt>
                <c:pt idx="39736">
                  <c:v>34179</c:v>
                </c:pt>
                <c:pt idx="39737">
                  <c:v>34179</c:v>
                </c:pt>
                <c:pt idx="39738">
                  <c:v>34179</c:v>
                </c:pt>
                <c:pt idx="39739">
                  <c:v>34179</c:v>
                </c:pt>
                <c:pt idx="39740">
                  <c:v>34179</c:v>
                </c:pt>
                <c:pt idx="39741">
                  <c:v>34179</c:v>
                </c:pt>
                <c:pt idx="39742">
                  <c:v>34178</c:v>
                </c:pt>
                <c:pt idx="39743">
                  <c:v>34178</c:v>
                </c:pt>
                <c:pt idx="39744">
                  <c:v>34178</c:v>
                </c:pt>
                <c:pt idx="39745">
                  <c:v>34178</c:v>
                </c:pt>
                <c:pt idx="39746">
                  <c:v>34178</c:v>
                </c:pt>
                <c:pt idx="39747">
                  <c:v>34177</c:v>
                </c:pt>
                <c:pt idx="39748">
                  <c:v>34177</c:v>
                </c:pt>
                <c:pt idx="39749">
                  <c:v>34177</c:v>
                </c:pt>
                <c:pt idx="39750">
                  <c:v>34177</c:v>
                </c:pt>
                <c:pt idx="39751">
                  <c:v>34176</c:v>
                </c:pt>
                <c:pt idx="39752">
                  <c:v>34176</c:v>
                </c:pt>
                <c:pt idx="39753">
                  <c:v>34176</c:v>
                </c:pt>
                <c:pt idx="39754">
                  <c:v>34175</c:v>
                </c:pt>
                <c:pt idx="39755">
                  <c:v>34175</c:v>
                </c:pt>
                <c:pt idx="39756">
                  <c:v>34175</c:v>
                </c:pt>
                <c:pt idx="39757">
                  <c:v>34175</c:v>
                </c:pt>
                <c:pt idx="39758">
                  <c:v>34175</c:v>
                </c:pt>
                <c:pt idx="39759">
                  <c:v>34175</c:v>
                </c:pt>
                <c:pt idx="39760">
                  <c:v>34175</c:v>
                </c:pt>
                <c:pt idx="39761">
                  <c:v>34174</c:v>
                </c:pt>
                <c:pt idx="39762">
                  <c:v>34174</c:v>
                </c:pt>
                <c:pt idx="39763">
                  <c:v>34174</c:v>
                </c:pt>
                <c:pt idx="39764">
                  <c:v>34174</c:v>
                </c:pt>
                <c:pt idx="39765">
                  <c:v>34173</c:v>
                </c:pt>
                <c:pt idx="39766">
                  <c:v>34173</c:v>
                </c:pt>
                <c:pt idx="39767">
                  <c:v>34173</c:v>
                </c:pt>
                <c:pt idx="39768">
                  <c:v>34173</c:v>
                </c:pt>
                <c:pt idx="39769">
                  <c:v>34172</c:v>
                </c:pt>
                <c:pt idx="39770">
                  <c:v>34172</c:v>
                </c:pt>
                <c:pt idx="39771">
                  <c:v>34172</c:v>
                </c:pt>
                <c:pt idx="39772">
                  <c:v>34172</c:v>
                </c:pt>
                <c:pt idx="39773">
                  <c:v>34172</c:v>
                </c:pt>
                <c:pt idx="39774">
                  <c:v>34172</c:v>
                </c:pt>
                <c:pt idx="39775">
                  <c:v>34172</c:v>
                </c:pt>
                <c:pt idx="39776">
                  <c:v>34172</c:v>
                </c:pt>
                <c:pt idx="39777">
                  <c:v>34171</c:v>
                </c:pt>
                <c:pt idx="39778">
                  <c:v>34171</c:v>
                </c:pt>
                <c:pt idx="39779">
                  <c:v>34171</c:v>
                </c:pt>
                <c:pt idx="39780">
                  <c:v>34171</c:v>
                </c:pt>
                <c:pt idx="39781">
                  <c:v>34170</c:v>
                </c:pt>
                <c:pt idx="39782">
                  <c:v>34170</c:v>
                </c:pt>
                <c:pt idx="39783">
                  <c:v>34170</c:v>
                </c:pt>
                <c:pt idx="39784">
                  <c:v>34170</c:v>
                </c:pt>
                <c:pt idx="39785">
                  <c:v>34170</c:v>
                </c:pt>
                <c:pt idx="39786">
                  <c:v>34169</c:v>
                </c:pt>
                <c:pt idx="39787">
                  <c:v>34169</c:v>
                </c:pt>
                <c:pt idx="39788">
                  <c:v>34169</c:v>
                </c:pt>
                <c:pt idx="39789">
                  <c:v>34169</c:v>
                </c:pt>
                <c:pt idx="39790">
                  <c:v>34169</c:v>
                </c:pt>
                <c:pt idx="39791">
                  <c:v>34168</c:v>
                </c:pt>
                <c:pt idx="39792">
                  <c:v>34168</c:v>
                </c:pt>
                <c:pt idx="39793">
                  <c:v>34168</c:v>
                </c:pt>
                <c:pt idx="39794">
                  <c:v>34168</c:v>
                </c:pt>
                <c:pt idx="39795">
                  <c:v>34168</c:v>
                </c:pt>
                <c:pt idx="39796">
                  <c:v>34168</c:v>
                </c:pt>
                <c:pt idx="39797">
                  <c:v>34168</c:v>
                </c:pt>
                <c:pt idx="39798">
                  <c:v>34167</c:v>
                </c:pt>
                <c:pt idx="39799">
                  <c:v>34167</c:v>
                </c:pt>
                <c:pt idx="39800">
                  <c:v>34167</c:v>
                </c:pt>
                <c:pt idx="39801">
                  <c:v>34167</c:v>
                </c:pt>
                <c:pt idx="39802">
                  <c:v>34167</c:v>
                </c:pt>
                <c:pt idx="39803">
                  <c:v>34167</c:v>
                </c:pt>
                <c:pt idx="39804">
                  <c:v>34167</c:v>
                </c:pt>
                <c:pt idx="39805">
                  <c:v>34167</c:v>
                </c:pt>
                <c:pt idx="39806">
                  <c:v>34166</c:v>
                </c:pt>
                <c:pt idx="39807">
                  <c:v>34166</c:v>
                </c:pt>
                <c:pt idx="39808">
                  <c:v>34166</c:v>
                </c:pt>
                <c:pt idx="39809">
                  <c:v>34166</c:v>
                </c:pt>
                <c:pt idx="39810">
                  <c:v>34166</c:v>
                </c:pt>
                <c:pt idx="39811">
                  <c:v>34166</c:v>
                </c:pt>
                <c:pt idx="39812">
                  <c:v>34166</c:v>
                </c:pt>
                <c:pt idx="39813">
                  <c:v>34166</c:v>
                </c:pt>
                <c:pt idx="39814">
                  <c:v>34166</c:v>
                </c:pt>
                <c:pt idx="39815">
                  <c:v>34165</c:v>
                </c:pt>
                <c:pt idx="39816">
                  <c:v>34165</c:v>
                </c:pt>
                <c:pt idx="39817">
                  <c:v>34165</c:v>
                </c:pt>
                <c:pt idx="39818">
                  <c:v>34164</c:v>
                </c:pt>
                <c:pt idx="39819">
                  <c:v>34164</c:v>
                </c:pt>
                <c:pt idx="39820">
                  <c:v>34164</c:v>
                </c:pt>
                <c:pt idx="39821">
                  <c:v>34164</c:v>
                </c:pt>
                <c:pt idx="39822">
                  <c:v>34164</c:v>
                </c:pt>
                <c:pt idx="39823">
                  <c:v>34164</c:v>
                </c:pt>
                <c:pt idx="39824">
                  <c:v>34164</c:v>
                </c:pt>
                <c:pt idx="39825">
                  <c:v>34164</c:v>
                </c:pt>
                <c:pt idx="39826">
                  <c:v>34164</c:v>
                </c:pt>
                <c:pt idx="39827">
                  <c:v>34164</c:v>
                </c:pt>
                <c:pt idx="39828">
                  <c:v>34164</c:v>
                </c:pt>
                <c:pt idx="39829">
                  <c:v>34163</c:v>
                </c:pt>
                <c:pt idx="39830">
                  <c:v>34163</c:v>
                </c:pt>
                <c:pt idx="39831">
                  <c:v>34163</c:v>
                </c:pt>
                <c:pt idx="39832">
                  <c:v>34163</c:v>
                </c:pt>
                <c:pt idx="39833">
                  <c:v>34162</c:v>
                </c:pt>
                <c:pt idx="39834">
                  <c:v>34162</c:v>
                </c:pt>
                <c:pt idx="39835">
                  <c:v>34162</c:v>
                </c:pt>
                <c:pt idx="39836">
                  <c:v>34162</c:v>
                </c:pt>
                <c:pt idx="39837">
                  <c:v>34162</c:v>
                </c:pt>
                <c:pt idx="39838">
                  <c:v>34161</c:v>
                </c:pt>
                <c:pt idx="39839">
                  <c:v>34161</c:v>
                </c:pt>
                <c:pt idx="39840">
                  <c:v>34161</c:v>
                </c:pt>
                <c:pt idx="39841">
                  <c:v>34160</c:v>
                </c:pt>
                <c:pt idx="39842">
                  <c:v>34160</c:v>
                </c:pt>
                <c:pt idx="39843">
                  <c:v>34160</c:v>
                </c:pt>
                <c:pt idx="39844">
                  <c:v>34160</c:v>
                </c:pt>
                <c:pt idx="39845">
                  <c:v>34160</c:v>
                </c:pt>
                <c:pt idx="39846">
                  <c:v>34160</c:v>
                </c:pt>
                <c:pt idx="39847">
                  <c:v>34159</c:v>
                </c:pt>
                <c:pt idx="39848">
                  <c:v>34159</c:v>
                </c:pt>
                <c:pt idx="39849">
                  <c:v>34159</c:v>
                </c:pt>
                <c:pt idx="39850">
                  <c:v>34159</c:v>
                </c:pt>
                <c:pt idx="39851">
                  <c:v>34159</c:v>
                </c:pt>
                <c:pt idx="39852">
                  <c:v>34159</c:v>
                </c:pt>
                <c:pt idx="39853">
                  <c:v>34158</c:v>
                </c:pt>
                <c:pt idx="39854">
                  <c:v>34158</c:v>
                </c:pt>
                <c:pt idx="39855">
                  <c:v>34158</c:v>
                </c:pt>
                <c:pt idx="39856">
                  <c:v>34158</c:v>
                </c:pt>
                <c:pt idx="39857">
                  <c:v>34158</c:v>
                </c:pt>
                <c:pt idx="39858">
                  <c:v>34158</c:v>
                </c:pt>
                <c:pt idx="39859">
                  <c:v>34158</c:v>
                </c:pt>
                <c:pt idx="39860">
                  <c:v>34158</c:v>
                </c:pt>
                <c:pt idx="39861">
                  <c:v>34157</c:v>
                </c:pt>
                <c:pt idx="39862">
                  <c:v>34157</c:v>
                </c:pt>
                <c:pt idx="39863">
                  <c:v>34157</c:v>
                </c:pt>
                <c:pt idx="39864">
                  <c:v>34157</c:v>
                </c:pt>
                <c:pt idx="39865">
                  <c:v>34157</c:v>
                </c:pt>
                <c:pt idx="39866">
                  <c:v>34157</c:v>
                </c:pt>
                <c:pt idx="39867">
                  <c:v>34157</c:v>
                </c:pt>
                <c:pt idx="39868">
                  <c:v>34156</c:v>
                </c:pt>
                <c:pt idx="39869">
                  <c:v>34156</c:v>
                </c:pt>
                <c:pt idx="39870">
                  <c:v>34156</c:v>
                </c:pt>
                <c:pt idx="39871">
                  <c:v>34156</c:v>
                </c:pt>
                <c:pt idx="39872">
                  <c:v>34156</c:v>
                </c:pt>
                <c:pt idx="39873">
                  <c:v>34156</c:v>
                </c:pt>
                <c:pt idx="39874">
                  <c:v>34155</c:v>
                </c:pt>
                <c:pt idx="39875">
                  <c:v>34155</c:v>
                </c:pt>
                <c:pt idx="39876">
                  <c:v>34155</c:v>
                </c:pt>
                <c:pt idx="39877">
                  <c:v>34155</c:v>
                </c:pt>
                <c:pt idx="39878">
                  <c:v>34155</c:v>
                </c:pt>
                <c:pt idx="39879">
                  <c:v>34155</c:v>
                </c:pt>
                <c:pt idx="39880">
                  <c:v>34155</c:v>
                </c:pt>
                <c:pt idx="39881">
                  <c:v>34155</c:v>
                </c:pt>
                <c:pt idx="39882">
                  <c:v>34154</c:v>
                </c:pt>
                <c:pt idx="39883">
                  <c:v>34154</c:v>
                </c:pt>
                <c:pt idx="39884">
                  <c:v>34154</c:v>
                </c:pt>
                <c:pt idx="39885">
                  <c:v>34154</c:v>
                </c:pt>
                <c:pt idx="39886">
                  <c:v>34153</c:v>
                </c:pt>
                <c:pt idx="39887">
                  <c:v>34153</c:v>
                </c:pt>
                <c:pt idx="39888">
                  <c:v>34153</c:v>
                </c:pt>
                <c:pt idx="39889">
                  <c:v>34153</c:v>
                </c:pt>
                <c:pt idx="39890">
                  <c:v>34153</c:v>
                </c:pt>
                <c:pt idx="39891">
                  <c:v>34153</c:v>
                </c:pt>
                <c:pt idx="39892">
                  <c:v>34153</c:v>
                </c:pt>
                <c:pt idx="39893">
                  <c:v>34152</c:v>
                </c:pt>
                <c:pt idx="39894">
                  <c:v>34152</c:v>
                </c:pt>
                <c:pt idx="39895">
                  <c:v>34152</c:v>
                </c:pt>
                <c:pt idx="39896">
                  <c:v>34152</c:v>
                </c:pt>
                <c:pt idx="39897">
                  <c:v>34152</c:v>
                </c:pt>
                <c:pt idx="39898">
                  <c:v>34151</c:v>
                </c:pt>
                <c:pt idx="39899">
                  <c:v>34151</c:v>
                </c:pt>
                <c:pt idx="39900">
                  <c:v>34151</c:v>
                </c:pt>
                <c:pt idx="39901">
                  <c:v>34151</c:v>
                </c:pt>
                <c:pt idx="39902">
                  <c:v>34151</c:v>
                </c:pt>
                <c:pt idx="39903">
                  <c:v>34151</c:v>
                </c:pt>
                <c:pt idx="39904">
                  <c:v>34150</c:v>
                </c:pt>
                <c:pt idx="39905">
                  <c:v>34150</c:v>
                </c:pt>
                <c:pt idx="39906">
                  <c:v>34150</c:v>
                </c:pt>
                <c:pt idx="39907">
                  <c:v>34150</c:v>
                </c:pt>
                <c:pt idx="39908">
                  <c:v>34150</c:v>
                </c:pt>
                <c:pt idx="39909">
                  <c:v>34150</c:v>
                </c:pt>
                <c:pt idx="39910">
                  <c:v>34150</c:v>
                </c:pt>
                <c:pt idx="39911">
                  <c:v>34149</c:v>
                </c:pt>
                <c:pt idx="39912">
                  <c:v>34149</c:v>
                </c:pt>
                <c:pt idx="39913">
                  <c:v>34149</c:v>
                </c:pt>
                <c:pt idx="39914">
                  <c:v>34149</c:v>
                </c:pt>
                <c:pt idx="39915">
                  <c:v>34149</c:v>
                </c:pt>
                <c:pt idx="39916">
                  <c:v>34149</c:v>
                </c:pt>
                <c:pt idx="39917">
                  <c:v>34149</c:v>
                </c:pt>
                <c:pt idx="39918">
                  <c:v>34149</c:v>
                </c:pt>
                <c:pt idx="39919">
                  <c:v>34149</c:v>
                </c:pt>
                <c:pt idx="39920">
                  <c:v>34148</c:v>
                </c:pt>
                <c:pt idx="39921">
                  <c:v>34148</c:v>
                </c:pt>
                <c:pt idx="39922">
                  <c:v>34148</c:v>
                </c:pt>
                <c:pt idx="39923">
                  <c:v>34148</c:v>
                </c:pt>
                <c:pt idx="39924">
                  <c:v>34147</c:v>
                </c:pt>
                <c:pt idx="39925">
                  <c:v>34147</c:v>
                </c:pt>
                <c:pt idx="39926">
                  <c:v>34147</c:v>
                </c:pt>
                <c:pt idx="39927">
                  <c:v>34147</c:v>
                </c:pt>
                <c:pt idx="39928">
                  <c:v>34147</c:v>
                </c:pt>
                <c:pt idx="39929">
                  <c:v>34147</c:v>
                </c:pt>
                <c:pt idx="39930">
                  <c:v>34147</c:v>
                </c:pt>
                <c:pt idx="39931">
                  <c:v>34147</c:v>
                </c:pt>
                <c:pt idx="39932">
                  <c:v>34146</c:v>
                </c:pt>
                <c:pt idx="39933">
                  <c:v>34146</c:v>
                </c:pt>
                <c:pt idx="39934">
                  <c:v>34146</c:v>
                </c:pt>
                <c:pt idx="39935">
                  <c:v>34146</c:v>
                </c:pt>
                <c:pt idx="39936">
                  <c:v>34145</c:v>
                </c:pt>
                <c:pt idx="39937">
                  <c:v>34145</c:v>
                </c:pt>
                <c:pt idx="39938">
                  <c:v>34144</c:v>
                </c:pt>
                <c:pt idx="39939">
                  <c:v>34144</c:v>
                </c:pt>
                <c:pt idx="39940">
                  <c:v>34144</c:v>
                </c:pt>
                <c:pt idx="39941">
                  <c:v>34144</c:v>
                </c:pt>
                <c:pt idx="39942">
                  <c:v>34144</c:v>
                </c:pt>
                <c:pt idx="39943">
                  <c:v>34144</c:v>
                </c:pt>
                <c:pt idx="39944">
                  <c:v>34144</c:v>
                </c:pt>
                <c:pt idx="39945">
                  <c:v>34143</c:v>
                </c:pt>
                <c:pt idx="39946">
                  <c:v>34143</c:v>
                </c:pt>
                <c:pt idx="39947">
                  <c:v>34143</c:v>
                </c:pt>
                <c:pt idx="39948">
                  <c:v>34143</c:v>
                </c:pt>
                <c:pt idx="39949">
                  <c:v>34143</c:v>
                </c:pt>
                <c:pt idx="39950">
                  <c:v>34143</c:v>
                </c:pt>
                <c:pt idx="39951">
                  <c:v>34143</c:v>
                </c:pt>
                <c:pt idx="39952">
                  <c:v>34142</c:v>
                </c:pt>
                <c:pt idx="39953">
                  <c:v>34142</c:v>
                </c:pt>
                <c:pt idx="39954">
                  <c:v>34142</c:v>
                </c:pt>
                <c:pt idx="39955">
                  <c:v>34142</c:v>
                </c:pt>
                <c:pt idx="39956">
                  <c:v>34142</c:v>
                </c:pt>
                <c:pt idx="39957">
                  <c:v>34142</c:v>
                </c:pt>
                <c:pt idx="39958">
                  <c:v>34142</c:v>
                </c:pt>
                <c:pt idx="39959">
                  <c:v>34142</c:v>
                </c:pt>
                <c:pt idx="39960">
                  <c:v>34142</c:v>
                </c:pt>
                <c:pt idx="39961">
                  <c:v>34142</c:v>
                </c:pt>
                <c:pt idx="39962">
                  <c:v>34142</c:v>
                </c:pt>
                <c:pt idx="39963">
                  <c:v>34141</c:v>
                </c:pt>
                <c:pt idx="39964">
                  <c:v>34141</c:v>
                </c:pt>
                <c:pt idx="39965">
                  <c:v>34141</c:v>
                </c:pt>
                <c:pt idx="39966">
                  <c:v>34140</c:v>
                </c:pt>
                <c:pt idx="39967">
                  <c:v>34140</c:v>
                </c:pt>
                <c:pt idx="39968">
                  <c:v>34140</c:v>
                </c:pt>
                <c:pt idx="39969">
                  <c:v>34139</c:v>
                </c:pt>
                <c:pt idx="39970">
                  <c:v>34139</c:v>
                </c:pt>
                <c:pt idx="39971">
                  <c:v>34139</c:v>
                </c:pt>
                <c:pt idx="39972">
                  <c:v>34139</c:v>
                </c:pt>
                <c:pt idx="39973">
                  <c:v>34139</c:v>
                </c:pt>
                <c:pt idx="39974">
                  <c:v>34139</c:v>
                </c:pt>
                <c:pt idx="39975">
                  <c:v>34138</c:v>
                </c:pt>
                <c:pt idx="39976">
                  <c:v>34138</c:v>
                </c:pt>
                <c:pt idx="39977">
                  <c:v>34138</c:v>
                </c:pt>
                <c:pt idx="39978">
                  <c:v>34138</c:v>
                </c:pt>
                <c:pt idx="39979">
                  <c:v>34138</c:v>
                </c:pt>
                <c:pt idx="39980">
                  <c:v>34138</c:v>
                </c:pt>
                <c:pt idx="39981">
                  <c:v>34138</c:v>
                </c:pt>
                <c:pt idx="39982">
                  <c:v>34138</c:v>
                </c:pt>
                <c:pt idx="39983">
                  <c:v>34138</c:v>
                </c:pt>
                <c:pt idx="39984">
                  <c:v>34138</c:v>
                </c:pt>
                <c:pt idx="39985">
                  <c:v>34137</c:v>
                </c:pt>
                <c:pt idx="39986">
                  <c:v>34137</c:v>
                </c:pt>
                <c:pt idx="39987">
                  <c:v>34137</c:v>
                </c:pt>
                <c:pt idx="39988">
                  <c:v>34137</c:v>
                </c:pt>
                <c:pt idx="39989">
                  <c:v>34137</c:v>
                </c:pt>
                <c:pt idx="39990">
                  <c:v>34137</c:v>
                </c:pt>
                <c:pt idx="39991">
                  <c:v>34136</c:v>
                </c:pt>
                <c:pt idx="39992">
                  <c:v>34136</c:v>
                </c:pt>
                <c:pt idx="39993">
                  <c:v>34136</c:v>
                </c:pt>
                <c:pt idx="39994">
                  <c:v>34136</c:v>
                </c:pt>
                <c:pt idx="39995">
                  <c:v>34136</c:v>
                </c:pt>
                <c:pt idx="39996">
                  <c:v>34136</c:v>
                </c:pt>
                <c:pt idx="39997">
                  <c:v>34136</c:v>
                </c:pt>
                <c:pt idx="39998">
                  <c:v>34135</c:v>
                </c:pt>
                <c:pt idx="39999">
                  <c:v>34135</c:v>
                </c:pt>
                <c:pt idx="40000">
                  <c:v>34135</c:v>
                </c:pt>
                <c:pt idx="40001">
                  <c:v>34135</c:v>
                </c:pt>
                <c:pt idx="40002">
                  <c:v>34135</c:v>
                </c:pt>
                <c:pt idx="40003">
                  <c:v>34135</c:v>
                </c:pt>
                <c:pt idx="40004">
                  <c:v>34135</c:v>
                </c:pt>
                <c:pt idx="40005">
                  <c:v>34135</c:v>
                </c:pt>
                <c:pt idx="40006">
                  <c:v>34134</c:v>
                </c:pt>
                <c:pt idx="40007">
                  <c:v>34134</c:v>
                </c:pt>
                <c:pt idx="40008">
                  <c:v>34134</c:v>
                </c:pt>
                <c:pt idx="40009">
                  <c:v>34134</c:v>
                </c:pt>
                <c:pt idx="40010">
                  <c:v>34134</c:v>
                </c:pt>
                <c:pt idx="40011">
                  <c:v>34133</c:v>
                </c:pt>
                <c:pt idx="40012">
                  <c:v>34133</c:v>
                </c:pt>
                <c:pt idx="40013">
                  <c:v>34133</c:v>
                </c:pt>
                <c:pt idx="40014">
                  <c:v>34133</c:v>
                </c:pt>
                <c:pt idx="40015">
                  <c:v>34133</c:v>
                </c:pt>
                <c:pt idx="40016">
                  <c:v>34133</c:v>
                </c:pt>
                <c:pt idx="40017">
                  <c:v>34133</c:v>
                </c:pt>
                <c:pt idx="40018">
                  <c:v>34133</c:v>
                </c:pt>
                <c:pt idx="40019">
                  <c:v>34132</c:v>
                </c:pt>
                <c:pt idx="40020">
                  <c:v>34132</c:v>
                </c:pt>
                <c:pt idx="40021">
                  <c:v>34132</c:v>
                </c:pt>
                <c:pt idx="40022">
                  <c:v>34132</c:v>
                </c:pt>
                <c:pt idx="40023">
                  <c:v>34132</c:v>
                </c:pt>
                <c:pt idx="40024">
                  <c:v>34132</c:v>
                </c:pt>
                <c:pt idx="40025">
                  <c:v>34132</c:v>
                </c:pt>
                <c:pt idx="40026">
                  <c:v>34132</c:v>
                </c:pt>
                <c:pt idx="40027">
                  <c:v>34131</c:v>
                </c:pt>
                <c:pt idx="40028">
                  <c:v>34131</c:v>
                </c:pt>
                <c:pt idx="40029">
                  <c:v>34131</c:v>
                </c:pt>
                <c:pt idx="40030">
                  <c:v>34131</c:v>
                </c:pt>
                <c:pt idx="40031">
                  <c:v>34131</c:v>
                </c:pt>
                <c:pt idx="40032">
                  <c:v>34130</c:v>
                </c:pt>
                <c:pt idx="40033">
                  <c:v>34130</c:v>
                </c:pt>
                <c:pt idx="40034">
                  <c:v>34130</c:v>
                </c:pt>
                <c:pt idx="40035">
                  <c:v>34130</c:v>
                </c:pt>
                <c:pt idx="40036">
                  <c:v>34130</c:v>
                </c:pt>
                <c:pt idx="40037">
                  <c:v>34129</c:v>
                </c:pt>
                <c:pt idx="40038">
                  <c:v>34129</c:v>
                </c:pt>
                <c:pt idx="40039">
                  <c:v>34129</c:v>
                </c:pt>
                <c:pt idx="40040">
                  <c:v>34129</c:v>
                </c:pt>
                <c:pt idx="40041">
                  <c:v>34129</c:v>
                </c:pt>
                <c:pt idx="40042">
                  <c:v>34128</c:v>
                </c:pt>
                <c:pt idx="40043">
                  <c:v>34128</c:v>
                </c:pt>
                <c:pt idx="40044">
                  <c:v>34128</c:v>
                </c:pt>
                <c:pt idx="40045">
                  <c:v>34128</c:v>
                </c:pt>
                <c:pt idx="40046">
                  <c:v>34128</c:v>
                </c:pt>
                <c:pt idx="40047">
                  <c:v>34128</c:v>
                </c:pt>
                <c:pt idx="40048">
                  <c:v>34127</c:v>
                </c:pt>
                <c:pt idx="40049">
                  <c:v>34127</c:v>
                </c:pt>
                <c:pt idx="40050">
                  <c:v>34126</c:v>
                </c:pt>
                <c:pt idx="40051">
                  <c:v>34126</c:v>
                </c:pt>
                <c:pt idx="40052">
                  <c:v>34126</c:v>
                </c:pt>
                <c:pt idx="40053">
                  <c:v>34126</c:v>
                </c:pt>
                <c:pt idx="40054">
                  <c:v>34126</c:v>
                </c:pt>
                <c:pt idx="40055">
                  <c:v>34126</c:v>
                </c:pt>
                <c:pt idx="40056">
                  <c:v>34126</c:v>
                </c:pt>
                <c:pt idx="40057">
                  <c:v>34126</c:v>
                </c:pt>
                <c:pt idx="40058">
                  <c:v>34125</c:v>
                </c:pt>
                <c:pt idx="40059">
                  <c:v>34125</c:v>
                </c:pt>
                <c:pt idx="40060">
                  <c:v>34125</c:v>
                </c:pt>
                <c:pt idx="40061">
                  <c:v>34124</c:v>
                </c:pt>
                <c:pt idx="40062">
                  <c:v>34124</c:v>
                </c:pt>
                <c:pt idx="40063">
                  <c:v>34124</c:v>
                </c:pt>
                <c:pt idx="40064">
                  <c:v>34124</c:v>
                </c:pt>
                <c:pt idx="40065">
                  <c:v>34124</c:v>
                </c:pt>
                <c:pt idx="40066">
                  <c:v>34123</c:v>
                </c:pt>
                <c:pt idx="40067">
                  <c:v>34123</c:v>
                </c:pt>
                <c:pt idx="40068">
                  <c:v>34123</c:v>
                </c:pt>
                <c:pt idx="40069">
                  <c:v>34123</c:v>
                </c:pt>
                <c:pt idx="40070">
                  <c:v>34122</c:v>
                </c:pt>
                <c:pt idx="40071">
                  <c:v>34122</c:v>
                </c:pt>
                <c:pt idx="40072">
                  <c:v>34122</c:v>
                </c:pt>
                <c:pt idx="40073">
                  <c:v>34122</c:v>
                </c:pt>
                <c:pt idx="40074">
                  <c:v>34122</c:v>
                </c:pt>
                <c:pt idx="40075">
                  <c:v>34122</c:v>
                </c:pt>
                <c:pt idx="40076">
                  <c:v>34122</c:v>
                </c:pt>
                <c:pt idx="40077">
                  <c:v>34122</c:v>
                </c:pt>
                <c:pt idx="40078">
                  <c:v>34122</c:v>
                </c:pt>
                <c:pt idx="40079">
                  <c:v>34122</c:v>
                </c:pt>
                <c:pt idx="40080">
                  <c:v>34122</c:v>
                </c:pt>
                <c:pt idx="40081">
                  <c:v>34122</c:v>
                </c:pt>
                <c:pt idx="40082">
                  <c:v>34121</c:v>
                </c:pt>
                <c:pt idx="40083">
                  <c:v>34121</c:v>
                </c:pt>
                <c:pt idx="40084">
                  <c:v>34121</c:v>
                </c:pt>
                <c:pt idx="40085">
                  <c:v>34120</c:v>
                </c:pt>
                <c:pt idx="40086">
                  <c:v>34120</c:v>
                </c:pt>
                <c:pt idx="40087">
                  <c:v>34120</c:v>
                </c:pt>
                <c:pt idx="40088">
                  <c:v>34120</c:v>
                </c:pt>
                <c:pt idx="40089">
                  <c:v>34120</c:v>
                </c:pt>
                <c:pt idx="40090">
                  <c:v>34119</c:v>
                </c:pt>
                <c:pt idx="40091">
                  <c:v>34119</c:v>
                </c:pt>
                <c:pt idx="40092">
                  <c:v>34119</c:v>
                </c:pt>
                <c:pt idx="40093">
                  <c:v>34119</c:v>
                </c:pt>
                <c:pt idx="40094">
                  <c:v>34119</c:v>
                </c:pt>
                <c:pt idx="40095">
                  <c:v>34119</c:v>
                </c:pt>
                <c:pt idx="40096">
                  <c:v>34119</c:v>
                </c:pt>
                <c:pt idx="40097">
                  <c:v>34119</c:v>
                </c:pt>
                <c:pt idx="40098">
                  <c:v>34118</c:v>
                </c:pt>
                <c:pt idx="40099">
                  <c:v>34118</c:v>
                </c:pt>
                <c:pt idx="40100">
                  <c:v>34118</c:v>
                </c:pt>
                <c:pt idx="40101">
                  <c:v>34118</c:v>
                </c:pt>
                <c:pt idx="40102">
                  <c:v>34118</c:v>
                </c:pt>
                <c:pt idx="40103">
                  <c:v>34118</c:v>
                </c:pt>
                <c:pt idx="40104">
                  <c:v>34118</c:v>
                </c:pt>
                <c:pt idx="40105">
                  <c:v>34118</c:v>
                </c:pt>
                <c:pt idx="40106">
                  <c:v>34118</c:v>
                </c:pt>
                <c:pt idx="40107">
                  <c:v>34118</c:v>
                </c:pt>
                <c:pt idx="40108">
                  <c:v>34118</c:v>
                </c:pt>
                <c:pt idx="40109">
                  <c:v>34117</c:v>
                </c:pt>
                <c:pt idx="40110">
                  <c:v>34117</c:v>
                </c:pt>
                <c:pt idx="40111">
                  <c:v>34116</c:v>
                </c:pt>
                <c:pt idx="40112">
                  <c:v>34116</c:v>
                </c:pt>
                <c:pt idx="40113">
                  <c:v>34116</c:v>
                </c:pt>
                <c:pt idx="40114">
                  <c:v>34116</c:v>
                </c:pt>
                <c:pt idx="40115">
                  <c:v>34115</c:v>
                </c:pt>
                <c:pt idx="40116">
                  <c:v>34115</c:v>
                </c:pt>
                <c:pt idx="40117">
                  <c:v>34115</c:v>
                </c:pt>
                <c:pt idx="40118">
                  <c:v>34115</c:v>
                </c:pt>
                <c:pt idx="40119">
                  <c:v>34114</c:v>
                </c:pt>
                <c:pt idx="40120">
                  <c:v>34114</c:v>
                </c:pt>
                <c:pt idx="40121">
                  <c:v>34114</c:v>
                </c:pt>
                <c:pt idx="40122">
                  <c:v>34114</c:v>
                </c:pt>
                <c:pt idx="40123">
                  <c:v>34114</c:v>
                </c:pt>
                <c:pt idx="40124">
                  <c:v>34114</c:v>
                </c:pt>
                <c:pt idx="40125">
                  <c:v>34114</c:v>
                </c:pt>
                <c:pt idx="40126">
                  <c:v>34114</c:v>
                </c:pt>
                <c:pt idx="40127">
                  <c:v>34114</c:v>
                </c:pt>
                <c:pt idx="40128">
                  <c:v>34113</c:v>
                </c:pt>
                <c:pt idx="40129">
                  <c:v>34113</c:v>
                </c:pt>
                <c:pt idx="40130">
                  <c:v>34113</c:v>
                </c:pt>
                <c:pt idx="40131">
                  <c:v>34113</c:v>
                </c:pt>
                <c:pt idx="40132">
                  <c:v>34113</c:v>
                </c:pt>
                <c:pt idx="40133">
                  <c:v>34112</c:v>
                </c:pt>
                <c:pt idx="40134">
                  <c:v>34112</c:v>
                </c:pt>
                <c:pt idx="40135">
                  <c:v>34112</c:v>
                </c:pt>
                <c:pt idx="40136">
                  <c:v>34112</c:v>
                </c:pt>
                <c:pt idx="40137">
                  <c:v>34112</c:v>
                </c:pt>
                <c:pt idx="40138">
                  <c:v>34112</c:v>
                </c:pt>
                <c:pt idx="40139">
                  <c:v>34112</c:v>
                </c:pt>
                <c:pt idx="40140">
                  <c:v>34112</c:v>
                </c:pt>
                <c:pt idx="40141">
                  <c:v>34111</c:v>
                </c:pt>
                <c:pt idx="40142">
                  <c:v>34111</c:v>
                </c:pt>
                <c:pt idx="40143">
                  <c:v>34111</c:v>
                </c:pt>
                <c:pt idx="40144">
                  <c:v>34111</c:v>
                </c:pt>
                <c:pt idx="40145">
                  <c:v>34111</c:v>
                </c:pt>
                <c:pt idx="40146">
                  <c:v>34111</c:v>
                </c:pt>
                <c:pt idx="40147">
                  <c:v>34111</c:v>
                </c:pt>
                <c:pt idx="40148">
                  <c:v>34110</c:v>
                </c:pt>
                <c:pt idx="40149">
                  <c:v>34110</c:v>
                </c:pt>
                <c:pt idx="40150">
                  <c:v>34110</c:v>
                </c:pt>
                <c:pt idx="40151">
                  <c:v>34110</c:v>
                </c:pt>
                <c:pt idx="40152">
                  <c:v>34110</c:v>
                </c:pt>
                <c:pt idx="40153">
                  <c:v>34110</c:v>
                </c:pt>
                <c:pt idx="40154">
                  <c:v>34109</c:v>
                </c:pt>
                <c:pt idx="40155">
                  <c:v>34109</c:v>
                </c:pt>
                <c:pt idx="40156">
                  <c:v>34109</c:v>
                </c:pt>
                <c:pt idx="40157">
                  <c:v>34109</c:v>
                </c:pt>
                <c:pt idx="40158">
                  <c:v>34109</c:v>
                </c:pt>
                <c:pt idx="40159">
                  <c:v>34109</c:v>
                </c:pt>
                <c:pt idx="40160">
                  <c:v>34109</c:v>
                </c:pt>
                <c:pt idx="40161">
                  <c:v>34109</c:v>
                </c:pt>
                <c:pt idx="40162">
                  <c:v>34108</c:v>
                </c:pt>
                <c:pt idx="40163">
                  <c:v>34108</c:v>
                </c:pt>
                <c:pt idx="40164">
                  <c:v>34108</c:v>
                </c:pt>
                <c:pt idx="40165">
                  <c:v>34108</c:v>
                </c:pt>
                <c:pt idx="40166">
                  <c:v>34108</c:v>
                </c:pt>
                <c:pt idx="40167">
                  <c:v>34108</c:v>
                </c:pt>
                <c:pt idx="40168">
                  <c:v>34108</c:v>
                </c:pt>
                <c:pt idx="40169">
                  <c:v>34108</c:v>
                </c:pt>
                <c:pt idx="40170">
                  <c:v>34107</c:v>
                </c:pt>
                <c:pt idx="40171">
                  <c:v>34107</c:v>
                </c:pt>
                <c:pt idx="40172">
                  <c:v>34107</c:v>
                </c:pt>
                <c:pt idx="40173">
                  <c:v>34107</c:v>
                </c:pt>
                <c:pt idx="40174">
                  <c:v>34106</c:v>
                </c:pt>
                <c:pt idx="40175">
                  <c:v>34106</c:v>
                </c:pt>
                <c:pt idx="40176">
                  <c:v>34106</c:v>
                </c:pt>
                <c:pt idx="40177">
                  <c:v>34106</c:v>
                </c:pt>
                <c:pt idx="40178">
                  <c:v>34106</c:v>
                </c:pt>
                <c:pt idx="40179">
                  <c:v>34106</c:v>
                </c:pt>
                <c:pt idx="40180">
                  <c:v>34106</c:v>
                </c:pt>
                <c:pt idx="40181">
                  <c:v>34105</c:v>
                </c:pt>
                <c:pt idx="40182">
                  <c:v>34105</c:v>
                </c:pt>
                <c:pt idx="40183">
                  <c:v>34105</c:v>
                </c:pt>
                <c:pt idx="40184">
                  <c:v>34105</c:v>
                </c:pt>
                <c:pt idx="40185">
                  <c:v>34105</c:v>
                </c:pt>
                <c:pt idx="40186">
                  <c:v>34105</c:v>
                </c:pt>
                <c:pt idx="40187">
                  <c:v>34105</c:v>
                </c:pt>
                <c:pt idx="40188">
                  <c:v>34105</c:v>
                </c:pt>
                <c:pt idx="40189">
                  <c:v>34105</c:v>
                </c:pt>
                <c:pt idx="40190">
                  <c:v>34104</c:v>
                </c:pt>
                <c:pt idx="40191">
                  <c:v>34104</c:v>
                </c:pt>
                <c:pt idx="40192">
                  <c:v>34104</c:v>
                </c:pt>
                <c:pt idx="40193">
                  <c:v>34104</c:v>
                </c:pt>
                <c:pt idx="40194">
                  <c:v>34104</c:v>
                </c:pt>
                <c:pt idx="40195">
                  <c:v>34104</c:v>
                </c:pt>
                <c:pt idx="40196">
                  <c:v>34103</c:v>
                </c:pt>
                <c:pt idx="40197">
                  <c:v>34103</c:v>
                </c:pt>
                <c:pt idx="40198">
                  <c:v>34103</c:v>
                </c:pt>
                <c:pt idx="40199">
                  <c:v>34103</c:v>
                </c:pt>
                <c:pt idx="40200">
                  <c:v>34103</c:v>
                </c:pt>
                <c:pt idx="40201">
                  <c:v>34103</c:v>
                </c:pt>
                <c:pt idx="40202">
                  <c:v>34103</c:v>
                </c:pt>
                <c:pt idx="40203">
                  <c:v>34102</c:v>
                </c:pt>
                <c:pt idx="40204">
                  <c:v>34102</c:v>
                </c:pt>
                <c:pt idx="40205">
                  <c:v>34101</c:v>
                </c:pt>
                <c:pt idx="40206">
                  <c:v>34101</c:v>
                </c:pt>
                <c:pt idx="40207">
                  <c:v>34101</c:v>
                </c:pt>
                <c:pt idx="40208">
                  <c:v>34101</c:v>
                </c:pt>
                <c:pt idx="40209">
                  <c:v>34101</c:v>
                </c:pt>
                <c:pt idx="40210">
                  <c:v>34101</c:v>
                </c:pt>
                <c:pt idx="40211">
                  <c:v>34101</c:v>
                </c:pt>
                <c:pt idx="40212">
                  <c:v>34101</c:v>
                </c:pt>
                <c:pt idx="40213">
                  <c:v>34101</c:v>
                </c:pt>
                <c:pt idx="40214">
                  <c:v>34101</c:v>
                </c:pt>
                <c:pt idx="40215">
                  <c:v>34100</c:v>
                </c:pt>
                <c:pt idx="40216">
                  <c:v>34100</c:v>
                </c:pt>
                <c:pt idx="40217">
                  <c:v>34100</c:v>
                </c:pt>
                <c:pt idx="40218">
                  <c:v>34100</c:v>
                </c:pt>
                <c:pt idx="40219">
                  <c:v>34100</c:v>
                </c:pt>
                <c:pt idx="40220">
                  <c:v>34100</c:v>
                </c:pt>
                <c:pt idx="40221">
                  <c:v>34100</c:v>
                </c:pt>
                <c:pt idx="40222">
                  <c:v>34100</c:v>
                </c:pt>
                <c:pt idx="40223">
                  <c:v>34099</c:v>
                </c:pt>
                <c:pt idx="40224">
                  <c:v>34099</c:v>
                </c:pt>
                <c:pt idx="40225">
                  <c:v>34099</c:v>
                </c:pt>
                <c:pt idx="40226">
                  <c:v>34099</c:v>
                </c:pt>
                <c:pt idx="40227">
                  <c:v>34098</c:v>
                </c:pt>
                <c:pt idx="40228">
                  <c:v>34098</c:v>
                </c:pt>
                <c:pt idx="40229">
                  <c:v>34098</c:v>
                </c:pt>
                <c:pt idx="40230">
                  <c:v>34098</c:v>
                </c:pt>
                <c:pt idx="40231">
                  <c:v>34098</c:v>
                </c:pt>
                <c:pt idx="40232">
                  <c:v>34098</c:v>
                </c:pt>
                <c:pt idx="40233">
                  <c:v>34098</c:v>
                </c:pt>
                <c:pt idx="40234">
                  <c:v>34098</c:v>
                </c:pt>
                <c:pt idx="40235">
                  <c:v>34098</c:v>
                </c:pt>
                <c:pt idx="40236">
                  <c:v>34098</c:v>
                </c:pt>
                <c:pt idx="40237">
                  <c:v>34098</c:v>
                </c:pt>
                <c:pt idx="40238">
                  <c:v>34097</c:v>
                </c:pt>
                <c:pt idx="40239">
                  <c:v>34097</c:v>
                </c:pt>
                <c:pt idx="40240">
                  <c:v>34097</c:v>
                </c:pt>
                <c:pt idx="40241">
                  <c:v>34097</c:v>
                </c:pt>
                <c:pt idx="40242">
                  <c:v>34097</c:v>
                </c:pt>
                <c:pt idx="40243">
                  <c:v>34096</c:v>
                </c:pt>
                <c:pt idx="40244">
                  <c:v>34096</c:v>
                </c:pt>
                <c:pt idx="40245">
                  <c:v>34096</c:v>
                </c:pt>
                <c:pt idx="40246">
                  <c:v>34096</c:v>
                </c:pt>
                <c:pt idx="40247">
                  <c:v>34096</c:v>
                </c:pt>
                <c:pt idx="40248">
                  <c:v>34096</c:v>
                </c:pt>
                <c:pt idx="40249">
                  <c:v>34096</c:v>
                </c:pt>
                <c:pt idx="40250">
                  <c:v>34096</c:v>
                </c:pt>
                <c:pt idx="40251">
                  <c:v>34096</c:v>
                </c:pt>
                <c:pt idx="40252">
                  <c:v>34095</c:v>
                </c:pt>
                <c:pt idx="40253">
                  <c:v>34095</c:v>
                </c:pt>
                <c:pt idx="40254">
                  <c:v>34095</c:v>
                </c:pt>
                <c:pt idx="40255">
                  <c:v>34095</c:v>
                </c:pt>
                <c:pt idx="40256">
                  <c:v>34095</c:v>
                </c:pt>
                <c:pt idx="40257">
                  <c:v>34094</c:v>
                </c:pt>
                <c:pt idx="40258">
                  <c:v>34094</c:v>
                </c:pt>
                <c:pt idx="40259">
                  <c:v>34094</c:v>
                </c:pt>
                <c:pt idx="40260">
                  <c:v>34094</c:v>
                </c:pt>
                <c:pt idx="40261">
                  <c:v>34093</c:v>
                </c:pt>
                <c:pt idx="40262">
                  <c:v>34093</c:v>
                </c:pt>
                <c:pt idx="40263">
                  <c:v>34093</c:v>
                </c:pt>
                <c:pt idx="40264">
                  <c:v>34093</c:v>
                </c:pt>
                <c:pt idx="40265">
                  <c:v>34092</c:v>
                </c:pt>
                <c:pt idx="40266">
                  <c:v>34092</c:v>
                </c:pt>
                <c:pt idx="40267">
                  <c:v>34092</c:v>
                </c:pt>
                <c:pt idx="40268">
                  <c:v>34092</c:v>
                </c:pt>
                <c:pt idx="40269">
                  <c:v>34092</c:v>
                </c:pt>
                <c:pt idx="40270">
                  <c:v>34092</c:v>
                </c:pt>
                <c:pt idx="40271">
                  <c:v>34092</c:v>
                </c:pt>
                <c:pt idx="40272">
                  <c:v>34091</c:v>
                </c:pt>
                <c:pt idx="40273">
                  <c:v>34091</c:v>
                </c:pt>
                <c:pt idx="40274">
                  <c:v>34091</c:v>
                </c:pt>
                <c:pt idx="40275">
                  <c:v>34091</c:v>
                </c:pt>
                <c:pt idx="40276">
                  <c:v>34091</c:v>
                </c:pt>
                <c:pt idx="40277">
                  <c:v>34091</c:v>
                </c:pt>
                <c:pt idx="40278">
                  <c:v>34091</c:v>
                </c:pt>
                <c:pt idx="40279">
                  <c:v>34091</c:v>
                </c:pt>
                <c:pt idx="40280">
                  <c:v>34090</c:v>
                </c:pt>
                <c:pt idx="40281">
                  <c:v>34090</c:v>
                </c:pt>
                <c:pt idx="40282">
                  <c:v>34090</c:v>
                </c:pt>
                <c:pt idx="40283">
                  <c:v>34090</c:v>
                </c:pt>
                <c:pt idx="40284">
                  <c:v>34090</c:v>
                </c:pt>
                <c:pt idx="40285">
                  <c:v>34089</c:v>
                </c:pt>
                <c:pt idx="40286">
                  <c:v>34089</c:v>
                </c:pt>
                <c:pt idx="40287">
                  <c:v>34089</c:v>
                </c:pt>
                <c:pt idx="40288">
                  <c:v>34089</c:v>
                </c:pt>
                <c:pt idx="40289">
                  <c:v>34089</c:v>
                </c:pt>
                <c:pt idx="40290">
                  <c:v>34089</c:v>
                </c:pt>
                <c:pt idx="40291">
                  <c:v>34089</c:v>
                </c:pt>
                <c:pt idx="40292">
                  <c:v>34089</c:v>
                </c:pt>
                <c:pt idx="40293">
                  <c:v>34089</c:v>
                </c:pt>
                <c:pt idx="40294">
                  <c:v>34089</c:v>
                </c:pt>
                <c:pt idx="40295">
                  <c:v>34089</c:v>
                </c:pt>
                <c:pt idx="40296">
                  <c:v>34088</c:v>
                </c:pt>
                <c:pt idx="40297">
                  <c:v>34088</c:v>
                </c:pt>
                <c:pt idx="40298">
                  <c:v>34088</c:v>
                </c:pt>
                <c:pt idx="40299">
                  <c:v>34088</c:v>
                </c:pt>
                <c:pt idx="40300">
                  <c:v>34088</c:v>
                </c:pt>
                <c:pt idx="40301">
                  <c:v>34088</c:v>
                </c:pt>
                <c:pt idx="40302">
                  <c:v>34088</c:v>
                </c:pt>
                <c:pt idx="40303">
                  <c:v>34088</c:v>
                </c:pt>
                <c:pt idx="40304">
                  <c:v>34087</c:v>
                </c:pt>
                <c:pt idx="40305">
                  <c:v>34087</c:v>
                </c:pt>
                <c:pt idx="40306">
                  <c:v>34087</c:v>
                </c:pt>
                <c:pt idx="40307">
                  <c:v>34087</c:v>
                </c:pt>
                <c:pt idx="40308">
                  <c:v>34087</c:v>
                </c:pt>
                <c:pt idx="40309">
                  <c:v>34086</c:v>
                </c:pt>
                <c:pt idx="40310">
                  <c:v>34086</c:v>
                </c:pt>
                <c:pt idx="40311">
                  <c:v>34086</c:v>
                </c:pt>
                <c:pt idx="40312">
                  <c:v>34086</c:v>
                </c:pt>
                <c:pt idx="40313">
                  <c:v>34086</c:v>
                </c:pt>
                <c:pt idx="40314">
                  <c:v>34086</c:v>
                </c:pt>
                <c:pt idx="40315">
                  <c:v>34085</c:v>
                </c:pt>
                <c:pt idx="40316">
                  <c:v>34085</c:v>
                </c:pt>
                <c:pt idx="40317">
                  <c:v>34085</c:v>
                </c:pt>
                <c:pt idx="40318">
                  <c:v>34084</c:v>
                </c:pt>
                <c:pt idx="40319">
                  <c:v>34083</c:v>
                </c:pt>
                <c:pt idx="40320">
                  <c:v>34083</c:v>
                </c:pt>
                <c:pt idx="40321">
                  <c:v>34083</c:v>
                </c:pt>
                <c:pt idx="40322">
                  <c:v>34083</c:v>
                </c:pt>
                <c:pt idx="40323">
                  <c:v>34083</c:v>
                </c:pt>
                <c:pt idx="40324">
                  <c:v>34083</c:v>
                </c:pt>
                <c:pt idx="40325">
                  <c:v>34083</c:v>
                </c:pt>
                <c:pt idx="40326">
                  <c:v>34083</c:v>
                </c:pt>
                <c:pt idx="40327">
                  <c:v>34083</c:v>
                </c:pt>
                <c:pt idx="40328">
                  <c:v>34082</c:v>
                </c:pt>
                <c:pt idx="40329">
                  <c:v>34082</c:v>
                </c:pt>
                <c:pt idx="40330">
                  <c:v>34082</c:v>
                </c:pt>
                <c:pt idx="40331">
                  <c:v>34082</c:v>
                </c:pt>
                <c:pt idx="40332">
                  <c:v>34082</c:v>
                </c:pt>
                <c:pt idx="40333">
                  <c:v>34082</c:v>
                </c:pt>
                <c:pt idx="40334">
                  <c:v>34082</c:v>
                </c:pt>
                <c:pt idx="40335">
                  <c:v>34082</c:v>
                </c:pt>
                <c:pt idx="40336">
                  <c:v>34082</c:v>
                </c:pt>
                <c:pt idx="40337">
                  <c:v>34082</c:v>
                </c:pt>
                <c:pt idx="40338">
                  <c:v>34082</c:v>
                </c:pt>
                <c:pt idx="40339">
                  <c:v>34082</c:v>
                </c:pt>
                <c:pt idx="40340">
                  <c:v>34081</c:v>
                </c:pt>
                <c:pt idx="40341">
                  <c:v>34081</c:v>
                </c:pt>
                <c:pt idx="40342">
                  <c:v>34081</c:v>
                </c:pt>
                <c:pt idx="40343">
                  <c:v>34081</c:v>
                </c:pt>
                <c:pt idx="40344">
                  <c:v>34081</c:v>
                </c:pt>
                <c:pt idx="40345">
                  <c:v>34081</c:v>
                </c:pt>
                <c:pt idx="40346">
                  <c:v>34081</c:v>
                </c:pt>
                <c:pt idx="40347">
                  <c:v>34081</c:v>
                </c:pt>
                <c:pt idx="40348">
                  <c:v>34081</c:v>
                </c:pt>
                <c:pt idx="40349">
                  <c:v>34081</c:v>
                </c:pt>
                <c:pt idx="40350">
                  <c:v>34080</c:v>
                </c:pt>
                <c:pt idx="40351">
                  <c:v>34080</c:v>
                </c:pt>
                <c:pt idx="40352">
                  <c:v>34080</c:v>
                </c:pt>
                <c:pt idx="40353">
                  <c:v>34080</c:v>
                </c:pt>
                <c:pt idx="40354">
                  <c:v>34080</c:v>
                </c:pt>
                <c:pt idx="40355">
                  <c:v>34080</c:v>
                </c:pt>
                <c:pt idx="40356">
                  <c:v>34080</c:v>
                </c:pt>
                <c:pt idx="40357">
                  <c:v>34080</c:v>
                </c:pt>
                <c:pt idx="40358">
                  <c:v>34080</c:v>
                </c:pt>
                <c:pt idx="40359">
                  <c:v>34080</c:v>
                </c:pt>
                <c:pt idx="40360">
                  <c:v>34080</c:v>
                </c:pt>
                <c:pt idx="40361">
                  <c:v>34079</c:v>
                </c:pt>
                <c:pt idx="40362">
                  <c:v>34079</c:v>
                </c:pt>
                <c:pt idx="40363">
                  <c:v>34079</c:v>
                </c:pt>
                <c:pt idx="40364">
                  <c:v>34079</c:v>
                </c:pt>
                <c:pt idx="40365">
                  <c:v>34079</c:v>
                </c:pt>
                <c:pt idx="40366">
                  <c:v>34079</c:v>
                </c:pt>
                <c:pt idx="40367">
                  <c:v>34078</c:v>
                </c:pt>
                <c:pt idx="40368">
                  <c:v>34078</c:v>
                </c:pt>
                <c:pt idx="40369">
                  <c:v>34078</c:v>
                </c:pt>
                <c:pt idx="40370">
                  <c:v>34078</c:v>
                </c:pt>
                <c:pt idx="40371">
                  <c:v>34078</c:v>
                </c:pt>
                <c:pt idx="40372">
                  <c:v>34078</c:v>
                </c:pt>
                <c:pt idx="40373">
                  <c:v>34078</c:v>
                </c:pt>
                <c:pt idx="40374">
                  <c:v>34078</c:v>
                </c:pt>
                <c:pt idx="40375">
                  <c:v>34077</c:v>
                </c:pt>
                <c:pt idx="40376">
                  <c:v>34077</c:v>
                </c:pt>
                <c:pt idx="40377">
                  <c:v>34077</c:v>
                </c:pt>
                <c:pt idx="40378">
                  <c:v>34077</c:v>
                </c:pt>
                <c:pt idx="40379">
                  <c:v>34077</c:v>
                </c:pt>
                <c:pt idx="40380">
                  <c:v>34077</c:v>
                </c:pt>
                <c:pt idx="40381">
                  <c:v>34077</c:v>
                </c:pt>
                <c:pt idx="40382">
                  <c:v>34077</c:v>
                </c:pt>
                <c:pt idx="40383">
                  <c:v>34076</c:v>
                </c:pt>
                <c:pt idx="40384">
                  <c:v>34076</c:v>
                </c:pt>
                <c:pt idx="40385">
                  <c:v>34076</c:v>
                </c:pt>
                <c:pt idx="40386">
                  <c:v>34076</c:v>
                </c:pt>
                <c:pt idx="40387">
                  <c:v>34076</c:v>
                </c:pt>
                <c:pt idx="40388">
                  <c:v>34076</c:v>
                </c:pt>
                <c:pt idx="40389">
                  <c:v>34075</c:v>
                </c:pt>
                <c:pt idx="40390">
                  <c:v>34075</c:v>
                </c:pt>
                <c:pt idx="40391">
                  <c:v>34075</c:v>
                </c:pt>
                <c:pt idx="40392">
                  <c:v>34075</c:v>
                </c:pt>
                <c:pt idx="40393">
                  <c:v>34075</c:v>
                </c:pt>
                <c:pt idx="40394">
                  <c:v>34075</c:v>
                </c:pt>
                <c:pt idx="40395">
                  <c:v>34075</c:v>
                </c:pt>
                <c:pt idx="40396">
                  <c:v>34075</c:v>
                </c:pt>
                <c:pt idx="40397">
                  <c:v>34075</c:v>
                </c:pt>
                <c:pt idx="40398">
                  <c:v>34075</c:v>
                </c:pt>
                <c:pt idx="40399">
                  <c:v>34074</c:v>
                </c:pt>
                <c:pt idx="40400">
                  <c:v>34074</c:v>
                </c:pt>
                <c:pt idx="40401">
                  <c:v>34074</c:v>
                </c:pt>
                <c:pt idx="40402">
                  <c:v>34074</c:v>
                </c:pt>
                <c:pt idx="40403">
                  <c:v>34074</c:v>
                </c:pt>
                <c:pt idx="40404">
                  <c:v>34073</c:v>
                </c:pt>
                <c:pt idx="40405">
                  <c:v>34073</c:v>
                </c:pt>
                <c:pt idx="40406">
                  <c:v>34073</c:v>
                </c:pt>
                <c:pt idx="40407">
                  <c:v>34073</c:v>
                </c:pt>
                <c:pt idx="40408">
                  <c:v>34073</c:v>
                </c:pt>
                <c:pt idx="40409">
                  <c:v>34072</c:v>
                </c:pt>
                <c:pt idx="40410">
                  <c:v>34072</c:v>
                </c:pt>
                <c:pt idx="40411">
                  <c:v>34072</c:v>
                </c:pt>
                <c:pt idx="40412">
                  <c:v>34071</c:v>
                </c:pt>
                <c:pt idx="40413">
                  <c:v>34071</c:v>
                </c:pt>
                <c:pt idx="40414">
                  <c:v>34071</c:v>
                </c:pt>
                <c:pt idx="40415">
                  <c:v>34071</c:v>
                </c:pt>
                <c:pt idx="40416">
                  <c:v>34071</c:v>
                </c:pt>
                <c:pt idx="40417">
                  <c:v>34071</c:v>
                </c:pt>
                <c:pt idx="40418">
                  <c:v>34071</c:v>
                </c:pt>
                <c:pt idx="40419">
                  <c:v>34071</c:v>
                </c:pt>
                <c:pt idx="40420">
                  <c:v>34070</c:v>
                </c:pt>
                <c:pt idx="40421">
                  <c:v>34070</c:v>
                </c:pt>
                <c:pt idx="40422">
                  <c:v>34070</c:v>
                </c:pt>
                <c:pt idx="40423">
                  <c:v>34070</c:v>
                </c:pt>
                <c:pt idx="40424">
                  <c:v>34070</c:v>
                </c:pt>
                <c:pt idx="40425">
                  <c:v>34070</c:v>
                </c:pt>
                <c:pt idx="40426">
                  <c:v>34070</c:v>
                </c:pt>
                <c:pt idx="40427">
                  <c:v>34069</c:v>
                </c:pt>
                <c:pt idx="40428">
                  <c:v>34069</c:v>
                </c:pt>
                <c:pt idx="40429">
                  <c:v>34069</c:v>
                </c:pt>
                <c:pt idx="40430">
                  <c:v>34069</c:v>
                </c:pt>
                <c:pt idx="40431">
                  <c:v>34069</c:v>
                </c:pt>
                <c:pt idx="40432">
                  <c:v>34068</c:v>
                </c:pt>
                <c:pt idx="40433">
                  <c:v>34068</c:v>
                </c:pt>
                <c:pt idx="40434">
                  <c:v>34068</c:v>
                </c:pt>
                <c:pt idx="40435">
                  <c:v>34068</c:v>
                </c:pt>
                <c:pt idx="40436">
                  <c:v>34068</c:v>
                </c:pt>
                <c:pt idx="40437">
                  <c:v>34068</c:v>
                </c:pt>
                <c:pt idx="40438">
                  <c:v>34068</c:v>
                </c:pt>
                <c:pt idx="40439">
                  <c:v>34067</c:v>
                </c:pt>
                <c:pt idx="40440">
                  <c:v>34066</c:v>
                </c:pt>
                <c:pt idx="40441">
                  <c:v>34066</c:v>
                </c:pt>
                <c:pt idx="40442">
                  <c:v>34066</c:v>
                </c:pt>
                <c:pt idx="40443">
                  <c:v>34065</c:v>
                </c:pt>
                <c:pt idx="40444">
                  <c:v>34065</c:v>
                </c:pt>
                <c:pt idx="40445">
                  <c:v>34065</c:v>
                </c:pt>
                <c:pt idx="40446">
                  <c:v>34065</c:v>
                </c:pt>
                <c:pt idx="40447">
                  <c:v>34065</c:v>
                </c:pt>
                <c:pt idx="40448">
                  <c:v>34064</c:v>
                </c:pt>
                <c:pt idx="40449">
                  <c:v>34064</c:v>
                </c:pt>
                <c:pt idx="40450">
                  <c:v>34064</c:v>
                </c:pt>
                <c:pt idx="40451">
                  <c:v>34064</c:v>
                </c:pt>
                <c:pt idx="40452">
                  <c:v>34064</c:v>
                </c:pt>
                <c:pt idx="40453">
                  <c:v>34064</c:v>
                </c:pt>
                <c:pt idx="40454">
                  <c:v>34064</c:v>
                </c:pt>
                <c:pt idx="40455">
                  <c:v>34063</c:v>
                </c:pt>
                <c:pt idx="40456">
                  <c:v>34063</c:v>
                </c:pt>
                <c:pt idx="40457">
                  <c:v>34063</c:v>
                </c:pt>
                <c:pt idx="40458">
                  <c:v>34063</c:v>
                </c:pt>
                <c:pt idx="40459">
                  <c:v>34062</c:v>
                </c:pt>
                <c:pt idx="40460">
                  <c:v>34062</c:v>
                </c:pt>
                <c:pt idx="40461">
                  <c:v>34062</c:v>
                </c:pt>
                <c:pt idx="40462">
                  <c:v>34062</c:v>
                </c:pt>
                <c:pt idx="40463">
                  <c:v>34061</c:v>
                </c:pt>
                <c:pt idx="40464">
                  <c:v>34061</c:v>
                </c:pt>
                <c:pt idx="40465">
                  <c:v>34061</c:v>
                </c:pt>
                <c:pt idx="40466">
                  <c:v>34061</c:v>
                </c:pt>
                <c:pt idx="40467">
                  <c:v>34061</c:v>
                </c:pt>
                <c:pt idx="40468">
                  <c:v>34061</c:v>
                </c:pt>
                <c:pt idx="40469">
                  <c:v>34061</c:v>
                </c:pt>
                <c:pt idx="40470">
                  <c:v>34061</c:v>
                </c:pt>
                <c:pt idx="40471">
                  <c:v>34060</c:v>
                </c:pt>
                <c:pt idx="40472">
                  <c:v>34060</c:v>
                </c:pt>
                <c:pt idx="40473">
                  <c:v>34060</c:v>
                </c:pt>
                <c:pt idx="40474">
                  <c:v>34060</c:v>
                </c:pt>
                <c:pt idx="40475">
                  <c:v>34060</c:v>
                </c:pt>
                <c:pt idx="40476">
                  <c:v>34060</c:v>
                </c:pt>
                <c:pt idx="40477">
                  <c:v>34059</c:v>
                </c:pt>
                <c:pt idx="40478">
                  <c:v>34059</c:v>
                </c:pt>
                <c:pt idx="40479">
                  <c:v>34059</c:v>
                </c:pt>
                <c:pt idx="40480">
                  <c:v>34059</c:v>
                </c:pt>
                <c:pt idx="40481">
                  <c:v>34059</c:v>
                </c:pt>
                <c:pt idx="40482">
                  <c:v>34058</c:v>
                </c:pt>
                <c:pt idx="40483">
                  <c:v>34058</c:v>
                </c:pt>
                <c:pt idx="40484">
                  <c:v>34058</c:v>
                </c:pt>
                <c:pt idx="40485">
                  <c:v>34058</c:v>
                </c:pt>
                <c:pt idx="40486">
                  <c:v>34058</c:v>
                </c:pt>
                <c:pt idx="40487">
                  <c:v>34058</c:v>
                </c:pt>
                <c:pt idx="40488">
                  <c:v>34057</c:v>
                </c:pt>
                <c:pt idx="40489">
                  <c:v>34057</c:v>
                </c:pt>
                <c:pt idx="40490">
                  <c:v>34057</c:v>
                </c:pt>
                <c:pt idx="40491">
                  <c:v>34057</c:v>
                </c:pt>
                <c:pt idx="40492">
                  <c:v>34057</c:v>
                </c:pt>
                <c:pt idx="40493">
                  <c:v>34057</c:v>
                </c:pt>
                <c:pt idx="40494">
                  <c:v>34057</c:v>
                </c:pt>
                <c:pt idx="40495">
                  <c:v>34057</c:v>
                </c:pt>
                <c:pt idx="40496">
                  <c:v>34056</c:v>
                </c:pt>
                <c:pt idx="40497">
                  <c:v>34056</c:v>
                </c:pt>
                <c:pt idx="40498">
                  <c:v>34056</c:v>
                </c:pt>
                <c:pt idx="40499">
                  <c:v>34056</c:v>
                </c:pt>
                <c:pt idx="40500">
                  <c:v>34055</c:v>
                </c:pt>
                <c:pt idx="40501">
                  <c:v>34055</c:v>
                </c:pt>
                <c:pt idx="40502">
                  <c:v>34055</c:v>
                </c:pt>
                <c:pt idx="40503">
                  <c:v>34055</c:v>
                </c:pt>
                <c:pt idx="40504">
                  <c:v>34054</c:v>
                </c:pt>
                <c:pt idx="40505">
                  <c:v>34054</c:v>
                </c:pt>
                <c:pt idx="40506">
                  <c:v>34054</c:v>
                </c:pt>
                <c:pt idx="40507">
                  <c:v>34054</c:v>
                </c:pt>
                <c:pt idx="40508">
                  <c:v>34054</c:v>
                </c:pt>
                <c:pt idx="40509">
                  <c:v>34054</c:v>
                </c:pt>
                <c:pt idx="40510">
                  <c:v>34054</c:v>
                </c:pt>
                <c:pt idx="40511">
                  <c:v>34054</c:v>
                </c:pt>
                <c:pt idx="40512">
                  <c:v>34053</c:v>
                </c:pt>
                <c:pt idx="40513">
                  <c:v>34053</c:v>
                </c:pt>
                <c:pt idx="40514">
                  <c:v>34053</c:v>
                </c:pt>
                <c:pt idx="40515">
                  <c:v>34053</c:v>
                </c:pt>
                <c:pt idx="40516">
                  <c:v>34053</c:v>
                </c:pt>
                <c:pt idx="40517">
                  <c:v>34053</c:v>
                </c:pt>
                <c:pt idx="40518">
                  <c:v>34053</c:v>
                </c:pt>
                <c:pt idx="40519">
                  <c:v>34052</c:v>
                </c:pt>
                <c:pt idx="40520">
                  <c:v>34052</c:v>
                </c:pt>
                <c:pt idx="40521">
                  <c:v>34052</c:v>
                </c:pt>
                <c:pt idx="40522">
                  <c:v>34052</c:v>
                </c:pt>
                <c:pt idx="40523">
                  <c:v>34052</c:v>
                </c:pt>
                <c:pt idx="40524">
                  <c:v>34052</c:v>
                </c:pt>
                <c:pt idx="40525">
                  <c:v>34052</c:v>
                </c:pt>
                <c:pt idx="40526">
                  <c:v>34051</c:v>
                </c:pt>
                <c:pt idx="40527">
                  <c:v>34051</c:v>
                </c:pt>
                <c:pt idx="40528">
                  <c:v>34051</c:v>
                </c:pt>
                <c:pt idx="40529">
                  <c:v>34051</c:v>
                </c:pt>
                <c:pt idx="40530">
                  <c:v>34050</c:v>
                </c:pt>
                <c:pt idx="40531">
                  <c:v>34050</c:v>
                </c:pt>
                <c:pt idx="40532">
                  <c:v>34050</c:v>
                </c:pt>
                <c:pt idx="40533">
                  <c:v>34050</c:v>
                </c:pt>
                <c:pt idx="40534">
                  <c:v>34050</c:v>
                </c:pt>
                <c:pt idx="40535">
                  <c:v>34050</c:v>
                </c:pt>
                <c:pt idx="40536">
                  <c:v>34050</c:v>
                </c:pt>
                <c:pt idx="40537">
                  <c:v>34050</c:v>
                </c:pt>
                <c:pt idx="40538">
                  <c:v>34050</c:v>
                </c:pt>
                <c:pt idx="40539">
                  <c:v>34049</c:v>
                </c:pt>
                <c:pt idx="40540">
                  <c:v>34049</c:v>
                </c:pt>
                <c:pt idx="40541">
                  <c:v>34049</c:v>
                </c:pt>
                <c:pt idx="40542">
                  <c:v>34049</c:v>
                </c:pt>
                <c:pt idx="40543">
                  <c:v>34048</c:v>
                </c:pt>
                <c:pt idx="40544">
                  <c:v>34048</c:v>
                </c:pt>
                <c:pt idx="40545">
                  <c:v>34048</c:v>
                </c:pt>
                <c:pt idx="40546">
                  <c:v>34048</c:v>
                </c:pt>
                <c:pt idx="40547">
                  <c:v>34048</c:v>
                </c:pt>
                <c:pt idx="40548">
                  <c:v>34048</c:v>
                </c:pt>
                <c:pt idx="40549">
                  <c:v>34047</c:v>
                </c:pt>
                <c:pt idx="40550">
                  <c:v>34047</c:v>
                </c:pt>
                <c:pt idx="40551">
                  <c:v>34047</c:v>
                </c:pt>
                <c:pt idx="40552">
                  <c:v>34047</c:v>
                </c:pt>
                <c:pt idx="40553">
                  <c:v>34047</c:v>
                </c:pt>
                <c:pt idx="40554">
                  <c:v>34047</c:v>
                </c:pt>
                <c:pt idx="40555">
                  <c:v>34047</c:v>
                </c:pt>
                <c:pt idx="40556">
                  <c:v>34047</c:v>
                </c:pt>
                <c:pt idx="40557">
                  <c:v>34047</c:v>
                </c:pt>
                <c:pt idx="40558">
                  <c:v>34046</c:v>
                </c:pt>
                <c:pt idx="40559">
                  <c:v>34046</c:v>
                </c:pt>
                <c:pt idx="40560">
                  <c:v>34046</c:v>
                </c:pt>
                <c:pt idx="40561">
                  <c:v>34046</c:v>
                </c:pt>
                <c:pt idx="40562">
                  <c:v>34046</c:v>
                </c:pt>
                <c:pt idx="40563">
                  <c:v>34045</c:v>
                </c:pt>
                <c:pt idx="40564">
                  <c:v>34045</c:v>
                </c:pt>
                <c:pt idx="40565">
                  <c:v>34045</c:v>
                </c:pt>
                <c:pt idx="40566">
                  <c:v>34045</c:v>
                </c:pt>
                <c:pt idx="40567">
                  <c:v>34045</c:v>
                </c:pt>
                <c:pt idx="40568">
                  <c:v>34045</c:v>
                </c:pt>
                <c:pt idx="40569">
                  <c:v>34045</c:v>
                </c:pt>
                <c:pt idx="40570">
                  <c:v>34045</c:v>
                </c:pt>
                <c:pt idx="40571">
                  <c:v>34045</c:v>
                </c:pt>
                <c:pt idx="40572">
                  <c:v>34045</c:v>
                </c:pt>
                <c:pt idx="40573">
                  <c:v>34044</c:v>
                </c:pt>
                <c:pt idx="40574">
                  <c:v>34044</c:v>
                </c:pt>
                <c:pt idx="40575">
                  <c:v>34044</c:v>
                </c:pt>
                <c:pt idx="40576">
                  <c:v>34043</c:v>
                </c:pt>
                <c:pt idx="40577">
                  <c:v>34043</c:v>
                </c:pt>
                <c:pt idx="40578">
                  <c:v>34043</c:v>
                </c:pt>
                <c:pt idx="40579">
                  <c:v>34043</c:v>
                </c:pt>
                <c:pt idx="40580">
                  <c:v>34043</c:v>
                </c:pt>
                <c:pt idx="40581">
                  <c:v>34043</c:v>
                </c:pt>
                <c:pt idx="40582">
                  <c:v>34043</c:v>
                </c:pt>
                <c:pt idx="40583">
                  <c:v>34043</c:v>
                </c:pt>
                <c:pt idx="40584">
                  <c:v>34043</c:v>
                </c:pt>
                <c:pt idx="40585">
                  <c:v>34043</c:v>
                </c:pt>
                <c:pt idx="40586">
                  <c:v>34042</c:v>
                </c:pt>
                <c:pt idx="40587">
                  <c:v>34042</c:v>
                </c:pt>
                <c:pt idx="40588">
                  <c:v>34042</c:v>
                </c:pt>
                <c:pt idx="40589">
                  <c:v>34042</c:v>
                </c:pt>
                <c:pt idx="40590">
                  <c:v>34042</c:v>
                </c:pt>
                <c:pt idx="40591">
                  <c:v>34041</c:v>
                </c:pt>
                <c:pt idx="40592">
                  <c:v>34041</c:v>
                </c:pt>
                <c:pt idx="40593">
                  <c:v>34041</c:v>
                </c:pt>
                <c:pt idx="40594">
                  <c:v>34041</c:v>
                </c:pt>
                <c:pt idx="40595">
                  <c:v>34041</c:v>
                </c:pt>
                <c:pt idx="40596">
                  <c:v>34041</c:v>
                </c:pt>
                <c:pt idx="40597">
                  <c:v>34041</c:v>
                </c:pt>
                <c:pt idx="40598">
                  <c:v>34041</c:v>
                </c:pt>
                <c:pt idx="40599">
                  <c:v>34041</c:v>
                </c:pt>
                <c:pt idx="40600">
                  <c:v>34041</c:v>
                </c:pt>
                <c:pt idx="40601">
                  <c:v>34040</c:v>
                </c:pt>
                <c:pt idx="40602">
                  <c:v>34040</c:v>
                </c:pt>
                <c:pt idx="40603">
                  <c:v>34040</c:v>
                </c:pt>
                <c:pt idx="40604">
                  <c:v>34040</c:v>
                </c:pt>
                <c:pt idx="40605">
                  <c:v>34040</c:v>
                </c:pt>
                <c:pt idx="40606">
                  <c:v>34040</c:v>
                </c:pt>
                <c:pt idx="40607">
                  <c:v>34040</c:v>
                </c:pt>
                <c:pt idx="40608">
                  <c:v>34039</c:v>
                </c:pt>
                <c:pt idx="40609">
                  <c:v>34039</c:v>
                </c:pt>
                <c:pt idx="40610">
                  <c:v>34039</c:v>
                </c:pt>
                <c:pt idx="40611">
                  <c:v>34039</c:v>
                </c:pt>
                <c:pt idx="40612">
                  <c:v>34039</c:v>
                </c:pt>
                <c:pt idx="40613">
                  <c:v>34039</c:v>
                </c:pt>
                <c:pt idx="40614">
                  <c:v>34039</c:v>
                </c:pt>
                <c:pt idx="40615">
                  <c:v>34038</c:v>
                </c:pt>
                <c:pt idx="40616">
                  <c:v>34038</c:v>
                </c:pt>
                <c:pt idx="40617">
                  <c:v>34038</c:v>
                </c:pt>
                <c:pt idx="40618">
                  <c:v>34038</c:v>
                </c:pt>
                <c:pt idx="40619">
                  <c:v>34037</c:v>
                </c:pt>
                <c:pt idx="40620">
                  <c:v>34037</c:v>
                </c:pt>
                <c:pt idx="40621">
                  <c:v>34037</c:v>
                </c:pt>
                <c:pt idx="40622">
                  <c:v>34037</c:v>
                </c:pt>
                <c:pt idx="40623">
                  <c:v>34037</c:v>
                </c:pt>
                <c:pt idx="40624">
                  <c:v>34037</c:v>
                </c:pt>
                <c:pt idx="40625">
                  <c:v>34037</c:v>
                </c:pt>
                <c:pt idx="40626">
                  <c:v>34037</c:v>
                </c:pt>
                <c:pt idx="40627">
                  <c:v>34037</c:v>
                </c:pt>
                <c:pt idx="40628">
                  <c:v>34036</c:v>
                </c:pt>
                <c:pt idx="40629">
                  <c:v>34036</c:v>
                </c:pt>
                <c:pt idx="40630">
                  <c:v>34036</c:v>
                </c:pt>
                <c:pt idx="40631">
                  <c:v>34036</c:v>
                </c:pt>
                <c:pt idx="40632">
                  <c:v>34036</c:v>
                </c:pt>
                <c:pt idx="40633">
                  <c:v>34036</c:v>
                </c:pt>
                <c:pt idx="40634">
                  <c:v>34036</c:v>
                </c:pt>
                <c:pt idx="40635">
                  <c:v>34035</c:v>
                </c:pt>
                <c:pt idx="40636">
                  <c:v>34035</c:v>
                </c:pt>
                <c:pt idx="40637">
                  <c:v>34035</c:v>
                </c:pt>
                <c:pt idx="40638">
                  <c:v>34035</c:v>
                </c:pt>
                <c:pt idx="40639">
                  <c:v>34035</c:v>
                </c:pt>
                <c:pt idx="40640">
                  <c:v>34035</c:v>
                </c:pt>
                <c:pt idx="40641">
                  <c:v>34035</c:v>
                </c:pt>
                <c:pt idx="40642">
                  <c:v>34034</c:v>
                </c:pt>
                <c:pt idx="40643">
                  <c:v>34034</c:v>
                </c:pt>
                <c:pt idx="40644">
                  <c:v>34034</c:v>
                </c:pt>
                <c:pt idx="40645">
                  <c:v>34034</c:v>
                </c:pt>
                <c:pt idx="40646">
                  <c:v>34034</c:v>
                </c:pt>
                <c:pt idx="40647">
                  <c:v>34034</c:v>
                </c:pt>
                <c:pt idx="40648">
                  <c:v>34034</c:v>
                </c:pt>
                <c:pt idx="40649">
                  <c:v>34034</c:v>
                </c:pt>
                <c:pt idx="40650">
                  <c:v>34033</c:v>
                </c:pt>
                <c:pt idx="40651">
                  <c:v>34033</c:v>
                </c:pt>
                <c:pt idx="40652">
                  <c:v>34033</c:v>
                </c:pt>
                <c:pt idx="40653">
                  <c:v>34033</c:v>
                </c:pt>
                <c:pt idx="40654">
                  <c:v>34033</c:v>
                </c:pt>
                <c:pt idx="40655">
                  <c:v>34033</c:v>
                </c:pt>
                <c:pt idx="40656">
                  <c:v>34033</c:v>
                </c:pt>
                <c:pt idx="40657">
                  <c:v>34033</c:v>
                </c:pt>
                <c:pt idx="40658">
                  <c:v>34032</c:v>
                </c:pt>
                <c:pt idx="40659">
                  <c:v>34032</c:v>
                </c:pt>
                <c:pt idx="40660">
                  <c:v>34032</c:v>
                </c:pt>
                <c:pt idx="40661">
                  <c:v>34032</c:v>
                </c:pt>
                <c:pt idx="40662">
                  <c:v>34031</c:v>
                </c:pt>
                <c:pt idx="40663">
                  <c:v>34031</c:v>
                </c:pt>
                <c:pt idx="40664">
                  <c:v>34031</c:v>
                </c:pt>
                <c:pt idx="40665">
                  <c:v>34031</c:v>
                </c:pt>
                <c:pt idx="40666">
                  <c:v>34031</c:v>
                </c:pt>
                <c:pt idx="40667">
                  <c:v>34030</c:v>
                </c:pt>
                <c:pt idx="40668">
                  <c:v>34030</c:v>
                </c:pt>
                <c:pt idx="40669">
                  <c:v>34030</c:v>
                </c:pt>
                <c:pt idx="40670">
                  <c:v>34030</c:v>
                </c:pt>
                <c:pt idx="40671">
                  <c:v>34030</c:v>
                </c:pt>
                <c:pt idx="40672">
                  <c:v>34030</c:v>
                </c:pt>
                <c:pt idx="40673">
                  <c:v>34030</c:v>
                </c:pt>
                <c:pt idx="40674">
                  <c:v>34030</c:v>
                </c:pt>
                <c:pt idx="40675">
                  <c:v>34029</c:v>
                </c:pt>
                <c:pt idx="40676">
                  <c:v>34029</c:v>
                </c:pt>
                <c:pt idx="40677">
                  <c:v>34029</c:v>
                </c:pt>
                <c:pt idx="40678">
                  <c:v>34028</c:v>
                </c:pt>
                <c:pt idx="40679">
                  <c:v>34028</c:v>
                </c:pt>
                <c:pt idx="40680">
                  <c:v>34028</c:v>
                </c:pt>
                <c:pt idx="40681">
                  <c:v>34028</c:v>
                </c:pt>
                <c:pt idx="40682">
                  <c:v>34028</c:v>
                </c:pt>
                <c:pt idx="40683">
                  <c:v>34028</c:v>
                </c:pt>
                <c:pt idx="40684">
                  <c:v>34028</c:v>
                </c:pt>
                <c:pt idx="40685">
                  <c:v>34028</c:v>
                </c:pt>
                <c:pt idx="40686">
                  <c:v>34028</c:v>
                </c:pt>
                <c:pt idx="40687">
                  <c:v>34028</c:v>
                </c:pt>
                <c:pt idx="40688">
                  <c:v>34027</c:v>
                </c:pt>
                <c:pt idx="40689">
                  <c:v>34027</c:v>
                </c:pt>
                <c:pt idx="40690">
                  <c:v>34027</c:v>
                </c:pt>
                <c:pt idx="40691">
                  <c:v>34027</c:v>
                </c:pt>
                <c:pt idx="40692">
                  <c:v>34027</c:v>
                </c:pt>
                <c:pt idx="40693">
                  <c:v>34027</c:v>
                </c:pt>
                <c:pt idx="40694">
                  <c:v>34027</c:v>
                </c:pt>
                <c:pt idx="40695">
                  <c:v>34027</c:v>
                </c:pt>
                <c:pt idx="40696">
                  <c:v>34027</c:v>
                </c:pt>
                <c:pt idx="40697">
                  <c:v>34027</c:v>
                </c:pt>
                <c:pt idx="40698">
                  <c:v>34026</c:v>
                </c:pt>
                <c:pt idx="40699">
                  <c:v>34026</c:v>
                </c:pt>
                <c:pt idx="40700">
                  <c:v>34026</c:v>
                </c:pt>
                <c:pt idx="40701">
                  <c:v>34026</c:v>
                </c:pt>
                <c:pt idx="40702">
                  <c:v>34026</c:v>
                </c:pt>
                <c:pt idx="40703">
                  <c:v>34026</c:v>
                </c:pt>
                <c:pt idx="40704">
                  <c:v>34025</c:v>
                </c:pt>
                <c:pt idx="40705">
                  <c:v>34025</c:v>
                </c:pt>
                <c:pt idx="40706">
                  <c:v>34025</c:v>
                </c:pt>
                <c:pt idx="40707">
                  <c:v>34025</c:v>
                </c:pt>
                <c:pt idx="40708">
                  <c:v>34024</c:v>
                </c:pt>
                <c:pt idx="40709">
                  <c:v>34024</c:v>
                </c:pt>
                <c:pt idx="40710">
                  <c:v>34024</c:v>
                </c:pt>
                <c:pt idx="40711">
                  <c:v>34024</c:v>
                </c:pt>
                <c:pt idx="40712">
                  <c:v>34024</c:v>
                </c:pt>
                <c:pt idx="40713">
                  <c:v>34024</c:v>
                </c:pt>
                <c:pt idx="40714">
                  <c:v>34024</c:v>
                </c:pt>
                <c:pt idx="40715">
                  <c:v>34024</c:v>
                </c:pt>
                <c:pt idx="40716">
                  <c:v>34023</c:v>
                </c:pt>
                <c:pt idx="40717">
                  <c:v>34023</c:v>
                </c:pt>
                <c:pt idx="40718">
                  <c:v>34022</c:v>
                </c:pt>
                <c:pt idx="40719">
                  <c:v>34022</c:v>
                </c:pt>
                <c:pt idx="40720">
                  <c:v>34022</c:v>
                </c:pt>
                <c:pt idx="40721">
                  <c:v>34022</c:v>
                </c:pt>
                <c:pt idx="40722">
                  <c:v>34022</c:v>
                </c:pt>
                <c:pt idx="40723">
                  <c:v>34022</c:v>
                </c:pt>
                <c:pt idx="40724">
                  <c:v>34022</c:v>
                </c:pt>
                <c:pt idx="40725">
                  <c:v>34022</c:v>
                </c:pt>
                <c:pt idx="40726">
                  <c:v>34021</c:v>
                </c:pt>
                <c:pt idx="40727">
                  <c:v>34021</c:v>
                </c:pt>
                <c:pt idx="40728">
                  <c:v>34021</c:v>
                </c:pt>
                <c:pt idx="40729">
                  <c:v>34021</c:v>
                </c:pt>
                <c:pt idx="40730">
                  <c:v>34020</c:v>
                </c:pt>
                <c:pt idx="40731">
                  <c:v>34020</c:v>
                </c:pt>
                <c:pt idx="40732">
                  <c:v>34020</c:v>
                </c:pt>
                <c:pt idx="40733">
                  <c:v>34020</c:v>
                </c:pt>
                <c:pt idx="40734">
                  <c:v>34020</c:v>
                </c:pt>
                <c:pt idx="40735">
                  <c:v>34020</c:v>
                </c:pt>
                <c:pt idx="40736">
                  <c:v>34020</c:v>
                </c:pt>
                <c:pt idx="40737">
                  <c:v>34019</c:v>
                </c:pt>
                <c:pt idx="40738">
                  <c:v>34019</c:v>
                </c:pt>
                <c:pt idx="40739">
                  <c:v>34019</c:v>
                </c:pt>
                <c:pt idx="40740">
                  <c:v>34019</c:v>
                </c:pt>
                <c:pt idx="40741">
                  <c:v>34019</c:v>
                </c:pt>
                <c:pt idx="40742">
                  <c:v>34019</c:v>
                </c:pt>
                <c:pt idx="40743">
                  <c:v>34019</c:v>
                </c:pt>
                <c:pt idx="40744">
                  <c:v>34018</c:v>
                </c:pt>
                <c:pt idx="40745">
                  <c:v>34018</c:v>
                </c:pt>
                <c:pt idx="40746">
                  <c:v>34018</c:v>
                </c:pt>
                <c:pt idx="40747">
                  <c:v>34018</c:v>
                </c:pt>
                <c:pt idx="40748">
                  <c:v>34018</c:v>
                </c:pt>
                <c:pt idx="40749">
                  <c:v>34018</c:v>
                </c:pt>
                <c:pt idx="40750">
                  <c:v>34017</c:v>
                </c:pt>
                <c:pt idx="40751">
                  <c:v>34017</c:v>
                </c:pt>
                <c:pt idx="40752">
                  <c:v>34017</c:v>
                </c:pt>
                <c:pt idx="40753">
                  <c:v>34017</c:v>
                </c:pt>
                <c:pt idx="40754">
                  <c:v>34017</c:v>
                </c:pt>
                <c:pt idx="40755">
                  <c:v>34017</c:v>
                </c:pt>
                <c:pt idx="40756">
                  <c:v>34016</c:v>
                </c:pt>
                <c:pt idx="40757">
                  <c:v>34016</c:v>
                </c:pt>
                <c:pt idx="40758">
                  <c:v>34015</c:v>
                </c:pt>
                <c:pt idx="40759">
                  <c:v>34015</c:v>
                </c:pt>
                <c:pt idx="40760">
                  <c:v>34015</c:v>
                </c:pt>
                <c:pt idx="40761">
                  <c:v>34015</c:v>
                </c:pt>
                <c:pt idx="40762">
                  <c:v>34015</c:v>
                </c:pt>
                <c:pt idx="40763">
                  <c:v>34015</c:v>
                </c:pt>
                <c:pt idx="40764">
                  <c:v>34015</c:v>
                </c:pt>
                <c:pt idx="40765">
                  <c:v>34014</c:v>
                </c:pt>
                <c:pt idx="40766">
                  <c:v>34014</c:v>
                </c:pt>
                <c:pt idx="40767">
                  <c:v>34014</c:v>
                </c:pt>
                <c:pt idx="40768">
                  <c:v>34013</c:v>
                </c:pt>
                <c:pt idx="40769">
                  <c:v>34013</c:v>
                </c:pt>
                <c:pt idx="40770">
                  <c:v>34013</c:v>
                </c:pt>
                <c:pt idx="40771">
                  <c:v>34013</c:v>
                </c:pt>
                <c:pt idx="40772">
                  <c:v>34013</c:v>
                </c:pt>
                <c:pt idx="40773">
                  <c:v>34013</c:v>
                </c:pt>
                <c:pt idx="40774">
                  <c:v>34013</c:v>
                </c:pt>
                <c:pt idx="40775">
                  <c:v>34013</c:v>
                </c:pt>
                <c:pt idx="40776">
                  <c:v>34013</c:v>
                </c:pt>
                <c:pt idx="40777">
                  <c:v>34012</c:v>
                </c:pt>
                <c:pt idx="40778">
                  <c:v>34012</c:v>
                </c:pt>
                <c:pt idx="40779">
                  <c:v>34012</c:v>
                </c:pt>
                <c:pt idx="40780">
                  <c:v>34012</c:v>
                </c:pt>
                <c:pt idx="40781">
                  <c:v>34012</c:v>
                </c:pt>
                <c:pt idx="40782">
                  <c:v>34012</c:v>
                </c:pt>
                <c:pt idx="40783">
                  <c:v>34012</c:v>
                </c:pt>
                <c:pt idx="40784">
                  <c:v>34012</c:v>
                </c:pt>
                <c:pt idx="40785">
                  <c:v>34011</c:v>
                </c:pt>
                <c:pt idx="40786">
                  <c:v>34011</c:v>
                </c:pt>
                <c:pt idx="40787">
                  <c:v>34011</c:v>
                </c:pt>
                <c:pt idx="40788">
                  <c:v>34011</c:v>
                </c:pt>
                <c:pt idx="40789">
                  <c:v>34011</c:v>
                </c:pt>
                <c:pt idx="40790">
                  <c:v>34011</c:v>
                </c:pt>
                <c:pt idx="40791">
                  <c:v>34011</c:v>
                </c:pt>
                <c:pt idx="40792">
                  <c:v>34011</c:v>
                </c:pt>
                <c:pt idx="40793">
                  <c:v>34010</c:v>
                </c:pt>
                <c:pt idx="40794">
                  <c:v>34010</c:v>
                </c:pt>
                <c:pt idx="40795">
                  <c:v>34010</c:v>
                </c:pt>
                <c:pt idx="40796">
                  <c:v>34010</c:v>
                </c:pt>
                <c:pt idx="40797">
                  <c:v>34009</c:v>
                </c:pt>
                <c:pt idx="40798">
                  <c:v>34009</c:v>
                </c:pt>
                <c:pt idx="40799">
                  <c:v>34008</c:v>
                </c:pt>
                <c:pt idx="40800">
                  <c:v>34008</c:v>
                </c:pt>
                <c:pt idx="40801">
                  <c:v>34008</c:v>
                </c:pt>
                <c:pt idx="40802">
                  <c:v>34008</c:v>
                </c:pt>
                <c:pt idx="40803">
                  <c:v>34008</c:v>
                </c:pt>
                <c:pt idx="40804">
                  <c:v>34008</c:v>
                </c:pt>
                <c:pt idx="40805">
                  <c:v>34008</c:v>
                </c:pt>
                <c:pt idx="40806">
                  <c:v>34007</c:v>
                </c:pt>
                <c:pt idx="40807">
                  <c:v>34007</c:v>
                </c:pt>
                <c:pt idx="40808">
                  <c:v>34007</c:v>
                </c:pt>
                <c:pt idx="40809">
                  <c:v>34007</c:v>
                </c:pt>
                <c:pt idx="40810">
                  <c:v>34006</c:v>
                </c:pt>
                <c:pt idx="40811">
                  <c:v>34006</c:v>
                </c:pt>
                <c:pt idx="40812">
                  <c:v>34006</c:v>
                </c:pt>
                <c:pt idx="40813">
                  <c:v>34006</c:v>
                </c:pt>
                <c:pt idx="40814">
                  <c:v>34006</c:v>
                </c:pt>
                <c:pt idx="40815">
                  <c:v>34006</c:v>
                </c:pt>
                <c:pt idx="40816">
                  <c:v>34006</c:v>
                </c:pt>
                <c:pt idx="40817">
                  <c:v>34006</c:v>
                </c:pt>
                <c:pt idx="40818">
                  <c:v>34005</c:v>
                </c:pt>
                <c:pt idx="40819">
                  <c:v>34005</c:v>
                </c:pt>
                <c:pt idx="40820">
                  <c:v>34005</c:v>
                </c:pt>
                <c:pt idx="40821">
                  <c:v>34005</c:v>
                </c:pt>
                <c:pt idx="40822">
                  <c:v>34005</c:v>
                </c:pt>
                <c:pt idx="40823">
                  <c:v>34005</c:v>
                </c:pt>
                <c:pt idx="40824">
                  <c:v>34005</c:v>
                </c:pt>
                <c:pt idx="40825">
                  <c:v>34005</c:v>
                </c:pt>
                <c:pt idx="40826">
                  <c:v>34005</c:v>
                </c:pt>
                <c:pt idx="40827">
                  <c:v>34004</c:v>
                </c:pt>
                <c:pt idx="40828">
                  <c:v>34004</c:v>
                </c:pt>
                <c:pt idx="40829">
                  <c:v>34004</c:v>
                </c:pt>
                <c:pt idx="40830">
                  <c:v>34004</c:v>
                </c:pt>
                <c:pt idx="40831">
                  <c:v>34004</c:v>
                </c:pt>
                <c:pt idx="40832">
                  <c:v>34004</c:v>
                </c:pt>
                <c:pt idx="40833">
                  <c:v>34004</c:v>
                </c:pt>
                <c:pt idx="40834">
                  <c:v>34004</c:v>
                </c:pt>
                <c:pt idx="40835">
                  <c:v>34004</c:v>
                </c:pt>
                <c:pt idx="40836">
                  <c:v>34003</c:v>
                </c:pt>
                <c:pt idx="40837">
                  <c:v>34003</c:v>
                </c:pt>
                <c:pt idx="40838">
                  <c:v>34003</c:v>
                </c:pt>
                <c:pt idx="40839">
                  <c:v>34003</c:v>
                </c:pt>
                <c:pt idx="40840">
                  <c:v>34003</c:v>
                </c:pt>
                <c:pt idx="40841">
                  <c:v>34003</c:v>
                </c:pt>
                <c:pt idx="40842">
                  <c:v>34002</c:v>
                </c:pt>
                <c:pt idx="40843">
                  <c:v>34002</c:v>
                </c:pt>
                <c:pt idx="40844">
                  <c:v>34002</c:v>
                </c:pt>
                <c:pt idx="40845">
                  <c:v>34002</c:v>
                </c:pt>
                <c:pt idx="40846">
                  <c:v>34002</c:v>
                </c:pt>
                <c:pt idx="40847">
                  <c:v>34002</c:v>
                </c:pt>
                <c:pt idx="40848">
                  <c:v>34002</c:v>
                </c:pt>
                <c:pt idx="40849">
                  <c:v>34001</c:v>
                </c:pt>
                <c:pt idx="40850">
                  <c:v>34001</c:v>
                </c:pt>
                <c:pt idx="40851">
                  <c:v>34001</c:v>
                </c:pt>
                <c:pt idx="40852">
                  <c:v>34001</c:v>
                </c:pt>
                <c:pt idx="40853">
                  <c:v>34001</c:v>
                </c:pt>
                <c:pt idx="40854">
                  <c:v>34001</c:v>
                </c:pt>
                <c:pt idx="40855">
                  <c:v>34001</c:v>
                </c:pt>
                <c:pt idx="40856">
                  <c:v>34001</c:v>
                </c:pt>
                <c:pt idx="40857">
                  <c:v>34000</c:v>
                </c:pt>
                <c:pt idx="40858">
                  <c:v>34000</c:v>
                </c:pt>
                <c:pt idx="40859">
                  <c:v>34000</c:v>
                </c:pt>
                <c:pt idx="40860">
                  <c:v>34000</c:v>
                </c:pt>
                <c:pt idx="40861">
                  <c:v>34000</c:v>
                </c:pt>
                <c:pt idx="40862">
                  <c:v>34000</c:v>
                </c:pt>
                <c:pt idx="40863">
                  <c:v>34000</c:v>
                </c:pt>
                <c:pt idx="40864">
                  <c:v>34000</c:v>
                </c:pt>
                <c:pt idx="40865">
                  <c:v>34000</c:v>
                </c:pt>
                <c:pt idx="40866">
                  <c:v>34000</c:v>
                </c:pt>
                <c:pt idx="40867">
                  <c:v>33999</c:v>
                </c:pt>
                <c:pt idx="40868">
                  <c:v>33999</c:v>
                </c:pt>
                <c:pt idx="40869">
                  <c:v>33999</c:v>
                </c:pt>
                <c:pt idx="40870">
                  <c:v>33999</c:v>
                </c:pt>
                <c:pt idx="40871">
                  <c:v>33999</c:v>
                </c:pt>
                <c:pt idx="40872">
                  <c:v>33999</c:v>
                </c:pt>
                <c:pt idx="40873">
                  <c:v>33999</c:v>
                </c:pt>
                <c:pt idx="40874">
                  <c:v>33999</c:v>
                </c:pt>
                <c:pt idx="40875">
                  <c:v>33999</c:v>
                </c:pt>
                <c:pt idx="40876">
                  <c:v>33999</c:v>
                </c:pt>
                <c:pt idx="40877">
                  <c:v>33998</c:v>
                </c:pt>
                <c:pt idx="40878">
                  <c:v>33998</c:v>
                </c:pt>
                <c:pt idx="40879">
                  <c:v>33998</c:v>
                </c:pt>
                <c:pt idx="40880">
                  <c:v>33998</c:v>
                </c:pt>
                <c:pt idx="40881">
                  <c:v>33998</c:v>
                </c:pt>
                <c:pt idx="40882">
                  <c:v>33997</c:v>
                </c:pt>
                <c:pt idx="40883">
                  <c:v>33997</c:v>
                </c:pt>
                <c:pt idx="40884">
                  <c:v>33997</c:v>
                </c:pt>
                <c:pt idx="40885">
                  <c:v>33997</c:v>
                </c:pt>
                <c:pt idx="40886">
                  <c:v>33997</c:v>
                </c:pt>
                <c:pt idx="40887">
                  <c:v>33997</c:v>
                </c:pt>
                <c:pt idx="40888">
                  <c:v>33997</c:v>
                </c:pt>
                <c:pt idx="40889">
                  <c:v>33997</c:v>
                </c:pt>
                <c:pt idx="40890">
                  <c:v>33996</c:v>
                </c:pt>
                <c:pt idx="40891">
                  <c:v>33996</c:v>
                </c:pt>
                <c:pt idx="40892">
                  <c:v>33996</c:v>
                </c:pt>
                <c:pt idx="40893">
                  <c:v>33996</c:v>
                </c:pt>
                <c:pt idx="40894">
                  <c:v>33996</c:v>
                </c:pt>
                <c:pt idx="40895">
                  <c:v>33996</c:v>
                </c:pt>
                <c:pt idx="40896">
                  <c:v>33996</c:v>
                </c:pt>
                <c:pt idx="40897">
                  <c:v>33996</c:v>
                </c:pt>
                <c:pt idx="40898">
                  <c:v>33995</c:v>
                </c:pt>
                <c:pt idx="40899">
                  <c:v>33995</c:v>
                </c:pt>
                <c:pt idx="40900">
                  <c:v>33995</c:v>
                </c:pt>
                <c:pt idx="40901">
                  <c:v>33995</c:v>
                </c:pt>
                <c:pt idx="40902">
                  <c:v>33995</c:v>
                </c:pt>
                <c:pt idx="40903">
                  <c:v>33995</c:v>
                </c:pt>
                <c:pt idx="40904">
                  <c:v>33995</c:v>
                </c:pt>
                <c:pt idx="40905">
                  <c:v>33994</c:v>
                </c:pt>
                <c:pt idx="40906">
                  <c:v>33994</c:v>
                </c:pt>
                <c:pt idx="40907">
                  <c:v>33993</c:v>
                </c:pt>
                <c:pt idx="40908">
                  <c:v>33993</c:v>
                </c:pt>
                <c:pt idx="40909">
                  <c:v>33993</c:v>
                </c:pt>
                <c:pt idx="40910">
                  <c:v>33993</c:v>
                </c:pt>
                <c:pt idx="40911">
                  <c:v>33993</c:v>
                </c:pt>
                <c:pt idx="40912">
                  <c:v>33993</c:v>
                </c:pt>
                <c:pt idx="40913">
                  <c:v>33993</c:v>
                </c:pt>
                <c:pt idx="40914">
                  <c:v>33993</c:v>
                </c:pt>
                <c:pt idx="40915">
                  <c:v>33993</c:v>
                </c:pt>
                <c:pt idx="40916">
                  <c:v>33993</c:v>
                </c:pt>
                <c:pt idx="40917">
                  <c:v>33992</c:v>
                </c:pt>
                <c:pt idx="40918">
                  <c:v>33992</c:v>
                </c:pt>
                <c:pt idx="40919">
                  <c:v>33992</c:v>
                </c:pt>
                <c:pt idx="40920">
                  <c:v>33992</c:v>
                </c:pt>
                <c:pt idx="40921">
                  <c:v>33992</c:v>
                </c:pt>
                <c:pt idx="40922">
                  <c:v>33992</c:v>
                </c:pt>
                <c:pt idx="40923">
                  <c:v>33992</c:v>
                </c:pt>
                <c:pt idx="40924">
                  <c:v>33992</c:v>
                </c:pt>
                <c:pt idx="40925">
                  <c:v>33992</c:v>
                </c:pt>
                <c:pt idx="40926">
                  <c:v>33992</c:v>
                </c:pt>
                <c:pt idx="40927">
                  <c:v>33992</c:v>
                </c:pt>
                <c:pt idx="40928">
                  <c:v>33991</c:v>
                </c:pt>
                <c:pt idx="40929">
                  <c:v>33991</c:v>
                </c:pt>
                <c:pt idx="40930">
                  <c:v>33991</c:v>
                </c:pt>
                <c:pt idx="40931">
                  <c:v>33991</c:v>
                </c:pt>
                <c:pt idx="40932">
                  <c:v>33991</c:v>
                </c:pt>
                <c:pt idx="40933">
                  <c:v>33991</c:v>
                </c:pt>
                <c:pt idx="40934">
                  <c:v>33990</c:v>
                </c:pt>
                <c:pt idx="40935">
                  <c:v>33990</c:v>
                </c:pt>
                <c:pt idx="40936">
                  <c:v>33990</c:v>
                </c:pt>
                <c:pt idx="40937">
                  <c:v>33990</c:v>
                </c:pt>
                <c:pt idx="40938">
                  <c:v>33990</c:v>
                </c:pt>
                <c:pt idx="40939">
                  <c:v>33990</c:v>
                </c:pt>
                <c:pt idx="40940">
                  <c:v>33989</c:v>
                </c:pt>
                <c:pt idx="40941">
                  <c:v>33989</c:v>
                </c:pt>
                <c:pt idx="40942">
                  <c:v>33989</c:v>
                </c:pt>
                <c:pt idx="40943">
                  <c:v>33989</c:v>
                </c:pt>
                <c:pt idx="40944">
                  <c:v>33989</c:v>
                </c:pt>
                <c:pt idx="40945">
                  <c:v>33989</c:v>
                </c:pt>
                <c:pt idx="40946">
                  <c:v>33989</c:v>
                </c:pt>
                <c:pt idx="40947">
                  <c:v>33989</c:v>
                </c:pt>
                <c:pt idx="40948">
                  <c:v>33988</c:v>
                </c:pt>
                <c:pt idx="40949">
                  <c:v>33988</c:v>
                </c:pt>
                <c:pt idx="40950">
                  <c:v>33988</c:v>
                </c:pt>
                <c:pt idx="40951">
                  <c:v>33988</c:v>
                </c:pt>
                <c:pt idx="40952">
                  <c:v>33988</c:v>
                </c:pt>
                <c:pt idx="40953">
                  <c:v>33988</c:v>
                </c:pt>
                <c:pt idx="40954">
                  <c:v>33988</c:v>
                </c:pt>
                <c:pt idx="40955">
                  <c:v>33987</c:v>
                </c:pt>
                <c:pt idx="40956">
                  <c:v>33987</c:v>
                </c:pt>
                <c:pt idx="40957">
                  <c:v>33987</c:v>
                </c:pt>
                <c:pt idx="40958">
                  <c:v>33987</c:v>
                </c:pt>
                <c:pt idx="40959">
                  <c:v>33987</c:v>
                </c:pt>
                <c:pt idx="40960">
                  <c:v>33987</c:v>
                </c:pt>
                <c:pt idx="40961">
                  <c:v>33987</c:v>
                </c:pt>
                <c:pt idx="40962">
                  <c:v>33986</c:v>
                </c:pt>
                <c:pt idx="40963">
                  <c:v>33986</c:v>
                </c:pt>
                <c:pt idx="40964">
                  <c:v>33986</c:v>
                </c:pt>
                <c:pt idx="40965">
                  <c:v>33986</c:v>
                </c:pt>
                <c:pt idx="40966">
                  <c:v>33985</c:v>
                </c:pt>
                <c:pt idx="40967">
                  <c:v>33985</c:v>
                </c:pt>
                <c:pt idx="40968">
                  <c:v>33985</c:v>
                </c:pt>
                <c:pt idx="40969">
                  <c:v>33985</c:v>
                </c:pt>
                <c:pt idx="40970">
                  <c:v>33985</c:v>
                </c:pt>
                <c:pt idx="40971">
                  <c:v>33985</c:v>
                </c:pt>
                <c:pt idx="40972">
                  <c:v>33985</c:v>
                </c:pt>
                <c:pt idx="40973">
                  <c:v>33985</c:v>
                </c:pt>
                <c:pt idx="40974">
                  <c:v>33985</c:v>
                </c:pt>
                <c:pt idx="40975">
                  <c:v>33984</c:v>
                </c:pt>
                <c:pt idx="40976">
                  <c:v>33984</c:v>
                </c:pt>
                <c:pt idx="40977">
                  <c:v>33984</c:v>
                </c:pt>
                <c:pt idx="40978">
                  <c:v>33984</c:v>
                </c:pt>
                <c:pt idx="40979">
                  <c:v>33984</c:v>
                </c:pt>
                <c:pt idx="40980">
                  <c:v>33984</c:v>
                </c:pt>
                <c:pt idx="40981">
                  <c:v>33983</c:v>
                </c:pt>
                <c:pt idx="40982">
                  <c:v>33983</c:v>
                </c:pt>
                <c:pt idx="40983">
                  <c:v>33983</c:v>
                </c:pt>
                <c:pt idx="40984">
                  <c:v>33983</c:v>
                </c:pt>
                <c:pt idx="40985">
                  <c:v>33982</c:v>
                </c:pt>
                <c:pt idx="40986">
                  <c:v>33981</c:v>
                </c:pt>
                <c:pt idx="40987">
                  <c:v>33981</c:v>
                </c:pt>
                <c:pt idx="40988">
                  <c:v>33981</c:v>
                </c:pt>
                <c:pt idx="40989">
                  <c:v>33981</c:v>
                </c:pt>
                <c:pt idx="40990">
                  <c:v>33981</c:v>
                </c:pt>
                <c:pt idx="40991">
                  <c:v>33981</c:v>
                </c:pt>
                <c:pt idx="40992">
                  <c:v>33981</c:v>
                </c:pt>
                <c:pt idx="40993">
                  <c:v>33981</c:v>
                </c:pt>
                <c:pt idx="40994">
                  <c:v>33981</c:v>
                </c:pt>
                <c:pt idx="40995">
                  <c:v>33981</c:v>
                </c:pt>
                <c:pt idx="40996">
                  <c:v>33981</c:v>
                </c:pt>
                <c:pt idx="40997">
                  <c:v>33980</c:v>
                </c:pt>
                <c:pt idx="40998">
                  <c:v>33980</c:v>
                </c:pt>
                <c:pt idx="40999">
                  <c:v>33980</c:v>
                </c:pt>
                <c:pt idx="41000">
                  <c:v>33980</c:v>
                </c:pt>
                <c:pt idx="41001">
                  <c:v>33979</c:v>
                </c:pt>
                <c:pt idx="41002">
                  <c:v>33979</c:v>
                </c:pt>
                <c:pt idx="41003">
                  <c:v>33979</c:v>
                </c:pt>
                <c:pt idx="41004">
                  <c:v>33979</c:v>
                </c:pt>
                <c:pt idx="41005">
                  <c:v>33979</c:v>
                </c:pt>
                <c:pt idx="41006">
                  <c:v>33979</c:v>
                </c:pt>
                <c:pt idx="41007">
                  <c:v>33978</c:v>
                </c:pt>
                <c:pt idx="41008">
                  <c:v>33978</c:v>
                </c:pt>
                <c:pt idx="41009">
                  <c:v>33978</c:v>
                </c:pt>
                <c:pt idx="41010">
                  <c:v>33978</c:v>
                </c:pt>
                <c:pt idx="41011">
                  <c:v>33978</c:v>
                </c:pt>
                <c:pt idx="41012">
                  <c:v>33978</c:v>
                </c:pt>
                <c:pt idx="41013">
                  <c:v>33978</c:v>
                </c:pt>
                <c:pt idx="41014">
                  <c:v>33978</c:v>
                </c:pt>
                <c:pt idx="41015">
                  <c:v>33978</c:v>
                </c:pt>
                <c:pt idx="41016">
                  <c:v>33977</c:v>
                </c:pt>
                <c:pt idx="41017">
                  <c:v>33977</c:v>
                </c:pt>
                <c:pt idx="41018">
                  <c:v>33977</c:v>
                </c:pt>
                <c:pt idx="41019">
                  <c:v>33976</c:v>
                </c:pt>
                <c:pt idx="41020">
                  <c:v>33976</c:v>
                </c:pt>
                <c:pt idx="41021">
                  <c:v>33976</c:v>
                </c:pt>
                <c:pt idx="41022">
                  <c:v>33976</c:v>
                </c:pt>
                <c:pt idx="41023">
                  <c:v>33976</c:v>
                </c:pt>
                <c:pt idx="41024">
                  <c:v>33976</c:v>
                </c:pt>
                <c:pt idx="41025">
                  <c:v>33975</c:v>
                </c:pt>
                <c:pt idx="41026">
                  <c:v>33975</c:v>
                </c:pt>
                <c:pt idx="41027">
                  <c:v>33975</c:v>
                </c:pt>
                <c:pt idx="41028">
                  <c:v>33975</c:v>
                </c:pt>
                <c:pt idx="41029">
                  <c:v>33975</c:v>
                </c:pt>
                <c:pt idx="41030">
                  <c:v>33975</c:v>
                </c:pt>
                <c:pt idx="41031">
                  <c:v>33975</c:v>
                </c:pt>
                <c:pt idx="41032">
                  <c:v>33974</c:v>
                </c:pt>
                <c:pt idx="41033">
                  <c:v>33974</c:v>
                </c:pt>
                <c:pt idx="41034">
                  <c:v>33974</c:v>
                </c:pt>
                <c:pt idx="41035">
                  <c:v>33974</c:v>
                </c:pt>
                <c:pt idx="41036">
                  <c:v>33974</c:v>
                </c:pt>
                <c:pt idx="41037">
                  <c:v>33974</c:v>
                </c:pt>
                <c:pt idx="41038">
                  <c:v>33974</c:v>
                </c:pt>
                <c:pt idx="41039">
                  <c:v>33973</c:v>
                </c:pt>
                <c:pt idx="41040">
                  <c:v>33973</c:v>
                </c:pt>
                <c:pt idx="41041">
                  <c:v>33973</c:v>
                </c:pt>
                <c:pt idx="41042">
                  <c:v>33973</c:v>
                </c:pt>
                <c:pt idx="41043">
                  <c:v>33973</c:v>
                </c:pt>
                <c:pt idx="41044">
                  <c:v>33973</c:v>
                </c:pt>
                <c:pt idx="41045">
                  <c:v>33973</c:v>
                </c:pt>
                <c:pt idx="41046">
                  <c:v>33973</c:v>
                </c:pt>
                <c:pt idx="41047">
                  <c:v>33972</c:v>
                </c:pt>
                <c:pt idx="41048">
                  <c:v>33972</c:v>
                </c:pt>
                <c:pt idx="41049">
                  <c:v>33972</c:v>
                </c:pt>
                <c:pt idx="41050">
                  <c:v>33972</c:v>
                </c:pt>
                <c:pt idx="41051">
                  <c:v>33971</c:v>
                </c:pt>
                <c:pt idx="41052">
                  <c:v>33971</c:v>
                </c:pt>
                <c:pt idx="41053">
                  <c:v>33971</c:v>
                </c:pt>
                <c:pt idx="41054">
                  <c:v>33971</c:v>
                </c:pt>
                <c:pt idx="41055">
                  <c:v>33971</c:v>
                </c:pt>
                <c:pt idx="41056">
                  <c:v>33971</c:v>
                </c:pt>
                <c:pt idx="41057">
                  <c:v>33971</c:v>
                </c:pt>
                <c:pt idx="41058">
                  <c:v>33971</c:v>
                </c:pt>
                <c:pt idx="41059">
                  <c:v>33970</c:v>
                </c:pt>
                <c:pt idx="41060">
                  <c:v>33970</c:v>
                </c:pt>
                <c:pt idx="41061">
                  <c:v>33970</c:v>
                </c:pt>
                <c:pt idx="41062">
                  <c:v>33970</c:v>
                </c:pt>
                <c:pt idx="41063">
                  <c:v>33970</c:v>
                </c:pt>
                <c:pt idx="41064">
                  <c:v>33969</c:v>
                </c:pt>
                <c:pt idx="41065">
                  <c:v>33969</c:v>
                </c:pt>
                <c:pt idx="41066">
                  <c:v>33969</c:v>
                </c:pt>
                <c:pt idx="41067">
                  <c:v>33969</c:v>
                </c:pt>
                <c:pt idx="41068">
                  <c:v>33969</c:v>
                </c:pt>
                <c:pt idx="41069">
                  <c:v>33968</c:v>
                </c:pt>
                <c:pt idx="41070">
                  <c:v>33968</c:v>
                </c:pt>
                <c:pt idx="41071">
                  <c:v>33968</c:v>
                </c:pt>
                <c:pt idx="41072">
                  <c:v>33968</c:v>
                </c:pt>
                <c:pt idx="41073">
                  <c:v>33968</c:v>
                </c:pt>
                <c:pt idx="41074">
                  <c:v>33968</c:v>
                </c:pt>
                <c:pt idx="41075">
                  <c:v>33968</c:v>
                </c:pt>
                <c:pt idx="41076">
                  <c:v>33968</c:v>
                </c:pt>
                <c:pt idx="41077">
                  <c:v>33967</c:v>
                </c:pt>
                <c:pt idx="41078">
                  <c:v>33967</c:v>
                </c:pt>
                <c:pt idx="41079">
                  <c:v>33967</c:v>
                </c:pt>
                <c:pt idx="41080">
                  <c:v>33967</c:v>
                </c:pt>
                <c:pt idx="41081">
                  <c:v>33967</c:v>
                </c:pt>
                <c:pt idx="41082">
                  <c:v>33967</c:v>
                </c:pt>
                <c:pt idx="41083">
                  <c:v>33966</c:v>
                </c:pt>
                <c:pt idx="41084">
                  <c:v>33966</c:v>
                </c:pt>
                <c:pt idx="41085">
                  <c:v>33966</c:v>
                </c:pt>
                <c:pt idx="41086">
                  <c:v>33966</c:v>
                </c:pt>
                <c:pt idx="41087">
                  <c:v>33965</c:v>
                </c:pt>
                <c:pt idx="41088">
                  <c:v>33965</c:v>
                </c:pt>
                <c:pt idx="41089">
                  <c:v>33965</c:v>
                </c:pt>
                <c:pt idx="41090">
                  <c:v>33965</c:v>
                </c:pt>
                <c:pt idx="41091">
                  <c:v>33965</c:v>
                </c:pt>
                <c:pt idx="41092">
                  <c:v>33965</c:v>
                </c:pt>
                <c:pt idx="41093">
                  <c:v>33964</c:v>
                </c:pt>
                <c:pt idx="41094">
                  <c:v>33964</c:v>
                </c:pt>
                <c:pt idx="41095">
                  <c:v>33964</c:v>
                </c:pt>
                <c:pt idx="41096">
                  <c:v>33964</c:v>
                </c:pt>
                <c:pt idx="41097">
                  <c:v>33964</c:v>
                </c:pt>
                <c:pt idx="41098">
                  <c:v>33964</c:v>
                </c:pt>
                <c:pt idx="41099">
                  <c:v>33964</c:v>
                </c:pt>
                <c:pt idx="41100">
                  <c:v>33964</c:v>
                </c:pt>
                <c:pt idx="41101">
                  <c:v>33964</c:v>
                </c:pt>
                <c:pt idx="41102">
                  <c:v>33964</c:v>
                </c:pt>
                <c:pt idx="41103">
                  <c:v>33963</c:v>
                </c:pt>
                <c:pt idx="41104">
                  <c:v>33963</c:v>
                </c:pt>
                <c:pt idx="41105">
                  <c:v>33962</c:v>
                </c:pt>
                <c:pt idx="41106">
                  <c:v>33962</c:v>
                </c:pt>
                <c:pt idx="41107">
                  <c:v>33962</c:v>
                </c:pt>
                <c:pt idx="41108">
                  <c:v>33962</c:v>
                </c:pt>
                <c:pt idx="41109">
                  <c:v>33962</c:v>
                </c:pt>
                <c:pt idx="41110">
                  <c:v>33962</c:v>
                </c:pt>
                <c:pt idx="41111">
                  <c:v>33961</c:v>
                </c:pt>
                <c:pt idx="41112">
                  <c:v>33961</c:v>
                </c:pt>
                <c:pt idx="41113">
                  <c:v>33961</c:v>
                </c:pt>
                <c:pt idx="41114">
                  <c:v>33961</c:v>
                </c:pt>
                <c:pt idx="41115">
                  <c:v>33961</c:v>
                </c:pt>
                <c:pt idx="41116">
                  <c:v>33961</c:v>
                </c:pt>
                <c:pt idx="41117">
                  <c:v>33961</c:v>
                </c:pt>
                <c:pt idx="41118">
                  <c:v>33961</c:v>
                </c:pt>
                <c:pt idx="41119">
                  <c:v>33960</c:v>
                </c:pt>
                <c:pt idx="41120">
                  <c:v>33960</c:v>
                </c:pt>
                <c:pt idx="41121">
                  <c:v>33960</c:v>
                </c:pt>
                <c:pt idx="41122">
                  <c:v>33960</c:v>
                </c:pt>
                <c:pt idx="41123">
                  <c:v>33959</c:v>
                </c:pt>
                <c:pt idx="41124">
                  <c:v>33959</c:v>
                </c:pt>
                <c:pt idx="41125">
                  <c:v>33959</c:v>
                </c:pt>
                <c:pt idx="41126">
                  <c:v>33959</c:v>
                </c:pt>
                <c:pt idx="41127">
                  <c:v>33959</c:v>
                </c:pt>
                <c:pt idx="41128">
                  <c:v>33959</c:v>
                </c:pt>
                <c:pt idx="41129">
                  <c:v>33959</c:v>
                </c:pt>
                <c:pt idx="41130">
                  <c:v>33959</c:v>
                </c:pt>
                <c:pt idx="41131">
                  <c:v>33959</c:v>
                </c:pt>
                <c:pt idx="41132">
                  <c:v>33958</c:v>
                </c:pt>
                <c:pt idx="41133">
                  <c:v>33958</c:v>
                </c:pt>
                <c:pt idx="41134">
                  <c:v>33958</c:v>
                </c:pt>
                <c:pt idx="41135">
                  <c:v>33958</c:v>
                </c:pt>
                <c:pt idx="41136">
                  <c:v>33958</c:v>
                </c:pt>
                <c:pt idx="41137">
                  <c:v>33957</c:v>
                </c:pt>
                <c:pt idx="41138">
                  <c:v>33957</c:v>
                </c:pt>
                <c:pt idx="41139">
                  <c:v>33957</c:v>
                </c:pt>
                <c:pt idx="41140">
                  <c:v>33957</c:v>
                </c:pt>
                <c:pt idx="41141">
                  <c:v>33957</c:v>
                </c:pt>
                <c:pt idx="41142">
                  <c:v>33957</c:v>
                </c:pt>
                <c:pt idx="41143">
                  <c:v>33957</c:v>
                </c:pt>
                <c:pt idx="41144">
                  <c:v>33957</c:v>
                </c:pt>
                <c:pt idx="41145">
                  <c:v>33956</c:v>
                </c:pt>
                <c:pt idx="41146">
                  <c:v>33956</c:v>
                </c:pt>
                <c:pt idx="41147">
                  <c:v>33956</c:v>
                </c:pt>
                <c:pt idx="41148">
                  <c:v>33956</c:v>
                </c:pt>
                <c:pt idx="41149">
                  <c:v>33956</c:v>
                </c:pt>
                <c:pt idx="41150">
                  <c:v>33956</c:v>
                </c:pt>
                <c:pt idx="41151">
                  <c:v>33956</c:v>
                </c:pt>
                <c:pt idx="41152">
                  <c:v>33956</c:v>
                </c:pt>
                <c:pt idx="41153">
                  <c:v>33956</c:v>
                </c:pt>
                <c:pt idx="41154">
                  <c:v>33956</c:v>
                </c:pt>
                <c:pt idx="41155">
                  <c:v>33956</c:v>
                </c:pt>
                <c:pt idx="41156">
                  <c:v>33956</c:v>
                </c:pt>
                <c:pt idx="41157">
                  <c:v>33956</c:v>
                </c:pt>
                <c:pt idx="41158">
                  <c:v>33956</c:v>
                </c:pt>
                <c:pt idx="41159">
                  <c:v>33956</c:v>
                </c:pt>
                <c:pt idx="41160">
                  <c:v>33956</c:v>
                </c:pt>
                <c:pt idx="41161">
                  <c:v>33955</c:v>
                </c:pt>
                <c:pt idx="41162">
                  <c:v>33955</c:v>
                </c:pt>
                <c:pt idx="41163">
                  <c:v>33955</c:v>
                </c:pt>
                <c:pt idx="41164">
                  <c:v>33955</c:v>
                </c:pt>
                <c:pt idx="41165">
                  <c:v>33954</c:v>
                </c:pt>
                <c:pt idx="41166">
                  <c:v>33954</c:v>
                </c:pt>
                <c:pt idx="41167">
                  <c:v>33954</c:v>
                </c:pt>
                <c:pt idx="41168">
                  <c:v>33954</c:v>
                </c:pt>
                <c:pt idx="41169">
                  <c:v>33954</c:v>
                </c:pt>
                <c:pt idx="41170">
                  <c:v>33954</c:v>
                </c:pt>
                <c:pt idx="41171">
                  <c:v>33954</c:v>
                </c:pt>
                <c:pt idx="41172">
                  <c:v>33954</c:v>
                </c:pt>
                <c:pt idx="41173">
                  <c:v>33953</c:v>
                </c:pt>
                <c:pt idx="41174">
                  <c:v>33953</c:v>
                </c:pt>
                <c:pt idx="41175">
                  <c:v>33953</c:v>
                </c:pt>
                <c:pt idx="41176">
                  <c:v>33953</c:v>
                </c:pt>
                <c:pt idx="41177">
                  <c:v>33953</c:v>
                </c:pt>
                <c:pt idx="41178">
                  <c:v>33953</c:v>
                </c:pt>
                <c:pt idx="41179">
                  <c:v>33953</c:v>
                </c:pt>
                <c:pt idx="41180">
                  <c:v>33953</c:v>
                </c:pt>
                <c:pt idx="41181">
                  <c:v>33953</c:v>
                </c:pt>
                <c:pt idx="41182">
                  <c:v>33953</c:v>
                </c:pt>
                <c:pt idx="41183">
                  <c:v>33953</c:v>
                </c:pt>
                <c:pt idx="41184">
                  <c:v>33953</c:v>
                </c:pt>
                <c:pt idx="41185">
                  <c:v>33952</c:v>
                </c:pt>
                <c:pt idx="41186">
                  <c:v>33952</c:v>
                </c:pt>
                <c:pt idx="41187">
                  <c:v>33952</c:v>
                </c:pt>
                <c:pt idx="41188">
                  <c:v>33952</c:v>
                </c:pt>
                <c:pt idx="41189">
                  <c:v>33951</c:v>
                </c:pt>
                <c:pt idx="41190">
                  <c:v>33951</c:v>
                </c:pt>
                <c:pt idx="41191">
                  <c:v>33951</c:v>
                </c:pt>
                <c:pt idx="41192">
                  <c:v>33951</c:v>
                </c:pt>
                <c:pt idx="41193">
                  <c:v>33951</c:v>
                </c:pt>
                <c:pt idx="41194">
                  <c:v>33951</c:v>
                </c:pt>
                <c:pt idx="41195">
                  <c:v>33950</c:v>
                </c:pt>
                <c:pt idx="41196">
                  <c:v>33950</c:v>
                </c:pt>
                <c:pt idx="41197">
                  <c:v>33950</c:v>
                </c:pt>
                <c:pt idx="41198">
                  <c:v>33950</c:v>
                </c:pt>
                <c:pt idx="41199">
                  <c:v>33950</c:v>
                </c:pt>
                <c:pt idx="41200">
                  <c:v>33950</c:v>
                </c:pt>
                <c:pt idx="41201">
                  <c:v>33950</c:v>
                </c:pt>
                <c:pt idx="41202">
                  <c:v>33949</c:v>
                </c:pt>
                <c:pt idx="41203">
                  <c:v>33949</c:v>
                </c:pt>
                <c:pt idx="41204">
                  <c:v>33949</c:v>
                </c:pt>
                <c:pt idx="41205">
                  <c:v>33949</c:v>
                </c:pt>
                <c:pt idx="41206">
                  <c:v>33949</c:v>
                </c:pt>
                <c:pt idx="41207">
                  <c:v>33949</c:v>
                </c:pt>
                <c:pt idx="41208">
                  <c:v>33949</c:v>
                </c:pt>
                <c:pt idx="41209">
                  <c:v>33949</c:v>
                </c:pt>
                <c:pt idx="41210">
                  <c:v>33948</c:v>
                </c:pt>
                <c:pt idx="41211">
                  <c:v>33948</c:v>
                </c:pt>
                <c:pt idx="41212">
                  <c:v>33948</c:v>
                </c:pt>
                <c:pt idx="41213">
                  <c:v>33948</c:v>
                </c:pt>
                <c:pt idx="41214">
                  <c:v>33948</c:v>
                </c:pt>
                <c:pt idx="41215">
                  <c:v>33948</c:v>
                </c:pt>
                <c:pt idx="41216">
                  <c:v>33948</c:v>
                </c:pt>
                <c:pt idx="41217">
                  <c:v>33947</c:v>
                </c:pt>
                <c:pt idx="41218">
                  <c:v>33947</c:v>
                </c:pt>
                <c:pt idx="41219">
                  <c:v>33947</c:v>
                </c:pt>
                <c:pt idx="41220">
                  <c:v>33947</c:v>
                </c:pt>
                <c:pt idx="41221">
                  <c:v>33947</c:v>
                </c:pt>
                <c:pt idx="41222">
                  <c:v>33947</c:v>
                </c:pt>
                <c:pt idx="41223">
                  <c:v>33947</c:v>
                </c:pt>
                <c:pt idx="41224">
                  <c:v>33947</c:v>
                </c:pt>
                <c:pt idx="41225">
                  <c:v>33947</c:v>
                </c:pt>
                <c:pt idx="41226">
                  <c:v>33947</c:v>
                </c:pt>
                <c:pt idx="41227">
                  <c:v>33947</c:v>
                </c:pt>
                <c:pt idx="41228">
                  <c:v>33947</c:v>
                </c:pt>
                <c:pt idx="41229">
                  <c:v>33946</c:v>
                </c:pt>
                <c:pt idx="41230">
                  <c:v>33946</c:v>
                </c:pt>
                <c:pt idx="41231">
                  <c:v>33946</c:v>
                </c:pt>
                <c:pt idx="41232">
                  <c:v>33946</c:v>
                </c:pt>
                <c:pt idx="41233">
                  <c:v>33946</c:v>
                </c:pt>
                <c:pt idx="41234">
                  <c:v>33946</c:v>
                </c:pt>
                <c:pt idx="41235">
                  <c:v>33946</c:v>
                </c:pt>
                <c:pt idx="41236">
                  <c:v>33946</c:v>
                </c:pt>
                <c:pt idx="41237">
                  <c:v>33946</c:v>
                </c:pt>
                <c:pt idx="41238">
                  <c:v>33945</c:v>
                </c:pt>
                <c:pt idx="41239">
                  <c:v>33945</c:v>
                </c:pt>
                <c:pt idx="41240">
                  <c:v>33945</c:v>
                </c:pt>
                <c:pt idx="41241">
                  <c:v>33945</c:v>
                </c:pt>
                <c:pt idx="41242">
                  <c:v>33944</c:v>
                </c:pt>
                <c:pt idx="41243">
                  <c:v>33944</c:v>
                </c:pt>
                <c:pt idx="41244">
                  <c:v>33944</c:v>
                </c:pt>
                <c:pt idx="41245">
                  <c:v>33944</c:v>
                </c:pt>
                <c:pt idx="41246">
                  <c:v>33944</c:v>
                </c:pt>
                <c:pt idx="41247">
                  <c:v>33944</c:v>
                </c:pt>
                <c:pt idx="41248">
                  <c:v>33944</c:v>
                </c:pt>
                <c:pt idx="41249">
                  <c:v>33944</c:v>
                </c:pt>
                <c:pt idx="41250">
                  <c:v>33944</c:v>
                </c:pt>
                <c:pt idx="41251">
                  <c:v>33944</c:v>
                </c:pt>
                <c:pt idx="41252">
                  <c:v>33943</c:v>
                </c:pt>
                <c:pt idx="41253">
                  <c:v>33943</c:v>
                </c:pt>
                <c:pt idx="41254">
                  <c:v>33943</c:v>
                </c:pt>
                <c:pt idx="41255">
                  <c:v>33943</c:v>
                </c:pt>
                <c:pt idx="41256">
                  <c:v>33943</c:v>
                </c:pt>
                <c:pt idx="41257">
                  <c:v>33943</c:v>
                </c:pt>
                <c:pt idx="41258">
                  <c:v>33943</c:v>
                </c:pt>
                <c:pt idx="41259">
                  <c:v>33943</c:v>
                </c:pt>
                <c:pt idx="41260">
                  <c:v>33943</c:v>
                </c:pt>
                <c:pt idx="41261">
                  <c:v>33942</c:v>
                </c:pt>
                <c:pt idx="41262">
                  <c:v>33942</c:v>
                </c:pt>
                <c:pt idx="41263">
                  <c:v>33942</c:v>
                </c:pt>
                <c:pt idx="41264">
                  <c:v>33942</c:v>
                </c:pt>
                <c:pt idx="41265">
                  <c:v>33942</c:v>
                </c:pt>
                <c:pt idx="41266">
                  <c:v>33942</c:v>
                </c:pt>
                <c:pt idx="41267">
                  <c:v>33942</c:v>
                </c:pt>
                <c:pt idx="41268">
                  <c:v>33942</c:v>
                </c:pt>
                <c:pt idx="41269">
                  <c:v>33941</c:v>
                </c:pt>
                <c:pt idx="41270">
                  <c:v>33941</c:v>
                </c:pt>
                <c:pt idx="41271">
                  <c:v>33941</c:v>
                </c:pt>
                <c:pt idx="41272">
                  <c:v>33941</c:v>
                </c:pt>
                <c:pt idx="41273">
                  <c:v>33941</c:v>
                </c:pt>
                <c:pt idx="41274">
                  <c:v>33941</c:v>
                </c:pt>
                <c:pt idx="41275">
                  <c:v>33940</c:v>
                </c:pt>
                <c:pt idx="41276">
                  <c:v>33940</c:v>
                </c:pt>
                <c:pt idx="41277">
                  <c:v>33940</c:v>
                </c:pt>
                <c:pt idx="41278">
                  <c:v>33940</c:v>
                </c:pt>
                <c:pt idx="41279">
                  <c:v>33940</c:v>
                </c:pt>
                <c:pt idx="41280">
                  <c:v>33940</c:v>
                </c:pt>
                <c:pt idx="41281">
                  <c:v>33939</c:v>
                </c:pt>
                <c:pt idx="41282">
                  <c:v>33939</c:v>
                </c:pt>
                <c:pt idx="41283">
                  <c:v>33939</c:v>
                </c:pt>
                <c:pt idx="41284">
                  <c:v>33939</c:v>
                </c:pt>
                <c:pt idx="41285">
                  <c:v>33939</c:v>
                </c:pt>
                <c:pt idx="41286">
                  <c:v>33939</c:v>
                </c:pt>
                <c:pt idx="41287">
                  <c:v>33939</c:v>
                </c:pt>
                <c:pt idx="41288">
                  <c:v>33939</c:v>
                </c:pt>
                <c:pt idx="41289">
                  <c:v>33939</c:v>
                </c:pt>
                <c:pt idx="41290">
                  <c:v>33939</c:v>
                </c:pt>
                <c:pt idx="41291">
                  <c:v>33939</c:v>
                </c:pt>
                <c:pt idx="41292">
                  <c:v>33939</c:v>
                </c:pt>
                <c:pt idx="41293">
                  <c:v>33939</c:v>
                </c:pt>
                <c:pt idx="41294">
                  <c:v>33938</c:v>
                </c:pt>
                <c:pt idx="41295">
                  <c:v>33938</c:v>
                </c:pt>
                <c:pt idx="41296">
                  <c:v>33938</c:v>
                </c:pt>
                <c:pt idx="41297">
                  <c:v>33938</c:v>
                </c:pt>
                <c:pt idx="41298">
                  <c:v>33938</c:v>
                </c:pt>
                <c:pt idx="41299">
                  <c:v>33938</c:v>
                </c:pt>
                <c:pt idx="41300">
                  <c:v>33938</c:v>
                </c:pt>
                <c:pt idx="41301">
                  <c:v>33938</c:v>
                </c:pt>
                <c:pt idx="41302">
                  <c:v>33938</c:v>
                </c:pt>
                <c:pt idx="41303">
                  <c:v>33938</c:v>
                </c:pt>
                <c:pt idx="41304">
                  <c:v>33938</c:v>
                </c:pt>
                <c:pt idx="41305">
                  <c:v>33937</c:v>
                </c:pt>
                <c:pt idx="41306">
                  <c:v>33937</c:v>
                </c:pt>
                <c:pt idx="41307">
                  <c:v>33937</c:v>
                </c:pt>
                <c:pt idx="41308">
                  <c:v>33936</c:v>
                </c:pt>
                <c:pt idx="41309">
                  <c:v>33936</c:v>
                </c:pt>
                <c:pt idx="41310">
                  <c:v>33936</c:v>
                </c:pt>
                <c:pt idx="41311">
                  <c:v>33936</c:v>
                </c:pt>
                <c:pt idx="41312">
                  <c:v>33936</c:v>
                </c:pt>
                <c:pt idx="41313">
                  <c:v>33936</c:v>
                </c:pt>
                <c:pt idx="41314">
                  <c:v>33935</c:v>
                </c:pt>
                <c:pt idx="41315">
                  <c:v>33935</c:v>
                </c:pt>
                <c:pt idx="41316">
                  <c:v>33935</c:v>
                </c:pt>
                <c:pt idx="41317">
                  <c:v>33935</c:v>
                </c:pt>
                <c:pt idx="41318">
                  <c:v>33935</c:v>
                </c:pt>
                <c:pt idx="41319">
                  <c:v>33934</c:v>
                </c:pt>
                <c:pt idx="41320">
                  <c:v>33934</c:v>
                </c:pt>
                <c:pt idx="41321">
                  <c:v>33934</c:v>
                </c:pt>
                <c:pt idx="41322">
                  <c:v>33934</c:v>
                </c:pt>
                <c:pt idx="41323">
                  <c:v>33933</c:v>
                </c:pt>
                <c:pt idx="41324">
                  <c:v>33933</c:v>
                </c:pt>
                <c:pt idx="41325">
                  <c:v>33933</c:v>
                </c:pt>
                <c:pt idx="41326">
                  <c:v>33933</c:v>
                </c:pt>
                <c:pt idx="41327">
                  <c:v>33933</c:v>
                </c:pt>
                <c:pt idx="41328">
                  <c:v>33933</c:v>
                </c:pt>
                <c:pt idx="41329">
                  <c:v>33932</c:v>
                </c:pt>
                <c:pt idx="41330">
                  <c:v>33932</c:v>
                </c:pt>
                <c:pt idx="41331">
                  <c:v>33932</c:v>
                </c:pt>
                <c:pt idx="41332">
                  <c:v>33932</c:v>
                </c:pt>
                <c:pt idx="41333">
                  <c:v>33932</c:v>
                </c:pt>
                <c:pt idx="41334">
                  <c:v>33932</c:v>
                </c:pt>
                <c:pt idx="41335">
                  <c:v>33931</c:v>
                </c:pt>
                <c:pt idx="41336">
                  <c:v>33931</c:v>
                </c:pt>
                <c:pt idx="41337">
                  <c:v>33931</c:v>
                </c:pt>
                <c:pt idx="41338">
                  <c:v>33931</c:v>
                </c:pt>
                <c:pt idx="41339">
                  <c:v>33931</c:v>
                </c:pt>
                <c:pt idx="41340">
                  <c:v>33930</c:v>
                </c:pt>
                <c:pt idx="41341">
                  <c:v>33930</c:v>
                </c:pt>
                <c:pt idx="41342">
                  <c:v>33930</c:v>
                </c:pt>
                <c:pt idx="41343">
                  <c:v>33930</c:v>
                </c:pt>
                <c:pt idx="41344">
                  <c:v>33930</c:v>
                </c:pt>
                <c:pt idx="41345">
                  <c:v>33930</c:v>
                </c:pt>
                <c:pt idx="41346">
                  <c:v>33930</c:v>
                </c:pt>
                <c:pt idx="41347">
                  <c:v>33930</c:v>
                </c:pt>
                <c:pt idx="41348">
                  <c:v>33930</c:v>
                </c:pt>
                <c:pt idx="41349">
                  <c:v>33929</c:v>
                </c:pt>
                <c:pt idx="41350">
                  <c:v>33929</c:v>
                </c:pt>
                <c:pt idx="41351">
                  <c:v>33929</c:v>
                </c:pt>
                <c:pt idx="41352">
                  <c:v>33929</c:v>
                </c:pt>
                <c:pt idx="41353">
                  <c:v>33929</c:v>
                </c:pt>
                <c:pt idx="41354">
                  <c:v>33929</c:v>
                </c:pt>
                <c:pt idx="41355">
                  <c:v>33928</c:v>
                </c:pt>
                <c:pt idx="41356">
                  <c:v>33928</c:v>
                </c:pt>
                <c:pt idx="41357">
                  <c:v>33928</c:v>
                </c:pt>
                <c:pt idx="41358">
                  <c:v>33928</c:v>
                </c:pt>
                <c:pt idx="41359">
                  <c:v>33928</c:v>
                </c:pt>
                <c:pt idx="41360">
                  <c:v>33927</c:v>
                </c:pt>
                <c:pt idx="41361">
                  <c:v>33927</c:v>
                </c:pt>
                <c:pt idx="41362">
                  <c:v>33927</c:v>
                </c:pt>
                <c:pt idx="41363">
                  <c:v>33927</c:v>
                </c:pt>
                <c:pt idx="41364">
                  <c:v>33927</c:v>
                </c:pt>
                <c:pt idx="41365">
                  <c:v>33927</c:v>
                </c:pt>
                <c:pt idx="41366">
                  <c:v>33927</c:v>
                </c:pt>
                <c:pt idx="41367">
                  <c:v>33927</c:v>
                </c:pt>
                <c:pt idx="41368">
                  <c:v>33927</c:v>
                </c:pt>
                <c:pt idx="41369">
                  <c:v>33927</c:v>
                </c:pt>
                <c:pt idx="41370">
                  <c:v>33927</c:v>
                </c:pt>
                <c:pt idx="41371">
                  <c:v>33926</c:v>
                </c:pt>
                <c:pt idx="41372">
                  <c:v>33926</c:v>
                </c:pt>
                <c:pt idx="41373">
                  <c:v>33926</c:v>
                </c:pt>
                <c:pt idx="41374">
                  <c:v>33926</c:v>
                </c:pt>
                <c:pt idx="41375">
                  <c:v>33926</c:v>
                </c:pt>
                <c:pt idx="41376">
                  <c:v>33926</c:v>
                </c:pt>
                <c:pt idx="41377">
                  <c:v>33926</c:v>
                </c:pt>
                <c:pt idx="41378">
                  <c:v>33925</c:v>
                </c:pt>
                <c:pt idx="41379">
                  <c:v>33925</c:v>
                </c:pt>
                <c:pt idx="41380">
                  <c:v>33925</c:v>
                </c:pt>
                <c:pt idx="41381">
                  <c:v>33925</c:v>
                </c:pt>
                <c:pt idx="41382">
                  <c:v>33925</c:v>
                </c:pt>
                <c:pt idx="41383">
                  <c:v>33924</c:v>
                </c:pt>
                <c:pt idx="41384">
                  <c:v>33924</c:v>
                </c:pt>
                <c:pt idx="41385">
                  <c:v>33924</c:v>
                </c:pt>
                <c:pt idx="41386">
                  <c:v>33924</c:v>
                </c:pt>
                <c:pt idx="41387">
                  <c:v>33924</c:v>
                </c:pt>
                <c:pt idx="41388">
                  <c:v>33924</c:v>
                </c:pt>
                <c:pt idx="41389">
                  <c:v>33924</c:v>
                </c:pt>
                <c:pt idx="41390">
                  <c:v>33924</c:v>
                </c:pt>
                <c:pt idx="41391">
                  <c:v>33924</c:v>
                </c:pt>
                <c:pt idx="41392">
                  <c:v>33924</c:v>
                </c:pt>
                <c:pt idx="41393">
                  <c:v>33923</c:v>
                </c:pt>
                <c:pt idx="41394">
                  <c:v>33923</c:v>
                </c:pt>
                <c:pt idx="41395">
                  <c:v>33923</c:v>
                </c:pt>
                <c:pt idx="41396">
                  <c:v>33923</c:v>
                </c:pt>
                <c:pt idx="41397">
                  <c:v>33923</c:v>
                </c:pt>
                <c:pt idx="41398">
                  <c:v>33923</c:v>
                </c:pt>
                <c:pt idx="41399">
                  <c:v>33922</c:v>
                </c:pt>
                <c:pt idx="41400">
                  <c:v>33922</c:v>
                </c:pt>
                <c:pt idx="41401">
                  <c:v>33922</c:v>
                </c:pt>
                <c:pt idx="41402">
                  <c:v>33922</c:v>
                </c:pt>
                <c:pt idx="41403">
                  <c:v>33922</c:v>
                </c:pt>
                <c:pt idx="41404">
                  <c:v>33922</c:v>
                </c:pt>
                <c:pt idx="41405">
                  <c:v>33921</c:v>
                </c:pt>
                <c:pt idx="41406">
                  <c:v>33921</c:v>
                </c:pt>
                <c:pt idx="41407">
                  <c:v>33921</c:v>
                </c:pt>
                <c:pt idx="41408">
                  <c:v>33921</c:v>
                </c:pt>
                <c:pt idx="41409">
                  <c:v>33921</c:v>
                </c:pt>
                <c:pt idx="41410">
                  <c:v>33920</c:v>
                </c:pt>
                <c:pt idx="41411">
                  <c:v>33920</c:v>
                </c:pt>
                <c:pt idx="41412">
                  <c:v>33920</c:v>
                </c:pt>
                <c:pt idx="41413">
                  <c:v>33920</c:v>
                </c:pt>
                <c:pt idx="41414">
                  <c:v>33919</c:v>
                </c:pt>
                <c:pt idx="41415">
                  <c:v>33919</c:v>
                </c:pt>
                <c:pt idx="41416">
                  <c:v>33919</c:v>
                </c:pt>
                <c:pt idx="41417">
                  <c:v>33919</c:v>
                </c:pt>
                <c:pt idx="41418">
                  <c:v>33918</c:v>
                </c:pt>
                <c:pt idx="41419">
                  <c:v>33918</c:v>
                </c:pt>
                <c:pt idx="41420">
                  <c:v>33918</c:v>
                </c:pt>
                <c:pt idx="41421">
                  <c:v>33918</c:v>
                </c:pt>
                <c:pt idx="41422">
                  <c:v>33918</c:v>
                </c:pt>
                <c:pt idx="41423">
                  <c:v>33917</c:v>
                </c:pt>
                <c:pt idx="41424">
                  <c:v>33917</c:v>
                </c:pt>
                <c:pt idx="41425">
                  <c:v>33917</c:v>
                </c:pt>
                <c:pt idx="41426">
                  <c:v>33916</c:v>
                </c:pt>
                <c:pt idx="41427">
                  <c:v>33916</c:v>
                </c:pt>
                <c:pt idx="41428">
                  <c:v>33916</c:v>
                </c:pt>
                <c:pt idx="41429">
                  <c:v>33916</c:v>
                </c:pt>
                <c:pt idx="41430">
                  <c:v>33916</c:v>
                </c:pt>
                <c:pt idx="41431">
                  <c:v>33916</c:v>
                </c:pt>
                <c:pt idx="41432">
                  <c:v>33916</c:v>
                </c:pt>
                <c:pt idx="41433">
                  <c:v>33916</c:v>
                </c:pt>
                <c:pt idx="41434">
                  <c:v>33916</c:v>
                </c:pt>
                <c:pt idx="41435">
                  <c:v>33916</c:v>
                </c:pt>
                <c:pt idx="41436">
                  <c:v>33916</c:v>
                </c:pt>
                <c:pt idx="41437">
                  <c:v>33915</c:v>
                </c:pt>
                <c:pt idx="41438">
                  <c:v>33915</c:v>
                </c:pt>
                <c:pt idx="41439">
                  <c:v>33915</c:v>
                </c:pt>
                <c:pt idx="41440">
                  <c:v>33915</c:v>
                </c:pt>
                <c:pt idx="41441">
                  <c:v>33915</c:v>
                </c:pt>
                <c:pt idx="41442">
                  <c:v>33915</c:v>
                </c:pt>
                <c:pt idx="41443">
                  <c:v>33914</c:v>
                </c:pt>
                <c:pt idx="41444">
                  <c:v>33914</c:v>
                </c:pt>
                <c:pt idx="41445">
                  <c:v>33914</c:v>
                </c:pt>
                <c:pt idx="41446">
                  <c:v>33914</c:v>
                </c:pt>
                <c:pt idx="41447">
                  <c:v>33914</c:v>
                </c:pt>
                <c:pt idx="41448">
                  <c:v>33914</c:v>
                </c:pt>
                <c:pt idx="41449">
                  <c:v>33913</c:v>
                </c:pt>
                <c:pt idx="41450">
                  <c:v>33913</c:v>
                </c:pt>
                <c:pt idx="41451">
                  <c:v>33913</c:v>
                </c:pt>
                <c:pt idx="41452">
                  <c:v>33913</c:v>
                </c:pt>
                <c:pt idx="41453">
                  <c:v>33913</c:v>
                </c:pt>
                <c:pt idx="41454">
                  <c:v>33913</c:v>
                </c:pt>
                <c:pt idx="41455">
                  <c:v>33913</c:v>
                </c:pt>
                <c:pt idx="41456">
                  <c:v>33913</c:v>
                </c:pt>
                <c:pt idx="41457">
                  <c:v>33913</c:v>
                </c:pt>
                <c:pt idx="41458">
                  <c:v>33912</c:v>
                </c:pt>
                <c:pt idx="41459">
                  <c:v>33912</c:v>
                </c:pt>
                <c:pt idx="41460">
                  <c:v>33912</c:v>
                </c:pt>
                <c:pt idx="41461">
                  <c:v>33912</c:v>
                </c:pt>
                <c:pt idx="41462">
                  <c:v>33912</c:v>
                </c:pt>
                <c:pt idx="41463">
                  <c:v>33912</c:v>
                </c:pt>
                <c:pt idx="41464">
                  <c:v>33912</c:v>
                </c:pt>
                <c:pt idx="41465">
                  <c:v>33912</c:v>
                </c:pt>
                <c:pt idx="41466">
                  <c:v>33912</c:v>
                </c:pt>
                <c:pt idx="41467">
                  <c:v>33912</c:v>
                </c:pt>
                <c:pt idx="41468">
                  <c:v>33912</c:v>
                </c:pt>
                <c:pt idx="41469">
                  <c:v>33911</c:v>
                </c:pt>
                <c:pt idx="41470">
                  <c:v>33911</c:v>
                </c:pt>
                <c:pt idx="41471">
                  <c:v>33911</c:v>
                </c:pt>
                <c:pt idx="41472">
                  <c:v>33911</c:v>
                </c:pt>
                <c:pt idx="41473">
                  <c:v>33911</c:v>
                </c:pt>
                <c:pt idx="41474">
                  <c:v>33910</c:v>
                </c:pt>
                <c:pt idx="41475">
                  <c:v>33910</c:v>
                </c:pt>
                <c:pt idx="41476">
                  <c:v>33910</c:v>
                </c:pt>
                <c:pt idx="41477">
                  <c:v>33909</c:v>
                </c:pt>
                <c:pt idx="41478">
                  <c:v>33909</c:v>
                </c:pt>
                <c:pt idx="41479">
                  <c:v>33909</c:v>
                </c:pt>
                <c:pt idx="41480">
                  <c:v>33909</c:v>
                </c:pt>
                <c:pt idx="41481">
                  <c:v>33909</c:v>
                </c:pt>
                <c:pt idx="41482">
                  <c:v>33909</c:v>
                </c:pt>
                <c:pt idx="41483">
                  <c:v>33909</c:v>
                </c:pt>
                <c:pt idx="41484">
                  <c:v>33909</c:v>
                </c:pt>
                <c:pt idx="41485">
                  <c:v>33909</c:v>
                </c:pt>
                <c:pt idx="41486">
                  <c:v>33909</c:v>
                </c:pt>
                <c:pt idx="41487">
                  <c:v>33908</c:v>
                </c:pt>
                <c:pt idx="41488">
                  <c:v>33908</c:v>
                </c:pt>
                <c:pt idx="41489">
                  <c:v>33908</c:v>
                </c:pt>
                <c:pt idx="41490">
                  <c:v>33908</c:v>
                </c:pt>
                <c:pt idx="41491">
                  <c:v>33908</c:v>
                </c:pt>
                <c:pt idx="41492">
                  <c:v>33907</c:v>
                </c:pt>
                <c:pt idx="41493">
                  <c:v>33907</c:v>
                </c:pt>
                <c:pt idx="41494">
                  <c:v>33907</c:v>
                </c:pt>
                <c:pt idx="41495">
                  <c:v>33907</c:v>
                </c:pt>
                <c:pt idx="41496">
                  <c:v>33907</c:v>
                </c:pt>
                <c:pt idx="41497">
                  <c:v>33907</c:v>
                </c:pt>
                <c:pt idx="41498">
                  <c:v>33907</c:v>
                </c:pt>
                <c:pt idx="41499">
                  <c:v>33907</c:v>
                </c:pt>
                <c:pt idx="41500">
                  <c:v>33906</c:v>
                </c:pt>
                <c:pt idx="41501">
                  <c:v>33906</c:v>
                </c:pt>
                <c:pt idx="41502">
                  <c:v>33906</c:v>
                </c:pt>
                <c:pt idx="41503">
                  <c:v>33906</c:v>
                </c:pt>
                <c:pt idx="41504">
                  <c:v>33906</c:v>
                </c:pt>
                <c:pt idx="41505">
                  <c:v>33906</c:v>
                </c:pt>
                <c:pt idx="41506">
                  <c:v>33905</c:v>
                </c:pt>
                <c:pt idx="41507">
                  <c:v>33905</c:v>
                </c:pt>
                <c:pt idx="41508">
                  <c:v>33905</c:v>
                </c:pt>
                <c:pt idx="41509">
                  <c:v>33905</c:v>
                </c:pt>
                <c:pt idx="41510">
                  <c:v>33905</c:v>
                </c:pt>
                <c:pt idx="41511">
                  <c:v>33905</c:v>
                </c:pt>
                <c:pt idx="41512">
                  <c:v>33905</c:v>
                </c:pt>
                <c:pt idx="41513">
                  <c:v>33904</c:v>
                </c:pt>
                <c:pt idx="41514">
                  <c:v>33904</c:v>
                </c:pt>
                <c:pt idx="41515">
                  <c:v>33904</c:v>
                </c:pt>
                <c:pt idx="41516">
                  <c:v>33904</c:v>
                </c:pt>
                <c:pt idx="41517">
                  <c:v>33904</c:v>
                </c:pt>
                <c:pt idx="41518">
                  <c:v>33904</c:v>
                </c:pt>
                <c:pt idx="41519">
                  <c:v>33904</c:v>
                </c:pt>
                <c:pt idx="41520">
                  <c:v>33904</c:v>
                </c:pt>
                <c:pt idx="41521">
                  <c:v>33904</c:v>
                </c:pt>
                <c:pt idx="41522">
                  <c:v>33904</c:v>
                </c:pt>
                <c:pt idx="41523">
                  <c:v>33904</c:v>
                </c:pt>
                <c:pt idx="41524">
                  <c:v>33904</c:v>
                </c:pt>
                <c:pt idx="41525">
                  <c:v>33904</c:v>
                </c:pt>
                <c:pt idx="41526">
                  <c:v>33904</c:v>
                </c:pt>
                <c:pt idx="41527">
                  <c:v>33903</c:v>
                </c:pt>
                <c:pt idx="41528">
                  <c:v>33903</c:v>
                </c:pt>
                <c:pt idx="41529">
                  <c:v>33903</c:v>
                </c:pt>
                <c:pt idx="41530">
                  <c:v>33903</c:v>
                </c:pt>
                <c:pt idx="41531">
                  <c:v>33903</c:v>
                </c:pt>
                <c:pt idx="41532">
                  <c:v>33903</c:v>
                </c:pt>
                <c:pt idx="41533">
                  <c:v>33902</c:v>
                </c:pt>
                <c:pt idx="41534">
                  <c:v>33902</c:v>
                </c:pt>
                <c:pt idx="41535">
                  <c:v>33902</c:v>
                </c:pt>
                <c:pt idx="41536">
                  <c:v>33902</c:v>
                </c:pt>
                <c:pt idx="41537">
                  <c:v>33902</c:v>
                </c:pt>
                <c:pt idx="41538">
                  <c:v>33901</c:v>
                </c:pt>
                <c:pt idx="41539">
                  <c:v>33901</c:v>
                </c:pt>
                <c:pt idx="41540">
                  <c:v>33901</c:v>
                </c:pt>
                <c:pt idx="41541">
                  <c:v>33901</c:v>
                </c:pt>
                <c:pt idx="41542">
                  <c:v>33901</c:v>
                </c:pt>
                <c:pt idx="41543">
                  <c:v>33901</c:v>
                </c:pt>
                <c:pt idx="41544">
                  <c:v>33901</c:v>
                </c:pt>
                <c:pt idx="41545">
                  <c:v>33901</c:v>
                </c:pt>
                <c:pt idx="41546">
                  <c:v>33901</c:v>
                </c:pt>
                <c:pt idx="41547">
                  <c:v>33901</c:v>
                </c:pt>
                <c:pt idx="41548">
                  <c:v>33901</c:v>
                </c:pt>
                <c:pt idx="41549">
                  <c:v>33901</c:v>
                </c:pt>
                <c:pt idx="41550">
                  <c:v>33900</c:v>
                </c:pt>
                <c:pt idx="41551">
                  <c:v>33900</c:v>
                </c:pt>
                <c:pt idx="41552">
                  <c:v>33900</c:v>
                </c:pt>
                <c:pt idx="41553">
                  <c:v>33900</c:v>
                </c:pt>
                <c:pt idx="41554">
                  <c:v>33900</c:v>
                </c:pt>
                <c:pt idx="41555">
                  <c:v>33900</c:v>
                </c:pt>
                <c:pt idx="41556">
                  <c:v>33900</c:v>
                </c:pt>
                <c:pt idx="41557">
                  <c:v>33899</c:v>
                </c:pt>
                <c:pt idx="41558">
                  <c:v>33899</c:v>
                </c:pt>
                <c:pt idx="41559">
                  <c:v>33898</c:v>
                </c:pt>
                <c:pt idx="41560">
                  <c:v>33898</c:v>
                </c:pt>
                <c:pt idx="41561">
                  <c:v>33897</c:v>
                </c:pt>
                <c:pt idx="41562">
                  <c:v>33897</c:v>
                </c:pt>
                <c:pt idx="41563">
                  <c:v>33897</c:v>
                </c:pt>
                <c:pt idx="41564">
                  <c:v>33897</c:v>
                </c:pt>
                <c:pt idx="41565">
                  <c:v>33897</c:v>
                </c:pt>
                <c:pt idx="41566">
                  <c:v>33897</c:v>
                </c:pt>
                <c:pt idx="41567">
                  <c:v>33897</c:v>
                </c:pt>
                <c:pt idx="41568">
                  <c:v>33897</c:v>
                </c:pt>
                <c:pt idx="41569">
                  <c:v>33897</c:v>
                </c:pt>
                <c:pt idx="41570">
                  <c:v>33896</c:v>
                </c:pt>
                <c:pt idx="41571">
                  <c:v>33896</c:v>
                </c:pt>
                <c:pt idx="41572">
                  <c:v>33896</c:v>
                </c:pt>
                <c:pt idx="41573">
                  <c:v>33896</c:v>
                </c:pt>
                <c:pt idx="41574">
                  <c:v>33896</c:v>
                </c:pt>
                <c:pt idx="41575">
                  <c:v>33896</c:v>
                </c:pt>
                <c:pt idx="41576">
                  <c:v>33896</c:v>
                </c:pt>
                <c:pt idx="41577">
                  <c:v>33896</c:v>
                </c:pt>
                <c:pt idx="41578">
                  <c:v>33895</c:v>
                </c:pt>
                <c:pt idx="41579">
                  <c:v>33895</c:v>
                </c:pt>
                <c:pt idx="41580">
                  <c:v>33895</c:v>
                </c:pt>
                <c:pt idx="41581">
                  <c:v>33895</c:v>
                </c:pt>
                <c:pt idx="41582">
                  <c:v>33895</c:v>
                </c:pt>
                <c:pt idx="41583">
                  <c:v>33895</c:v>
                </c:pt>
                <c:pt idx="41584">
                  <c:v>33894</c:v>
                </c:pt>
                <c:pt idx="41585">
                  <c:v>33894</c:v>
                </c:pt>
                <c:pt idx="41586">
                  <c:v>33894</c:v>
                </c:pt>
                <c:pt idx="41587">
                  <c:v>33894</c:v>
                </c:pt>
                <c:pt idx="41588">
                  <c:v>33894</c:v>
                </c:pt>
                <c:pt idx="41589">
                  <c:v>33894</c:v>
                </c:pt>
                <c:pt idx="41590">
                  <c:v>33893</c:v>
                </c:pt>
                <c:pt idx="41591">
                  <c:v>33893</c:v>
                </c:pt>
                <c:pt idx="41592">
                  <c:v>33893</c:v>
                </c:pt>
                <c:pt idx="41593">
                  <c:v>33893</c:v>
                </c:pt>
                <c:pt idx="41594">
                  <c:v>33892</c:v>
                </c:pt>
                <c:pt idx="41595">
                  <c:v>33892</c:v>
                </c:pt>
                <c:pt idx="41596">
                  <c:v>33892</c:v>
                </c:pt>
                <c:pt idx="41597">
                  <c:v>33892</c:v>
                </c:pt>
                <c:pt idx="41598">
                  <c:v>33892</c:v>
                </c:pt>
                <c:pt idx="41599">
                  <c:v>33891</c:v>
                </c:pt>
                <c:pt idx="41600">
                  <c:v>33891</c:v>
                </c:pt>
                <c:pt idx="41601">
                  <c:v>33891</c:v>
                </c:pt>
                <c:pt idx="41602">
                  <c:v>33891</c:v>
                </c:pt>
                <c:pt idx="41603">
                  <c:v>33890</c:v>
                </c:pt>
                <c:pt idx="41604">
                  <c:v>33890</c:v>
                </c:pt>
                <c:pt idx="41605">
                  <c:v>33890</c:v>
                </c:pt>
                <c:pt idx="41606">
                  <c:v>33890</c:v>
                </c:pt>
                <c:pt idx="41607">
                  <c:v>33890</c:v>
                </c:pt>
                <c:pt idx="41608">
                  <c:v>33889</c:v>
                </c:pt>
                <c:pt idx="41609">
                  <c:v>33889</c:v>
                </c:pt>
                <c:pt idx="41610">
                  <c:v>33889</c:v>
                </c:pt>
                <c:pt idx="41611">
                  <c:v>33889</c:v>
                </c:pt>
                <c:pt idx="41612">
                  <c:v>33889</c:v>
                </c:pt>
                <c:pt idx="41613">
                  <c:v>33889</c:v>
                </c:pt>
                <c:pt idx="41614">
                  <c:v>33889</c:v>
                </c:pt>
                <c:pt idx="41615">
                  <c:v>33888</c:v>
                </c:pt>
                <c:pt idx="41616">
                  <c:v>33888</c:v>
                </c:pt>
                <c:pt idx="41617">
                  <c:v>33888</c:v>
                </c:pt>
                <c:pt idx="41618">
                  <c:v>33888</c:v>
                </c:pt>
                <c:pt idx="41619">
                  <c:v>33888</c:v>
                </c:pt>
                <c:pt idx="41620">
                  <c:v>33888</c:v>
                </c:pt>
                <c:pt idx="41621">
                  <c:v>33888</c:v>
                </c:pt>
                <c:pt idx="41622">
                  <c:v>33888</c:v>
                </c:pt>
                <c:pt idx="41623">
                  <c:v>33888</c:v>
                </c:pt>
                <c:pt idx="41624">
                  <c:v>33888</c:v>
                </c:pt>
                <c:pt idx="41625">
                  <c:v>33887</c:v>
                </c:pt>
                <c:pt idx="41626">
                  <c:v>33887</c:v>
                </c:pt>
                <c:pt idx="41627">
                  <c:v>33887</c:v>
                </c:pt>
                <c:pt idx="41628">
                  <c:v>33887</c:v>
                </c:pt>
                <c:pt idx="41629">
                  <c:v>33887</c:v>
                </c:pt>
                <c:pt idx="41630">
                  <c:v>33887</c:v>
                </c:pt>
                <c:pt idx="41631">
                  <c:v>33886</c:v>
                </c:pt>
                <c:pt idx="41632">
                  <c:v>33886</c:v>
                </c:pt>
                <c:pt idx="41633">
                  <c:v>33886</c:v>
                </c:pt>
                <c:pt idx="41634">
                  <c:v>33886</c:v>
                </c:pt>
                <c:pt idx="41635">
                  <c:v>33886</c:v>
                </c:pt>
                <c:pt idx="41636">
                  <c:v>33886</c:v>
                </c:pt>
                <c:pt idx="41637">
                  <c:v>33886</c:v>
                </c:pt>
                <c:pt idx="41638">
                  <c:v>33885</c:v>
                </c:pt>
                <c:pt idx="41639">
                  <c:v>33885</c:v>
                </c:pt>
                <c:pt idx="41640">
                  <c:v>33885</c:v>
                </c:pt>
                <c:pt idx="41641">
                  <c:v>33885</c:v>
                </c:pt>
                <c:pt idx="41642">
                  <c:v>33885</c:v>
                </c:pt>
                <c:pt idx="41643">
                  <c:v>33885</c:v>
                </c:pt>
                <c:pt idx="41644">
                  <c:v>33885</c:v>
                </c:pt>
                <c:pt idx="41645">
                  <c:v>33884</c:v>
                </c:pt>
                <c:pt idx="41646">
                  <c:v>33884</c:v>
                </c:pt>
                <c:pt idx="41647">
                  <c:v>33884</c:v>
                </c:pt>
                <c:pt idx="41648">
                  <c:v>33884</c:v>
                </c:pt>
                <c:pt idx="41649">
                  <c:v>33884</c:v>
                </c:pt>
                <c:pt idx="41650">
                  <c:v>33884</c:v>
                </c:pt>
                <c:pt idx="41651">
                  <c:v>33884</c:v>
                </c:pt>
                <c:pt idx="41652">
                  <c:v>33883</c:v>
                </c:pt>
                <c:pt idx="41653">
                  <c:v>33883</c:v>
                </c:pt>
                <c:pt idx="41654">
                  <c:v>33883</c:v>
                </c:pt>
                <c:pt idx="41655">
                  <c:v>33883</c:v>
                </c:pt>
                <c:pt idx="41656">
                  <c:v>33883</c:v>
                </c:pt>
                <c:pt idx="41657">
                  <c:v>33883</c:v>
                </c:pt>
                <c:pt idx="41658">
                  <c:v>33883</c:v>
                </c:pt>
                <c:pt idx="41659">
                  <c:v>33883</c:v>
                </c:pt>
                <c:pt idx="41660">
                  <c:v>33883</c:v>
                </c:pt>
                <c:pt idx="41661">
                  <c:v>33883</c:v>
                </c:pt>
                <c:pt idx="41662">
                  <c:v>33883</c:v>
                </c:pt>
                <c:pt idx="41663">
                  <c:v>33882</c:v>
                </c:pt>
                <c:pt idx="41664">
                  <c:v>33882</c:v>
                </c:pt>
                <c:pt idx="41665">
                  <c:v>33882</c:v>
                </c:pt>
                <c:pt idx="41666">
                  <c:v>33882</c:v>
                </c:pt>
                <c:pt idx="41667">
                  <c:v>33882</c:v>
                </c:pt>
                <c:pt idx="41668">
                  <c:v>33882</c:v>
                </c:pt>
                <c:pt idx="41669">
                  <c:v>33882</c:v>
                </c:pt>
                <c:pt idx="41670">
                  <c:v>33882</c:v>
                </c:pt>
                <c:pt idx="41671">
                  <c:v>33882</c:v>
                </c:pt>
                <c:pt idx="41672">
                  <c:v>33882</c:v>
                </c:pt>
                <c:pt idx="41673">
                  <c:v>33882</c:v>
                </c:pt>
                <c:pt idx="41674">
                  <c:v>33882</c:v>
                </c:pt>
                <c:pt idx="41675">
                  <c:v>33881</c:v>
                </c:pt>
                <c:pt idx="41676">
                  <c:v>33881</c:v>
                </c:pt>
                <c:pt idx="41677">
                  <c:v>33881</c:v>
                </c:pt>
                <c:pt idx="41678">
                  <c:v>33881</c:v>
                </c:pt>
                <c:pt idx="41679">
                  <c:v>33881</c:v>
                </c:pt>
                <c:pt idx="41680">
                  <c:v>33881</c:v>
                </c:pt>
                <c:pt idx="41681">
                  <c:v>33880</c:v>
                </c:pt>
                <c:pt idx="41682">
                  <c:v>33880</c:v>
                </c:pt>
                <c:pt idx="41683">
                  <c:v>33880</c:v>
                </c:pt>
                <c:pt idx="41684">
                  <c:v>33880</c:v>
                </c:pt>
                <c:pt idx="41685">
                  <c:v>33880</c:v>
                </c:pt>
                <c:pt idx="41686">
                  <c:v>33880</c:v>
                </c:pt>
                <c:pt idx="41687">
                  <c:v>33880</c:v>
                </c:pt>
                <c:pt idx="41688">
                  <c:v>33880</c:v>
                </c:pt>
                <c:pt idx="41689">
                  <c:v>33879</c:v>
                </c:pt>
                <c:pt idx="41690">
                  <c:v>33879</c:v>
                </c:pt>
                <c:pt idx="41691">
                  <c:v>33879</c:v>
                </c:pt>
                <c:pt idx="41692">
                  <c:v>33879</c:v>
                </c:pt>
                <c:pt idx="41693">
                  <c:v>33879</c:v>
                </c:pt>
                <c:pt idx="41694">
                  <c:v>33879</c:v>
                </c:pt>
                <c:pt idx="41695">
                  <c:v>33879</c:v>
                </c:pt>
                <c:pt idx="41696">
                  <c:v>33878</c:v>
                </c:pt>
                <c:pt idx="41697">
                  <c:v>33878</c:v>
                </c:pt>
                <c:pt idx="41698">
                  <c:v>33878</c:v>
                </c:pt>
                <c:pt idx="41699">
                  <c:v>33878</c:v>
                </c:pt>
                <c:pt idx="41700">
                  <c:v>33877</c:v>
                </c:pt>
                <c:pt idx="41701">
                  <c:v>33877</c:v>
                </c:pt>
                <c:pt idx="41702">
                  <c:v>33877</c:v>
                </c:pt>
                <c:pt idx="41703">
                  <c:v>33877</c:v>
                </c:pt>
                <c:pt idx="41704">
                  <c:v>33877</c:v>
                </c:pt>
                <c:pt idx="41705">
                  <c:v>33877</c:v>
                </c:pt>
                <c:pt idx="41706">
                  <c:v>33877</c:v>
                </c:pt>
                <c:pt idx="41707">
                  <c:v>33877</c:v>
                </c:pt>
                <c:pt idx="41708">
                  <c:v>33877</c:v>
                </c:pt>
                <c:pt idx="41709">
                  <c:v>33877</c:v>
                </c:pt>
                <c:pt idx="41710">
                  <c:v>33876</c:v>
                </c:pt>
                <c:pt idx="41711">
                  <c:v>33876</c:v>
                </c:pt>
                <c:pt idx="41712">
                  <c:v>33876</c:v>
                </c:pt>
                <c:pt idx="41713">
                  <c:v>33876</c:v>
                </c:pt>
                <c:pt idx="41714">
                  <c:v>33875</c:v>
                </c:pt>
                <c:pt idx="41715">
                  <c:v>33875</c:v>
                </c:pt>
                <c:pt idx="41716">
                  <c:v>33875</c:v>
                </c:pt>
                <c:pt idx="41717">
                  <c:v>33875</c:v>
                </c:pt>
                <c:pt idx="41718">
                  <c:v>33875</c:v>
                </c:pt>
                <c:pt idx="41719">
                  <c:v>33874</c:v>
                </c:pt>
                <c:pt idx="41720">
                  <c:v>33874</c:v>
                </c:pt>
                <c:pt idx="41721">
                  <c:v>33874</c:v>
                </c:pt>
                <c:pt idx="41722">
                  <c:v>33874</c:v>
                </c:pt>
                <c:pt idx="41723">
                  <c:v>33874</c:v>
                </c:pt>
                <c:pt idx="41724">
                  <c:v>33874</c:v>
                </c:pt>
                <c:pt idx="41725">
                  <c:v>33874</c:v>
                </c:pt>
                <c:pt idx="41726">
                  <c:v>33873</c:v>
                </c:pt>
                <c:pt idx="41727">
                  <c:v>33873</c:v>
                </c:pt>
                <c:pt idx="41728">
                  <c:v>33873</c:v>
                </c:pt>
                <c:pt idx="41729">
                  <c:v>33873</c:v>
                </c:pt>
                <c:pt idx="41730">
                  <c:v>33873</c:v>
                </c:pt>
                <c:pt idx="41731">
                  <c:v>33873</c:v>
                </c:pt>
                <c:pt idx="41732">
                  <c:v>33873</c:v>
                </c:pt>
                <c:pt idx="41733">
                  <c:v>33873</c:v>
                </c:pt>
                <c:pt idx="41734">
                  <c:v>33873</c:v>
                </c:pt>
                <c:pt idx="41735">
                  <c:v>33873</c:v>
                </c:pt>
                <c:pt idx="41736">
                  <c:v>33873</c:v>
                </c:pt>
                <c:pt idx="41737">
                  <c:v>33872</c:v>
                </c:pt>
                <c:pt idx="41738">
                  <c:v>33872</c:v>
                </c:pt>
                <c:pt idx="41739">
                  <c:v>33872</c:v>
                </c:pt>
                <c:pt idx="41740">
                  <c:v>33872</c:v>
                </c:pt>
                <c:pt idx="41741">
                  <c:v>33872</c:v>
                </c:pt>
                <c:pt idx="41742">
                  <c:v>33872</c:v>
                </c:pt>
                <c:pt idx="41743">
                  <c:v>33872</c:v>
                </c:pt>
                <c:pt idx="41744">
                  <c:v>33872</c:v>
                </c:pt>
                <c:pt idx="41745">
                  <c:v>33872</c:v>
                </c:pt>
                <c:pt idx="41746">
                  <c:v>33872</c:v>
                </c:pt>
                <c:pt idx="41747">
                  <c:v>33871</c:v>
                </c:pt>
                <c:pt idx="41748">
                  <c:v>33871</c:v>
                </c:pt>
                <c:pt idx="41749">
                  <c:v>33871</c:v>
                </c:pt>
                <c:pt idx="41750">
                  <c:v>33871</c:v>
                </c:pt>
                <c:pt idx="41751">
                  <c:v>33871</c:v>
                </c:pt>
                <c:pt idx="41752">
                  <c:v>33870</c:v>
                </c:pt>
                <c:pt idx="41753">
                  <c:v>33870</c:v>
                </c:pt>
                <c:pt idx="41754">
                  <c:v>33870</c:v>
                </c:pt>
                <c:pt idx="41755">
                  <c:v>33870</c:v>
                </c:pt>
                <c:pt idx="41756">
                  <c:v>33870</c:v>
                </c:pt>
                <c:pt idx="41757">
                  <c:v>33870</c:v>
                </c:pt>
                <c:pt idx="41758">
                  <c:v>33870</c:v>
                </c:pt>
                <c:pt idx="41759">
                  <c:v>33870</c:v>
                </c:pt>
                <c:pt idx="41760">
                  <c:v>33870</c:v>
                </c:pt>
                <c:pt idx="41761">
                  <c:v>33869</c:v>
                </c:pt>
                <c:pt idx="41762">
                  <c:v>33869</c:v>
                </c:pt>
                <c:pt idx="41763">
                  <c:v>33869</c:v>
                </c:pt>
                <c:pt idx="41764">
                  <c:v>33869</c:v>
                </c:pt>
                <c:pt idx="41765">
                  <c:v>33869</c:v>
                </c:pt>
                <c:pt idx="41766">
                  <c:v>33869</c:v>
                </c:pt>
                <c:pt idx="41767">
                  <c:v>33869</c:v>
                </c:pt>
                <c:pt idx="41768">
                  <c:v>33869</c:v>
                </c:pt>
                <c:pt idx="41769">
                  <c:v>33869</c:v>
                </c:pt>
                <c:pt idx="41770">
                  <c:v>33869</c:v>
                </c:pt>
                <c:pt idx="41771">
                  <c:v>33869</c:v>
                </c:pt>
                <c:pt idx="41772">
                  <c:v>33869</c:v>
                </c:pt>
                <c:pt idx="41773">
                  <c:v>33868</c:v>
                </c:pt>
                <c:pt idx="41774">
                  <c:v>33868</c:v>
                </c:pt>
                <c:pt idx="41775">
                  <c:v>33868</c:v>
                </c:pt>
                <c:pt idx="41776">
                  <c:v>33868</c:v>
                </c:pt>
                <c:pt idx="41777">
                  <c:v>33867</c:v>
                </c:pt>
                <c:pt idx="41778">
                  <c:v>33867</c:v>
                </c:pt>
                <c:pt idx="41779">
                  <c:v>33867</c:v>
                </c:pt>
                <c:pt idx="41780">
                  <c:v>33867</c:v>
                </c:pt>
                <c:pt idx="41781">
                  <c:v>33867</c:v>
                </c:pt>
                <c:pt idx="41782">
                  <c:v>33867</c:v>
                </c:pt>
                <c:pt idx="41783">
                  <c:v>33867</c:v>
                </c:pt>
                <c:pt idx="41784">
                  <c:v>33866</c:v>
                </c:pt>
                <c:pt idx="41785">
                  <c:v>33866</c:v>
                </c:pt>
                <c:pt idx="41786">
                  <c:v>33866</c:v>
                </c:pt>
                <c:pt idx="41787">
                  <c:v>33866</c:v>
                </c:pt>
                <c:pt idx="41788">
                  <c:v>33866</c:v>
                </c:pt>
                <c:pt idx="41789">
                  <c:v>33866</c:v>
                </c:pt>
                <c:pt idx="41790">
                  <c:v>33866</c:v>
                </c:pt>
                <c:pt idx="41791">
                  <c:v>33866</c:v>
                </c:pt>
                <c:pt idx="41792">
                  <c:v>33866</c:v>
                </c:pt>
                <c:pt idx="41793">
                  <c:v>33865</c:v>
                </c:pt>
                <c:pt idx="41794">
                  <c:v>33865</c:v>
                </c:pt>
                <c:pt idx="41795">
                  <c:v>33865</c:v>
                </c:pt>
                <c:pt idx="41796">
                  <c:v>33865</c:v>
                </c:pt>
                <c:pt idx="41797">
                  <c:v>33865</c:v>
                </c:pt>
                <c:pt idx="41798">
                  <c:v>33865</c:v>
                </c:pt>
                <c:pt idx="41799">
                  <c:v>33865</c:v>
                </c:pt>
                <c:pt idx="41800">
                  <c:v>33864</c:v>
                </c:pt>
                <c:pt idx="41801">
                  <c:v>33864</c:v>
                </c:pt>
                <c:pt idx="41802">
                  <c:v>33864</c:v>
                </c:pt>
                <c:pt idx="41803">
                  <c:v>33864</c:v>
                </c:pt>
                <c:pt idx="41804">
                  <c:v>33864</c:v>
                </c:pt>
                <c:pt idx="41805">
                  <c:v>33864</c:v>
                </c:pt>
                <c:pt idx="41806">
                  <c:v>33864</c:v>
                </c:pt>
                <c:pt idx="41807">
                  <c:v>33864</c:v>
                </c:pt>
                <c:pt idx="41808">
                  <c:v>33863</c:v>
                </c:pt>
                <c:pt idx="41809">
                  <c:v>33863</c:v>
                </c:pt>
                <c:pt idx="41810">
                  <c:v>33863</c:v>
                </c:pt>
                <c:pt idx="41811">
                  <c:v>33863</c:v>
                </c:pt>
                <c:pt idx="41812">
                  <c:v>33863</c:v>
                </c:pt>
                <c:pt idx="41813">
                  <c:v>33863</c:v>
                </c:pt>
                <c:pt idx="41814">
                  <c:v>33863</c:v>
                </c:pt>
                <c:pt idx="41815">
                  <c:v>33863</c:v>
                </c:pt>
                <c:pt idx="41816">
                  <c:v>33862</c:v>
                </c:pt>
                <c:pt idx="41817">
                  <c:v>33862</c:v>
                </c:pt>
                <c:pt idx="41818">
                  <c:v>33862</c:v>
                </c:pt>
                <c:pt idx="41819">
                  <c:v>33862</c:v>
                </c:pt>
                <c:pt idx="41820">
                  <c:v>33862</c:v>
                </c:pt>
                <c:pt idx="41821">
                  <c:v>33862</c:v>
                </c:pt>
                <c:pt idx="41822">
                  <c:v>33862</c:v>
                </c:pt>
                <c:pt idx="41823">
                  <c:v>33861</c:v>
                </c:pt>
                <c:pt idx="41824">
                  <c:v>33861</c:v>
                </c:pt>
                <c:pt idx="41825">
                  <c:v>33861</c:v>
                </c:pt>
                <c:pt idx="41826">
                  <c:v>33861</c:v>
                </c:pt>
                <c:pt idx="41827">
                  <c:v>33861</c:v>
                </c:pt>
                <c:pt idx="41828">
                  <c:v>33861</c:v>
                </c:pt>
                <c:pt idx="41829">
                  <c:v>33861</c:v>
                </c:pt>
                <c:pt idx="41830">
                  <c:v>33860</c:v>
                </c:pt>
                <c:pt idx="41831">
                  <c:v>33860</c:v>
                </c:pt>
                <c:pt idx="41832">
                  <c:v>33860</c:v>
                </c:pt>
                <c:pt idx="41833">
                  <c:v>33860</c:v>
                </c:pt>
                <c:pt idx="41834">
                  <c:v>33860</c:v>
                </c:pt>
                <c:pt idx="41835">
                  <c:v>33860</c:v>
                </c:pt>
                <c:pt idx="41836">
                  <c:v>33860</c:v>
                </c:pt>
                <c:pt idx="41837">
                  <c:v>33860</c:v>
                </c:pt>
                <c:pt idx="41838">
                  <c:v>33858</c:v>
                </c:pt>
                <c:pt idx="41839">
                  <c:v>33858</c:v>
                </c:pt>
                <c:pt idx="41840">
                  <c:v>33858</c:v>
                </c:pt>
                <c:pt idx="41841">
                  <c:v>33858</c:v>
                </c:pt>
                <c:pt idx="41842">
                  <c:v>33858</c:v>
                </c:pt>
                <c:pt idx="41843">
                  <c:v>33858</c:v>
                </c:pt>
                <c:pt idx="41844">
                  <c:v>33858</c:v>
                </c:pt>
                <c:pt idx="41845">
                  <c:v>33857</c:v>
                </c:pt>
                <c:pt idx="41846">
                  <c:v>33857</c:v>
                </c:pt>
                <c:pt idx="41847">
                  <c:v>33857</c:v>
                </c:pt>
                <c:pt idx="41848">
                  <c:v>33857</c:v>
                </c:pt>
                <c:pt idx="41849">
                  <c:v>33857</c:v>
                </c:pt>
                <c:pt idx="41850">
                  <c:v>33856</c:v>
                </c:pt>
                <c:pt idx="41851">
                  <c:v>33856</c:v>
                </c:pt>
                <c:pt idx="41852">
                  <c:v>33856</c:v>
                </c:pt>
                <c:pt idx="41853">
                  <c:v>33856</c:v>
                </c:pt>
                <c:pt idx="41854">
                  <c:v>33856</c:v>
                </c:pt>
                <c:pt idx="41855">
                  <c:v>33855</c:v>
                </c:pt>
                <c:pt idx="41856">
                  <c:v>33855</c:v>
                </c:pt>
                <c:pt idx="41857">
                  <c:v>33855</c:v>
                </c:pt>
                <c:pt idx="41858">
                  <c:v>33855</c:v>
                </c:pt>
                <c:pt idx="41859">
                  <c:v>33855</c:v>
                </c:pt>
                <c:pt idx="41860">
                  <c:v>33855</c:v>
                </c:pt>
                <c:pt idx="41861">
                  <c:v>33855</c:v>
                </c:pt>
                <c:pt idx="41862">
                  <c:v>33855</c:v>
                </c:pt>
                <c:pt idx="41863">
                  <c:v>33855</c:v>
                </c:pt>
                <c:pt idx="41864">
                  <c:v>33855</c:v>
                </c:pt>
                <c:pt idx="41865">
                  <c:v>33855</c:v>
                </c:pt>
                <c:pt idx="41866">
                  <c:v>33854</c:v>
                </c:pt>
                <c:pt idx="41867">
                  <c:v>33854</c:v>
                </c:pt>
                <c:pt idx="41868">
                  <c:v>33853</c:v>
                </c:pt>
                <c:pt idx="41869">
                  <c:v>33853</c:v>
                </c:pt>
                <c:pt idx="41870">
                  <c:v>33853</c:v>
                </c:pt>
                <c:pt idx="41871">
                  <c:v>33853</c:v>
                </c:pt>
                <c:pt idx="41872">
                  <c:v>33853</c:v>
                </c:pt>
                <c:pt idx="41873">
                  <c:v>33852</c:v>
                </c:pt>
                <c:pt idx="41874">
                  <c:v>33852</c:v>
                </c:pt>
                <c:pt idx="41875">
                  <c:v>33852</c:v>
                </c:pt>
                <c:pt idx="41876">
                  <c:v>33852</c:v>
                </c:pt>
                <c:pt idx="41877">
                  <c:v>33852</c:v>
                </c:pt>
                <c:pt idx="41878">
                  <c:v>33852</c:v>
                </c:pt>
                <c:pt idx="41879">
                  <c:v>33851</c:v>
                </c:pt>
                <c:pt idx="41880">
                  <c:v>33851</c:v>
                </c:pt>
                <c:pt idx="41881">
                  <c:v>33851</c:v>
                </c:pt>
                <c:pt idx="41882">
                  <c:v>33851</c:v>
                </c:pt>
                <c:pt idx="41883">
                  <c:v>33851</c:v>
                </c:pt>
                <c:pt idx="41884">
                  <c:v>33851</c:v>
                </c:pt>
                <c:pt idx="41885">
                  <c:v>33851</c:v>
                </c:pt>
                <c:pt idx="41886">
                  <c:v>33851</c:v>
                </c:pt>
                <c:pt idx="41887">
                  <c:v>33851</c:v>
                </c:pt>
                <c:pt idx="41888">
                  <c:v>33850</c:v>
                </c:pt>
                <c:pt idx="41889">
                  <c:v>33850</c:v>
                </c:pt>
                <c:pt idx="41890">
                  <c:v>33850</c:v>
                </c:pt>
                <c:pt idx="41891">
                  <c:v>33850</c:v>
                </c:pt>
                <c:pt idx="41892">
                  <c:v>33850</c:v>
                </c:pt>
                <c:pt idx="41893">
                  <c:v>33850</c:v>
                </c:pt>
                <c:pt idx="41894">
                  <c:v>33850</c:v>
                </c:pt>
                <c:pt idx="41895">
                  <c:v>33849</c:v>
                </c:pt>
                <c:pt idx="41896">
                  <c:v>33849</c:v>
                </c:pt>
                <c:pt idx="41897">
                  <c:v>33849</c:v>
                </c:pt>
                <c:pt idx="41898">
                  <c:v>33849</c:v>
                </c:pt>
                <c:pt idx="41899">
                  <c:v>33849</c:v>
                </c:pt>
                <c:pt idx="41900">
                  <c:v>33849</c:v>
                </c:pt>
                <c:pt idx="41901">
                  <c:v>33849</c:v>
                </c:pt>
                <c:pt idx="41902">
                  <c:v>33849</c:v>
                </c:pt>
                <c:pt idx="41903">
                  <c:v>33849</c:v>
                </c:pt>
                <c:pt idx="41904">
                  <c:v>33849</c:v>
                </c:pt>
                <c:pt idx="41905">
                  <c:v>33849</c:v>
                </c:pt>
                <c:pt idx="41906">
                  <c:v>33848</c:v>
                </c:pt>
                <c:pt idx="41907">
                  <c:v>33848</c:v>
                </c:pt>
                <c:pt idx="41908">
                  <c:v>33848</c:v>
                </c:pt>
                <c:pt idx="41909">
                  <c:v>33847</c:v>
                </c:pt>
                <c:pt idx="41910">
                  <c:v>33847</c:v>
                </c:pt>
                <c:pt idx="41911">
                  <c:v>33847</c:v>
                </c:pt>
                <c:pt idx="41912">
                  <c:v>33847</c:v>
                </c:pt>
                <c:pt idx="41913">
                  <c:v>33847</c:v>
                </c:pt>
                <c:pt idx="41914">
                  <c:v>33847</c:v>
                </c:pt>
                <c:pt idx="41915">
                  <c:v>33847</c:v>
                </c:pt>
                <c:pt idx="41916">
                  <c:v>33847</c:v>
                </c:pt>
                <c:pt idx="41917">
                  <c:v>33847</c:v>
                </c:pt>
                <c:pt idx="41918">
                  <c:v>33847</c:v>
                </c:pt>
                <c:pt idx="41919">
                  <c:v>33847</c:v>
                </c:pt>
                <c:pt idx="41920">
                  <c:v>33847</c:v>
                </c:pt>
                <c:pt idx="41921">
                  <c:v>33847</c:v>
                </c:pt>
                <c:pt idx="41922">
                  <c:v>33846</c:v>
                </c:pt>
                <c:pt idx="41923">
                  <c:v>33846</c:v>
                </c:pt>
                <c:pt idx="41924">
                  <c:v>33846</c:v>
                </c:pt>
                <c:pt idx="41925">
                  <c:v>33846</c:v>
                </c:pt>
                <c:pt idx="41926">
                  <c:v>33846</c:v>
                </c:pt>
                <c:pt idx="41927">
                  <c:v>33846</c:v>
                </c:pt>
                <c:pt idx="41928">
                  <c:v>33846</c:v>
                </c:pt>
                <c:pt idx="41929">
                  <c:v>33845</c:v>
                </c:pt>
                <c:pt idx="41930">
                  <c:v>33845</c:v>
                </c:pt>
                <c:pt idx="41931">
                  <c:v>33845</c:v>
                </c:pt>
                <c:pt idx="41932">
                  <c:v>33845</c:v>
                </c:pt>
                <c:pt idx="41933">
                  <c:v>33845</c:v>
                </c:pt>
                <c:pt idx="41934">
                  <c:v>33845</c:v>
                </c:pt>
                <c:pt idx="41935">
                  <c:v>33845</c:v>
                </c:pt>
                <c:pt idx="41936">
                  <c:v>33845</c:v>
                </c:pt>
                <c:pt idx="41937">
                  <c:v>33844</c:v>
                </c:pt>
                <c:pt idx="41938">
                  <c:v>33844</c:v>
                </c:pt>
                <c:pt idx="41939">
                  <c:v>33844</c:v>
                </c:pt>
                <c:pt idx="41940">
                  <c:v>33844</c:v>
                </c:pt>
                <c:pt idx="41941">
                  <c:v>33844</c:v>
                </c:pt>
                <c:pt idx="41942">
                  <c:v>33844</c:v>
                </c:pt>
                <c:pt idx="41943">
                  <c:v>33844</c:v>
                </c:pt>
                <c:pt idx="41944">
                  <c:v>33844</c:v>
                </c:pt>
                <c:pt idx="41945">
                  <c:v>33844</c:v>
                </c:pt>
                <c:pt idx="41946">
                  <c:v>33843</c:v>
                </c:pt>
                <c:pt idx="41947">
                  <c:v>33843</c:v>
                </c:pt>
                <c:pt idx="41948">
                  <c:v>33843</c:v>
                </c:pt>
                <c:pt idx="41949">
                  <c:v>33843</c:v>
                </c:pt>
                <c:pt idx="41950">
                  <c:v>33842</c:v>
                </c:pt>
                <c:pt idx="41951">
                  <c:v>33842</c:v>
                </c:pt>
                <c:pt idx="41952">
                  <c:v>33842</c:v>
                </c:pt>
                <c:pt idx="41953">
                  <c:v>33842</c:v>
                </c:pt>
                <c:pt idx="41954">
                  <c:v>33842</c:v>
                </c:pt>
                <c:pt idx="41955">
                  <c:v>33842</c:v>
                </c:pt>
                <c:pt idx="41956">
                  <c:v>33842</c:v>
                </c:pt>
                <c:pt idx="41957">
                  <c:v>33842</c:v>
                </c:pt>
                <c:pt idx="41958">
                  <c:v>33842</c:v>
                </c:pt>
                <c:pt idx="41959">
                  <c:v>33841</c:v>
                </c:pt>
                <c:pt idx="41960">
                  <c:v>33841</c:v>
                </c:pt>
                <c:pt idx="41961">
                  <c:v>33841</c:v>
                </c:pt>
                <c:pt idx="41962">
                  <c:v>33841</c:v>
                </c:pt>
                <c:pt idx="41963">
                  <c:v>33840</c:v>
                </c:pt>
                <c:pt idx="41964">
                  <c:v>33840</c:v>
                </c:pt>
                <c:pt idx="41965">
                  <c:v>33840</c:v>
                </c:pt>
                <c:pt idx="41966">
                  <c:v>33840</c:v>
                </c:pt>
                <c:pt idx="41967">
                  <c:v>33840</c:v>
                </c:pt>
                <c:pt idx="41968">
                  <c:v>33839</c:v>
                </c:pt>
                <c:pt idx="41969">
                  <c:v>33839</c:v>
                </c:pt>
                <c:pt idx="41970">
                  <c:v>33839</c:v>
                </c:pt>
                <c:pt idx="41971">
                  <c:v>33839</c:v>
                </c:pt>
                <c:pt idx="41972">
                  <c:v>33839</c:v>
                </c:pt>
                <c:pt idx="41973">
                  <c:v>33838</c:v>
                </c:pt>
                <c:pt idx="41974">
                  <c:v>33838</c:v>
                </c:pt>
                <c:pt idx="41975">
                  <c:v>33838</c:v>
                </c:pt>
                <c:pt idx="41976">
                  <c:v>33838</c:v>
                </c:pt>
                <c:pt idx="41977">
                  <c:v>33838</c:v>
                </c:pt>
                <c:pt idx="41978">
                  <c:v>33837</c:v>
                </c:pt>
                <c:pt idx="41979">
                  <c:v>33837</c:v>
                </c:pt>
                <c:pt idx="41980">
                  <c:v>33837</c:v>
                </c:pt>
                <c:pt idx="41981">
                  <c:v>33837</c:v>
                </c:pt>
                <c:pt idx="41982">
                  <c:v>33837</c:v>
                </c:pt>
                <c:pt idx="41983">
                  <c:v>33837</c:v>
                </c:pt>
                <c:pt idx="41984">
                  <c:v>33837</c:v>
                </c:pt>
                <c:pt idx="41985">
                  <c:v>33837</c:v>
                </c:pt>
                <c:pt idx="41986">
                  <c:v>33836</c:v>
                </c:pt>
                <c:pt idx="41987">
                  <c:v>33836</c:v>
                </c:pt>
                <c:pt idx="41988">
                  <c:v>33836</c:v>
                </c:pt>
                <c:pt idx="41989">
                  <c:v>33836</c:v>
                </c:pt>
                <c:pt idx="41990">
                  <c:v>33836</c:v>
                </c:pt>
                <c:pt idx="41991">
                  <c:v>33836</c:v>
                </c:pt>
                <c:pt idx="41992">
                  <c:v>33836</c:v>
                </c:pt>
                <c:pt idx="41993">
                  <c:v>33836</c:v>
                </c:pt>
                <c:pt idx="41994">
                  <c:v>33836</c:v>
                </c:pt>
                <c:pt idx="41995">
                  <c:v>33836</c:v>
                </c:pt>
                <c:pt idx="41996">
                  <c:v>33835</c:v>
                </c:pt>
                <c:pt idx="41997">
                  <c:v>33835</c:v>
                </c:pt>
                <c:pt idx="41998">
                  <c:v>33835</c:v>
                </c:pt>
                <c:pt idx="41999">
                  <c:v>33835</c:v>
                </c:pt>
                <c:pt idx="42000">
                  <c:v>33835</c:v>
                </c:pt>
                <c:pt idx="42001">
                  <c:v>33835</c:v>
                </c:pt>
                <c:pt idx="42002">
                  <c:v>33835</c:v>
                </c:pt>
                <c:pt idx="42003">
                  <c:v>33834</c:v>
                </c:pt>
                <c:pt idx="42004">
                  <c:v>33834</c:v>
                </c:pt>
                <c:pt idx="42005">
                  <c:v>33834</c:v>
                </c:pt>
                <c:pt idx="42006">
                  <c:v>33834</c:v>
                </c:pt>
                <c:pt idx="42007">
                  <c:v>33833</c:v>
                </c:pt>
                <c:pt idx="42008">
                  <c:v>33833</c:v>
                </c:pt>
                <c:pt idx="42009">
                  <c:v>33833</c:v>
                </c:pt>
                <c:pt idx="42010">
                  <c:v>33833</c:v>
                </c:pt>
                <c:pt idx="42011">
                  <c:v>33833</c:v>
                </c:pt>
                <c:pt idx="42012">
                  <c:v>33833</c:v>
                </c:pt>
                <c:pt idx="42013">
                  <c:v>33833</c:v>
                </c:pt>
                <c:pt idx="42014">
                  <c:v>33833</c:v>
                </c:pt>
                <c:pt idx="42015">
                  <c:v>33832</c:v>
                </c:pt>
                <c:pt idx="42016">
                  <c:v>33832</c:v>
                </c:pt>
                <c:pt idx="42017">
                  <c:v>33832</c:v>
                </c:pt>
                <c:pt idx="42018">
                  <c:v>33832</c:v>
                </c:pt>
                <c:pt idx="42019">
                  <c:v>33831</c:v>
                </c:pt>
                <c:pt idx="42020">
                  <c:v>33831</c:v>
                </c:pt>
                <c:pt idx="42021">
                  <c:v>33831</c:v>
                </c:pt>
                <c:pt idx="42022">
                  <c:v>33831</c:v>
                </c:pt>
                <c:pt idx="42023">
                  <c:v>33831</c:v>
                </c:pt>
                <c:pt idx="42024">
                  <c:v>33831</c:v>
                </c:pt>
                <c:pt idx="42025">
                  <c:v>33830</c:v>
                </c:pt>
                <c:pt idx="42026">
                  <c:v>33830</c:v>
                </c:pt>
                <c:pt idx="42027">
                  <c:v>33830</c:v>
                </c:pt>
                <c:pt idx="42028">
                  <c:v>33830</c:v>
                </c:pt>
                <c:pt idx="42029">
                  <c:v>33830</c:v>
                </c:pt>
                <c:pt idx="42030">
                  <c:v>33830</c:v>
                </c:pt>
                <c:pt idx="42031">
                  <c:v>33830</c:v>
                </c:pt>
                <c:pt idx="42032">
                  <c:v>33830</c:v>
                </c:pt>
                <c:pt idx="42033">
                  <c:v>33829</c:v>
                </c:pt>
                <c:pt idx="42034">
                  <c:v>33829</c:v>
                </c:pt>
                <c:pt idx="42035">
                  <c:v>33829</c:v>
                </c:pt>
                <c:pt idx="42036">
                  <c:v>33829</c:v>
                </c:pt>
                <c:pt idx="42037">
                  <c:v>33829</c:v>
                </c:pt>
                <c:pt idx="42038">
                  <c:v>33829</c:v>
                </c:pt>
                <c:pt idx="42039">
                  <c:v>33829</c:v>
                </c:pt>
                <c:pt idx="42040">
                  <c:v>33829</c:v>
                </c:pt>
                <c:pt idx="42041">
                  <c:v>33829</c:v>
                </c:pt>
                <c:pt idx="42042">
                  <c:v>33828</c:v>
                </c:pt>
                <c:pt idx="42043">
                  <c:v>33828</c:v>
                </c:pt>
                <c:pt idx="42044">
                  <c:v>33827</c:v>
                </c:pt>
                <c:pt idx="42045">
                  <c:v>33827</c:v>
                </c:pt>
                <c:pt idx="42046">
                  <c:v>33827</c:v>
                </c:pt>
                <c:pt idx="42047">
                  <c:v>33827</c:v>
                </c:pt>
                <c:pt idx="42048">
                  <c:v>33826</c:v>
                </c:pt>
                <c:pt idx="42049">
                  <c:v>33826</c:v>
                </c:pt>
                <c:pt idx="42050">
                  <c:v>33826</c:v>
                </c:pt>
                <c:pt idx="42051">
                  <c:v>33826</c:v>
                </c:pt>
                <c:pt idx="42052">
                  <c:v>33826</c:v>
                </c:pt>
                <c:pt idx="42053">
                  <c:v>33826</c:v>
                </c:pt>
                <c:pt idx="42054">
                  <c:v>33826</c:v>
                </c:pt>
                <c:pt idx="42055">
                  <c:v>33826</c:v>
                </c:pt>
                <c:pt idx="42056">
                  <c:v>33826</c:v>
                </c:pt>
                <c:pt idx="42057">
                  <c:v>33825</c:v>
                </c:pt>
                <c:pt idx="42058">
                  <c:v>33825</c:v>
                </c:pt>
                <c:pt idx="42059">
                  <c:v>33825</c:v>
                </c:pt>
                <c:pt idx="42060">
                  <c:v>33825</c:v>
                </c:pt>
                <c:pt idx="42061">
                  <c:v>33825</c:v>
                </c:pt>
                <c:pt idx="42062">
                  <c:v>33825</c:v>
                </c:pt>
                <c:pt idx="42063">
                  <c:v>33825</c:v>
                </c:pt>
                <c:pt idx="42064">
                  <c:v>33825</c:v>
                </c:pt>
                <c:pt idx="42065">
                  <c:v>33825</c:v>
                </c:pt>
                <c:pt idx="42066">
                  <c:v>33824</c:v>
                </c:pt>
                <c:pt idx="42067">
                  <c:v>33824</c:v>
                </c:pt>
                <c:pt idx="42068">
                  <c:v>33824</c:v>
                </c:pt>
                <c:pt idx="42069">
                  <c:v>33824</c:v>
                </c:pt>
                <c:pt idx="42070">
                  <c:v>33824</c:v>
                </c:pt>
                <c:pt idx="42071">
                  <c:v>33824</c:v>
                </c:pt>
                <c:pt idx="42072">
                  <c:v>33824</c:v>
                </c:pt>
                <c:pt idx="42073">
                  <c:v>33824</c:v>
                </c:pt>
                <c:pt idx="42074">
                  <c:v>33824</c:v>
                </c:pt>
                <c:pt idx="42075">
                  <c:v>33823</c:v>
                </c:pt>
                <c:pt idx="42076">
                  <c:v>33823</c:v>
                </c:pt>
                <c:pt idx="42077">
                  <c:v>33823</c:v>
                </c:pt>
                <c:pt idx="42078">
                  <c:v>33823</c:v>
                </c:pt>
                <c:pt idx="42079">
                  <c:v>33823</c:v>
                </c:pt>
                <c:pt idx="42080">
                  <c:v>33823</c:v>
                </c:pt>
                <c:pt idx="42081">
                  <c:v>33823</c:v>
                </c:pt>
                <c:pt idx="42082">
                  <c:v>33822</c:v>
                </c:pt>
                <c:pt idx="42083">
                  <c:v>33822</c:v>
                </c:pt>
                <c:pt idx="42084">
                  <c:v>33822</c:v>
                </c:pt>
                <c:pt idx="42085">
                  <c:v>33822</c:v>
                </c:pt>
                <c:pt idx="42086">
                  <c:v>33822</c:v>
                </c:pt>
                <c:pt idx="42087">
                  <c:v>33822</c:v>
                </c:pt>
                <c:pt idx="42088">
                  <c:v>33822</c:v>
                </c:pt>
                <c:pt idx="42089">
                  <c:v>33822</c:v>
                </c:pt>
                <c:pt idx="42090">
                  <c:v>33822</c:v>
                </c:pt>
                <c:pt idx="42091">
                  <c:v>33822</c:v>
                </c:pt>
                <c:pt idx="42092">
                  <c:v>33821</c:v>
                </c:pt>
                <c:pt idx="42093">
                  <c:v>33821</c:v>
                </c:pt>
                <c:pt idx="42094">
                  <c:v>33821</c:v>
                </c:pt>
                <c:pt idx="42095">
                  <c:v>33821</c:v>
                </c:pt>
                <c:pt idx="42096">
                  <c:v>33821</c:v>
                </c:pt>
                <c:pt idx="42097">
                  <c:v>33821</c:v>
                </c:pt>
                <c:pt idx="42098">
                  <c:v>33821</c:v>
                </c:pt>
                <c:pt idx="42099">
                  <c:v>33821</c:v>
                </c:pt>
                <c:pt idx="42100">
                  <c:v>33820</c:v>
                </c:pt>
                <c:pt idx="42101">
                  <c:v>33820</c:v>
                </c:pt>
                <c:pt idx="42102">
                  <c:v>33820</c:v>
                </c:pt>
                <c:pt idx="42103">
                  <c:v>33820</c:v>
                </c:pt>
                <c:pt idx="42104">
                  <c:v>33820</c:v>
                </c:pt>
                <c:pt idx="42105">
                  <c:v>33820</c:v>
                </c:pt>
                <c:pt idx="42106">
                  <c:v>33819</c:v>
                </c:pt>
                <c:pt idx="42107">
                  <c:v>33819</c:v>
                </c:pt>
                <c:pt idx="42108">
                  <c:v>33819</c:v>
                </c:pt>
                <c:pt idx="42109">
                  <c:v>33819</c:v>
                </c:pt>
                <c:pt idx="42110">
                  <c:v>33819</c:v>
                </c:pt>
                <c:pt idx="42111">
                  <c:v>33819</c:v>
                </c:pt>
                <c:pt idx="42112">
                  <c:v>33818</c:v>
                </c:pt>
                <c:pt idx="42113">
                  <c:v>33818</c:v>
                </c:pt>
                <c:pt idx="42114">
                  <c:v>33818</c:v>
                </c:pt>
                <c:pt idx="42115">
                  <c:v>33818</c:v>
                </c:pt>
                <c:pt idx="42116">
                  <c:v>33818</c:v>
                </c:pt>
                <c:pt idx="42117">
                  <c:v>33818</c:v>
                </c:pt>
                <c:pt idx="42118">
                  <c:v>33818</c:v>
                </c:pt>
                <c:pt idx="42119">
                  <c:v>33817</c:v>
                </c:pt>
                <c:pt idx="42120">
                  <c:v>33817</c:v>
                </c:pt>
                <c:pt idx="42121">
                  <c:v>33817</c:v>
                </c:pt>
                <c:pt idx="42122">
                  <c:v>33817</c:v>
                </c:pt>
                <c:pt idx="42123">
                  <c:v>33817</c:v>
                </c:pt>
                <c:pt idx="42124">
                  <c:v>33817</c:v>
                </c:pt>
                <c:pt idx="42125">
                  <c:v>33816</c:v>
                </c:pt>
                <c:pt idx="42126">
                  <c:v>33816</c:v>
                </c:pt>
                <c:pt idx="42127">
                  <c:v>33816</c:v>
                </c:pt>
                <c:pt idx="42128">
                  <c:v>33816</c:v>
                </c:pt>
                <c:pt idx="42129">
                  <c:v>33816</c:v>
                </c:pt>
                <c:pt idx="42130">
                  <c:v>33816</c:v>
                </c:pt>
                <c:pt idx="42131">
                  <c:v>33816</c:v>
                </c:pt>
                <c:pt idx="42132">
                  <c:v>33816</c:v>
                </c:pt>
                <c:pt idx="42133">
                  <c:v>33816</c:v>
                </c:pt>
                <c:pt idx="42134">
                  <c:v>33816</c:v>
                </c:pt>
                <c:pt idx="42135">
                  <c:v>33815</c:v>
                </c:pt>
                <c:pt idx="42136">
                  <c:v>33815</c:v>
                </c:pt>
                <c:pt idx="42137">
                  <c:v>33815</c:v>
                </c:pt>
                <c:pt idx="42138">
                  <c:v>33815</c:v>
                </c:pt>
                <c:pt idx="42139">
                  <c:v>33815</c:v>
                </c:pt>
                <c:pt idx="42140">
                  <c:v>33815</c:v>
                </c:pt>
                <c:pt idx="42141">
                  <c:v>33815</c:v>
                </c:pt>
                <c:pt idx="42142">
                  <c:v>33815</c:v>
                </c:pt>
                <c:pt idx="42143">
                  <c:v>33814</c:v>
                </c:pt>
                <c:pt idx="42144">
                  <c:v>33814</c:v>
                </c:pt>
                <c:pt idx="42145">
                  <c:v>33814</c:v>
                </c:pt>
                <c:pt idx="42146">
                  <c:v>33814</c:v>
                </c:pt>
                <c:pt idx="42147">
                  <c:v>33814</c:v>
                </c:pt>
                <c:pt idx="42148">
                  <c:v>33814</c:v>
                </c:pt>
                <c:pt idx="42149">
                  <c:v>33814</c:v>
                </c:pt>
                <c:pt idx="42150">
                  <c:v>33813</c:v>
                </c:pt>
                <c:pt idx="42151">
                  <c:v>33813</c:v>
                </c:pt>
                <c:pt idx="42152">
                  <c:v>33813</c:v>
                </c:pt>
                <c:pt idx="42153">
                  <c:v>33813</c:v>
                </c:pt>
                <c:pt idx="42154">
                  <c:v>33813</c:v>
                </c:pt>
                <c:pt idx="42155">
                  <c:v>33813</c:v>
                </c:pt>
                <c:pt idx="42156">
                  <c:v>33812</c:v>
                </c:pt>
                <c:pt idx="42157">
                  <c:v>33812</c:v>
                </c:pt>
                <c:pt idx="42158">
                  <c:v>33812</c:v>
                </c:pt>
                <c:pt idx="42159">
                  <c:v>33812</c:v>
                </c:pt>
                <c:pt idx="42160">
                  <c:v>33812</c:v>
                </c:pt>
                <c:pt idx="42161">
                  <c:v>33812</c:v>
                </c:pt>
                <c:pt idx="42162">
                  <c:v>33812</c:v>
                </c:pt>
                <c:pt idx="42163">
                  <c:v>33811</c:v>
                </c:pt>
                <c:pt idx="42164">
                  <c:v>33811</c:v>
                </c:pt>
                <c:pt idx="42165">
                  <c:v>33811</c:v>
                </c:pt>
                <c:pt idx="42166">
                  <c:v>33811</c:v>
                </c:pt>
                <c:pt idx="42167">
                  <c:v>33811</c:v>
                </c:pt>
                <c:pt idx="42168">
                  <c:v>33811</c:v>
                </c:pt>
                <c:pt idx="42169">
                  <c:v>33810</c:v>
                </c:pt>
                <c:pt idx="42170">
                  <c:v>33810</c:v>
                </c:pt>
                <c:pt idx="42171">
                  <c:v>33810</c:v>
                </c:pt>
                <c:pt idx="42172">
                  <c:v>33810</c:v>
                </c:pt>
                <c:pt idx="42173">
                  <c:v>33810</c:v>
                </c:pt>
                <c:pt idx="42174">
                  <c:v>33810</c:v>
                </c:pt>
                <c:pt idx="42175">
                  <c:v>33810</c:v>
                </c:pt>
                <c:pt idx="42176">
                  <c:v>33810</c:v>
                </c:pt>
                <c:pt idx="42177">
                  <c:v>33810</c:v>
                </c:pt>
                <c:pt idx="42178">
                  <c:v>33810</c:v>
                </c:pt>
                <c:pt idx="42179">
                  <c:v>33809</c:v>
                </c:pt>
                <c:pt idx="42180">
                  <c:v>33809</c:v>
                </c:pt>
                <c:pt idx="42181">
                  <c:v>33809</c:v>
                </c:pt>
                <c:pt idx="42182">
                  <c:v>33809</c:v>
                </c:pt>
                <c:pt idx="42183">
                  <c:v>33809</c:v>
                </c:pt>
                <c:pt idx="42184">
                  <c:v>33808</c:v>
                </c:pt>
                <c:pt idx="42185">
                  <c:v>33808</c:v>
                </c:pt>
                <c:pt idx="42186">
                  <c:v>33808</c:v>
                </c:pt>
                <c:pt idx="42187">
                  <c:v>33808</c:v>
                </c:pt>
                <c:pt idx="42188">
                  <c:v>33808</c:v>
                </c:pt>
                <c:pt idx="42189">
                  <c:v>33808</c:v>
                </c:pt>
                <c:pt idx="42190">
                  <c:v>33808</c:v>
                </c:pt>
                <c:pt idx="42191">
                  <c:v>33808</c:v>
                </c:pt>
                <c:pt idx="42192">
                  <c:v>33808</c:v>
                </c:pt>
                <c:pt idx="42193">
                  <c:v>33807</c:v>
                </c:pt>
                <c:pt idx="42194">
                  <c:v>33807</c:v>
                </c:pt>
                <c:pt idx="42195">
                  <c:v>33807</c:v>
                </c:pt>
                <c:pt idx="42196">
                  <c:v>33807</c:v>
                </c:pt>
                <c:pt idx="42197">
                  <c:v>33807</c:v>
                </c:pt>
                <c:pt idx="42198">
                  <c:v>33807</c:v>
                </c:pt>
                <c:pt idx="42199">
                  <c:v>33807</c:v>
                </c:pt>
                <c:pt idx="42200">
                  <c:v>33807</c:v>
                </c:pt>
                <c:pt idx="42201">
                  <c:v>33807</c:v>
                </c:pt>
                <c:pt idx="42202">
                  <c:v>33807</c:v>
                </c:pt>
                <c:pt idx="42203">
                  <c:v>33806</c:v>
                </c:pt>
                <c:pt idx="42204">
                  <c:v>33806</c:v>
                </c:pt>
                <c:pt idx="42205">
                  <c:v>33806</c:v>
                </c:pt>
                <c:pt idx="42206">
                  <c:v>33806</c:v>
                </c:pt>
                <c:pt idx="42207">
                  <c:v>33806</c:v>
                </c:pt>
                <c:pt idx="42208">
                  <c:v>33806</c:v>
                </c:pt>
                <c:pt idx="42209">
                  <c:v>33806</c:v>
                </c:pt>
                <c:pt idx="42210">
                  <c:v>33806</c:v>
                </c:pt>
                <c:pt idx="42211">
                  <c:v>33805</c:v>
                </c:pt>
                <c:pt idx="42212">
                  <c:v>33805</c:v>
                </c:pt>
                <c:pt idx="42213">
                  <c:v>33805</c:v>
                </c:pt>
                <c:pt idx="42214">
                  <c:v>33805</c:v>
                </c:pt>
                <c:pt idx="42215">
                  <c:v>33804</c:v>
                </c:pt>
                <c:pt idx="42216">
                  <c:v>33804</c:v>
                </c:pt>
                <c:pt idx="42217">
                  <c:v>33804</c:v>
                </c:pt>
                <c:pt idx="42218">
                  <c:v>33803</c:v>
                </c:pt>
                <c:pt idx="42219">
                  <c:v>33803</c:v>
                </c:pt>
                <c:pt idx="42220">
                  <c:v>33803</c:v>
                </c:pt>
                <c:pt idx="42221">
                  <c:v>33803</c:v>
                </c:pt>
                <c:pt idx="42222">
                  <c:v>33803</c:v>
                </c:pt>
                <c:pt idx="42223">
                  <c:v>33803</c:v>
                </c:pt>
                <c:pt idx="42224">
                  <c:v>33803</c:v>
                </c:pt>
                <c:pt idx="42225">
                  <c:v>33803</c:v>
                </c:pt>
                <c:pt idx="42226">
                  <c:v>33803</c:v>
                </c:pt>
                <c:pt idx="42227">
                  <c:v>33802</c:v>
                </c:pt>
                <c:pt idx="42228">
                  <c:v>33802</c:v>
                </c:pt>
                <c:pt idx="42229">
                  <c:v>33802</c:v>
                </c:pt>
                <c:pt idx="42230">
                  <c:v>33802</c:v>
                </c:pt>
                <c:pt idx="42231">
                  <c:v>33802</c:v>
                </c:pt>
                <c:pt idx="42232">
                  <c:v>33802</c:v>
                </c:pt>
                <c:pt idx="42233">
                  <c:v>33802</c:v>
                </c:pt>
                <c:pt idx="42234">
                  <c:v>33802</c:v>
                </c:pt>
                <c:pt idx="42235">
                  <c:v>33801</c:v>
                </c:pt>
                <c:pt idx="42236">
                  <c:v>33801</c:v>
                </c:pt>
                <c:pt idx="42237">
                  <c:v>33801</c:v>
                </c:pt>
                <c:pt idx="42238">
                  <c:v>33801</c:v>
                </c:pt>
                <c:pt idx="42239">
                  <c:v>33801</c:v>
                </c:pt>
                <c:pt idx="42240">
                  <c:v>33801</c:v>
                </c:pt>
                <c:pt idx="42241">
                  <c:v>33801</c:v>
                </c:pt>
                <c:pt idx="42242">
                  <c:v>33801</c:v>
                </c:pt>
                <c:pt idx="42243">
                  <c:v>33801</c:v>
                </c:pt>
                <c:pt idx="42244">
                  <c:v>33800</c:v>
                </c:pt>
                <c:pt idx="42245">
                  <c:v>33800</c:v>
                </c:pt>
                <c:pt idx="42246">
                  <c:v>33800</c:v>
                </c:pt>
                <c:pt idx="42247">
                  <c:v>33799</c:v>
                </c:pt>
                <c:pt idx="42248">
                  <c:v>33799</c:v>
                </c:pt>
                <c:pt idx="42249">
                  <c:v>33799</c:v>
                </c:pt>
                <c:pt idx="42250">
                  <c:v>33799</c:v>
                </c:pt>
                <c:pt idx="42251">
                  <c:v>33799</c:v>
                </c:pt>
                <c:pt idx="42252">
                  <c:v>33798</c:v>
                </c:pt>
                <c:pt idx="42253">
                  <c:v>33798</c:v>
                </c:pt>
                <c:pt idx="42254">
                  <c:v>33798</c:v>
                </c:pt>
                <c:pt idx="42255">
                  <c:v>33798</c:v>
                </c:pt>
                <c:pt idx="42256">
                  <c:v>33798</c:v>
                </c:pt>
                <c:pt idx="42257">
                  <c:v>33798</c:v>
                </c:pt>
                <c:pt idx="42258">
                  <c:v>33798</c:v>
                </c:pt>
                <c:pt idx="42259">
                  <c:v>33798</c:v>
                </c:pt>
                <c:pt idx="42260">
                  <c:v>33797</c:v>
                </c:pt>
                <c:pt idx="42261">
                  <c:v>33797</c:v>
                </c:pt>
                <c:pt idx="42262">
                  <c:v>33797</c:v>
                </c:pt>
                <c:pt idx="42263">
                  <c:v>33797</c:v>
                </c:pt>
                <c:pt idx="42264">
                  <c:v>33797</c:v>
                </c:pt>
                <c:pt idx="42265">
                  <c:v>33797</c:v>
                </c:pt>
                <c:pt idx="42266">
                  <c:v>33797</c:v>
                </c:pt>
                <c:pt idx="42267">
                  <c:v>33797</c:v>
                </c:pt>
                <c:pt idx="42268">
                  <c:v>33797</c:v>
                </c:pt>
                <c:pt idx="42269">
                  <c:v>33797</c:v>
                </c:pt>
                <c:pt idx="42270">
                  <c:v>33796</c:v>
                </c:pt>
                <c:pt idx="42271">
                  <c:v>33796</c:v>
                </c:pt>
                <c:pt idx="42272">
                  <c:v>33796</c:v>
                </c:pt>
                <c:pt idx="42273">
                  <c:v>33795</c:v>
                </c:pt>
                <c:pt idx="42274">
                  <c:v>33795</c:v>
                </c:pt>
                <c:pt idx="42275">
                  <c:v>33795</c:v>
                </c:pt>
                <c:pt idx="42276">
                  <c:v>33795</c:v>
                </c:pt>
                <c:pt idx="42277">
                  <c:v>33795</c:v>
                </c:pt>
                <c:pt idx="42278">
                  <c:v>33795</c:v>
                </c:pt>
                <c:pt idx="42279">
                  <c:v>33795</c:v>
                </c:pt>
                <c:pt idx="42280">
                  <c:v>33795</c:v>
                </c:pt>
                <c:pt idx="42281">
                  <c:v>33795</c:v>
                </c:pt>
                <c:pt idx="42282">
                  <c:v>33795</c:v>
                </c:pt>
                <c:pt idx="42283">
                  <c:v>33795</c:v>
                </c:pt>
                <c:pt idx="42284">
                  <c:v>33795</c:v>
                </c:pt>
                <c:pt idx="42285">
                  <c:v>33795</c:v>
                </c:pt>
                <c:pt idx="42286">
                  <c:v>33795</c:v>
                </c:pt>
                <c:pt idx="42287">
                  <c:v>33795</c:v>
                </c:pt>
                <c:pt idx="42288">
                  <c:v>33794</c:v>
                </c:pt>
                <c:pt idx="42289">
                  <c:v>33794</c:v>
                </c:pt>
                <c:pt idx="42290">
                  <c:v>33794</c:v>
                </c:pt>
                <c:pt idx="42291">
                  <c:v>33794</c:v>
                </c:pt>
                <c:pt idx="42292">
                  <c:v>33794</c:v>
                </c:pt>
                <c:pt idx="42293">
                  <c:v>33793</c:v>
                </c:pt>
                <c:pt idx="42294">
                  <c:v>33793</c:v>
                </c:pt>
                <c:pt idx="42295">
                  <c:v>33793</c:v>
                </c:pt>
                <c:pt idx="42296">
                  <c:v>33793</c:v>
                </c:pt>
                <c:pt idx="42297">
                  <c:v>33793</c:v>
                </c:pt>
                <c:pt idx="42298">
                  <c:v>33793</c:v>
                </c:pt>
                <c:pt idx="42299">
                  <c:v>33793</c:v>
                </c:pt>
                <c:pt idx="42300">
                  <c:v>33793</c:v>
                </c:pt>
                <c:pt idx="42301">
                  <c:v>33792</c:v>
                </c:pt>
                <c:pt idx="42302">
                  <c:v>33792</c:v>
                </c:pt>
                <c:pt idx="42303">
                  <c:v>33792</c:v>
                </c:pt>
                <c:pt idx="42304">
                  <c:v>33792</c:v>
                </c:pt>
                <c:pt idx="42305">
                  <c:v>33792</c:v>
                </c:pt>
                <c:pt idx="42306">
                  <c:v>33792</c:v>
                </c:pt>
                <c:pt idx="42307">
                  <c:v>33791</c:v>
                </c:pt>
                <c:pt idx="42308">
                  <c:v>33791</c:v>
                </c:pt>
                <c:pt idx="42309">
                  <c:v>33791</c:v>
                </c:pt>
                <c:pt idx="42310">
                  <c:v>33791</c:v>
                </c:pt>
                <c:pt idx="42311">
                  <c:v>33791</c:v>
                </c:pt>
                <c:pt idx="42312">
                  <c:v>33791</c:v>
                </c:pt>
                <c:pt idx="42313">
                  <c:v>33791</c:v>
                </c:pt>
                <c:pt idx="42314">
                  <c:v>33790</c:v>
                </c:pt>
                <c:pt idx="42315">
                  <c:v>33790</c:v>
                </c:pt>
                <c:pt idx="42316">
                  <c:v>33790</c:v>
                </c:pt>
                <c:pt idx="42317">
                  <c:v>33790</c:v>
                </c:pt>
                <c:pt idx="42318">
                  <c:v>33790</c:v>
                </c:pt>
                <c:pt idx="42319">
                  <c:v>33790</c:v>
                </c:pt>
                <c:pt idx="42320">
                  <c:v>33790</c:v>
                </c:pt>
                <c:pt idx="42321">
                  <c:v>33789</c:v>
                </c:pt>
                <c:pt idx="42322">
                  <c:v>33789</c:v>
                </c:pt>
                <c:pt idx="42323">
                  <c:v>33789</c:v>
                </c:pt>
                <c:pt idx="42324">
                  <c:v>33788</c:v>
                </c:pt>
                <c:pt idx="42325">
                  <c:v>33788</c:v>
                </c:pt>
                <c:pt idx="42326">
                  <c:v>33788</c:v>
                </c:pt>
                <c:pt idx="42327">
                  <c:v>33788</c:v>
                </c:pt>
                <c:pt idx="42328">
                  <c:v>33788</c:v>
                </c:pt>
                <c:pt idx="42329">
                  <c:v>33788</c:v>
                </c:pt>
                <c:pt idx="42330">
                  <c:v>33788</c:v>
                </c:pt>
                <c:pt idx="42331">
                  <c:v>33788</c:v>
                </c:pt>
                <c:pt idx="42332">
                  <c:v>33788</c:v>
                </c:pt>
                <c:pt idx="42333">
                  <c:v>33788</c:v>
                </c:pt>
                <c:pt idx="42334">
                  <c:v>33788</c:v>
                </c:pt>
                <c:pt idx="42335">
                  <c:v>33788</c:v>
                </c:pt>
                <c:pt idx="42336">
                  <c:v>33788</c:v>
                </c:pt>
                <c:pt idx="42337">
                  <c:v>33788</c:v>
                </c:pt>
                <c:pt idx="42338">
                  <c:v>33787</c:v>
                </c:pt>
                <c:pt idx="42339">
                  <c:v>33787</c:v>
                </c:pt>
                <c:pt idx="42340">
                  <c:v>33787</c:v>
                </c:pt>
                <c:pt idx="42341">
                  <c:v>33787</c:v>
                </c:pt>
                <c:pt idx="42342">
                  <c:v>33787</c:v>
                </c:pt>
                <c:pt idx="42343">
                  <c:v>33787</c:v>
                </c:pt>
                <c:pt idx="42344">
                  <c:v>33787</c:v>
                </c:pt>
                <c:pt idx="42345">
                  <c:v>33786</c:v>
                </c:pt>
                <c:pt idx="42346">
                  <c:v>33786</c:v>
                </c:pt>
                <c:pt idx="42347">
                  <c:v>33786</c:v>
                </c:pt>
                <c:pt idx="42348">
                  <c:v>33786</c:v>
                </c:pt>
                <c:pt idx="42349">
                  <c:v>33786</c:v>
                </c:pt>
                <c:pt idx="42350">
                  <c:v>33786</c:v>
                </c:pt>
                <c:pt idx="42351">
                  <c:v>33786</c:v>
                </c:pt>
                <c:pt idx="42352">
                  <c:v>33786</c:v>
                </c:pt>
                <c:pt idx="42353">
                  <c:v>33785</c:v>
                </c:pt>
                <c:pt idx="42354">
                  <c:v>33785</c:v>
                </c:pt>
                <c:pt idx="42355">
                  <c:v>33785</c:v>
                </c:pt>
                <c:pt idx="42356">
                  <c:v>33785</c:v>
                </c:pt>
                <c:pt idx="42357">
                  <c:v>33785</c:v>
                </c:pt>
                <c:pt idx="42358">
                  <c:v>33784</c:v>
                </c:pt>
                <c:pt idx="42359">
                  <c:v>33784</c:v>
                </c:pt>
                <c:pt idx="42360">
                  <c:v>33784</c:v>
                </c:pt>
                <c:pt idx="42361">
                  <c:v>33784</c:v>
                </c:pt>
                <c:pt idx="42362">
                  <c:v>33784</c:v>
                </c:pt>
                <c:pt idx="42363">
                  <c:v>33784</c:v>
                </c:pt>
                <c:pt idx="42364">
                  <c:v>33784</c:v>
                </c:pt>
                <c:pt idx="42365">
                  <c:v>33784</c:v>
                </c:pt>
                <c:pt idx="42366">
                  <c:v>33783</c:v>
                </c:pt>
                <c:pt idx="42367">
                  <c:v>33783</c:v>
                </c:pt>
                <c:pt idx="42368">
                  <c:v>33783</c:v>
                </c:pt>
                <c:pt idx="42369">
                  <c:v>33783</c:v>
                </c:pt>
                <c:pt idx="42370">
                  <c:v>33783</c:v>
                </c:pt>
                <c:pt idx="42371">
                  <c:v>33783</c:v>
                </c:pt>
                <c:pt idx="42372">
                  <c:v>33783</c:v>
                </c:pt>
                <c:pt idx="42373">
                  <c:v>33783</c:v>
                </c:pt>
                <c:pt idx="42374">
                  <c:v>33783</c:v>
                </c:pt>
                <c:pt idx="42375">
                  <c:v>33783</c:v>
                </c:pt>
                <c:pt idx="42376">
                  <c:v>33783</c:v>
                </c:pt>
                <c:pt idx="42377">
                  <c:v>33782</c:v>
                </c:pt>
                <c:pt idx="42378">
                  <c:v>33782</c:v>
                </c:pt>
                <c:pt idx="42379">
                  <c:v>33782</c:v>
                </c:pt>
                <c:pt idx="42380">
                  <c:v>33782</c:v>
                </c:pt>
                <c:pt idx="42381">
                  <c:v>33782</c:v>
                </c:pt>
                <c:pt idx="42382">
                  <c:v>33782</c:v>
                </c:pt>
                <c:pt idx="42383">
                  <c:v>33781</c:v>
                </c:pt>
                <c:pt idx="42384">
                  <c:v>33781</c:v>
                </c:pt>
                <c:pt idx="42385">
                  <c:v>33781</c:v>
                </c:pt>
                <c:pt idx="42386">
                  <c:v>33781</c:v>
                </c:pt>
                <c:pt idx="42387">
                  <c:v>33781</c:v>
                </c:pt>
                <c:pt idx="42388">
                  <c:v>33781</c:v>
                </c:pt>
                <c:pt idx="42389">
                  <c:v>33781</c:v>
                </c:pt>
                <c:pt idx="42390">
                  <c:v>33781</c:v>
                </c:pt>
                <c:pt idx="42391">
                  <c:v>33781</c:v>
                </c:pt>
                <c:pt idx="42392">
                  <c:v>33781</c:v>
                </c:pt>
                <c:pt idx="42393">
                  <c:v>33781</c:v>
                </c:pt>
                <c:pt idx="42394">
                  <c:v>33780</c:v>
                </c:pt>
                <c:pt idx="42395">
                  <c:v>33780</c:v>
                </c:pt>
                <c:pt idx="42396">
                  <c:v>33780</c:v>
                </c:pt>
                <c:pt idx="42397">
                  <c:v>33780</c:v>
                </c:pt>
                <c:pt idx="42398">
                  <c:v>33780</c:v>
                </c:pt>
                <c:pt idx="42399">
                  <c:v>33780</c:v>
                </c:pt>
                <c:pt idx="42400">
                  <c:v>33779</c:v>
                </c:pt>
                <c:pt idx="42401">
                  <c:v>33779</c:v>
                </c:pt>
                <c:pt idx="42402">
                  <c:v>33779</c:v>
                </c:pt>
                <c:pt idx="42403">
                  <c:v>33779</c:v>
                </c:pt>
                <c:pt idx="42404">
                  <c:v>33779</c:v>
                </c:pt>
                <c:pt idx="42405">
                  <c:v>33779</c:v>
                </c:pt>
                <c:pt idx="42406">
                  <c:v>33778</c:v>
                </c:pt>
                <c:pt idx="42407">
                  <c:v>33778</c:v>
                </c:pt>
                <c:pt idx="42408">
                  <c:v>33778</c:v>
                </c:pt>
                <c:pt idx="42409">
                  <c:v>33778</c:v>
                </c:pt>
                <c:pt idx="42410">
                  <c:v>33778</c:v>
                </c:pt>
                <c:pt idx="42411">
                  <c:v>33777</c:v>
                </c:pt>
                <c:pt idx="42412">
                  <c:v>33777</c:v>
                </c:pt>
                <c:pt idx="42413">
                  <c:v>33777</c:v>
                </c:pt>
                <c:pt idx="42414">
                  <c:v>33777</c:v>
                </c:pt>
                <c:pt idx="42415">
                  <c:v>33777</c:v>
                </c:pt>
                <c:pt idx="42416">
                  <c:v>33776</c:v>
                </c:pt>
                <c:pt idx="42417">
                  <c:v>33776</c:v>
                </c:pt>
                <c:pt idx="42418">
                  <c:v>33776</c:v>
                </c:pt>
                <c:pt idx="42419">
                  <c:v>33776</c:v>
                </c:pt>
                <c:pt idx="42420">
                  <c:v>33776</c:v>
                </c:pt>
                <c:pt idx="42421">
                  <c:v>33775</c:v>
                </c:pt>
                <c:pt idx="42422">
                  <c:v>33775</c:v>
                </c:pt>
                <c:pt idx="42423">
                  <c:v>33775</c:v>
                </c:pt>
                <c:pt idx="42424">
                  <c:v>33775</c:v>
                </c:pt>
                <c:pt idx="42425">
                  <c:v>33775</c:v>
                </c:pt>
                <c:pt idx="42426">
                  <c:v>33775</c:v>
                </c:pt>
                <c:pt idx="42427">
                  <c:v>33775</c:v>
                </c:pt>
                <c:pt idx="42428">
                  <c:v>33774</c:v>
                </c:pt>
                <c:pt idx="42429">
                  <c:v>33774</c:v>
                </c:pt>
                <c:pt idx="42430">
                  <c:v>33774</c:v>
                </c:pt>
                <c:pt idx="42431">
                  <c:v>33773</c:v>
                </c:pt>
                <c:pt idx="42432">
                  <c:v>33773</c:v>
                </c:pt>
                <c:pt idx="42433">
                  <c:v>33773</c:v>
                </c:pt>
                <c:pt idx="42434">
                  <c:v>33773</c:v>
                </c:pt>
                <c:pt idx="42435">
                  <c:v>33773</c:v>
                </c:pt>
                <c:pt idx="42436">
                  <c:v>33773</c:v>
                </c:pt>
                <c:pt idx="42437">
                  <c:v>33772</c:v>
                </c:pt>
                <c:pt idx="42438">
                  <c:v>33772</c:v>
                </c:pt>
                <c:pt idx="42439">
                  <c:v>33772</c:v>
                </c:pt>
                <c:pt idx="42440">
                  <c:v>33772</c:v>
                </c:pt>
                <c:pt idx="42441">
                  <c:v>33772</c:v>
                </c:pt>
                <c:pt idx="42442">
                  <c:v>33772</c:v>
                </c:pt>
                <c:pt idx="42443">
                  <c:v>33772</c:v>
                </c:pt>
                <c:pt idx="42444">
                  <c:v>33772</c:v>
                </c:pt>
                <c:pt idx="42445">
                  <c:v>33772</c:v>
                </c:pt>
                <c:pt idx="42446">
                  <c:v>33772</c:v>
                </c:pt>
                <c:pt idx="42447">
                  <c:v>33771</c:v>
                </c:pt>
                <c:pt idx="42448">
                  <c:v>33771</c:v>
                </c:pt>
                <c:pt idx="42449">
                  <c:v>33771</c:v>
                </c:pt>
                <c:pt idx="42450">
                  <c:v>33771</c:v>
                </c:pt>
                <c:pt idx="42451">
                  <c:v>33771</c:v>
                </c:pt>
                <c:pt idx="42452">
                  <c:v>33770</c:v>
                </c:pt>
                <c:pt idx="42453">
                  <c:v>33770</c:v>
                </c:pt>
                <c:pt idx="42454">
                  <c:v>33770</c:v>
                </c:pt>
                <c:pt idx="42455">
                  <c:v>33770</c:v>
                </c:pt>
                <c:pt idx="42456">
                  <c:v>33770</c:v>
                </c:pt>
                <c:pt idx="42457">
                  <c:v>33770</c:v>
                </c:pt>
                <c:pt idx="42458">
                  <c:v>33770</c:v>
                </c:pt>
                <c:pt idx="42459">
                  <c:v>33770</c:v>
                </c:pt>
                <c:pt idx="42460">
                  <c:v>33770</c:v>
                </c:pt>
                <c:pt idx="42461">
                  <c:v>33769</c:v>
                </c:pt>
                <c:pt idx="42462">
                  <c:v>33769</c:v>
                </c:pt>
                <c:pt idx="42463">
                  <c:v>33769</c:v>
                </c:pt>
                <c:pt idx="42464">
                  <c:v>33769</c:v>
                </c:pt>
                <c:pt idx="42465">
                  <c:v>33769</c:v>
                </c:pt>
                <c:pt idx="42466">
                  <c:v>33769</c:v>
                </c:pt>
                <c:pt idx="42467">
                  <c:v>33769</c:v>
                </c:pt>
                <c:pt idx="42468">
                  <c:v>33769</c:v>
                </c:pt>
                <c:pt idx="42469">
                  <c:v>33769</c:v>
                </c:pt>
                <c:pt idx="42470">
                  <c:v>33769</c:v>
                </c:pt>
                <c:pt idx="42471">
                  <c:v>33769</c:v>
                </c:pt>
                <c:pt idx="42472">
                  <c:v>33768</c:v>
                </c:pt>
                <c:pt idx="42473">
                  <c:v>33768</c:v>
                </c:pt>
                <c:pt idx="42474">
                  <c:v>33768</c:v>
                </c:pt>
                <c:pt idx="42475">
                  <c:v>33768</c:v>
                </c:pt>
                <c:pt idx="42476">
                  <c:v>33768</c:v>
                </c:pt>
                <c:pt idx="42477">
                  <c:v>33768</c:v>
                </c:pt>
                <c:pt idx="42478">
                  <c:v>33768</c:v>
                </c:pt>
                <c:pt idx="42479">
                  <c:v>33768</c:v>
                </c:pt>
                <c:pt idx="42480">
                  <c:v>33768</c:v>
                </c:pt>
                <c:pt idx="42481">
                  <c:v>33767</c:v>
                </c:pt>
                <c:pt idx="42482">
                  <c:v>33767</c:v>
                </c:pt>
                <c:pt idx="42483">
                  <c:v>33767</c:v>
                </c:pt>
                <c:pt idx="42484">
                  <c:v>33767</c:v>
                </c:pt>
                <c:pt idx="42485">
                  <c:v>33767</c:v>
                </c:pt>
                <c:pt idx="42486">
                  <c:v>33766</c:v>
                </c:pt>
                <c:pt idx="42487">
                  <c:v>33766</c:v>
                </c:pt>
                <c:pt idx="42488">
                  <c:v>33766</c:v>
                </c:pt>
                <c:pt idx="42489">
                  <c:v>33766</c:v>
                </c:pt>
                <c:pt idx="42490">
                  <c:v>33766</c:v>
                </c:pt>
                <c:pt idx="42491">
                  <c:v>33766</c:v>
                </c:pt>
                <c:pt idx="42492">
                  <c:v>33766</c:v>
                </c:pt>
                <c:pt idx="42493">
                  <c:v>33766</c:v>
                </c:pt>
                <c:pt idx="42494">
                  <c:v>33765</c:v>
                </c:pt>
                <c:pt idx="42495">
                  <c:v>33765</c:v>
                </c:pt>
                <c:pt idx="42496">
                  <c:v>33765</c:v>
                </c:pt>
                <c:pt idx="42497">
                  <c:v>33765</c:v>
                </c:pt>
                <c:pt idx="42498">
                  <c:v>33765</c:v>
                </c:pt>
                <c:pt idx="42499">
                  <c:v>33764</c:v>
                </c:pt>
                <c:pt idx="42500">
                  <c:v>33764</c:v>
                </c:pt>
                <c:pt idx="42501">
                  <c:v>33764</c:v>
                </c:pt>
                <c:pt idx="42502">
                  <c:v>33764</c:v>
                </c:pt>
                <c:pt idx="42503">
                  <c:v>33764</c:v>
                </c:pt>
                <c:pt idx="42504">
                  <c:v>33764</c:v>
                </c:pt>
                <c:pt idx="42505">
                  <c:v>33764</c:v>
                </c:pt>
                <c:pt idx="42506">
                  <c:v>33764</c:v>
                </c:pt>
                <c:pt idx="42507">
                  <c:v>33764</c:v>
                </c:pt>
                <c:pt idx="42508">
                  <c:v>33763</c:v>
                </c:pt>
                <c:pt idx="42509">
                  <c:v>33763</c:v>
                </c:pt>
                <c:pt idx="42510">
                  <c:v>33763</c:v>
                </c:pt>
                <c:pt idx="42511">
                  <c:v>33763</c:v>
                </c:pt>
                <c:pt idx="42512">
                  <c:v>33763</c:v>
                </c:pt>
                <c:pt idx="42513">
                  <c:v>33763</c:v>
                </c:pt>
                <c:pt idx="42514">
                  <c:v>33763</c:v>
                </c:pt>
                <c:pt idx="42515">
                  <c:v>33763</c:v>
                </c:pt>
                <c:pt idx="42516">
                  <c:v>33762</c:v>
                </c:pt>
                <c:pt idx="42517">
                  <c:v>33762</c:v>
                </c:pt>
                <c:pt idx="42518">
                  <c:v>33762</c:v>
                </c:pt>
                <c:pt idx="42519">
                  <c:v>33762</c:v>
                </c:pt>
                <c:pt idx="42520">
                  <c:v>33762</c:v>
                </c:pt>
                <c:pt idx="42521">
                  <c:v>33762</c:v>
                </c:pt>
                <c:pt idx="42522">
                  <c:v>33762</c:v>
                </c:pt>
                <c:pt idx="42523">
                  <c:v>33761</c:v>
                </c:pt>
                <c:pt idx="42524">
                  <c:v>33761</c:v>
                </c:pt>
                <c:pt idx="42525">
                  <c:v>33761</c:v>
                </c:pt>
                <c:pt idx="42526">
                  <c:v>33761</c:v>
                </c:pt>
                <c:pt idx="42527">
                  <c:v>33760</c:v>
                </c:pt>
                <c:pt idx="42528">
                  <c:v>33760</c:v>
                </c:pt>
                <c:pt idx="42529">
                  <c:v>33760</c:v>
                </c:pt>
                <c:pt idx="42530">
                  <c:v>33760</c:v>
                </c:pt>
                <c:pt idx="42531">
                  <c:v>33760</c:v>
                </c:pt>
                <c:pt idx="42532">
                  <c:v>33759</c:v>
                </c:pt>
                <c:pt idx="42533">
                  <c:v>33759</c:v>
                </c:pt>
                <c:pt idx="42534">
                  <c:v>33759</c:v>
                </c:pt>
                <c:pt idx="42535">
                  <c:v>33759</c:v>
                </c:pt>
                <c:pt idx="42536">
                  <c:v>33759</c:v>
                </c:pt>
                <c:pt idx="42537">
                  <c:v>33759</c:v>
                </c:pt>
                <c:pt idx="42538">
                  <c:v>33759</c:v>
                </c:pt>
                <c:pt idx="42539">
                  <c:v>33758</c:v>
                </c:pt>
                <c:pt idx="42540">
                  <c:v>33758</c:v>
                </c:pt>
                <c:pt idx="42541">
                  <c:v>33758</c:v>
                </c:pt>
                <c:pt idx="42542">
                  <c:v>33758</c:v>
                </c:pt>
                <c:pt idx="42543">
                  <c:v>33758</c:v>
                </c:pt>
                <c:pt idx="42544">
                  <c:v>33758</c:v>
                </c:pt>
                <c:pt idx="42545">
                  <c:v>33757</c:v>
                </c:pt>
                <c:pt idx="42546">
                  <c:v>33757</c:v>
                </c:pt>
                <c:pt idx="42547">
                  <c:v>33757</c:v>
                </c:pt>
                <c:pt idx="42548">
                  <c:v>33757</c:v>
                </c:pt>
                <c:pt idx="42549">
                  <c:v>33757</c:v>
                </c:pt>
                <c:pt idx="42550">
                  <c:v>33757</c:v>
                </c:pt>
                <c:pt idx="42551">
                  <c:v>33757</c:v>
                </c:pt>
                <c:pt idx="42552">
                  <c:v>33756</c:v>
                </c:pt>
                <c:pt idx="42553">
                  <c:v>33756</c:v>
                </c:pt>
                <c:pt idx="42554">
                  <c:v>33756</c:v>
                </c:pt>
                <c:pt idx="42555">
                  <c:v>33756</c:v>
                </c:pt>
                <c:pt idx="42556">
                  <c:v>33756</c:v>
                </c:pt>
                <c:pt idx="42557">
                  <c:v>33756</c:v>
                </c:pt>
                <c:pt idx="42558">
                  <c:v>33756</c:v>
                </c:pt>
                <c:pt idx="42559">
                  <c:v>33756</c:v>
                </c:pt>
                <c:pt idx="42560">
                  <c:v>33756</c:v>
                </c:pt>
                <c:pt idx="42561">
                  <c:v>33755</c:v>
                </c:pt>
                <c:pt idx="42562">
                  <c:v>33755</c:v>
                </c:pt>
                <c:pt idx="42563">
                  <c:v>33755</c:v>
                </c:pt>
                <c:pt idx="42564">
                  <c:v>33755</c:v>
                </c:pt>
                <c:pt idx="42565">
                  <c:v>33755</c:v>
                </c:pt>
                <c:pt idx="42566">
                  <c:v>33755</c:v>
                </c:pt>
                <c:pt idx="42567">
                  <c:v>33755</c:v>
                </c:pt>
                <c:pt idx="42568">
                  <c:v>33755</c:v>
                </c:pt>
                <c:pt idx="42569">
                  <c:v>33754</c:v>
                </c:pt>
                <c:pt idx="42570">
                  <c:v>33754</c:v>
                </c:pt>
                <c:pt idx="42571">
                  <c:v>33754</c:v>
                </c:pt>
                <c:pt idx="42572">
                  <c:v>33754</c:v>
                </c:pt>
                <c:pt idx="42573">
                  <c:v>33754</c:v>
                </c:pt>
                <c:pt idx="42574">
                  <c:v>33754</c:v>
                </c:pt>
                <c:pt idx="42575">
                  <c:v>33753</c:v>
                </c:pt>
                <c:pt idx="42576">
                  <c:v>33753</c:v>
                </c:pt>
                <c:pt idx="42577">
                  <c:v>33753</c:v>
                </c:pt>
                <c:pt idx="42578">
                  <c:v>33752</c:v>
                </c:pt>
                <c:pt idx="42579">
                  <c:v>33752</c:v>
                </c:pt>
                <c:pt idx="42580">
                  <c:v>33752</c:v>
                </c:pt>
                <c:pt idx="42581">
                  <c:v>33752</c:v>
                </c:pt>
                <c:pt idx="42582">
                  <c:v>33752</c:v>
                </c:pt>
                <c:pt idx="42583">
                  <c:v>33752</c:v>
                </c:pt>
                <c:pt idx="42584">
                  <c:v>33751</c:v>
                </c:pt>
                <c:pt idx="42585">
                  <c:v>33751</c:v>
                </c:pt>
                <c:pt idx="42586">
                  <c:v>33751</c:v>
                </c:pt>
                <c:pt idx="42587">
                  <c:v>33751</c:v>
                </c:pt>
                <c:pt idx="42588">
                  <c:v>33750</c:v>
                </c:pt>
                <c:pt idx="42589">
                  <c:v>33750</c:v>
                </c:pt>
                <c:pt idx="42590">
                  <c:v>33750</c:v>
                </c:pt>
                <c:pt idx="42591">
                  <c:v>33750</c:v>
                </c:pt>
                <c:pt idx="42592">
                  <c:v>33750</c:v>
                </c:pt>
                <c:pt idx="42593">
                  <c:v>33749</c:v>
                </c:pt>
                <c:pt idx="42594">
                  <c:v>33749</c:v>
                </c:pt>
                <c:pt idx="42595">
                  <c:v>33749</c:v>
                </c:pt>
                <c:pt idx="42596">
                  <c:v>33749</c:v>
                </c:pt>
                <c:pt idx="42597">
                  <c:v>33748</c:v>
                </c:pt>
                <c:pt idx="42598">
                  <c:v>33748</c:v>
                </c:pt>
                <c:pt idx="42599">
                  <c:v>33748</c:v>
                </c:pt>
                <c:pt idx="42600">
                  <c:v>33748</c:v>
                </c:pt>
                <c:pt idx="42601">
                  <c:v>33748</c:v>
                </c:pt>
                <c:pt idx="42602">
                  <c:v>33748</c:v>
                </c:pt>
                <c:pt idx="42603">
                  <c:v>33748</c:v>
                </c:pt>
                <c:pt idx="42604">
                  <c:v>33747</c:v>
                </c:pt>
                <c:pt idx="42605">
                  <c:v>33747</c:v>
                </c:pt>
                <c:pt idx="42606">
                  <c:v>33747</c:v>
                </c:pt>
                <c:pt idx="42607">
                  <c:v>33747</c:v>
                </c:pt>
                <c:pt idx="42608">
                  <c:v>33747</c:v>
                </c:pt>
                <c:pt idx="42609">
                  <c:v>33747</c:v>
                </c:pt>
                <c:pt idx="42610">
                  <c:v>33747</c:v>
                </c:pt>
                <c:pt idx="42611">
                  <c:v>33747</c:v>
                </c:pt>
                <c:pt idx="42612">
                  <c:v>33746</c:v>
                </c:pt>
                <c:pt idx="42613">
                  <c:v>33746</c:v>
                </c:pt>
                <c:pt idx="42614">
                  <c:v>33746</c:v>
                </c:pt>
                <c:pt idx="42615">
                  <c:v>33746</c:v>
                </c:pt>
                <c:pt idx="42616">
                  <c:v>33746</c:v>
                </c:pt>
                <c:pt idx="42617">
                  <c:v>33745</c:v>
                </c:pt>
                <c:pt idx="42618">
                  <c:v>33745</c:v>
                </c:pt>
                <c:pt idx="42619">
                  <c:v>33745</c:v>
                </c:pt>
                <c:pt idx="42620">
                  <c:v>33745</c:v>
                </c:pt>
                <c:pt idx="42621">
                  <c:v>33745</c:v>
                </c:pt>
                <c:pt idx="42622">
                  <c:v>33745</c:v>
                </c:pt>
                <c:pt idx="42623">
                  <c:v>33744</c:v>
                </c:pt>
                <c:pt idx="42624">
                  <c:v>33744</c:v>
                </c:pt>
                <c:pt idx="42625">
                  <c:v>33744</c:v>
                </c:pt>
                <c:pt idx="42626">
                  <c:v>33744</c:v>
                </c:pt>
                <c:pt idx="42627">
                  <c:v>33744</c:v>
                </c:pt>
                <c:pt idx="42628">
                  <c:v>33744</c:v>
                </c:pt>
                <c:pt idx="42629">
                  <c:v>33744</c:v>
                </c:pt>
                <c:pt idx="42630">
                  <c:v>33744</c:v>
                </c:pt>
                <c:pt idx="42631">
                  <c:v>33744</c:v>
                </c:pt>
                <c:pt idx="42632">
                  <c:v>33744</c:v>
                </c:pt>
                <c:pt idx="42633">
                  <c:v>33743</c:v>
                </c:pt>
                <c:pt idx="42634">
                  <c:v>33743</c:v>
                </c:pt>
                <c:pt idx="42635">
                  <c:v>33743</c:v>
                </c:pt>
                <c:pt idx="42636">
                  <c:v>33743</c:v>
                </c:pt>
                <c:pt idx="42637">
                  <c:v>33743</c:v>
                </c:pt>
                <c:pt idx="42638">
                  <c:v>33743</c:v>
                </c:pt>
                <c:pt idx="42639">
                  <c:v>33743</c:v>
                </c:pt>
                <c:pt idx="42640">
                  <c:v>33743</c:v>
                </c:pt>
                <c:pt idx="42641">
                  <c:v>33742</c:v>
                </c:pt>
                <c:pt idx="42642">
                  <c:v>33742</c:v>
                </c:pt>
                <c:pt idx="42643">
                  <c:v>33742</c:v>
                </c:pt>
                <c:pt idx="42644">
                  <c:v>33742</c:v>
                </c:pt>
                <c:pt idx="42645">
                  <c:v>33742</c:v>
                </c:pt>
                <c:pt idx="42646">
                  <c:v>33742</c:v>
                </c:pt>
                <c:pt idx="42647">
                  <c:v>33742</c:v>
                </c:pt>
                <c:pt idx="42648">
                  <c:v>33742</c:v>
                </c:pt>
                <c:pt idx="42649">
                  <c:v>33742</c:v>
                </c:pt>
                <c:pt idx="42650">
                  <c:v>33741</c:v>
                </c:pt>
                <c:pt idx="42651">
                  <c:v>33741</c:v>
                </c:pt>
                <c:pt idx="42652">
                  <c:v>33741</c:v>
                </c:pt>
                <c:pt idx="42653">
                  <c:v>33741</c:v>
                </c:pt>
                <c:pt idx="42654">
                  <c:v>33741</c:v>
                </c:pt>
                <c:pt idx="42655">
                  <c:v>33740</c:v>
                </c:pt>
                <c:pt idx="42656">
                  <c:v>33740</c:v>
                </c:pt>
                <c:pt idx="42657">
                  <c:v>33740</c:v>
                </c:pt>
                <c:pt idx="42658">
                  <c:v>33740</c:v>
                </c:pt>
                <c:pt idx="42659">
                  <c:v>33739</c:v>
                </c:pt>
                <c:pt idx="42660">
                  <c:v>33739</c:v>
                </c:pt>
                <c:pt idx="42661">
                  <c:v>33739</c:v>
                </c:pt>
                <c:pt idx="42662">
                  <c:v>33739</c:v>
                </c:pt>
                <c:pt idx="42663">
                  <c:v>33739</c:v>
                </c:pt>
                <c:pt idx="42664">
                  <c:v>33739</c:v>
                </c:pt>
                <c:pt idx="42665">
                  <c:v>33739</c:v>
                </c:pt>
                <c:pt idx="42666">
                  <c:v>33739</c:v>
                </c:pt>
                <c:pt idx="42667">
                  <c:v>33739</c:v>
                </c:pt>
                <c:pt idx="42668">
                  <c:v>33738</c:v>
                </c:pt>
                <c:pt idx="42669">
                  <c:v>33738</c:v>
                </c:pt>
                <c:pt idx="42670">
                  <c:v>33738</c:v>
                </c:pt>
                <c:pt idx="42671">
                  <c:v>33738</c:v>
                </c:pt>
                <c:pt idx="42672">
                  <c:v>33738</c:v>
                </c:pt>
                <c:pt idx="42673">
                  <c:v>33738</c:v>
                </c:pt>
                <c:pt idx="42674">
                  <c:v>33738</c:v>
                </c:pt>
                <c:pt idx="42675">
                  <c:v>33737</c:v>
                </c:pt>
                <c:pt idx="42676">
                  <c:v>33737</c:v>
                </c:pt>
                <c:pt idx="42677">
                  <c:v>33737</c:v>
                </c:pt>
                <c:pt idx="42678">
                  <c:v>33737</c:v>
                </c:pt>
                <c:pt idx="42679">
                  <c:v>33737</c:v>
                </c:pt>
                <c:pt idx="42680">
                  <c:v>33737</c:v>
                </c:pt>
                <c:pt idx="42681">
                  <c:v>33737</c:v>
                </c:pt>
                <c:pt idx="42682">
                  <c:v>33737</c:v>
                </c:pt>
                <c:pt idx="42683">
                  <c:v>33736</c:v>
                </c:pt>
                <c:pt idx="42684">
                  <c:v>33736</c:v>
                </c:pt>
                <c:pt idx="42685">
                  <c:v>33736</c:v>
                </c:pt>
                <c:pt idx="42686">
                  <c:v>33736</c:v>
                </c:pt>
                <c:pt idx="42687">
                  <c:v>33736</c:v>
                </c:pt>
                <c:pt idx="42688">
                  <c:v>33736</c:v>
                </c:pt>
                <c:pt idx="42689">
                  <c:v>33736</c:v>
                </c:pt>
                <c:pt idx="42690">
                  <c:v>33736</c:v>
                </c:pt>
                <c:pt idx="42691">
                  <c:v>33735</c:v>
                </c:pt>
                <c:pt idx="42692">
                  <c:v>33735</c:v>
                </c:pt>
                <c:pt idx="42693">
                  <c:v>33735</c:v>
                </c:pt>
                <c:pt idx="42694">
                  <c:v>33735</c:v>
                </c:pt>
                <c:pt idx="42695">
                  <c:v>33735</c:v>
                </c:pt>
                <c:pt idx="42696">
                  <c:v>33735</c:v>
                </c:pt>
                <c:pt idx="42697">
                  <c:v>33735</c:v>
                </c:pt>
                <c:pt idx="42698">
                  <c:v>33735</c:v>
                </c:pt>
                <c:pt idx="42699">
                  <c:v>33735</c:v>
                </c:pt>
                <c:pt idx="42700">
                  <c:v>33735</c:v>
                </c:pt>
                <c:pt idx="42701">
                  <c:v>33734</c:v>
                </c:pt>
                <c:pt idx="42702">
                  <c:v>33734</c:v>
                </c:pt>
                <c:pt idx="42703">
                  <c:v>33734</c:v>
                </c:pt>
                <c:pt idx="42704">
                  <c:v>33734</c:v>
                </c:pt>
                <c:pt idx="42705">
                  <c:v>33734</c:v>
                </c:pt>
                <c:pt idx="42706">
                  <c:v>33733</c:v>
                </c:pt>
                <c:pt idx="42707">
                  <c:v>33733</c:v>
                </c:pt>
                <c:pt idx="42708">
                  <c:v>33733</c:v>
                </c:pt>
                <c:pt idx="42709">
                  <c:v>33733</c:v>
                </c:pt>
                <c:pt idx="42710">
                  <c:v>33733</c:v>
                </c:pt>
                <c:pt idx="42711">
                  <c:v>33733</c:v>
                </c:pt>
                <c:pt idx="42712">
                  <c:v>33733</c:v>
                </c:pt>
                <c:pt idx="42713">
                  <c:v>33733</c:v>
                </c:pt>
                <c:pt idx="42714">
                  <c:v>33733</c:v>
                </c:pt>
                <c:pt idx="42715">
                  <c:v>33733</c:v>
                </c:pt>
                <c:pt idx="42716">
                  <c:v>33732</c:v>
                </c:pt>
                <c:pt idx="42717">
                  <c:v>33732</c:v>
                </c:pt>
                <c:pt idx="42718">
                  <c:v>33732</c:v>
                </c:pt>
                <c:pt idx="42719">
                  <c:v>33732</c:v>
                </c:pt>
                <c:pt idx="42720">
                  <c:v>33732</c:v>
                </c:pt>
                <c:pt idx="42721">
                  <c:v>33732</c:v>
                </c:pt>
                <c:pt idx="42722">
                  <c:v>33731</c:v>
                </c:pt>
                <c:pt idx="42723">
                  <c:v>33731</c:v>
                </c:pt>
                <c:pt idx="42724">
                  <c:v>33731</c:v>
                </c:pt>
                <c:pt idx="42725">
                  <c:v>33731</c:v>
                </c:pt>
                <c:pt idx="42726">
                  <c:v>33731</c:v>
                </c:pt>
                <c:pt idx="42727">
                  <c:v>33731</c:v>
                </c:pt>
                <c:pt idx="42728">
                  <c:v>33731</c:v>
                </c:pt>
                <c:pt idx="42729">
                  <c:v>33731</c:v>
                </c:pt>
                <c:pt idx="42730">
                  <c:v>33731</c:v>
                </c:pt>
                <c:pt idx="42731">
                  <c:v>33731</c:v>
                </c:pt>
                <c:pt idx="42732">
                  <c:v>33731</c:v>
                </c:pt>
                <c:pt idx="42733">
                  <c:v>33730</c:v>
                </c:pt>
                <c:pt idx="42734">
                  <c:v>33730</c:v>
                </c:pt>
                <c:pt idx="42735">
                  <c:v>33730</c:v>
                </c:pt>
                <c:pt idx="42736">
                  <c:v>33730</c:v>
                </c:pt>
                <c:pt idx="42737">
                  <c:v>33730</c:v>
                </c:pt>
                <c:pt idx="42738">
                  <c:v>33730</c:v>
                </c:pt>
                <c:pt idx="42739">
                  <c:v>33729</c:v>
                </c:pt>
                <c:pt idx="42740">
                  <c:v>33729</c:v>
                </c:pt>
                <c:pt idx="42741">
                  <c:v>33729</c:v>
                </c:pt>
                <c:pt idx="42742">
                  <c:v>33729</c:v>
                </c:pt>
                <c:pt idx="42743">
                  <c:v>33729</c:v>
                </c:pt>
                <c:pt idx="42744">
                  <c:v>33728</c:v>
                </c:pt>
                <c:pt idx="42745">
                  <c:v>33728</c:v>
                </c:pt>
                <c:pt idx="42746">
                  <c:v>33728</c:v>
                </c:pt>
                <c:pt idx="42747">
                  <c:v>33728</c:v>
                </c:pt>
                <c:pt idx="42748">
                  <c:v>33728</c:v>
                </c:pt>
                <c:pt idx="42749">
                  <c:v>33727</c:v>
                </c:pt>
                <c:pt idx="42750">
                  <c:v>33727</c:v>
                </c:pt>
                <c:pt idx="42751">
                  <c:v>33727</c:v>
                </c:pt>
                <c:pt idx="42752">
                  <c:v>33727</c:v>
                </c:pt>
                <c:pt idx="42753">
                  <c:v>33727</c:v>
                </c:pt>
                <c:pt idx="42754">
                  <c:v>33727</c:v>
                </c:pt>
                <c:pt idx="42755">
                  <c:v>33727</c:v>
                </c:pt>
                <c:pt idx="42756">
                  <c:v>33727</c:v>
                </c:pt>
                <c:pt idx="42757">
                  <c:v>33727</c:v>
                </c:pt>
                <c:pt idx="42758">
                  <c:v>33727</c:v>
                </c:pt>
                <c:pt idx="42759">
                  <c:v>33727</c:v>
                </c:pt>
                <c:pt idx="42760">
                  <c:v>33726</c:v>
                </c:pt>
                <c:pt idx="42761">
                  <c:v>33726</c:v>
                </c:pt>
                <c:pt idx="42762">
                  <c:v>33726</c:v>
                </c:pt>
                <c:pt idx="42763">
                  <c:v>33726</c:v>
                </c:pt>
                <c:pt idx="42764">
                  <c:v>33726</c:v>
                </c:pt>
                <c:pt idx="42765">
                  <c:v>33726</c:v>
                </c:pt>
                <c:pt idx="42766">
                  <c:v>33726</c:v>
                </c:pt>
                <c:pt idx="42767">
                  <c:v>33726</c:v>
                </c:pt>
                <c:pt idx="42768">
                  <c:v>33726</c:v>
                </c:pt>
                <c:pt idx="42769">
                  <c:v>33726</c:v>
                </c:pt>
                <c:pt idx="42770">
                  <c:v>33726</c:v>
                </c:pt>
                <c:pt idx="42771">
                  <c:v>33726</c:v>
                </c:pt>
                <c:pt idx="42772">
                  <c:v>33725</c:v>
                </c:pt>
                <c:pt idx="42773">
                  <c:v>33725</c:v>
                </c:pt>
                <c:pt idx="42774">
                  <c:v>33725</c:v>
                </c:pt>
                <c:pt idx="42775">
                  <c:v>33725</c:v>
                </c:pt>
                <c:pt idx="42776">
                  <c:v>33725</c:v>
                </c:pt>
                <c:pt idx="42777">
                  <c:v>33725</c:v>
                </c:pt>
                <c:pt idx="42778">
                  <c:v>33725</c:v>
                </c:pt>
                <c:pt idx="42779">
                  <c:v>33725</c:v>
                </c:pt>
                <c:pt idx="42780">
                  <c:v>33725</c:v>
                </c:pt>
                <c:pt idx="42781">
                  <c:v>33724</c:v>
                </c:pt>
                <c:pt idx="42782">
                  <c:v>33724</c:v>
                </c:pt>
                <c:pt idx="42783">
                  <c:v>33724</c:v>
                </c:pt>
                <c:pt idx="42784">
                  <c:v>33724</c:v>
                </c:pt>
                <c:pt idx="42785">
                  <c:v>33724</c:v>
                </c:pt>
                <c:pt idx="42786">
                  <c:v>33724</c:v>
                </c:pt>
                <c:pt idx="42787">
                  <c:v>33724</c:v>
                </c:pt>
                <c:pt idx="42788">
                  <c:v>33724</c:v>
                </c:pt>
                <c:pt idx="42789">
                  <c:v>33724</c:v>
                </c:pt>
                <c:pt idx="42790">
                  <c:v>33724</c:v>
                </c:pt>
                <c:pt idx="42791">
                  <c:v>33723</c:v>
                </c:pt>
                <c:pt idx="42792">
                  <c:v>33723</c:v>
                </c:pt>
                <c:pt idx="42793">
                  <c:v>33723</c:v>
                </c:pt>
                <c:pt idx="42794">
                  <c:v>33723</c:v>
                </c:pt>
                <c:pt idx="42795">
                  <c:v>33723</c:v>
                </c:pt>
                <c:pt idx="42796">
                  <c:v>33723</c:v>
                </c:pt>
                <c:pt idx="42797">
                  <c:v>33722</c:v>
                </c:pt>
                <c:pt idx="42798">
                  <c:v>33722</c:v>
                </c:pt>
                <c:pt idx="42799">
                  <c:v>33722</c:v>
                </c:pt>
                <c:pt idx="42800">
                  <c:v>33722</c:v>
                </c:pt>
                <c:pt idx="42801">
                  <c:v>33722</c:v>
                </c:pt>
                <c:pt idx="42802">
                  <c:v>33722</c:v>
                </c:pt>
                <c:pt idx="42803">
                  <c:v>33722</c:v>
                </c:pt>
                <c:pt idx="42804">
                  <c:v>33722</c:v>
                </c:pt>
                <c:pt idx="42805">
                  <c:v>33722</c:v>
                </c:pt>
                <c:pt idx="42806">
                  <c:v>33722</c:v>
                </c:pt>
                <c:pt idx="42807">
                  <c:v>33722</c:v>
                </c:pt>
                <c:pt idx="42808">
                  <c:v>33722</c:v>
                </c:pt>
                <c:pt idx="42809">
                  <c:v>33721</c:v>
                </c:pt>
                <c:pt idx="42810">
                  <c:v>33721</c:v>
                </c:pt>
                <c:pt idx="42811">
                  <c:v>33721</c:v>
                </c:pt>
                <c:pt idx="42812">
                  <c:v>33721</c:v>
                </c:pt>
                <c:pt idx="42813">
                  <c:v>33721</c:v>
                </c:pt>
                <c:pt idx="42814">
                  <c:v>33721</c:v>
                </c:pt>
                <c:pt idx="42815">
                  <c:v>33721</c:v>
                </c:pt>
                <c:pt idx="42816">
                  <c:v>33721</c:v>
                </c:pt>
                <c:pt idx="42817">
                  <c:v>33720</c:v>
                </c:pt>
                <c:pt idx="42818">
                  <c:v>33720</c:v>
                </c:pt>
                <c:pt idx="42819">
                  <c:v>33720</c:v>
                </c:pt>
                <c:pt idx="42820">
                  <c:v>33720</c:v>
                </c:pt>
                <c:pt idx="42821">
                  <c:v>33720</c:v>
                </c:pt>
                <c:pt idx="42822">
                  <c:v>33720</c:v>
                </c:pt>
                <c:pt idx="42823">
                  <c:v>33720</c:v>
                </c:pt>
                <c:pt idx="42824">
                  <c:v>33720</c:v>
                </c:pt>
                <c:pt idx="42825">
                  <c:v>33720</c:v>
                </c:pt>
                <c:pt idx="42826">
                  <c:v>33719</c:v>
                </c:pt>
                <c:pt idx="42827">
                  <c:v>33719</c:v>
                </c:pt>
                <c:pt idx="42828">
                  <c:v>33719</c:v>
                </c:pt>
                <c:pt idx="42829">
                  <c:v>33719</c:v>
                </c:pt>
                <c:pt idx="42830">
                  <c:v>33719</c:v>
                </c:pt>
                <c:pt idx="42831">
                  <c:v>33719</c:v>
                </c:pt>
                <c:pt idx="42832">
                  <c:v>33719</c:v>
                </c:pt>
                <c:pt idx="42833">
                  <c:v>33719</c:v>
                </c:pt>
                <c:pt idx="42834">
                  <c:v>33719</c:v>
                </c:pt>
                <c:pt idx="42835">
                  <c:v>33718</c:v>
                </c:pt>
                <c:pt idx="42836">
                  <c:v>33718</c:v>
                </c:pt>
                <c:pt idx="42837">
                  <c:v>33718</c:v>
                </c:pt>
                <c:pt idx="42838">
                  <c:v>33718</c:v>
                </c:pt>
                <c:pt idx="42839">
                  <c:v>33718</c:v>
                </c:pt>
                <c:pt idx="42840">
                  <c:v>33718</c:v>
                </c:pt>
                <c:pt idx="42841">
                  <c:v>33718</c:v>
                </c:pt>
                <c:pt idx="42842">
                  <c:v>33718</c:v>
                </c:pt>
                <c:pt idx="42843">
                  <c:v>33717</c:v>
                </c:pt>
                <c:pt idx="42844">
                  <c:v>33717</c:v>
                </c:pt>
                <c:pt idx="42845">
                  <c:v>33717</c:v>
                </c:pt>
                <c:pt idx="42846">
                  <c:v>33717</c:v>
                </c:pt>
                <c:pt idx="42847">
                  <c:v>33716</c:v>
                </c:pt>
                <c:pt idx="42848">
                  <c:v>33716</c:v>
                </c:pt>
                <c:pt idx="42849">
                  <c:v>33716</c:v>
                </c:pt>
                <c:pt idx="42850">
                  <c:v>33716</c:v>
                </c:pt>
                <c:pt idx="42851">
                  <c:v>33716</c:v>
                </c:pt>
                <c:pt idx="42852">
                  <c:v>33716</c:v>
                </c:pt>
                <c:pt idx="42853">
                  <c:v>33716</c:v>
                </c:pt>
                <c:pt idx="42854">
                  <c:v>33716</c:v>
                </c:pt>
                <c:pt idx="42855">
                  <c:v>33716</c:v>
                </c:pt>
                <c:pt idx="42856">
                  <c:v>33716</c:v>
                </c:pt>
                <c:pt idx="42857">
                  <c:v>33716</c:v>
                </c:pt>
                <c:pt idx="42858">
                  <c:v>33716</c:v>
                </c:pt>
                <c:pt idx="42859">
                  <c:v>33716</c:v>
                </c:pt>
                <c:pt idx="42860">
                  <c:v>33715</c:v>
                </c:pt>
                <c:pt idx="42861">
                  <c:v>33715</c:v>
                </c:pt>
                <c:pt idx="42862">
                  <c:v>33715</c:v>
                </c:pt>
                <c:pt idx="42863">
                  <c:v>33715</c:v>
                </c:pt>
                <c:pt idx="42864">
                  <c:v>33715</c:v>
                </c:pt>
                <c:pt idx="42865">
                  <c:v>33715</c:v>
                </c:pt>
                <c:pt idx="42866">
                  <c:v>33714</c:v>
                </c:pt>
                <c:pt idx="42867">
                  <c:v>33714</c:v>
                </c:pt>
                <c:pt idx="42868">
                  <c:v>33714</c:v>
                </c:pt>
                <c:pt idx="42869">
                  <c:v>33714</c:v>
                </c:pt>
                <c:pt idx="42870">
                  <c:v>33714</c:v>
                </c:pt>
                <c:pt idx="42871">
                  <c:v>33714</c:v>
                </c:pt>
                <c:pt idx="42872">
                  <c:v>33713</c:v>
                </c:pt>
                <c:pt idx="42873">
                  <c:v>33713</c:v>
                </c:pt>
                <c:pt idx="42874">
                  <c:v>33713</c:v>
                </c:pt>
                <c:pt idx="42875">
                  <c:v>33713</c:v>
                </c:pt>
                <c:pt idx="42876">
                  <c:v>33713</c:v>
                </c:pt>
                <c:pt idx="42877">
                  <c:v>33712</c:v>
                </c:pt>
                <c:pt idx="42878">
                  <c:v>33712</c:v>
                </c:pt>
                <c:pt idx="42879">
                  <c:v>33712</c:v>
                </c:pt>
                <c:pt idx="42880">
                  <c:v>33712</c:v>
                </c:pt>
                <c:pt idx="42881">
                  <c:v>33711</c:v>
                </c:pt>
                <c:pt idx="42882">
                  <c:v>33711</c:v>
                </c:pt>
                <c:pt idx="42883">
                  <c:v>33711</c:v>
                </c:pt>
                <c:pt idx="42884">
                  <c:v>33711</c:v>
                </c:pt>
                <c:pt idx="42885">
                  <c:v>33711</c:v>
                </c:pt>
                <c:pt idx="42886">
                  <c:v>33710</c:v>
                </c:pt>
                <c:pt idx="42887">
                  <c:v>33710</c:v>
                </c:pt>
                <c:pt idx="42888">
                  <c:v>33710</c:v>
                </c:pt>
                <c:pt idx="42889">
                  <c:v>33710</c:v>
                </c:pt>
                <c:pt idx="42890">
                  <c:v>33710</c:v>
                </c:pt>
                <c:pt idx="42891">
                  <c:v>33710</c:v>
                </c:pt>
                <c:pt idx="42892">
                  <c:v>33710</c:v>
                </c:pt>
                <c:pt idx="42893">
                  <c:v>33710</c:v>
                </c:pt>
                <c:pt idx="42894">
                  <c:v>33710</c:v>
                </c:pt>
                <c:pt idx="42895">
                  <c:v>33710</c:v>
                </c:pt>
                <c:pt idx="42896">
                  <c:v>33709</c:v>
                </c:pt>
                <c:pt idx="42897">
                  <c:v>33709</c:v>
                </c:pt>
                <c:pt idx="42898">
                  <c:v>33709</c:v>
                </c:pt>
                <c:pt idx="42899">
                  <c:v>33709</c:v>
                </c:pt>
                <c:pt idx="42900">
                  <c:v>33708</c:v>
                </c:pt>
                <c:pt idx="42901">
                  <c:v>33708</c:v>
                </c:pt>
                <c:pt idx="42902">
                  <c:v>33708</c:v>
                </c:pt>
                <c:pt idx="42903">
                  <c:v>33708</c:v>
                </c:pt>
                <c:pt idx="42904">
                  <c:v>33708</c:v>
                </c:pt>
                <c:pt idx="42905">
                  <c:v>33708</c:v>
                </c:pt>
                <c:pt idx="42906">
                  <c:v>33707</c:v>
                </c:pt>
                <c:pt idx="42907">
                  <c:v>33707</c:v>
                </c:pt>
                <c:pt idx="42908">
                  <c:v>33707</c:v>
                </c:pt>
                <c:pt idx="42909">
                  <c:v>33707</c:v>
                </c:pt>
                <c:pt idx="42910">
                  <c:v>33707</c:v>
                </c:pt>
                <c:pt idx="42911">
                  <c:v>33707</c:v>
                </c:pt>
                <c:pt idx="42912">
                  <c:v>33706</c:v>
                </c:pt>
                <c:pt idx="42913">
                  <c:v>33706</c:v>
                </c:pt>
                <c:pt idx="42914">
                  <c:v>33706</c:v>
                </c:pt>
                <c:pt idx="42915">
                  <c:v>33706</c:v>
                </c:pt>
                <c:pt idx="42916">
                  <c:v>33705</c:v>
                </c:pt>
                <c:pt idx="42917">
                  <c:v>33705</c:v>
                </c:pt>
                <c:pt idx="42918">
                  <c:v>33705</c:v>
                </c:pt>
                <c:pt idx="42919">
                  <c:v>33705</c:v>
                </c:pt>
                <c:pt idx="42920">
                  <c:v>33705</c:v>
                </c:pt>
                <c:pt idx="42921">
                  <c:v>33705</c:v>
                </c:pt>
                <c:pt idx="42922">
                  <c:v>33705</c:v>
                </c:pt>
                <c:pt idx="42923">
                  <c:v>33704</c:v>
                </c:pt>
                <c:pt idx="42924">
                  <c:v>33704</c:v>
                </c:pt>
                <c:pt idx="42925">
                  <c:v>33704</c:v>
                </c:pt>
                <c:pt idx="42926">
                  <c:v>33704</c:v>
                </c:pt>
                <c:pt idx="42927">
                  <c:v>33704</c:v>
                </c:pt>
                <c:pt idx="42928">
                  <c:v>33704</c:v>
                </c:pt>
                <c:pt idx="42929">
                  <c:v>33704</c:v>
                </c:pt>
                <c:pt idx="42930">
                  <c:v>33703</c:v>
                </c:pt>
                <c:pt idx="42931">
                  <c:v>33703</c:v>
                </c:pt>
                <c:pt idx="42932">
                  <c:v>33703</c:v>
                </c:pt>
                <c:pt idx="42933">
                  <c:v>33703</c:v>
                </c:pt>
                <c:pt idx="42934">
                  <c:v>33703</c:v>
                </c:pt>
                <c:pt idx="42935">
                  <c:v>33703</c:v>
                </c:pt>
                <c:pt idx="42936">
                  <c:v>33703</c:v>
                </c:pt>
                <c:pt idx="42937">
                  <c:v>33703</c:v>
                </c:pt>
                <c:pt idx="42938">
                  <c:v>33703</c:v>
                </c:pt>
                <c:pt idx="42939">
                  <c:v>33702</c:v>
                </c:pt>
                <c:pt idx="42940">
                  <c:v>33702</c:v>
                </c:pt>
                <c:pt idx="42941">
                  <c:v>33702</c:v>
                </c:pt>
                <c:pt idx="42942">
                  <c:v>33702</c:v>
                </c:pt>
                <c:pt idx="42943">
                  <c:v>33702</c:v>
                </c:pt>
                <c:pt idx="42944">
                  <c:v>33702</c:v>
                </c:pt>
                <c:pt idx="42945">
                  <c:v>33701</c:v>
                </c:pt>
                <c:pt idx="42946">
                  <c:v>33701</c:v>
                </c:pt>
                <c:pt idx="42947">
                  <c:v>33701</c:v>
                </c:pt>
                <c:pt idx="42948">
                  <c:v>33701</c:v>
                </c:pt>
                <c:pt idx="42949">
                  <c:v>33701</c:v>
                </c:pt>
                <c:pt idx="42950">
                  <c:v>33701</c:v>
                </c:pt>
                <c:pt idx="42951">
                  <c:v>33701</c:v>
                </c:pt>
                <c:pt idx="42952">
                  <c:v>33701</c:v>
                </c:pt>
                <c:pt idx="42953">
                  <c:v>33701</c:v>
                </c:pt>
                <c:pt idx="42954">
                  <c:v>33701</c:v>
                </c:pt>
                <c:pt idx="42955">
                  <c:v>33701</c:v>
                </c:pt>
                <c:pt idx="42956">
                  <c:v>33701</c:v>
                </c:pt>
                <c:pt idx="42957">
                  <c:v>33701</c:v>
                </c:pt>
                <c:pt idx="42958">
                  <c:v>33701</c:v>
                </c:pt>
                <c:pt idx="42959">
                  <c:v>33700</c:v>
                </c:pt>
                <c:pt idx="42960">
                  <c:v>33700</c:v>
                </c:pt>
                <c:pt idx="42961">
                  <c:v>33700</c:v>
                </c:pt>
                <c:pt idx="42962">
                  <c:v>33699</c:v>
                </c:pt>
                <c:pt idx="42963">
                  <c:v>33699</c:v>
                </c:pt>
                <c:pt idx="42964">
                  <c:v>33699</c:v>
                </c:pt>
                <c:pt idx="42965">
                  <c:v>33699</c:v>
                </c:pt>
                <c:pt idx="42966">
                  <c:v>33699</c:v>
                </c:pt>
                <c:pt idx="42967">
                  <c:v>33699</c:v>
                </c:pt>
                <c:pt idx="42968">
                  <c:v>33699</c:v>
                </c:pt>
                <c:pt idx="42969">
                  <c:v>33699</c:v>
                </c:pt>
                <c:pt idx="42970">
                  <c:v>33699</c:v>
                </c:pt>
                <c:pt idx="42971">
                  <c:v>33699</c:v>
                </c:pt>
                <c:pt idx="42972">
                  <c:v>33699</c:v>
                </c:pt>
                <c:pt idx="42973">
                  <c:v>33698</c:v>
                </c:pt>
                <c:pt idx="42974">
                  <c:v>33698</c:v>
                </c:pt>
                <c:pt idx="42975">
                  <c:v>33698</c:v>
                </c:pt>
                <c:pt idx="42976">
                  <c:v>33698</c:v>
                </c:pt>
                <c:pt idx="42977">
                  <c:v>33698</c:v>
                </c:pt>
                <c:pt idx="42978">
                  <c:v>33698</c:v>
                </c:pt>
                <c:pt idx="42979">
                  <c:v>33698</c:v>
                </c:pt>
                <c:pt idx="42980">
                  <c:v>33697</c:v>
                </c:pt>
                <c:pt idx="42981">
                  <c:v>33697</c:v>
                </c:pt>
                <c:pt idx="42982">
                  <c:v>33697</c:v>
                </c:pt>
                <c:pt idx="42983">
                  <c:v>33697</c:v>
                </c:pt>
                <c:pt idx="42984">
                  <c:v>33696</c:v>
                </c:pt>
                <c:pt idx="42985">
                  <c:v>33696</c:v>
                </c:pt>
                <c:pt idx="42986">
                  <c:v>33696</c:v>
                </c:pt>
                <c:pt idx="42987">
                  <c:v>33696</c:v>
                </c:pt>
                <c:pt idx="42988">
                  <c:v>33696</c:v>
                </c:pt>
                <c:pt idx="42989">
                  <c:v>33696</c:v>
                </c:pt>
                <c:pt idx="42990">
                  <c:v>33696</c:v>
                </c:pt>
                <c:pt idx="42991">
                  <c:v>33696</c:v>
                </c:pt>
                <c:pt idx="42992">
                  <c:v>33695</c:v>
                </c:pt>
                <c:pt idx="42993">
                  <c:v>33695</c:v>
                </c:pt>
                <c:pt idx="42994">
                  <c:v>33695</c:v>
                </c:pt>
                <c:pt idx="42995">
                  <c:v>33695</c:v>
                </c:pt>
                <c:pt idx="42996">
                  <c:v>33695</c:v>
                </c:pt>
                <c:pt idx="42997">
                  <c:v>33695</c:v>
                </c:pt>
                <c:pt idx="42998">
                  <c:v>33695</c:v>
                </c:pt>
                <c:pt idx="42999">
                  <c:v>33695</c:v>
                </c:pt>
                <c:pt idx="43000">
                  <c:v>33695</c:v>
                </c:pt>
                <c:pt idx="43001">
                  <c:v>33694</c:v>
                </c:pt>
                <c:pt idx="43002">
                  <c:v>33694</c:v>
                </c:pt>
                <c:pt idx="43003">
                  <c:v>33694</c:v>
                </c:pt>
                <c:pt idx="43004">
                  <c:v>33694</c:v>
                </c:pt>
                <c:pt idx="43005">
                  <c:v>33694</c:v>
                </c:pt>
                <c:pt idx="43006">
                  <c:v>33694</c:v>
                </c:pt>
                <c:pt idx="43007">
                  <c:v>33694</c:v>
                </c:pt>
                <c:pt idx="43008">
                  <c:v>33693</c:v>
                </c:pt>
                <c:pt idx="43009">
                  <c:v>33693</c:v>
                </c:pt>
                <c:pt idx="43010">
                  <c:v>33693</c:v>
                </c:pt>
                <c:pt idx="43011">
                  <c:v>33693</c:v>
                </c:pt>
                <c:pt idx="43012">
                  <c:v>33693</c:v>
                </c:pt>
                <c:pt idx="43013">
                  <c:v>33693</c:v>
                </c:pt>
                <c:pt idx="43014">
                  <c:v>33693</c:v>
                </c:pt>
                <c:pt idx="43015">
                  <c:v>33692</c:v>
                </c:pt>
                <c:pt idx="43016">
                  <c:v>33692</c:v>
                </c:pt>
                <c:pt idx="43017">
                  <c:v>33692</c:v>
                </c:pt>
                <c:pt idx="43018">
                  <c:v>33692</c:v>
                </c:pt>
                <c:pt idx="43019">
                  <c:v>33692</c:v>
                </c:pt>
                <c:pt idx="43020">
                  <c:v>33692</c:v>
                </c:pt>
                <c:pt idx="43021">
                  <c:v>33692</c:v>
                </c:pt>
                <c:pt idx="43022">
                  <c:v>33692</c:v>
                </c:pt>
                <c:pt idx="43023">
                  <c:v>33691</c:v>
                </c:pt>
                <c:pt idx="43024">
                  <c:v>33691</c:v>
                </c:pt>
                <c:pt idx="43025">
                  <c:v>33691</c:v>
                </c:pt>
                <c:pt idx="43026">
                  <c:v>33691</c:v>
                </c:pt>
                <c:pt idx="43027">
                  <c:v>33691</c:v>
                </c:pt>
                <c:pt idx="43028">
                  <c:v>33691</c:v>
                </c:pt>
                <c:pt idx="43029">
                  <c:v>33691</c:v>
                </c:pt>
                <c:pt idx="43030">
                  <c:v>33691</c:v>
                </c:pt>
                <c:pt idx="43031">
                  <c:v>33690</c:v>
                </c:pt>
                <c:pt idx="43032">
                  <c:v>33690</c:v>
                </c:pt>
                <c:pt idx="43033">
                  <c:v>33690</c:v>
                </c:pt>
                <c:pt idx="43034">
                  <c:v>33690</c:v>
                </c:pt>
                <c:pt idx="43035">
                  <c:v>33690</c:v>
                </c:pt>
                <c:pt idx="43036">
                  <c:v>33690</c:v>
                </c:pt>
                <c:pt idx="43037">
                  <c:v>33690</c:v>
                </c:pt>
                <c:pt idx="43038">
                  <c:v>33690</c:v>
                </c:pt>
                <c:pt idx="43039">
                  <c:v>33689</c:v>
                </c:pt>
                <c:pt idx="43040">
                  <c:v>33689</c:v>
                </c:pt>
                <c:pt idx="43041">
                  <c:v>33688</c:v>
                </c:pt>
                <c:pt idx="43042">
                  <c:v>33688</c:v>
                </c:pt>
                <c:pt idx="43043">
                  <c:v>33688</c:v>
                </c:pt>
                <c:pt idx="43044">
                  <c:v>33688</c:v>
                </c:pt>
                <c:pt idx="43045">
                  <c:v>33688</c:v>
                </c:pt>
                <c:pt idx="43046">
                  <c:v>33688</c:v>
                </c:pt>
                <c:pt idx="43047">
                  <c:v>33687</c:v>
                </c:pt>
                <c:pt idx="43048">
                  <c:v>33687</c:v>
                </c:pt>
                <c:pt idx="43049">
                  <c:v>33687</c:v>
                </c:pt>
                <c:pt idx="43050">
                  <c:v>33687</c:v>
                </c:pt>
                <c:pt idx="43051">
                  <c:v>33687</c:v>
                </c:pt>
                <c:pt idx="43052">
                  <c:v>33687</c:v>
                </c:pt>
                <c:pt idx="43053">
                  <c:v>33686</c:v>
                </c:pt>
                <c:pt idx="43054">
                  <c:v>33686</c:v>
                </c:pt>
                <c:pt idx="43055">
                  <c:v>33686</c:v>
                </c:pt>
                <c:pt idx="43056">
                  <c:v>33686</c:v>
                </c:pt>
                <c:pt idx="43057">
                  <c:v>33686</c:v>
                </c:pt>
                <c:pt idx="43058">
                  <c:v>33686</c:v>
                </c:pt>
                <c:pt idx="43059">
                  <c:v>33685</c:v>
                </c:pt>
                <c:pt idx="43060">
                  <c:v>33685</c:v>
                </c:pt>
                <c:pt idx="43061">
                  <c:v>33685</c:v>
                </c:pt>
                <c:pt idx="43062">
                  <c:v>33685</c:v>
                </c:pt>
                <c:pt idx="43063">
                  <c:v>33685</c:v>
                </c:pt>
                <c:pt idx="43064">
                  <c:v>33685</c:v>
                </c:pt>
                <c:pt idx="43065">
                  <c:v>33685</c:v>
                </c:pt>
                <c:pt idx="43066">
                  <c:v>33685</c:v>
                </c:pt>
                <c:pt idx="43067">
                  <c:v>33685</c:v>
                </c:pt>
                <c:pt idx="43068">
                  <c:v>33684</c:v>
                </c:pt>
                <c:pt idx="43069">
                  <c:v>33684</c:v>
                </c:pt>
                <c:pt idx="43070">
                  <c:v>33684</c:v>
                </c:pt>
                <c:pt idx="43071">
                  <c:v>33684</c:v>
                </c:pt>
                <c:pt idx="43072">
                  <c:v>33684</c:v>
                </c:pt>
                <c:pt idx="43073">
                  <c:v>33683</c:v>
                </c:pt>
                <c:pt idx="43074">
                  <c:v>33683</c:v>
                </c:pt>
                <c:pt idx="43075">
                  <c:v>33683</c:v>
                </c:pt>
                <c:pt idx="43076">
                  <c:v>33683</c:v>
                </c:pt>
                <c:pt idx="43077">
                  <c:v>33683</c:v>
                </c:pt>
                <c:pt idx="43078">
                  <c:v>33683</c:v>
                </c:pt>
                <c:pt idx="43079">
                  <c:v>33683</c:v>
                </c:pt>
                <c:pt idx="43080">
                  <c:v>33683</c:v>
                </c:pt>
                <c:pt idx="43081">
                  <c:v>33682</c:v>
                </c:pt>
                <c:pt idx="43082">
                  <c:v>33682</c:v>
                </c:pt>
                <c:pt idx="43083">
                  <c:v>33682</c:v>
                </c:pt>
                <c:pt idx="43084">
                  <c:v>33682</c:v>
                </c:pt>
                <c:pt idx="43085">
                  <c:v>33682</c:v>
                </c:pt>
                <c:pt idx="43086">
                  <c:v>33682</c:v>
                </c:pt>
                <c:pt idx="43087">
                  <c:v>33682</c:v>
                </c:pt>
                <c:pt idx="43088">
                  <c:v>33682</c:v>
                </c:pt>
                <c:pt idx="43089">
                  <c:v>33682</c:v>
                </c:pt>
                <c:pt idx="43090">
                  <c:v>33682</c:v>
                </c:pt>
                <c:pt idx="43091">
                  <c:v>33682</c:v>
                </c:pt>
                <c:pt idx="43092">
                  <c:v>33682</c:v>
                </c:pt>
                <c:pt idx="43093">
                  <c:v>33681</c:v>
                </c:pt>
                <c:pt idx="43094">
                  <c:v>33681</c:v>
                </c:pt>
                <c:pt idx="43095">
                  <c:v>33681</c:v>
                </c:pt>
                <c:pt idx="43096">
                  <c:v>33681</c:v>
                </c:pt>
                <c:pt idx="43097">
                  <c:v>33680</c:v>
                </c:pt>
                <c:pt idx="43098">
                  <c:v>33680</c:v>
                </c:pt>
                <c:pt idx="43099">
                  <c:v>33680</c:v>
                </c:pt>
                <c:pt idx="43100">
                  <c:v>33680</c:v>
                </c:pt>
                <c:pt idx="43101">
                  <c:v>33680</c:v>
                </c:pt>
                <c:pt idx="43102">
                  <c:v>33680</c:v>
                </c:pt>
                <c:pt idx="43103">
                  <c:v>33680</c:v>
                </c:pt>
                <c:pt idx="43104">
                  <c:v>33680</c:v>
                </c:pt>
                <c:pt idx="43105">
                  <c:v>33680</c:v>
                </c:pt>
                <c:pt idx="43106">
                  <c:v>33679</c:v>
                </c:pt>
                <c:pt idx="43107">
                  <c:v>33679</c:v>
                </c:pt>
                <c:pt idx="43108">
                  <c:v>33679</c:v>
                </c:pt>
                <c:pt idx="43109">
                  <c:v>33679</c:v>
                </c:pt>
                <c:pt idx="43110">
                  <c:v>33679</c:v>
                </c:pt>
                <c:pt idx="43111">
                  <c:v>33679</c:v>
                </c:pt>
                <c:pt idx="43112">
                  <c:v>33679</c:v>
                </c:pt>
                <c:pt idx="43113">
                  <c:v>33679</c:v>
                </c:pt>
                <c:pt idx="43114">
                  <c:v>33679</c:v>
                </c:pt>
                <c:pt idx="43115">
                  <c:v>33679</c:v>
                </c:pt>
                <c:pt idx="43116">
                  <c:v>33679</c:v>
                </c:pt>
                <c:pt idx="43117">
                  <c:v>33679</c:v>
                </c:pt>
                <c:pt idx="43118">
                  <c:v>33679</c:v>
                </c:pt>
                <c:pt idx="43119">
                  <c:v>33679</c:v>
                </c:pt>
                <c:pt idx="43120">
                  <c:v>33678</c:v>
                </c:pt>
                <c:pt idx="43121">
                  <c:v>33678</c:v>
                </c:pt>
                <c:pt idx="43122">
                  <c:v>33678</c:v>
                </c:pt>
                <c:pt idx="43123">
                  <c:v>33678</c:v>
                </c:pt>
                <c:pt idx="43124">
                  <c:v>33678</c:v>
                </c:pt>
                <c:pt idx="43125">
                  <c:v>33677</c:v>
                </c:pt>
                <c:pt idx="43126">
                  <c:v>33677</c:v>
                </c:pt>
                <c:pt idx="43127">
                  <c:v>33677</c:v>
                </c:pt>
                <c:pt idx="43128">
                  <c:v>33677</c:v>
                </c:pt>
                <c:pt idx="43129">
                  <c:v>33677</c:v>
                </c:pt>
                <c:pt idx="43130">
                  <c:v>33677</c:v>
                </c:pt>
                <c:pt idx="43131">
                  <c:v>33677</c:v>
                </c:pt>
                <c:pt idx="43132">
                  <c:v>33677</c:v>
                </c:pt>
                <c:pt idx="43133">
                  <c:v>33677</c:v>
                </c:pt>
                <c:pt idx="43134">
                  <c:v>33677</c:v>
                </c:pt>
                <c:pt idx="43135">
                  <c:v>33677</c:v>
                </c:pt>
                <c:pt idx="43136">
                  <c:v>33676</c:v>
                </c:pt>
                <c:pt idx="43137">
                  <c:v>33676</c:v>
                </c:pt>
                <c:pt idx="43138">
                  <c:v>33676</c:v>
                </c:pt>
                <c:pt idx="43139">
                  <c:v>33676</c:v>
                </c:pt>
                <c:pt idx="43140">
                  <c:v>33676</c:v>
                </c:pt>
                <c:pt idx="43141">
                  <c:v>33676</c:v>
                </c:pt>
                <c:pt idx="43142">
                  <c:v>33676</c:v>
                </c:pt>
                <c:pt idx="43143">
                  <c:v>33675</c:v>
                </c:pt>
                <c:pt idx="43144">
                  <c:v>33675</c:v>
                </c:pt>
                <c:pt idx="43145">
                  <c:v>33675</c:v>
                </c:pt>
                <c:pt idx="43146">
                  <c:v>33675</c:v>
                </c:pt>
                <c:pt idx="43147">
                  <c:v>33675</c:v>
                </c:pt>
                <c:pt idx="43148">
                  <c:v>33675</c:v>
                </c:pt>
                <c:pt idx="43149">
                  <c:v>33675</c:v>
                </c:pt>
                <c:pt idx="43150">
                  <c:v>33675</c:v>
                </c:pt>
                <c:pt idx="43151">
                  <c:v>33675</c:v>
                </c:pt>
                <c:pt idx="43152">
                  <c:v>33674</c:v>
                </c:pt>
                <c:pt idx="43153">
                  <c:v>33674</c:v>
                </c:pt>
                <c:pt idx="43154">
                  <c:v>33674</c:v>
                </c:pt>
                <c:pt idx="43155">
                  <c:v>33674</c:v>
                </c:pt>
                <c:pt idx="43156">
                  <c:v>33674</c:v>
                </c:pt>
                <c:pt idx="43157">
                  <c:v>33674</c:v>
                </c:pt>
                <c:pt idx="43158">
                  <c:v>33674</c:v>
                </c:pt>
                <c:pt idx="43159">
                  <c:v>33674</c:v>
                </c:pt>
                <c:pt idx="43160">
                  <c:v>33674</c:v>
                </c:pt>
                <c:pt idx="43161">
                  <c:v>33674</c:v>
                </c:pt>
                <c:pt idx="43162">
                  <c:v>33674</c:v>
                </c:pt>
                <c:pt idx="43163">
                  <c:v>33674</c:v>
                </c:pt>
                <c:pt idx="43164">
                  <c:v>33674</c:v>
                </c:pt>
                <c:pt idx="43165">
                  <c:v>33674</c:v>
                </c:pt>
                <c:pt idx="43166">
                  <c:v>33674</c:v>
                </c:pt>
                <c:pt idx="43167">
                  <c:v>33674</c:v>
                </c:pt>
                <c:pt idx="43168">
                  <c:v>33673</c:v>
                </c:pt>
                <c:pt idx="43169">
                  <c:v>33673</c:v>
                </c:pt>
                <c:pt idx="43170">
                  <c:v>33673</c:v>
                </c:pt>
                <c:pt idx="43171">
                  <c:v>33673</c:v>
                </c:pt>
                <c:pt idx="43172">
                  <c:v>33673</c:v>
                </c:pt>
                <c:pt idx="43173">
                  <c:v>33673</c:v>
                </c:pt>
                <c:pt idx="43174">
                  <c:v>33672</c:v>
                </c:pt>
                <c:pt idx="43175">
                  <c:v>33672</c:v>
                </c:pt>
                <c:pt idx="43176">
                  <c:v>33672</c:v>
                </c:pt>
                <c:pt idx="43177">
                  <c:v>33672</c:v>
                </c:pt>
                <c:pt idx="43178">
                  <c:v>33672</c:v>
                </c:pt>
                <c:pt idx="43179">
                  <c:v>33672</c:v>
                </c:pt>
                <c:pt idx="43180">
                  <c:v>33672</c:v>
                </c:pt>
                <c:pt idx="43181">
                  <c:v>33672</c:v>
                </c:pt>
                <c:pt idx="43182">
                  <c:v>33672</c:v>
                </c:pt>
                <c:pt idx="43183">
                  <c:v>33672</c:v>
                </c:pt>
                <c:pt idx="43184">
                  <c:v>33672</c:v>
                </c:pt>
                <c:pt idx="43185">
                  <c:v>33671</c:v>
                </c:pt>
                <c:pt idx="43186">
                  <c:v>33671</c:v>
                </c:pt>
                <c:pt idx="43187">
                  <c:v>33671</c:v>
                </c:pt>
                <c:pt idx="43188">
                  <c:v>33671</c:v>
                </c:pt>
                <c:pt idx="43189">
                  <c:v>33670</c:v>
                </c:pt>
                <c:pt idx="43190">
                  <c:v>33670</c:v>
                </c:pt>
                <c:pt idx="43191">
                  <c:v>33670</c:v>
                </c:pt>
                <c:pt idx="43192">
                  <c:v>33670</c:v>
                </c:pt>
                <c:pt idx="43193">
                  <c:v>33670</c:v>
                </c:pt>
                <c:pt idx="43194">
                  <c:v>33670</c:v>
                </c:pt>
                <c:pt idx="43195">
                  <c:v>33670</c:v>
                </c:pt>
                <c:pt idx="43196">
                  <c:v>33670</c:v>
                </c:pt>
                <c:pt idx="43197">
                  <c:v>33669</c:v>
                </c:pt>
                <c:pt idx="43198">
                  <c:v>33669</c:v>
                </c:pt>
                <c:pt idx="43199">
                  <c:v>33669</c:v>
                </c:pt>
                <c:pt idx="43200">
                  <c:v>33669</c:v>
                </c:pt>
                <c:pt idx="43201">
                  <c:v>33669</c:v>
                </c:pt>
                <c:pt idx="43202">
                  <c:v>33669</c:v>
                </c:pt>
                <c:pt idx="43203">
                  <c:v>33669</c:v>
                </c:pt>
                <c:pt idx="43204">
                  <c:v>33669</c:v>
                </c:pt>
                <c:pt idx="43205">
                  <c:v>33669</c:v>
                </c:pt>
                <c:pt idx="43206">
                  <c:v>33669</c:v>
                </c:pt>
                <c:pt idx="43207">
                  <c:v>33669</c:v>
                </c:pt>
                <c:pt idx="43208">
                  <c:v>33668</c:v>
                </c:pt>
                <c:pt idx="43209">
                  <c:v>33668</c:v>
                </c:pt>
                <c:pt idx="43210">
                  <c:v>33668</c:v>
                </c:pt>
                <c:pt idx="43211">
                  <c:v>33667</c:v>
                </c:pt>
                <c:pt idx="43212">
                  <c:v>33667</c:v>
                </c:pt>
                <c:pt idx="43213">
                  <c:v>33667</c:v>
                </c:pt>
                <c:pt idx="43214">
                  <c:v>33666</c:v>
                </c:pt>
                <c:pt idx="43215">
                  <c:v>33666</c:v>
                </c:pt>
                <c:pt idx="43216">
                  <c:v>33666</c:v>
                </c:pt>
                <c:pt idx="43217">
                  <c:v>33666</c:v>
                </c:pt>
                <c:pt idx="43218">
                  <c:v>33666</c:v>
                </c:pt>
                <c:pt idx="43219">
                  <c:v>33666</c:v>
                </c:pt>
                <c:pt idx="43220">
                  <c:v>33666</c:v>
                </c:pt>
                <c:pt idx="43221">
                  <c:v>33665</c:v>
                </c:pt>
                <c:pt idx="43222">
                  <c:v>33665</c:v>
                </c:pt>
                <c:pt idx="43223">
                  <c:v>33665</c:v>
                </c:pt>
                <c:pt idx="43224">
                  <c:v>33665</c:v>
                </c:pt>
                <c:pt idx="43225">
                  <c:v>33665</c:v>
                </c:pt>
                <c:pt idx="43226">
                  <c:v>33665</c:v>
                </c:pt>
                <c:pt idx="43227">
                  <c:v>33664</c:v>
                </c:pt>
                <c:pt idx="43228">
                  <c:v>33664</c:v>
                </c:pt>
                <c:pt idx="43229">
                  <c:v>33664</c:v>
                </c:pt>
                <c:pt idx="43230">
                  <c:v>33664</c:v>
                </c:pt>
                <c:pt idx="43231">
                  <c:v>33664</c:v>
                </c:pt>
                <c:pt idx="43232">
                  <c:v>33663</c:v>
                </c:pt>
                <c:pt idx="43233">
                  <c:v>33663</c:v>
                </c:pt>
                <c:pt idx="43234">
                  <c:v>33663</c:v>
                </c:pt>
                <c:pt idx="43235">
                  <c:v>33663</c:v>
                </c:pt>
                <c:pt idx="43236">
                  <c:v>33663</c:v>
                </c:pt>
                <c:pt idx="43237">
                  <c:v>33663</c:v>
                </c:pt>
                <c:pt idx="43238">
                  <c:v>33663</c:v>
                </c:pt>
                <c:pt idx="43239">
                  <c:v>33663</c:v>
                </c:pt>
                <c:pt idx="43240">
                  <c:v>33663</c:v>
                </c:pt>
                <c:pt idx="43241">
                  <c:v>33663</c:v>
                </c:pt>
                <c:pt idx="43242">
                  <c:v>33663</c:v>
                </c:pt>
                <c:pt idx="43243">
                  <c:v>33663</c:v>
                </c:pt>
                <c:pt idx="43244">
                  <c:v>33663</c:v>
                </c:pt>
                <c:pt idx="43245">
                  <c:v>33663</c:v>
                </c:pt>
                <c:pt idx="43246">
                  <c:v>33663</c:v>
                </c:pt>
                <c:pt idx="43247">
                  <c:v>33662</c:v>
                </c:pt>
                <c:pt idx="43248">
                  <c:v>33662</c:v>
                </c:pt>
                <c:pt idx="43249">
                  <c:v>33662</c:v>
                </c:pt>
                <c:pt idx="43250">
                  <c:v>33662</c:v>
                </c:pt>
                <c:pt idx="43251">
                  <c:v>33662</c:v>
                </c:pt>
                <c:pt idx="43252">
                  <c:v>33662</c:v>
                </c:pt>
                <c:pt idx="43253">
                  <c:v>33661</c:v>
                </c:pt>
                <c:pt idx="43254">
                  <c:v>33661</c:v>
                </c:pt>
                <c:pt idx="43255">
                  <c:v>33661</c:v>
                </c:pt>
                <c:pt idx="43256">
                  <c:v>33661</c:v>
                </c:pt>
                <c:pt idx="43257">
                  <c:v>33661</c:v>
                </c:pt>
                <c:pt idx="43258">
                  <c:v>33661</c:v>
                </c:pt>
                <c:pt idx="43259">
                  <c:v>33660</c:v>
                </c:pt>
                <c:pt idx="43260">
                  <c:v>33660</c:v>
                </c:pt>
                <c:pt idx="43261">
                  <c:v>33660</c:v>
                </c:pt>
                <c:pt idx="43262">
                  <c:v>33660</c:v>
                </c:pt>
                <c:pt idx="43263">
                  <c:v>33660</c:v>
                </c:pt>
                <c:pt idx="43264">
                  <c:v>33660</c:v>
                </c:pt>
                <c:pt idx="43265">
                  <c:v>33660</c:v>
                </c:pt>
                <c:pt idx="43266">
                  <c:v>33660</c:v>
                </c:pt>
                <c:pt idx="43267">
                  <c:v>33659</c:v>
                </c:pt>
                <c:pt idx="43268">
                  <c:v>33659</c:v>
                </c:pt>
                <c:pt idx="43269">
                  <c:v>33659</c:v>
                </c:pt>
                <c:pt idx="43270">
                  <c:v>33659</c:v>
                </c:pt>
                <c:pt idx="43271">
                  <c:v>33659</c:v>
                </c:pt>
                <c:pt idx="43272">
                  <c:v>33659</c:v>
                </c:pt>
                <c:pt idx="43273">
                  <c:v>33659</c:v>
                </c:pt>
                <c:pt idx="43274">
                  <c:v>33659</c:v>
                </c:pt>
                <c:pt idx="43275">
                  <c:v>33659</c:v>
                </c:pt>
                <c:pt idx="43276">
                  <c:v>33659</c:v>
                </c:pt>
                <c:pt idx="43277">
                  <c:v>33659</c:v>
                </c:pt>
                <c:pt idx="43278">
                  <c:v>33658</c:v>
                </c:pt>
                <c:pt idx="43279">
                  <c:v>33658</c:v>
                </c:pt>
                <c:pt idx="43280">
                  <c:v>33658</c:v>
                </c:pt>
                <c:pt idx="43281">
                  <c:v>33658</c:v>
                </c:pt>
                <c:pt idx="43282">
                  <c:v>33658</c:v>
                </c:pt>
                <c:pt idx="43283">
                  <c:v>33657</c:v>
                </c:pt>
                <c:pt idx="43284">
                  <c:v>33657</c:v>
                </c:pt>
                <c:pt idx="43285">
                  <c:v>33657</c:v>
                </c:pt>
                <c:pt idx="43286">
                  <c:v>33657</c:v>
                </c:pt>
                <c:pt idx="43287">
                  <c:v>33657</c:v>
                </c:pt>
                <c:pt idx="43288">
                  <c:v>33657</c:v>
                </c:pt>
                <c:pt idx="43289">
                  <c:v>33657</c:v>
                </c:pt>
                <c:pt idx="43290">
                  <c:v>33657</c:v>
                </c:pt>
                <c:pt idx="43291">
                  <c:v>33656</c:v>
                </c:pt>
                <c:pt idx="43292">
                  <c:v>33656</c:v>
                </c:pt>
                <c:pt idx="43293">
                  <c:v>33655</c:v>
                </c:pt>
                <c:pt idx="43294">
                  <c:v>33655</c:v>
                </c:pt>
                <c:pt idx="43295">
                  <c:v>33655</c:v>
                </c:pt>
                <c:pt idx="43296">
                  <c:v>33655</c:v>
                </c:pt>
                <c:pt idx="43297">
                  <c:v>33654</c:v>
                </c:pt>
                <c:pt idx="43298">
                  <c:v>33654</c:v>
                </c:pt>
                <c:pt idx="43299">
                  <c:v>33654</c:v>
                </c:pt>
                <c:pt idx="43300">
                  <c:v>33654</c:v>
                </c:pt>
                <c:pt idx="43301">
                  <c:v>33653</c:v>
                </c:pt>
                <c:pt idx="43302">
                  <c:v>33653</c:v>
                </c:pt>
                <c:pt idx="43303">
                  <c:v>33653</c:v>
                </c:pt>
                <c:pt idx="43304">
                  <c:v>33653</c:v>
                </c:pt>
                <c:pt idx="43305">
                  <c:v>33652</c:v>
                </c:pt>
                <c:pt idx="43306">
                  <c:v>33652</c:v>
                </c:pt>
                <c:pt idx="43307">
                  <c:v>33651</c:v>
                </c:pt>
                <c:pt idx="43308">
                  <c:v>33651</c:v>
                </c:pt>
                <c:pt idx="43309">
                  <c:v>33651</c:v>
                </c:pt>
                <c:pt idx="43310">
                  <c:v>33651</c:v>
                </c:pt>
                <c:pt idx="43311">
                  <c:v>33651</c:v>
                </c:pt>
                <c:pt idx="43312">
                  <c:v>33651</c:v>
                </c:pt>
                <c:pt idx="43313">
                  <c:v>33651</c:v>
                </c:pt>
                <c:pt idx="43314">
                  <c:v>33650</c:v>
                </c:pt>
                <c:pt idx="43315">
                  <c:v>33650</c:v>
                </c:pt>
                <c:pt idx="43316">
                  <c:v>33650</c:v>
                </c:pt>
                <c:pt idx="43317">
                  <c:v>33650</c:v>
                </c:pt>
                <c:pt idx="43318">
                  <c:v>33650</c:v>
                </c:pt>
                <c:pt idx="43319">
                  <c:v>33650</c:v>
                </c:pt>
                <c:pt idx="43320">
                  <c:v>33650</c:v>
                </c:pt>
                <c:pt idx="43321">
                  <c:v>33650</c:v>
                </c:pt>
                <c:pt idx="43322">
                  <c:v>33650</c:v>
                </c:pt>
                <c:pt idx="43323">
                  <c:v>33649</c:v>
                </c:pt>
                <c:pt idx="43324">
                  <c:v>33649</c:v>
                </c:pt>
                <c:pt idx="43325">
                  <c:v>33649</c:v>
                </c:pt>
                <c:pt idx="43326">
                  <c:v>33649</c:v>
                </c:pt>
                <c:pt idx="43327">
                  <c:v>33649</c:v>
                </c:pt>
                <c:pt idx="43328">
                  <c:v>33649</c:v>
                </c:pt>
                <c:pt idx="43329">
                  <c:v>33649</c:v>
                </c:pt>
                <c:pt idx="43330">
                  <c:v>33649</c:v>
                </c:pt>
                <c:pt idx="43331">
                  <c:v>33649</c:v>
                </c:pt>
                <c:pt idx="43332">
                  <c:v>33648</c:v>
                </c:pt>
                <c:pt idx="43333">
                  <c:v>33648</c:v>
                </c:pt>
                <c:pt idx="43334">
                  <c:v>33648</c:v>
                </c:pt>
                <c:pt idx="43335">
                  <c:v>33648</c:v>
                </c:pt>
                <c:pt idx="43336">
                  <c:v>33648</c:v>
                </c:pt>
                <c:pt idx="43337">
                  <c:v>33648</c:v>
                </c:pt>
                <c:pt idx="43338">
                  <c:v>33648</c:v>
                </c:pt>
                <c:pt idx="43339">
                  <c:v>33648</c:v>
                </c:pt>
                <c:pt idx="43340">
                  <c:v>33647</c:v>
                </c:pt>
                <c:pt idx="43341">
                  <c:v>33647</c:v>
                </c:pt>
                <c:pt idx="43342">
                  <c:v>33647</c:v>
                </c:pt>
                <c:pt idx="43343">
                  <c:v>33647</c:v>
                </c:pt>
                <c:pt idx="43344">
                  <c:v>33647</c:v>
                </c:pt>
                <c:pt idx="43345">
                  <c:v>33647</c:v>
                </c:pt>
                <c:pt idx="43346">
                  <c:v>33646</c:v>
                </c:pt>
                <c:pt idx="43347">
                  <c:v>33646</c:v>
                </c:pt>
                <c:pt idx="43348">
                  <c:v>33646</c:v>
                </c:pt>
                <c:pt idx="43349">
                  <c:v>33646</c:v>
                </c:pt>
                <c:pt idx="43350">
                  <c:v>33646</c:v>
                </c:pt>
                <c:pt idx="43351">
                  <c:v>33646</c:v>
                </c:pt>
                <c:pt idx="43352">
                  <c:v>33646</c:v>
                </c:pt>
                <c:pt idx="43353">
                  <c:v>33646</c:v>
                </c:pt>
                <c:pt idx="43354">
                  <c:v>33646</c:v>
                </c:pt>
                <c:pt idx="43355">
                  <c:v>33645</c:v>
                </c:pt>
                <c:pt idx="43356">
                  <c:v>33645</c:v>
                </c:pt>
                <c:pt idx="43357">
                  <c:v>33645</c:v>
                </c:pt>
                <c:pt idx="43358">
                  <c:v>33645</c:v>
                </c:pt>
                <c:pt idx="43359">
                  <c:v>33644</c:v>
                </c:pt>
                <c:pt idx="43360">
                  <c:v>33644</c:v>
                </c:pt>
                <c:pt idx="43361">
                  <c:v>33644</c:v>
                </c:pt>
                <c:pt idx="43362">
                  <c:v>33644</c:v>
                </c:pt>
                <c:pt idx="43363">
                  <c:v>33644</c:v>
                </c:pt>
                <c:pt idx="43364">
                  <c:v>33644</c:v>
                </c:pt>
                <c:pt idx="43365">
                  <c:v>33644</c:v>
                </c:pt>
                <c:pt idx="43366">
                  <c:v>33644</c:v>
                </c:pt>
                <c:pt idx="43367">
                  <c:v>33644</c:v>
                </c:pt>
                <c:pt idx="43368">
                  <c:v>33643</c:v>
                </c:pt>
                <c:pt idx="43369">
                  <c:v>33643</c:v>
                </c:pt>
                <c:pt idx="43370">
                  <c:v>33643</c:v>
                </c:pt>
                <c:pt idx="43371">
                  <c:v>33643</c:v>
                </c:pt>
                <c:pt idx="43372">
                  <c:v>33643</c:v>
                </c:pt>
                <c:pt idx="43373">
                  <c:v>33642</c:v>
                </c:pt>
                <c:pt idx="43374">
                  <c:v>33642</c:v>
                </c:pt>
                <c:pt idx="43375">
                  <c:v>33642</c:v>
                </c:pt>
                <c:pt idx="43376">
                  <c:v>33642</c:v>
                </c:pt>
                <c:pt idx="43377">
                  <c:v>33642</c:v>
                </c:pt>
                <c:pt idx="43378">
                  <c:v>33642</c:v>
                </c:pt>
                <c:pt idx="43379">
                  <c:v>33642</c:v>
                </c:pt>
                <c:pt idx="43380">
                  <c:v>33641</c:v>
                </c:pt>
                <c:pt idx="43381">
                  <c:v>33641</c:v>
                </c:pt>
                <c:pt idx="43382">
                  <c:v>33641</c:v>
                </c:pt>
                <c:pt idx="43383">
                  <c:v>33641</c:v>
                </c:pt>
                <c:pt idx="43384">
                  <c:v>33640</c:v>
                </c:pt>
                <c:pt idx="43385">
                  <c:v>33640</c:v>
                </c:pt>
                <c:pt idx="43386">
                  <c:v>33640</c:v>
                </c:pt>
                <c:pt idx="43387">
                  <c:v>33640</c:v>
                </c:pt>
                <c:pt idx="43388">
                  <c:v>33640</c:v>
                </c:pt>
                <c:pt idx="43389">
                  <c:v>33640</c:v>
                </c:pt>
                <c:pt idx="43390">
                  <c:v>33640</c:v>
                </c:pt>
                <c:pt idx="43391">
                  <c:v>33639</c:v>
                </c:pt>
                <c:pt idx="43392">
                  <c:v>33639</c:v>
                </c:pt>
                <c:pt idx="43393">
                  <c:v>33639</c:v>
                </c:pt>
                <c:pt idx="43394">
                  <c:v>33639</c:v>
                </c:pt>
                <c:pt idx="43395">
                  <c:v>33639</c:v>
                </c:pt>
                <c:pt idx="43396">
                  <c:v>33638</c:v>
                </c:pt>
                <c:pt idx="43397">
                  <c:v>33638</c:v>
                </c:pt>
                <c:pt idx="43398">
                  <c:v>33638</c:v>
                </c:pt>
                <c:pt idx="43399">
                  <c:v>33638</c:v>
                </c:pt>
                <c:pt idx="43400">
                  <c:v>33638</c:v>
                </c:pt>
                <c:pt idx="43401">
                  <c:v>33638</c:v>
                </c:pt>
                <c:pt idx="43402">
                  <c:v>33638</c:v>
                </c:pt>
                <c:pt idx="43403">
                  <c:v>33638</c:v>
                </c:pt>
                <c:pt idx="43404">
                  <c:v>33638</c:v>
                </c:pt>
                <c:pt idx="43405">
                  <c:v>33637</c:v>
                </c:pt>
                <c:pt idx="43406">
                  <c:v>33637</c:v>
                </c:pt>
                <c:pt idx="43407">
                  <c:v>33637</c:v>
                </c:pt>
                <c:pt idx="43408">
                  <c:v>33637</c:v>
                </c:pt>
                <c:pt idx="43409">
                  <c:v>33637</c:v>
                </c:pt>
                <c:pt idx="43410">
                  <c:v>33637</c:v>
                </c:pt>
                <c:pt idx="43411">
                  <c:v>33637</c:v>
                </c:pt>
                <c:pt idx="43412">
                  <c:v>33637</c:v>
                </c:pt>
                <c:pt idx="43413">
                  <c:v>33637</c:v>
                </c:pt>
                <c:pt idx="43414">
                  <c:v>33637</c:v>
                </c:pt>
                <c:pt idx="43415">
                  <c:v>33637</c:v>
                </c:pt>
                <c:pt idx="43416">
                  <c:v>33637</c:v>
                </c:pt>
                <c:pt idx="43417">
                  <c:v>33637</c:v>
                </c:pt>
                <c:pt idx="43418">
                  <c:v>33637</c:v>
                </c:pt>
                <c:pt idx="43419">
                  <c:v>33637</c:v>
                </c:pt>
                <c:pt idx="43420">
                  <c:v>33636</c:v>
                </c:pt>
                <c:pt idx="43421">
                  <c:v>33636</c:v>
                </c:pt>
                <c:pt idx="43422">
                  <c:v>33636</c:v>
                </c:pt>
                <c:pt idx="43423">
                  <c:v>33636</c:v>
                </c:pt>
                <c:pt idx="43424">
                  <c:v>33636</c:v>
                </c:pt>
                <c:pt idx="43425">
                  <c:v>33636</c:v>
                </c:pt>
                <c:pt idx="43426">
                  <c:v>33635</c:v>
                </c:pt>
                <c:pt idx="43427">
                  <c:v>33635</c:v>
                </c:pt>
                <c:pt idx="43428">
                  <c:v>33635</c:v>
                </c:pt>
                <c:pt idx="43429">
                  <c:v>33635</c:v>
                </c:pt>
                <c:pt idx="43430">
                  <c:v>33635</c:v>
                </c:pt>
                <c:pt idx="43431">
                  <c:v>33635</c:v>
                </c:pt>
                <c:pt idx="43432">
                  <c:v>33635</c:v>
                </c:pt>
                <c:pt idx="43433">
                  <c:v>33634</c:v>
                </c:pt>
                <c:pt idx="43434">
                  <c:v>33634</c:v>
                </c:pt>
                <c:pt idx="43435">
                  <c:v>33634</c:v>
                </c:pt>
                <c:pt idx="43436">
                  <c:v>33634</c:v>
                </c:pt>
                <c:pt idx="43437">
                  <c:v>33634</c:v>
                </c:pt>
                <c:pt idx="43438">
                  <c:v>33634</c:v>
                </c:pt>
                <c:pt idx="43439">
                  <c:v>33634</c:v>
                </c:pt>
                <c:pt idx="43440">
                  <c:v>33634</c:v>
                </c:pt>
                <c:pt idx="43441">
                  <c:v>33634</c:v>
                </c:pt>
                <c:pt idx="43442">
                  <c:v>33633</c:v>
                </c:pt>
                <c:pt idx="43443">
                  <c:v>33633</c:v>
                </c:pt>
                <c:pt idx="43444">
                  <c:v>33633</c:v>
                </c:pt>
                <c:pt idx="43445">
                  <c:v>33633</c:v>
                </c:pt>
                <c:pt idx="43446">
                  <c:v>33633</c:v>
                </c:pt>
                <c:pt idx="43447">
                  <c:v>33633</c:v>
                </c:pt>
                <c:pt idx="43448">
                  <c:v>33633</c:v>
                </c:pt>
                <c:pt idx="43449">
                  <c:v>33633</c:v>
                </c:pt>
                <c:pt idx="43450">
                  <c:v>33632</c:v>
                </c:pt>
                <c:pt idx="43451">
                  <c:v>33632</c:v>
                </c:pt>
                <c:pt idx="43452">
                  <c:v>33632</c:v>
                </c:pt>
                <c:pt idx="43453">
                  <c:v>33632</c:v>
                </c:pt>
                <c:pt idx="43454">
                  <c:v>33631</c:v>
                </c:pt>
                <c:pt idx="43455">
                  <c:v>33631</c:v>
                </c:pt>
                <c:pt idx="43456">
                  <c:v>33631</c:v>
                </c:pt>
                <c:pt idx="43457">
                  <c:v>33631</c:v>
                </c:pt>
                <c:pt idx="43458">
                  <c:v>33631</c:v>
                </c:pt>
                <c:pt idx="43459">
                  <c:v>33630</c:v>
                </c:pt>
                <c:pt idx="43460">
                  <c:v>33630</c:v>
                </c:pt>
                <c:pt idx="43461">
                  <c:v>33630</c:v>
                </c:pt>
                <c:pt idx="43462">
                  <c:v>33630</c:v>
                </c:pt>
                <c:pt idx="43463">
                  <c:v>33630</c:v>
                </c:pt>
                <c:pt idx="43464">
                  <c:v>33630</c:v>
                </c:pt>
                <c:pt idx="43465">
                  <c:v>33630</c:v>
                </c:pt>
                <c:pt idx="43466">
                  <c:v>33628</c:v>
                </c:pt>
                <c:pt idx="43467">
                  <c:v>33628</c:v>
                </c:pt>
                <c:pt idx="43468">
                  <c:v>33628</c:v>
                </c:pt>
                <c:pt idx="43469">
                  <c:v>33628</c:v>
                </c:pt>
                <c:pt idx="43470">
                  <c:v>33628</c:v>
                </c:pt>
                <c:pt idx="43471">
                  <c:v>33628</c:v>
                </c:pt>
                <c:pt idx="43472">
                  <c:v>33628</c:v>
                </c:pt>
                <c:pt idx="43473">
                  <c:v>33628</c:v>
                </c:pt>
                <c:pt idx="43474">
                  <c:v>33628</c:v>
                </c:pt>
                <c:pt idx="43475">
                  <c:v>33627</c:v>
                </c:pt>
                <c:pt idx="43476">
                  <c:v>33627</c:v>
                </c:pt>
                <c:pt idx="43477">
                  <c:v>33627</c:v>
                </c:pt>
                <c:pt idx="43478">
                  <c:v>33627</c:v>
                </c:pt>
                <c:pt idx="43479">
                  <c:v>33627</c:v>
                </c:pt>
                <c:pt idx="43480">
                  <c:v>33627</c:v>
                </c:pt>
                <c:pt idx="43481">
                  <c:v>33626</c:v>
                </c:pt>
                <c:pt idx="43482">
                  <c:v>33626</c:v>
                </c:pt>
                <c:pt idx="43483">
                  <c:v>33626</c:v>
                </c:pt>
                <c:pt idx="43484">
                  <c:v>33626</c:v>
                </c:pt>
                <c:pt idx="43485">
                  <c:v>33626</c:v>
                </c:pt>
                <c:pt idx="43486">
                  <c:v>33626</c:v>
                </c:pt>
                <c:pt idx="43487">
                  <c:v>33626</c:v>
                </c:pt>
                <c:pt idx="43488">
                  <c:v>33626</c:v>
                </c:pt>
                <c:pt idx="43489">
                  <c:v>33626</c:v>
                </c:pt>
                <c:pt idx="43490">
                  <c:v>33625</c:v>
                </c:pt>
                <c:pt idx="43491">
                  <c:v>33625</c:v>
                </c:pt>
                <c:pt idx="43492">
                  <c:v>33625</c:v>
                </c:pt>
                <c:pt idx="43493">
                  <c:v>33624</c:v>
                </c:pt>
                <c:pt idx="43494">
                  <c:v>33624</c:v>
                </c:pt>
                <c:pt idx="43495">
                  <c:v>33624</c:v>
                </c:pt>
                <c:pt idx="43496">
                  <c:v>33624</c:v>
                </c:pt>
                <c:pt idx="43497">
                  <c:v>33624</c:v>
                </c:pt>
                <c:pt idx="43498">
                  <c:v>33624</c:v>
                </c:pt>
                <c:pt idx="43499">
                  <c:v>33623</c:v>
                </c:pt>
                <c:pt idx="43500">
                  <c:v>33623</c:v>
                </c:pt>
                <c:pt idx="43501">
                  <c:v>33623</c:v>
                </c:pt>
                <c:pt idx="43502">
                  <c:v>33622</c:v>
                </c:pt>
                <c:pt idx="43503">
                  <c:v>33622</c:v>
                </c:pt>
                <c:pt idx="43504">
                  <c:v>33622</c:v>
                </c:pt>
                <c:pt idx="43505">
                  <c:v>33622</c:v>
                </c:pt>
                <c:pt idx="43506">
                  <c:v>33622</c:v>
                </c:pt>
                <c:pt idx="43507">
                  <c:v>33622</c:v>
                </c:pt>
                <c:pt idx="43508">
                  <c:v>33622</c:v>
                </c:pt>
                <c:pt idx="43509">
                  <c:v>33621</c:v>
                </c:pt>
                <c:pt idx="43510">
                  <c:v>33621</c:v>
                </c:pt>
                <c:pt idx="43511">
                  <c:v>33621</c:v>
                </c:pt>
                <c:pt idx="43512">
                  <c:v>33621</c:v>
                </c:pt>
                <c:pt idx="43513">
                  <c:v>33621</c:v>
                </c:pt>
                <c:pt idx="43514">
                  <c:v>33621</c:v>
                </c:pt>
                <c:pt idx="43515">
                  <c:v>33621</c:v>
                </c:pt>
                <c:pt idx="43516">
                  <c:v>33621</c:v>
                </c:pt>
                <c:pt idx="43517">
                  <c:v>33621</c:v>
                </c:pt>
                <c:pt idx="43518">
                  <c:v>33620</c:v>
                </c:pt>
                <c:pt idx="43519">
                  <c:v>33620</c:v>
                </c:pt>
                <c:pt idx="43520">
                  <c:v>33620</c:v>
                </c:pt>
                <c:pt idx="43521">
                  <c:v>33620</c:v>
                </c:pt>
                <c:pt idx="43522">
                  <c:v>33620</c:v>
                </c:pt>
                <c:pt idx="43523">
                  <c:v>33620</c:v>
                </c:pt>
                <c:pt idx="43524">
                  <c:v>33620</c:v>
                </c:pt>
                <c:pt idx="43525">
                  <c:v>33619</c:v>
                </c:pt>
                <c:pt idx="43526">
                  <c:v>33619</c:v>
                </c:pt>
                <c:pt idx="43527">
                  <c:v>33619</c:v>
                </c:pt>
                <c:pt idx="43528">
                  <c:v>33619</c:v>
                </c:pt>
                <c:pt idx="43529">
                  <c:v>33619</c:v>
                </c:pt>
                <c:pt idx="43530">
                  <c:v>33619</c:v>
                </c:pt>
                <c:pt idx="43531">
                  <c:v>33619</c:v>
                </c:pt>
                <c:pt idx="43532">
                  <c:v>33619</c:v>
                </c:pt>
                <c:pt idx="43533">
                  <c:v>33619</c:v>
                </c:pt>
                <c:pt idx="43534">
                  <c:v>33618</c:v>
                </c:pt>
                <c:pt idx="43535">
                  <c:v>33618</c:v>
                </c:pt>
                <c:pt idx="43536">
                  <c:v>33618</c:v>
                </c:pt>
                <c:pt idx="43537">
                  <c:v>33618</c:v>
                </c:pt>
                <c:pt idx="43538">
                  <c:v>33618</c:v>
                </c:pt>
                <c:pt idx="43539">
                  <c:v>33618</c:v>
                </c:pt>
                <c:pt idx="43540">
                  <c:v>33618</c:v>
                </c:pt>
                <c:pt idx="43541">
                  <c:v>33618</c:v>
                </c:pt>
                <c:pt idx="43542">
                  <c:v>33618</c:v>
                </c:pt>
                <c:pt idx="43543">
                  <c:v>33618</c:v>
                </c:pt>
                <c:pt idx="43544">
                  <c:v>33618</c:v>
                </c:pt>
                <c:pt idx="43545">
                  <c:v>33617</c:v>
                </c:pt>
                <c:pt idx="43546">
                  <c:v>33617</c:v>
                </c:pt>
                <c:pt idx="43547">
                  <c:v>33617</c:v>
                </c:pt>
                <c:pt idx="43548">
                  <c:v>33617</c:v>
                </c:pt>
                <c:pt idx="43549">
                  <c:v>33617</c:v>
                </c:pt>
                <c:pt idx="43550">
                  <c:v>33617</c:v>
                </c:pt>
                <c:pt idx="43551">
                  <c:v>33617</c:v>
                </c:pt>
                <c:pt idx="43552">
                  <c:v>33616</c:v>
                </c:pt>
                <c:pt idx="43553">
                  <c:v>33616</c:v>
                </c:pt>
                <c:pt idx="43554">
                  <c:v>33616</c:v>
                </c:pt>
                <c:pt idx="43555">
                  <c:v>33616</c:v>
                </c:pt>
                <c:pt idx="43556">
                  <c:v>33616</c:v>
                </c:pt>
                <c:pt idx="43557">
                  <c:v>33616</c:v>
                </c:pt>
                <c:pt idx="43558">
                  <c:v>33616</c:v>
                </c:pt>
                <c:pt idx="43559">
                  <c:v>33616</c:v>
                </c:pt>
                <c:pt idx="43560">
                  <c:v>33616</c:v>
                </c:pt>
                <c:pt idx="43561">
                  <c:v>33615</c:v>
                </c:pt>
                <c:pt idx="43562">
                  <c:v>33615</c:v>
                </c:pt>
                <c:pt idx="43563">
                  <c:v>33615</c:v>
                </c:pt>
                <c:pt idx="43564">
                  <c:v>33615</c:v>
                </c:pt>
                <c:pt idx="43565">
                  <c:v>33615</c:v>
                </c:pt>
                <c:pt idx="43566">
                  <c:v>33615</c:v>
                </c:pt>
                <c:pt idx="43567">
                  <c:v>33615</c:v>
                </c:pt>
                <c:pt idx="43568">
                  <c:v>33615</c:v>
                </c:pt>
                <c:pt idx="43569">
                  <c:v>33615</c:v>
                </c:pt>
                <c:pt idx="43570">
                  <c:v>33615</c:v>
                </c:pt>
                <c:pt idx="43571">
                  <c:v>33614</c:v>
                </c:pt>
                <c:pt idx="43572">
                  <c:v>33614</c:v>
                </c:pt>
                <c:pt idx="43573">
                  <c:v>33614</c:v>
                </c:pt>
                <c:pt idx="43574">
                  <c:v>33614</c:v>
                </c:pt>
                <c:pt idx="43575">
                  <c:v>33614</c:v>
                </c:pt>
                <c:pt idx="43576">
                  <c:v>33614</c:v>
                </c:pt>
                <c:pt idx="43577">
                  <c:v>33614</c:v>
                </c:pt>
                <c:pt idx="43578">
                  <c:v>33614</c:v>
                </c:pt>
                <c:pt idx="43579">
                  <c:v>33613</c:v>
                </c:pt>
                <c:pt idx="43580">
                  <c:v>33613</c:v>
                </c:pt>
                <c:pt idx="43581">
                  <c:v>33613</c:v>
                </c:pt>
                <c:pt idx="43582">
                  <c:v>33612</c:v>
                </c:pt>
                <c:pt idx="43583">
                  <c:v>33612</c:v>
                </c:pt>
                <c:pt idx="43584">
                  <c:v>33612</c:v>
                </c:pt>
                <c:pt idx="43585">
                  <c:v>33611</c:v>
                </c:pt>
                <c:pt idx="43586">
                  <c:v>33611</c:v>
                </c:pt>
                <c:pt idx="43587">
                  <c:v>33611</c:v>
                </c:pt>
                <c:pt idx="43588">
                  <c:v>33611</c:v>
                </c:pt>
                <c:pt idx="43589">
                  <c:v>33611</c:v>
                </c:pt>
                <c:pt idx="43590">
                  <c:v>33611</c:v>
                </c:pt>
                <c:pt idx="43591">
                  <c:v>33611</c:v>
                </c:pt>
                <c:pt idx="43592">
                  <c:v>33611</c:v>
                </c:pt>
                <c:pt idx="43593">
                  <c:v>33611</c:v>
                </c:pt>
                <c:pt idx="43594">
                  <c:v>33611</c:v>
                </c:pt>
                <c:pt idx="43595">
                  <c:v>33610</c:v>
                </c:pt>
                <c:pt idx="43596">
                  <c:v>33610</c:v>
                </c:pt>
                <c:pt idx="43597">
                  <c:v>33610</c:v>
                </c:pt>
                <c:pt idx="43598">
                  <c:v>33610</c:v>
                </c:pt>
                <c:pt idx="43599">
                  <c:v>33610</c:v>
                </c:pt>
                <c:pt idx="43600">
                  <c:v>33610</c:v>
                </c:pt>
                <c:pt idx="43601">
                  <c:v>33610</c:v>
                </c:pt>
                <c:pt idx="43602">
                  <c:v>33609</c:v>
                </c:pt>
                <c:pt idx="43603">
                  <c:v>33609</c:v>
                </c:pt>
                <c:pt idx="43604">
                  <c:v>33609</c:v>
                </c:pt>
                <c:pt idx="43605">
                  <c:v>33609</c:v>
                </c:pt>
                <c:pt idx="43606">
                  <c:v>33609</c:v>
                </c:pt>
                <c:pt idx="43607">
                  <c:v>33609</c:v>
                </c:pt>
                <c:pt idx="43608">
                  <c:v>33609</c:v>
                </c:pt>
                <c:pt idx="43609">
                  <c:v>33609</c:v>
                </c:pt>
                <c:pt idx="43610">
                  <c:v>33609</c:v>
                </c:pt>
                <c:pt idx="43611">
                  <c:v>33609</c:v>
                </c:pt>
                <c:pt idx="43612">
                  <c:v>33609</c:v>
                </c:pt>
                <c:pt idx="43613">
                  <c:v>33609</c:v>
                </c:pt>
                <c:pt idx="43614">
                  <c:v>33608</c:v>
                </c:pt>
                <c:pt idx="43615">
                  <c:v>33608</c:v>
                </c:pt>
                <c:pt idx="43616">
                  <c:v>33608</c:v>
                </c:pt>
                <c:pt idx="43617">
                  <c:v>33608</c:v>
                </c:pt>
                <c:pt idx="43618">
                  <c:v>33608</c:v>
                </c:pt>
                <c:pt idx="43619">
                  <c:v>33608</c:v>
                </c:pt>
                <c:pt idx="43620">
                  <c:v>33608</c:v>
                </c:pt>
                <c:pt idx="43621">
                  <c:v>33608</c:v>
                </c:pt>
                <c:pt idx="43622">
                  <c:v>33608</c:v>
                </c:pt>
                <c:pt idx="43623">
                  <c:v>33608</c:v>
                </c:pt>
                <c:pt idx="43624">
                  <c:v>33607</c:v>
                </c:pt>
                <c:pt idx="43625">
                  <c:v>33607</c:v>
                </c:pt>
                <c:pt idx="43626">
                  <c:v>33607</c:v>
                </c:pt>
                <c:pt idx="43627">
                  <c:v>33607</c:v>
                </c:pt>
                <c:pt idx="43628">
                  <c:v>33607</c:v>
                </c:pt>
                <c:pt idx="43629">
                  <c:v>33607</c:v>
                </c:pt>
                <c:pt idx="43630">
                  <c:v>33607</c:v>
                </c:pt>
                <c:pt idx="43631">
                  <c:v>33606</c:v>
                </c:pt>
                <c:pt idx="43632">
                  <c:v>33606</c:v>
                </c:pt>
                <c:pt idx="43633">
                  <c:v>33606</c:v>
                </c:pt>
                <c:pt idx="43634">
                  <c:v>33606</c:v>
                </c:pt>
                <c:pt idx="43635">
                  <c:v>33606</c:v>
                </c:pt>
                <c:pt idx="43636">
                  <c:v>33606</c:v>
                </c:pt>
                <c:pt idx="43637">
                  <c:v>33606</c:v>
                </c:pt>
                <c:pt idx="43638">
                  <c:v>33606</c:v>
                </c:pt>
                <c:pt idx="43639">
                  <c:v>33605</c:v>
                </c:pt>
                <c:pt idx="43640">
                  <c:v>33605</c:v>
                </c:pt>
                <c:pt idx="43641">
                  <c:v>33605</c:v>
                </c:pt>
                <c:pt idx="43642">
                  <c:v>33605</c:v>
                </c:pt>
                <c:pt idx="43643">
                  <c:v>33605</c:v>
                </c:pt>
                <c:pt idx="43644">
                  <c:v>33605</c:v>
                </c:pt>
                <c:pt idx="43645">
                  <c:v>33605</c:v>
                </c:pt>
                <c:pt idx="43646">
                  <c:v>33605</c:v>
                </c:pt>
                <c:pt idx="43647">
                  <c:v>33605</c:v>
                </c:pt>
                <c:pt idx="43648">
                  <c:v>33604</c:v>
                </c:pt>
                <c:pt idx="43649">
                  <c:v>33604</c:v>
                </c:pt>
                <c:pt idx="43650">
                  <c:v>33604</c:v>
                </c:pt>
                <c:pt idx="43651">
                  <c:v>33604</c:v>
                </c:pt>
                <c:pt idx="43652">
                  <c:v>33604</c:v>
                </c:pt>
                <c:pt idx="43653">
                  <c:v>33604</c:v>
                </c:pt>
                <c:pt idx="43654">
                  <c:v>33604</c:v>
                </c:pt>
                <c:pt idx="43655">
                  <c:v>33603</c:v>
                </c:pt>
                <c:pt idx="43656">
                  <c:v>33603</c:v>
                </c:pt>
                <c:pt idx="43657">
                  <c:v>33603</c:v>
                </c:pt>
                <c:pt idx="43658">
                  <c:v>33603</c:v>
                </c:pt>
                <c:pt idx="43659">
                  <c:v>33603</c:v>
                </c:pt>
                <c:pt idx="43660">
                  <c:v>33603</c:v>
                </c:pt>
                <c:pt idx="43661">
                  <c:v>33603</c:v>
                </c:pt>
                <c:pt idx="43662">
                  <c:v>33603</c:v>
                </c:pt>
                <c:pt idx="43663">
                  <c:v>33603</c:v>
                </c:pt>
                <c:pt idx="43664">
                  <c:v>33603</c:v>
                </c:pt>
                <c:pt idx="43665">
                  <c:v>33603</c:v>
                </c:pt>
                <c:pt idx="43666">
                  <c:v>33602</c:v>
                </c:pt>
                <c:pt idx="43667">
                  <c:v>33602</c:v>
                </c:pt>
                <c:pt idx="43668">
                  <c:v>33602</c:v>
                </c:pt>
                <c:pt idx="43669">
                  <c:v>33601</c:v>
                </c:pt>
                <c:pt idx="43670">
                  <c:v>33601</c:v>
                </c:pt>
                <c:pt idx="43671">
                  <c:v>33601</c:v>
                </c:pt>
                <c:pt idx="43672">
                  <c:v>33601</c:v>
                </c:pt>
                <c:pt idx="43673">
                  <c:v>33601</c:v>
                </c:pt>
                <c:pt idx="43674">
                  <c:v>33601</c:v>
                </c:pt>
                <c:pt idx="43675">
                  <c:v>33600</c:v>
                </c:pt>
                <c:pt idx="43676">
                  <c:v>33600</c:v>
                </c:pt>
                <c:pt idx="43677">
                  <c:v>33600</c:v>
                </c:pt>
                <c:pt idx="43678">
                  <c:v>33600</c:v>
                </c:pt>
                <c:pt idx="43679">
                  <c:v>33599</c:v>
                </c:pt>
                <c:pt idx="43680">
                  <c:v>33599</c:v>
                </c:pt>
                <c:pt idx="43681">
                  <c:v>33599</c:v>
                </c:pt>
                <c:pt idx="43682">
                  <c:v>33599</c:v>
                </c:pt>
                <c:pt idx="43683">
                  <c:v>33599</c:v>
                </c:pt>
                <c:pt idx="43684">
                  <c:v>33598</c:v>
                </c:pt>
                <c:pt idx="43685">
                  <c:v>33598</c:v>
                </c:pt>
                <c:pt idx="43686">
                  <c:v>33598</c:v>
                </c:pt>
                <c:pt idx="43687">
                  <c:v>33598</c:v>
                </c:pt>
                <c:pt idx="43688">
                  <c:v>33598</c:v>
                </c:pt>
                <c:pt idx="43689">
                  <c:v>33598</c:v>
                </c:pt>
                <c:pt idx="43690">
                  <c:v>33597</c:v>
                </c:pt>
                <c:pt idx="43691">
                  <c:v>33597</c:v>
                </c:pt>
                <c:pt idx="43692">
                  <c:v>33597</c:v>
                </c:pt>
                <c:pt idx="43693">
                  <c:v>33597</c:v>
                </c:pt>
                <c:pt idx="43694">
                  <c:v>33597</c:v>
                </c:pt>
                <c:pt idx="43695">
                  <c:v>33597</c:v>
                </c:pt>
                <c:pt idx="43696">
                  <c:v>33597</c:v>
                </c:pt>
                <c:pt idx="43697">
                  <c:v>33597</c:v>
                </c:pt>
                <c:pt idx="43698">
                  <c:v>33597</c:v>
                </c:pt>
                <c:pt idx="43699">
                  <c:v>33597</c:v>
                </c:pt>
                <c:pt idx="43700">
                  <c:v>33596</c:v>
                </c:pt>
                <c:pt idx="43701">
                  <c:v>33596</c:v>
                </c:pt>
                <c:pt idx="43702">
                  <c:v>33596</c:v>
                </c:pt>
                <c:pt idx="43703">
                  <c:v>33596</c:v>
                </c:pt>
                <c:pt idx="43704">
                  <c:v>33596</c:v>
                </c:pt>
                <c:pt idx="43705">
                  <c:v>33596</c:v>
                </c:pt>
                <c:pt idx="43706">
                  <c:v>33596</c:v>
                </c:pt>
                <c:pt idx="43707">
                  <c:v>33596</c:v>
                </c:pt>
                <c:pt idx="43708">
                  <c:v>33596</c:v>
                </c:pt>
                <c:pt idx="43709">
                  <c:v>33596</c:v>
                </c:pt>
                <c:pt idx="43710">
                  <c:v>33596</c:v>
                </c:pt>
                <c:pt idx="43711">
                  <c:v>33596</c:v>
                </c:pt>
                <c:pt idx="43712">
                  <c:v>33596</c:v>
                </c:pt>
                <c:pt idx="43713">
                  <c:v>33595</c:v>
                </c:pt>
                <c:pt idx="43714">
                  <c:v>33595</c:v>
                </c:pt>
                <c:pt idx="43715">
                  <c:v>33595</c:v>
                </c:pt>
                <c:pt idx="43716">
                  <c:v>33595</c:v>
                </c:pt>
                <c:pt idx="43717">
                  <c:v>33595</c:v>
                </c:pt>
                <c:pt idx="43718">
                  <c:v>33595</c:v>
                </c:pt>
                <c:pt idx="43719">
                  <c:v>33595</c:v>
                </c:pt>
                <c:pt idx="43720">
                  <c:v>33595</c:v>
                </c:pt>
                <c:pt idx="43721">
                  <c:v>33595</c:v>
                </c:pt>
                <c:pt idx="43722">
                  <c:v>33595</c:v>
                </c:pt>
                <c:pt idx="43723">
                  <c:v>33595</c:v>
                </c:pt>
                <c:pt idx="43724">
                  <c:v>33594</c:v>
                </c:pt>
                <c:pt idx="43725">
                  <c:v>33594</c:v>
                </c:pt>
                <c:pt idx="43726">
                  <c:v>33594</c:v>
                </c:pt>
                <c:pt idx="43727">
                  <c:v>33594</c:v>
                </c:pt>
                <c:pt idx="43728">
                  <c:v>33594</c:v>
                </c:pt>
                <c:pt idx="43729">
                  <c:v>33594</c:v>
                </c:pt>
                <c:pt idx="43730">
                  <c:v>33593</c:v>
                </c:pt>
                <c:pt idx="43731">
                  <c:v>33593</c:v>
                </c:pt>
                <c:pt idx="43732">
                  <c:v>33593</c:v>
                </c:pt>
                <c:pt idx="43733">
                  <c:v>33593</c:v>
                </c:pt>
                <c:pt idx="43734">
                  <c:v>33593</c:v>
                </c:pt>
                <c:pt idx="43735">
                  <c:v>33593</c:v>
                </c:pt>
                <c:pt idx="43736">
                  <c:v>33592</c:v>
                </c:pt>
                <c:pt idx="43737">
                  <c:v>33592</c:v>
                </c:pt>
                <c:pt idx="43738">
                  <c:v>33592</c:v>
                </c:pt>
                <c:pt idx="43739">
                  <c:v>33592</c:v>
                </c:pt>
                <c:pt idx="43740">
                  <c:v>33592</c:v>
                </c:pt>
                <c:pt idx="43741">
                  <c:v>33591</c:v>
                </c:pt>
                <c:pt idx="43742">
                  <c:v>33591</c:v>
                </c:pt>
                <c:pt idx="43743">
                  <c:v>33591</c:v>
                </c:pt>
                <c:pt idx="43744">
                  <c:v>33591</c:v>
                </c:pt>
                <c:pt idx="43745">
                  <c:v>33591</c:v>
                </c:pt>
                <c:pt idx="43746">
                  <c:v>33591</c:v>
                </c:pt>
                <c:pt idx="43747">
                  <c:v>33591</c:v>
                </c:pt>
                <c:pt idx="43748">
                  <c:v>33591</c:v>
                </c:pt>
                <c:pt idx="43749">
                  <c:v>33590</c:v>
                </c:pt>
                <c:pt idx="43750">
                  <c:v>33590</c:v>
                </c:pt>
                <c:pt idx="43751">
                  <c:v>33590</c:v>
                </c:pt>
                <c:pt idx="43752">
                  <c:v>33590</c:v>
                </c:pt>
                <c:pt idx="43753">
                  <c:v>33590</c:v>
                </c:pt>
                <c:pt idx="43754">
                  <c:v>33590</c:v>
                </c:pt>
                <c:pt idx="43755">
                  <c:v>33589</c:v>
                </c:pt>
                <c:pt idx="43756">
                  <c:v>33589</c:v>
                </c:pt>
                <c:pt idx="43757">
                  <c:v>33589</c:v>
                </c:pt>
                <c:pt idx="43758">
                  <c:v>33589</c:v>
                </c:pt>
                <c:pt idx="43759">
                  <c:v>33589</c:v>
                </c:pt>
                <c:pt idx="43760">
                  <c:v>33589</c:v>
                </c:pt>
                <c:pt idx="43761">
                  <c:v>33589</c:v>
                </c:pt>
                <c:pt idx="43762">
                  <c:v>33589</c:v>
                </c:pt>
                <c:pt idx="43763">
                  <c:v>33589</c:v>
                </c:pt>
                <c:pt idx="43764">
                  <c:v>33589</c:v>
                </c:pt>
                <c:pt idx="43765">
                  <c:v>33588</c:v>
                </c:pt>
                <c:pt idx="43766">
                  <c:v>33588</c:v>
                </c:pt>
                <c:pt idx="43767">
                  <c:v>33588</c:v>
                </c:pt>
                <c:pt idx="43768">
                  <c:v>33588</c:v>
                </c:pt>
                <c:pt idx="43769">
                  <c:v>33588</c:v>
                </c:pt>
                <c:pt idx="43770">
                  <c:v>33588</c:v>
                </c:pt>
                <c:pt idx="43771">
                  <c:v>33588</c:v>
                </c:pt>
                <c:pt idx="43772">
                  <c:v>33588</c:v>
                </c:pt>
                <c:pt idx="43773">
                  <c:v>33588</c:v>
                </c:pt>
                <c:pt idx="43774">
                  <c:v>33587</c:v>
                </c:pt>
                <c:pt idx="43775">
                  <c:v>33587</c:v>
                </c:pt>
                <c:pt idx="43776">
                  <c:v>33587</c:v>
                </c:pt>
                <c:pt idx="43777">
                  <c:v>33587</c:v>
                </c:pt>
                <c:pt idx="43778">
                  <c:v>33587</c:v>
                </c:pt>
                <c:pt idx="43779">
                  <c:v>33587</c:v>
                </c:pt>
                <c:pt idx="43780">
                  <c:v>33587</c:v>
                </c:pt>
                <c:pt idx="43781">
                  <c:v>33587</c:v>
                </c:pt>
                <c:pt idx="43782">
                  <c:v>33587</c:v>
                </c:pt>
                <c:pt idx="43783">
                  <c:v>33587</c:v>
                </c:pt>
                <c:pt idx="43784">
                  <c:v>33587</c:v>
                </c:pt>
                <c:pt idx="43785">
                  <c:v>33586</c:v>
                </c:pt>
                <c:pt idx="43786">
                  <c:v>33586</c:v>
                </c:pt>
                <c:pt idx="43787">
                  <c:v>33586</c:v>
                </c:pt>
                <c:pt idx="43788">
                  <c:v>33586</c:v>
                </c:pt>
                <c:pt idx="43789">
                  <c:v>33586</c:v>
                </c:pt>
                <c:pt idx="43790">
                  <c:v>33586</c:v>
                </c:pt>
                <c:pt idx="43791">
                  <c:v>33586</c:v>
                </c:pt>
                <c:pt idx="43792">
                  <c:v>33585</c:v>
                </c:pt>
                <c:pt idx="43793">
                  <c:v>33585</c:v>
                </c:pt>
                <c:pt idx="43794">
                  <c:v>33584</c:v>
                </c:pt>
                <c:pt idx="43795">
                  <c:v>33584</c:v>
                </c:pt>
                <c:pt idx="43796">
                  <c:v>33584</c:v>
                </c:pt>
                <c:pt idx="43797">
                  <c:v>33584</c:v>
                </c:pt>
                <c:pt idx="43798">
                  <c:v>33584</c:v>
                </c:pt>
                <c:pt idx="43799">
                  <c:v>33584</c:v>
                </c:pt>
                <c:pt idx="43800">
                  <c:v>33584</c:v>
                </c:pt>
                <c:pt idx="43801">
                  <c:v>33584</c:v>
                </c:pt>
                <c:pt idx="43802">
                  <c:v>33584</c:v>
                </c:pt>
                <c:pt idx="43803">
                  <c:v>33584</c:v>
                </c:pt>
                <c:pt idx="43804">
                  <c:v>33584</c:v>
                </c:pt>
                <c:pt idx="43805">
                  <c:v>33583</c:v>
                </c:pt>
                <c:pt idx="43806">
                  <c:v>33583</c:v>
                </c:pt>
                <c:pt idx="43807">
                  <c:v>33583</c:v>
                </c:pt>
                <c:pt idx="43808">
                  <c:v>33583</c:v>
                </c:pt>
                <c:pt idx="43809">
                  <c:v>33583</c:v>
                </c:pt>
                <c:pt idx="43810">
                  <c:v>33583</c:v>
                </c:pt>
                <c:pt idx="43811">
                  <c:v>33583</c:v>
                </c:pt>
                <c:pt idx="43812">
                  <c:v>33583</c:v>
                </c:pt>
                <c:pt idx="43813">
                  <c:v>33583</c:v>
                </c:pt>
                <c:pt idx="43814">
                  <c:v>33583</c:v>
                </c:pt>
                <c:pt idx="43815">
                  <c:v>33583</c:v>
                </c:pt>
                <c:pt idx="43816">
                  <c:v>33582</c:v>
                </c:pt>
                <c:pt idx="43817">
                  <c:v>33582</c:v>
                </c:pt>
                <c:pt idx="43818">
                  <c:v>33582</c:v>
                </c:pt>
                <c:pt idx="43819">
                  <c:v>33582</c:v>
                </c:pt>
                <c:pt idx="43820">
                  <c:v>33582</c:v>
                </c:pt>
                <c:pt idx="43821">
                  <c:v>33582</c:v>
                </c:pt>
                <c:pt idx="43822">
                  <c:v>33582</c:v>
                </c:pt>
                <c:pt idx="43823">
                  <c:v>33582</c:v>
                </c:pt>
                <c:pt idx="43824">
                  <c:v>33582</c:v>
                </c:pt>
                <c:pt idx="43825">
                  <c:v>33581</c:v>
                </c:pt>
                <c:pt idx="43826">
                  <c:v>33581</c:v>
                </c:pt>
                <c:pt idx="43827">
                  <c:v>33581</c:v>
                </c:pt>
                <c:pt idx="43828">
                  <c:v>33581</c:v>
                </c:pt>
                <c:pt idx="43829">
                  <c:v>33581</c:v>
                </c:pt>
                <c:pt idx="43830">
                  <c:v>33581</c:v>
                </c:pt>
                <c:pt idx="43831">
                  <c:v>33580</c:v>
                </c:pt>
                <c:pt idx="43832">
                  <c:v>33580</c:v>
                </c:pt>
                <c:pt idx="43833">
                  <c:v>33580</c:v>
                </c:pt>
                <c:pt idx="43834">
                  <c:v>33580</c:v>
                </c:pt>
                <c:pt idx="43835">
                  <c:v>33579</c:v>
                </c:pt>
                <c:pt idx="43836">
                  <c:v>33579</c:v>
                </c:pt>
                <c:pt idx="43837">
                  <c:v>33579</c:v>
                </c:pt>
                <c:pt idx="43838">
                  <c:v>33579</c:v>
                </c:pt>
                <c:pt idx="43839">
                  <c:v>33578</c:v>
                </c:pt>
                <c:pt idx="43840">
                  <c:v>33578</c:v>
                </c:pt>
                <c:pt idx="43841">
                  <c:v>33578</c:v>
                </c:pt>
                <c:pt idx="43842">
                  <c:v>33578</c:v>
                </c:pt>
                <c:pt idx="43843">
                  <c:v>33578</c:v>
                </c:pt>
                <c:pt idx="43844">
                  <c:v>33578</c:v>
                </c:pt>
                <c:pt idx="43845">
                  <c:v>33578</c:v>
                </c:pt>
                <c:pt idx="43846">
                  <c:v>33578</c:v>
                </c:pt>
                <c:pt idx="43847">
                  <c:v>33578</c:v>
                </c:pt>
                <c:pt idx="43848">
                  <c:v>33577</c:v>
                </c:pt>
                <c:pt idx="43849">
                  <c:v>33577</c:v>
                </c:pt>
                <c:pt idx="43850">
                  <c:v>33577</c:v>
                </c:pt>
                <c:pt idx="43851">
                  <c:v>33577</c:v>
                </c:pt>
                <c:pt idx="43852">
                  <c:v>33577</c:v>
                </c:pt>
                <c:pt idx="43853">
                  <c:v>33577</c:v>
                </c:pt>
                <c:pt idx="43854">
                  <c:v>33577</c:v>
                </c:pt>
                <c:pt idx="43855">
                  <c:v>33576</c:v>
                </c:pt>
                <c:pt idx="43856">
                  <c:v>33576</c:v>
                </c:pt>
                <c:pt idx="43857">
                  <c:v>33576</c:v>
                </c:pt>
                <c:pt idx="43858">
                  <c:v>33576</c:v>
                </c:pt>
                <c:pt idx="43859">
                  <c:v>33576</c:v>
                </c:pt>
                <c:pt idx="43860">
                  <c:v>33576</c:v>
                </c:pt>
                <c:pt idx="43861">
                  <c:v>33576</c:v>
                </c:pt>
                <c:pt idx="43862">
                  <c:v>33576</c:v>
                </c:pt>
                <c:pt idx="43863">
                  <c:v>33576</c:v>
                </c:pt>
                <c:pt idx="43864">
                  <c:v>33576</c:v>
                </c:pt>
                <c:pt idx="43865">
                  <c:v>33576</c:v>
                </c:pt>
                <c:pt idx="43866">
                  <c:v>33576</c:v>
                </c:pt>
                <c:pt idx="43867">
                  <c:v>33576</c:v>
                </c:pt>
                <c:pt idx="43868">
                  <c:v>33575</c:v>
                </c:pt>
                <c:pt idx="43869">
                  <c:v>33575</c:v>
                </c:pt>
                <c:pt idx="43870">
                  <c:v>33575</c:v>
                </c:pt>
                <c:pt idx="43871">
                  <c:v>33575</c:v>
                </c:pt>
                <c:pt idx="43872">
                  <c:v>33575</c:v>
                </c:pt>
                <c:pt idx="43873">
                  <c:v>33575</c:v>
                </c:pt>
                <c:pt idx="43874">
                  <c:v>33575</c:v>
                </c:pt>
                <c:pt idx="43875">
                  <c:v>33575</c:v>
                </c:pt>
                <c:pt idx="43876">
                  <c:v>33575</c:v>
                </c:pt>
                <c:pt idx="43877">
                  <c:v>33575</c:v>
                </c:pt>
                <c:pt idx="43878">
                  <c:v>33574</c:v>
                </c:pt>
                <c:pt idx="43879">
                  <c:v>33574</c:v>
                </c:pt>
                <c:pt idx="43880">
                  <c:v>33574</c:v>
                </c:pt>
                <c:pt idx="43881">
                  <c:v>33574</c:v>
                </c:pt>
                <c:pt idx="43882">
                  <c:v>33574</c:v>
                </c:pt>
                <c:pt idx="43883">
                  <c:v>33574</c:v>
                </c:pt>
                <c:pt idx="43884">
                  <c:v>33573</c:v>
                </c:pt>
                <c:pt idx="43885">
                  <c:v>33573</c:v>
                </c:pt>
                <c:pt idx="43886">
                  <c:v>33573</c:v>
                </c:pt>
                <c:pt idx="43887">
                  <c:v>33573</c:v>
                </c:pt>
                <c:pt idx="43888">
                  <c:v>33573</c:v>
                </c:pt>
                <c:pt idx="43889">
                  <c:v>33573</c:v>
                </c:pt>
                <c:pt idx="43890">
                  <c:v>33573</c:v>
                </c:pt>
                <c:pt idx="43891">
                  <c:v>33573</c:v>
                </c:pt>
                <c:pt idx="43892">
                  <c:v>33572</c:v>
                </c:pt>
                <c:pt idx="43893">
                  <c:v>33572</c:v>
                </c:pt>
                <c:pt idx="43894">
                  <c:v>33572</c:v>
                </c:pt>
                <c:pt idx="43895">
                  <c:v>33572</c:v>
                </c:pt>
                <c:pt idx="43896">
                  <c:v>33572</c:v>
                </c:pt>
                <c:pt idx="43897">
                  <c:v>33572</c:v>
                </c:pt>
                <c:pt idx="43898">
                  <c:v>33572</c:v>
                </c:pt>
                <c:pt idx="43899">
                  <c:v>33572</c:v>
                </c:pt>
                <c:pt idx="43900">
                  <c:v>33572</c:v>
                </c:pt>
                <c:pt idx="43901">
                  <c:v>33571</c:v>
                </c:pt>
                <c:pt idx="43902">
                  <c:v>33571</c:v>
                </c:pt>
                <c:pt idx="43903">
                  <c:v>33571</c:v>
                </c:pt>
                <c:pt idx="43904">
                  <c:v>33571</c:v>
                </c:pt>
                <c:pt idx="43905">
                  <c:v>33571</c:v>
                </c:pt>
                <c:pt idx="43906">
                  <c:v>33571</c:v>
                </c:pt>
                <c:pt idx="43907">
                  <c:v>33571</c:v>
                </c:pt>
                <c:pt idx="43908">
                  <c:v>33571</c:v>
                </c:pt>
                <c:pt idx="43909">
                  <c:v>33570</c:v>
                </c:pt>
                <c:pt idx="43910">
                  <c:v>33570</c:v>
                </c:pt>
                <c:pt idx="43911">
                  <c:v>33570</c:v>
                </c:pt>
                <c:pt idx="43912">
                  <c:v>33570</c:v>
                </c:pt>
                <c:pt idx="43913">
                  <c:v>33570</c:v>
                </c:pt>
                <c:pt idx="43914">
                  <c:v>33569</c:v>
                </c:pt>
                <c:pt idx="43915">
                  <c:v>33569</c:v>
                </c:pt>
                <c:pt idx="43916">
                  <c:v>33569</c:v>
                </c:pt>
                <c:pt idx="43917">
                  <c:v>33569</c:v>
                </c:pt>
                <c:pt idx="43918">
                  <c:v>33569</c:v>
                </c:pt>
                <c:pt idx="43919">
                  <c:v>33569</c:v>
                </c:pt>
                <c:pt idx="43920">
                  <c:v>33568</c:v>
                </c:pt>
                <c:pt idx="43921">
                  <c:v>33568</c:v>
                </c:pt>
                <c:pt idx="43922">
                  <c:v>33568</c:v>
                </c:pt>
                <c:pt idx="43923">
                  <c:v>33567</c:v>
                </c:pt>
                <c:pt idx="43924">
                  <c:v>33567</c:v>
                </c:pt>
                <c:pt idx="43925">
                  <c:v>33567</c:v>
                </c:pt>
                <c:pt idx="43926">
                  <c:v>33567</c:v>
                </c:pt>
                <c:pt idx="43927">
                  <c:v>33567</c:v>
                </c:pt>
                <c:pt idx="43928">
                  <c:v>33567</c:v>
                </c:pt>
                <c:pt idx="43929">
                  <c:v>33566</c:v>
                </c:pt>
                <c:pt idx="43930">
                  <c:v>33566</c:v>
                </c:pt>
                <c:pt idx="43931">
                  <c:v>33566</c:v>
                </c:pt>
                <c:pt idx="43932">
                  <c:v>33566</c:v>
                </c:pt>
                <c:pt idx="43933">
                  <c:v>33566</c:v>
                </c:pt>
                <c:pt idx="43934">
                  <c:v>33565</c:v>
                </c:pt>
                <c:pt idx="43935">
                  <c:v>33565</c:v>
                </c:pt>
                <c:pt idx="43936">
                  <c:v>33565</c:v>
                </c:pt>
                <c:pt idx="43937">
                  <c:v>33565</c:v>
                </c:pt>
                <c:pt idx="43938">
                  <c:v>33565</c:v>
                </c:pt>
                <c:pt idx="43939">
                  <c:v>33565</c:v>
                </c:pt>
                <c:pt idx="43940">
                  <c:v>33565</c:v>
                </c:pt>
                <c:pt idx="43941">
                  <c:v>33565</c:v>
                </c:pt>
                <c:pt idx="43942">
                  <c:v>33565</c:v>
                </c:pt>
                <c:pt idx="43943">
                  <c:v>33565</c:v>
                </c:pt>
                <c:pt idx="43944">
                  <c:v>33565</c:v>
                </c:pt>
                <c:pt idx="43945">
                  <c:v>33564</c:v>
                </c:pt>
                <c:pt idx="43946">
                  <c:v>33564</c:v>
                </c:pt>
                <c:pt idx="43947">
                  <c:v>33564</c:v>
                </c:pt>
                <c:pt idx="43948">
                  <c:v>33564</c:v>
                </c:pt>
                <c:pt idx="43949">
                  <c:v>33564</c:v>
                </c:pt>
                <c:pt idx="43950">
                  <c:v>33564</c:v>
                </c:pt>
                <c:pt idx="43951">
                  <c:v>33564</c:v>
                </c:pt>
                <c:pt idx="43952">
                  <c:v>33563</c:v>
                </c:pt>
                <c:pt idx="43953">
                  <c:v>33563</c:v>
                </c:pt>
                <c:pt idx="43954">
                  <c:v>33563</c:v>
                </c:pt>
                <c:pt idx="43955">
                  <c:v>33563</c:v>
                </c:pt>
                <c:pt idx="43956">
                  <c:v>33563</c:v>
                </c:pt>
                <c:pt idx="43957">
                  <c:v>33563</c:v>
                </c:pt>
                <c:pt idx="43958">
                  <c:v>33563</c:v>
                </c:pt>
                <c:pt idx="43959">
                  <c:v>33563</c:v>
                </c:pt>
                <c:pt idx="43960">
                  <c:v>33563</c:v>
                </c:pt>
                <c:pt idx="43961">
                  <c:v>33563</c:v>
                </c:pt>
                <c:pt idx="43962">
                  <c:v>33563</c:v>
                </c:pt>
                <c:pt idx="43963">
                  <c:v>33562</c:v>
                </c:pt>
                <c:pt idx="43964">
                  <c:v>33562</c:v>
                </c:pt>
                <c:pt idx="43965">
                  <c:v>33562</c:v>
                </c:pt>
                <c:pt idx="43966">
                  <c:v>33562</c:v>
                </c:pt>
                <c:pt idx="43967">
                  <c:v>33562</c:v>
                </c:pt>
                <c:pt idx="43968">
                  <c:v>33562</c:v>
                </c:pt>
                <c:pt idx="43969">
                  <c:v>33562</c:v>
                </c:pt>
                <c:pt idx="43970">
                  <c:v>33562</c:v>
                </c:pt>
                <c:pt idx="43971">
                  <c:v>33562</c:v>
                </c:pt>
                <c:pt idx="43972">
                  <c:v>33561</c:v>
                </c:pt>
                <c:pt idx="43973">
                  <c:v>33561</c:v>
                </c:pt>
                <c:pt idx="43974">
                  <c:v>33561</c:v>
                </c:pt>
                <c:pt idx="43975">
                  <c:v>33561</c:v>
                </c:pt>
                <c:pt idx="43976">
                  <c:v>33561</c:v>
                </c:pt>
                <c:pt idx="43977">
                  <c:v>33561</c:v>
                </c:pt>
                <c:pt idx="43978">
                  <c:v>33561</c:v>
                </c:pt>
                <c:pt idx="43979">
                  <c:v>33561</c:v>
                </c:pt>
                <c:pt idx="43980">
                  <c:v>33560</c:v>
                </c:pt>
                <c:pt idx="43981">
                  <c:v>33560</c:v>
                </c:pt>
                <c:pt idx="43982">
                  <c:v>33559</c:v>
                </c:pt>
                <c:pt idx="43983">
                  <c:v>33559</c:v>
                </c:pt>
                <c:pt idx="43984">
                  <c:v>33559</c:v>
                </c:pt>
                <c:pt idx="43985">
                  <c:v>33559</c:v>
                </c:pt>
                <c:pt idx="43986">
                  <c:v>33559</c:v>
                </c:pt>
                <c:pt idx="43987">
                  <c:v>33559</c:v>
                </c:pt>
                <c:pt idx="43988">
                  <c:v>33558</c:v>
                </c:pt>
                <c:pt idx="43989">
                  <c:v>33558</c:v>
                </c:pt>
                <c:pt idx="43990">
                  <c:v>33558</c:v>
                </c:pt>
                <c:pt idx="43991">
                  <c:v>33558</c:v>
                </c:pt>
                <c:pt idx="43992">
                  <c:v>33558</c:v>
                </c:pt>
                <c:pt idx="43993">
                  <c:v>33558</c:v>
                </c:pt>
                <c:pt idx="43994">
                  <c:v>33558</c:v>
                </c:pt>
                <c:pt idx="43995">
                  <c:v>33557</c:v>
                </c:pt>
                <c:pt idx="43996">
                  <c:v>33557</c:v>
                </c:pt>
                <c:pt idx="43997">
                  <c:v>33557</c:v>
                </c:pt>
                <c:pt idx="43998">
                  <c:v>33557</c:v>
                </c:pt>
                <c:pt idx="43999">
                  <c:v>33557</c:v>
                </c:pt>
                <c:pt idx="44000">
                  <c:v>33557</c:v>
                </c:pt>
                <c:pt idx="44001">
                  <c:v>33557</c:v>
                </c:pt>
                <c:pt idx="44002">
                  <c:v>33557</c:v>
                </c:pt>
                <c:pt idx="44003">
                  <c:v>33556</c:v>
                </c:pt>
                <c:pt idx="44004">
                  <c:v>33556</c:v>
                </c:pt>
                <c:pt idx="44005">
                  <c:v>33556</c:v>
                </c:pt>
                <c:pt idx="44006">
                  <c:v>33556</c:v>
                </c:pt>
                <c:pt idx="44007">
                  <c:v>33556</c:v>
                </c:pt>
                <c:pt idx="44008">
                  <c:v>33556</c:v>
                </c:pt>
                <c:pt idx="44009">
                  <c:v>33555</c:v>
                </c:pt>
                <c:pt idx="44010">
                  <c:v>33555</c:v>
                </c:pt>
                <c:pt idx="44011">
                  <c:v>33555</c:v>
                </c:pt>
                <c:pt idx="44012">
                  <c:v>33555</c:v>
                </c:pt>
                <c:pt idx="44013">
                  <c:v>33555</c:v>
                </c:pt>
                <c:pt idx="44014">
                  <c:v>33555</c:v>
                </c:pt>
                <c:pt idx="44015">
                  <c:v>33554</c:v>
                </c:pt>
                <c:pt idx="44016">
                  <c:v>33554</c:v>
                </c:pt>
                <c:pt idx="44017">
                  <c:v>33554</c:v>
                </c:pt>
                <c:pt idx="44018">
                  <c:v>33554</c:v>
                </c:pt>
                <c:pt idx="44019">
                  <c:v>33553</c:v>
                </c:pt>
                <c:pt idx="44020">
                  <c:v>33553</c:v>
                </c:pt>
                <c:pt idx="44021">
                  <c:v>33553</c:v>
                </c:pt>
                <c:pt idx="44022">
                  <c:v>33553</c:v>
                </c:pt>
                <c:pt idx="44023">
                  <c:v>33553</c:v>
                </c:pt>
                <c:pt idx="44024">
                  <c:v>33553</c:v>
                </c:pt>
                <c:pt idx="44025">
                  <c:v>33553</c:v>
                </c:pt>
                <c:pt idx="44026">
                  <c:v>33552</c:v>
                </c:pt>
                <c:pt idx="44027">
                  <c:v>33552</c:v>
                </c:pt>
                <c:pt idx="44028">
                  <c:v>33552</c:v>
                </c:pt>
                <c:pt idx="44029">
                  <c:v>33552</c:v>
                </c:pt>
                <c:pt idx="44030">
                  <c:v>33552</c:v>
                </c:pt>
                <c:pt idx="44031">
                  <c:v>33552</c:v>
                </c:pt>
                <c:pt idx="44032">
                  <c:v>33551</c:v>
                </c:pt>
                <c:pt idx="44033">
                  <c:v>33551</c:v>
                </c:pt>
                <c:pt idx="44034">
                  <c:v>33551</c:v>
                </c:pt>
                <c:pt idx="44035">
                  <c:v>33551</c:v>
                </c:pt>
                <c:pt idx="44036">
                  <c:v>33551</c:v>
                </c:pt>
                <c:pt idx="44037">
                  <c:v>33551</c:v>
                </c:pt>
                <c:pt idx="44038">
                  <c:v>33551</c:v>
                </c:pt>
                <c:pt idx="44039">
                  <c:v>33551</c:v>
                </c:pt>
                <c:pt idx="44040">
                  <c:v>33551</c:v>
                </c:pt>
                <c:pt idx="44041">
                  <c:v>33551</c:v>
                </c:pt>
                <c:pt idx="44042">
                  <c:v>33551</c:v>
                </c:pt>
                <c:pt idx="44043">
                  <c:v>33551</c:v>
                </c:pt>
                <c:pt idx="44044">
                  <c:v>33551</c:v>
                </c:pt>
                <c:pt idx="44045">
                  <c:v>33551</c:v>
                </c:pt>
                <c:pt idx="44046">
                  <c:v>33551</c:v>
                </c:pt>
                <c:pt idx="44047">
                  <c:v>33550</c:v>
                </c:pt>
                <c:pt idx="44048">
                  <c:v>33550</c:v>
                </c:pt>
                <c:pt idx="44049">
                  <c:v>33550</c:v>
                </c:pt>
                <c:pt idx="44050">
                  <c:v>33550</c:v>
                </c:pt>
                <c:pt idx="44051">
                  <c:v>33550</c:v>
                </c:pt>
                <c:pt idx="44052">
                  <c:v>33550</c:v>
                </c:pt>
                <c:pt idx="44053">
                  <c:v>33550</c:v>
                </c:pt>
                <c:pt idx="44054">
                  <c:v>33550</c:v>
                </c:pt>
                <c:pt idx="44055">
                  <c:v>33550</c:v>
                </c:pt>
                <c:pt idx="44056">
                  <c:v>33549</c:v>
                </c:pt>
                <c:pt idx="44057">
                  <c:v>33549</c:v>
                </c:pt>
                <c:pt idx="44058">
                  <c:v>33549</c:v>
                </c:pt>
                <c:pt idx="44059">
                  <c:v>33549</c:v>
                </c:pt>
                <c:pt idx="44060">
                  <c:v>33549</c:v>
                </c:pt>
                <c:pt idx="44061">
                  <c:v>33549</c:v>
                </c:pt>
                <c:pt idx="44062">
                  <c:v>33548</c:v>
                </c:pt>
                <c:pt idx="44063">
                  <c:v>33548</c:v>
                </c:pt>
                <c:pt idx="44064">
                  <c:v>33548</c:v>
                </c:pt>
                <c:pt idx="44065">
                  <c:v>33548</c:v>
                </c:pt>
                <c:pt idx="44066">
                  <c:v>33548</c:v>
                </c:pt>
                <c:pt idx="44067">
                  <c:v>33547</c:v>
                </c:pt>
                <c:pt idx="44068">
                  <c:v>33547</c:v>
                </c:pt>
                <c:pt idx="44069">
                  <c:v>33547</c:v>
                </c:pt>
                <c:pt idx="44070">
                  <c:v>33546</c:v>
                </c:pt>
                <c:pt idx="44071">
                  <c:v>33546</c:v>
                </c:pt>
                <c:pt idx="44072">
                  <c:v>33546</c:v>
                </c:pt>
                <c:pt idx="44073">
                  <c:v>33546</c:v>
                </c:pt>
                <c:pt idx="44074">
                  <c:v>33546</c:v>
                </c:pt>
                <c:pt idx="44075">
                  <c:v>33546</c:v>
                </c:pt>
                <c:pt idx="44076">
                  <c:v>33546</c:v>
                </c:pt>
                <c:pt idx="44077">
                  <c:v>33546</c:v>
                </c:pt>
                <c:pt idx="44078">
                  <c:v>33545</c:v>
                </c:pt>
                <c:pt idx="44079">
                  <c:v>33545</c:v>
                </c:pt>
                <c:pt idx="44080">
                  <c:v>33545</c:v>
                </c:pt>
                <c:pt idx="44081">
                  <c:v>33545</c:v>
                </c:pt>
                <c:pt idx="44082">
                  <c:v>33545</c:v>
                </c:pt>
                <c:pt idx="44083">
                  <c:v>33545</c:v>
                </c:pt>
                <c:pt idx="44084">
                  <c:v>33545</c:v>
                </c:pt>
                <c:pt idx="44085">
                  <c:v>33545</c:v>
                </c:pt>
                <c:pt idx="44086">
                  <c:v>33544</c:v>
                </c:pt>
                <c:pt idx="44087">
                  <c:v>33544</c:v>
                </c:pt>
                <c:pt idx="44088">
                  <c:v>33544</c:v>
                </c:pt>
                <c:pt idx="44089">
                  <c:v>33544</c:v>
                </c:pt>
                <c:pt idx="44090">
                  <c:v>33544</c:v>
                </c:pt>
                <c:pt idx="44091">
                  <c:v>33544</c:v>
                </c:pt>
                <c:pt idx="44092">
                  <c:v>33544</c:v>
                </c:pt>
                <c:pt idx="44093">
                  <c:v>33544</c:v>
                </c:pt>
                <c:pt idx="44094">
                  <c:v>33544</c:v>
                </c:pt>
                <c:pt idx="44095">
                  <c:v>33544</c:v>
                </c:pt>
                <c:pt idx="44096">
                  <c:v>33544</c:v>
                </c:pt>
                <c:pt idx="44097">
                  <c:v>33544</c:v>
                </c:pt>
                <c:pt idx="44098">
                  <c:v>33544</c:v>
                </c:pt>
                <c:pt idx="44099">
                  <c:v>33544</c:v>
                </c:pt>
                <c:pt idx="44100">
                  <c:v>33543</c:v>
                </c:pt>
                <c:pt idx="44101">
                  <c:v>33543</c:v>
                </c:pt>
                <c:pt idx="44102">
                  <c:v>33543</c:v>
                </c:pt>
                <c:pt idx="44103">
                  <c:v>33543</c:v>
                </c:pt>
                <c:pt idx="44104">
                  <c:v>33543</c:v>
                </c:pt>
                <c:pt idx="44105">
                  <c:v>33543</c:v>
                </c:pt>
                <c:pt idx="44106">
                  <c:v>33543</c:v>
                </c:pt>
                <c:pt idx="44107">
                  <c:v>33543</c:v>
                </c:pt>
                <c:pt idx="44108">
                  <c:v>33543</c:v>
                </c:pt>
                <c:pt idx="44109">
                  <c:v>33543</c:v>
                </c:pt>
                <c:pt idx="44110">
                  <c:v>33543</c:v>
                </c:pt>
                <c:pt idx="44111">
                  <c:v>33542</c:v>
                </c:pt>
                <c:pt idx="44112">
                  <c:v>33542</c:v>
                </c:pt>
                <c:pt idx="44113">
                  <c:v>33542</c:v>
                </c:pt>
                <c:pt idx="44114">
                  <c:v>33542</c:v>
                </c:pt>
                <c:pt idx="44115">
                  <c:v>33542</c:v>
                </c:pt>
                <c:pt idx="44116">
                  <c:v>33542</c:v>
                </c:pt>
                <c:pt idx="44117">
                  <c:v>33541</c:v>
                </c:pt>
                <c:pt idx="44118">
                  <c:v>33541</c:v>
                </c:pt>
                <c:pt idx="44119">
                  <c:v>33541</c:v>
                </c:pt>
                <c:pt idx="44120">
                  <c:v>33541</c:v>
                </c:pt>
                <c:pt idx="44121">
                  <c:v>33541</c:v>
                </c:pt>
                <c:pt idx="44122">
                  <c:v>33541</c:v>
                </c:pt>
                <c:pt idx="44123">
                  <c:v>33541</c:v>
                </c:pt>
                <c:pt idx="44124">
                  <c:v>33541</c:v>
                </c:pt>
                <c:pt idx="44125">
                  <c:v>33541</c:v>
                </c:pt>
                <c:pt idx="44126">
                  <c:v>33540</c:v>
                </c:pt>
                <c:pt idx="44127">
                  <c:v>33540</c:v>
                </c:pt>
                <c:pt idx="44128">
                  <c:v>33540</c:v>
                </c:pt>
                <c:pt idx="44129">
                  <c:v>33540</c:v>
                </c:pt>
                <c:pt idx="44130">
                  <c:v>33540</c:v>
                </c:pt>
                <c:pt idx="44131">
                  <c:v>33540</c:v>
                </c:pt>
                <c:pt idx="44132">
                  <c:v>33540</c:v>
                </c:pt>
                <c:pt idx="44133">
                  <c:v>33539</c:v>
                </c:pt>
                <c:pt idx="44134">
                  <c:v>33539</c:v>
                </c:pt>
                <c:pt idx="44135">
                  <c:v>33539</c:v>
                </c:pt>
                <c:pt idx="44136">
                  <c:v>33539</c:v>
                </c:pt>
                <c:pt idx="44137">
                  <c:v>33539</c:v>
                </c:pt>
                <c:pt idx="44138">
                  <c:v>33539</c:v>
                </c:pt>
                <c:pt idx="44139">
                  <c:v>33538</c:v>
                </c:pt>
                <c:pt idx="44140">
                  <c:v>33538</c:v>
                </c:pt>
                <c:pt idx="44141">
                  <c:v>33538</c:v>
                </c:pt>
                <c:pt idx="44142">
                  <c:v>33538</c:v>
                </c:pt>
                <c:pt idx="44143">
                  <c:v>33538</c:v>
                </c:pt>
                <c:pt idx="44144">
                  <c:v>33538</c:v>
                </c:pt>
                <c:pt idx="44145">
                  <c:v>33538</c:v>
                </c:pt>
                <c:pt idx="44146">
                  <c:v>33538</c:v>
                </c:pt>
                <c:pt idx="44147">
                  <c:v>33538</c:v>
                </c:pt>
                <c:pt idx="44148">
                  <c:v>33538</c:v>
                </c:pt>
                <c:pt idx="44149">
                  <c:v>33537</c:v>
                </c:pt>
                <c:pt idx="44150">
                  <c:v>33537</c:v>
                </c:pt>
                <c:pt idx="44151">
                  <c:v>33537</c:v>
                </c:pt>
                <c:pt idx="44152">
                  <c:v>33537</c:v>
                </c:pt>
                <c:pt idx="44153">
                  <c:v>33537</c:v>
                </c:pt>
                <c:pt idx="44154">
                  <c:v>33536</c:v>
                </c:pt>
                <c:pt idx="44155">
                  <c:v>33536</c:v>
                </c:pt>
                <c:pt idx="44156">
                  <c:v>33536</c:v>
                </c:pt>
                <c:pt idx="44157">
                  <c:v>33536</c:v>
                </c:pt>
                <c:pt idx="44158">
                  <c:v>33535</c:v>
                </c:pt>
                <c:pt idx="44159">
                  <c:v>33535</c:v>
                </c:pt>
                <c:pt idx="44160">
                  <c:v>33535</c:v>
                </c:pt>
                <c:pt idx="44161">
                  <c:v>33535</c:v>
                </c:pt>
                <c:pt idx="44162">
                  <c:v>33535</c:v>
                </c:pt>
                <c:pt idx="44163">
                  <c:v>33535</c:v>
                </c:pt>
                <c:pt idx="44164">
                  <c:v>33535</c:v>
                </c:pt>
                <c:pt idx="44165">
                  <c:v>33535</c:v>
                </c:pt>
                <c:pt idx="44166">
                  <c:v>33535</c:v>
                </c:pt>
                <c:pt idx="44167">
                  <c:v>33535</c:v>
                </c:pt>
                <c:pt idx="44168">
                  <c:v>33535</c:v>
                </c:pt>
                <c:pt idx="44169">
                  <c:v>33534</c:v>
                </c:pt>
                <c:pt idx="44170">
                  <c:v>33534</c:v>
                </c:pt>
                <c:pt idx="44171">
                  <c:v>33534</c:v>
                </c:pt>
                <c:pt idx="44172">
                  <c:v>33534</c:v>
                </c:pt>
                <c:pt idx="44173">
                  <c:v>33534</c:v>
                </c:pt>
                <c:pt idx="44174">
                  <c:v>33534</c:v>
                </c:pt>
                <c:pt idx="44175">
                  <c:v>33534</c:v>
                </c:pt>
                <c:pt idx="44176">
                  <c:v>33534</c:v>
                </c:pt>
                <c:pt idx="44177">
                  <c:v>33534</c:v>
                </c:pt>
                <c:pt idx="44178">
                  <c:v>33534</c:v>
                </c:pt>
                <c:pt idx="44179">
                  <c:v>33534</c:v>
                </c:pt>
                <c:pt idx="44180">
                  <c:v>33533</c:v>
                </c:pt>
                <c:pt idx="44181">
                  <c:v>33533</c:v>
                </c:pt>
                <c:pt idx="44182">
                  <c:v>33533</c:v>
                </c:pt>
                <c:pt idx="44183">
                  <c:v>33533</c:v>
                </c:pt>
                <c:pt idx="44184">
                  <c:v>33533</c:v>
                </c:pt>
                <c:pt idx="44185">
                  <c:v>33533</c:v>
                </c:pt>
                <c:pt idx="44186">
                  <c:v>33532</c:v>
                </c:pt>
                <c:pt idx="44187">
                  <c:v>33532</c:v>
                </c:pt>
                <c:pt idx="44188">
                  <c:v>33532</c:v>
                </c:pt>
                <c:pt idx="44189">
                  <c:v>33531</c:v>
                </c:pt>
                <c:pt idx="44190">
                  <c:v>33531</c:v>
                </c:pt>
                <c:pt idx="44191">
                  <c:v>33531</c:v>
                </c:pt>
                <c:pt idx="44192">
                  <c:v>33531</c:v>
                </c:pt>
                <c:pt idx="44193">
                  <c:v>33531</c:v>
                </c:pt>
                <c:pt idx="44194">
                  <c:v>33531</c:v>
                </c:pt>
                <c:pt idx="44195">
                  <c:v>33531</c:v>
                </c:pt>
                <c:pt idx="44196">
                  <c:v>33531</c:v>
                </c:pt>
                <c:pt idx="44197">
                  <c:v>33531</c:v>
                </c:pt>
                <c:pt idx="44198">
                  <c:v>33531</c:v>
                </c:pt>
                <c:pt idx="44199">
                  <c:v>33531</c:v>
                </c:pt>
                <c:pt idx="44200">
                  <c:v>33531</c:v>
                </c:pt>
                <c:pt idx="44201">
                  <c:v>33531</c:v>
                </c:pt>
                <c:pt idx="44202">
                  <c:v>33531</c:v>
                </c:pt>
                <c:pt idx="44203">
                  <c:v>33530</c:v>
                </c:pt>
                <c:pt idx="44204">
                  <c:v>33530</c:v>
                </c:pt>
                <c:pt idx="44205">
                  <c:v>33530</c:v>
                </c:pt>
                <c:pt idx="44206">
                  <c:v>33530</c:v>
                </c:pt>
                <c:pt idx="44207">
                  <c:v>33530</c:v>
                </c:pt>
                <c:pt idx="44208">
                  <c:v>33530</c:v>
                </c:pt>
                <c:pt idx="44209">
                  <c:v>33530</c:v>
                </c:pt>
                <c:pt idx="44210">
                  <c:v>33530</c:v>
                </c:pt>
                <c:pt idx="44211">
                  <c:v>33530</c:v>
                </c:pt>
                <c:pt idx="44212">
                  <c:v>33530</c:v>
                </c:pt>
                <c:pt idx="44213">
                  <c:v>33529</c:v>
                </c:pt>
                <c:pt idx="44214">
                  <c:v>33529</c:v>
                </c:pt>
                <c:pt idx="44215">
                  <c:v>33529</c:v>
                </c:pt>
                <c:pt idx="44216">
                  <c:v>33528</c:v>
                </c:pt>
                <c:pt idx="44217">
                  <c:v>33528</c:v>
                </c:pt>
                <c:pt idx="44218">
                  <c:v>33528</c:v>
                </c:pt>
                <c:pt idx="44219">
                  <c:v>33528</c:v>
                </c:pt>
                <c:pt idx="44220">
                  <c:v>33528</c:v>
                </c:pt>
                <c:pt idx="44221">
                  <c:v>33528</c:v>
                </c:pt>
                <c:pt idx="44222">
                  <c:v>33527</c:v>
                </c:pt>
                <c:pt idx="44223">
                  <c:v>33527</c:v>
                </c:pt>
                <c:pt idx="44224">
                  <c:v>33527</c:v>
                </c:pt>
                <c:pt idx="44225">
                  <c:v>33527</c:v>
                </c:pt>
                <c:pt idx="44226">
                  <c:v>33527</c:v>
                </c:pt>
                <c:pt idx="44227">
                  <c:v>33527</c:v>
                </c:pt>
                <c:pt idx="44228">
                  <c:v>33527</c:v>
                </c:pt>
                <c:pt idx="44229">
                  <c:v>33527</c:v>
                </c:pt>
                <c:pt idx="44230">
                  <c:v>33527</c:v>
                </c:pt>
                <c:pt idx="44231">
                  <c:v>33527</c:v>
                </c:pt>
                <c:pt idx="44232">
                  <c:v>33526</c:v>
                </c:pt>
                <c:pt idx="44233">
                  <c:v>33526</c:v>
                </c:pt>
                <c:pt idx="44234">
                  <c:v>33526</c:v>
                </c:pt>
                <c:pt idx="44235">
                  <c:v>33526</c:v>
                </c:pt>
                <c:pt idx="44236">
                  <c:v>33525</c:v>
                </c:pt>
                <c:pt idx="44237">
                  <c:v>33525</c:v>
                </c:pt>
                <c:pt idx="44238">
                  <c:v>33525</c:v>
                </c:pt>
                <c:pt idx="44239">
                  <c:v>33525</c:v>
                </c:pt>
                <c:pt idx="44240">
                  <c:v>33524</c:v>
                </c:pt>
                <c:pt idx="44241">
                  <c:v>33524</c:v>
                </c:pt>
                <c:pt idx="44242">
                  <c:v>33524</c:v>
                </c:pt>
                <c:pt idx="44243">
                  <c:v>33524</c:v>
                </c:pt>
                <c:pt idx="44244">
                  <c:v>33524</c:v>
                </c:pt>
                <c:pt idx="44245">
                  <c:v>33524</c:v>
                </c:pt>
                <c:pt idx="44246">
                  <c:v>33524</c:v>
                </c:pt>
                <c:pt idx="44247">
                  <c:v>33524</c:v>
                </c:pt>
                <c:pt idx="44248">
                  <c:v>33523</c:v>
                </c:pt>
                <c:pt idx="44249">
                  <c:v>33523</c:v>
                </c:pt>
                <c:pt idx="44250">
                  <c:v>33523</c:v>
                </c:pt>
                <c:pt idx="44251">
                  <c:v>33523</c:v>
                </c:pt>
                <c:pt idx="44252">
                  <c:v>33523</c:v>
                </c:pt>
                <c:pt idx="44253">
                  <c:v>33523</c:v>
                </c:pt>
                <c:pt idx="44254">
                  <c:v>33523</c:v>
                </c:pt>
                <c:pt idx="44255">
                  <c:v>33523</c:v>
                </c:pt>
                <c:pt idx="44256">
                  <c:v>33522</c:v>
                </c:pt>
                <c:pt idx="44257">
                  <c:v>33522</c:v>
                </c:pt>
                <c:pt idx="44258">
                  <c:v>33522</c:v>
                </c:pt>
                <c:pt idx="44259">
                  <c:v>33522</c:v>
                </c:pt>
                <c:pt idx="44260">
                  <c:v>33522</c:v>
                </c:pt>
                <c:pt idx="44261">
                  <c:v>33522</c:v>
                </c:pt>
                <c:pt idx="44262">
                  <c:v>33521</c:v>
                </c:pt>
                <c:pt idx="44263">
                  <c:v>33521</c:v>
                </c:pt>
                <c:pt idx="44264">
                  <c:v>33521</c:v>
                </c:pt>
                <c:pt idx="44265">
                  <c:v>33521</c:v>
                </c:pt>
                <c:pt idx="44266">
                  <c:v>33521</c:v>
                </c:pt>
                <c:pt idx="44267">
                  <c:v>33521</c:v>
                </c:pt>
                <c:pt idx="44268">
                  <c:v>33521</c:v>
                </c:pt>
                <c:pt idx="44269">
                  <c:v>33521</c:v>
                </c:pt>
                <c:pt idx="44270">
                  <c:v>33520</c:v>
                </c:pt>
                <c:pt idx="44271">
                  <c:v>33520</c:v>
                </c:pt>
                <c:pt idx="44272">
                  <c:v>33519</c:v>
                </c:pt>
                <c:pt idx="44273">
                  <c:v>33519</c:v>
                </c:pt>
                <c:pt idx="44274">
                  <c:v>33519</c:v>
                </c:pt>
                <c:pt idx="44275">
                  <c:v>33518</c:v>
                </c:pt>
                <c:pt idx="44276">
                  <c:v>33518</c:v>
                </c:pt>
                <c:pt idx="44277">
                  <c:v>33518</c:v>
                </c:pt>
                <c:pt idx="44278">
                  <c:v>33518</c:v>
                </c:pt>
                <c:pt idx="44279">
                  <c:v>33518</c:v>
                </c:pt>
                <c:pt idx="44280">
                  <c:v>33518</c:v>
                </c:pt>
                <c:pt idx="44281">
                  <c:v>33518</c:v>
                </c:pt>
                <c:pt idx="44282">
                  <c:v>33518</c:v>
                </c:pt>
                <c:pt idx="44283">
                  <c:v>33518</c:v>
                </c:pt>
                <c:pt idx="44284">
                  <c:v>33518</c:v>
                </c:pt>
                <c:pt idx="44285">
                  <c:v>33518</c:v>
                </c:pt>
                <c:pt idx="44286">
                  <c:v>33517</c:v>
                </c:pt>
                <c:pt idx="44287">
                  <c:v>33517</c:v>
                </c:pt>
                <c:pt idx="44288">
                  <c:v>33517</c:v>
                </c:pt>
                <c:pt idx="44289">
                  <c:v>33517</c:v>
                </c:pt>
                <c:pt idx="44290">
                  <c:v>33517</c:v>
                </c:pt>
                <c:pt idx="44291">
                  <c:v>33517</c:v>
                </c:pt>
                <c:pt idx="44292">
                  <c:v>33517</c:v>
                </c:pt>
                <c:pt idx="44293">
                  <c:v>33517</c:v>
                </c:pt>
                <c:pt idx="44294">
                  <c:v>33517</c:v>
                </c:pt>
                <c:pt idx="44295">
                  <c:v>33517</c:v>
                </c:pt>
                <c:pt idx="44296">
                  <c:v>33517</c:v>
                </c:pt>
                <c:pt idx="44297">
                  <c:v>33517</c:v>
                </c:pt>
                <c:pt idx="44298">
                  <c:v>33516</c:v>
                </c:pt>
                <c:pt idx="44299">
                  <c:v>33516</c:v>
                </c:pt>
                <c:pt idx="44300">
                  <c:v>33516</c:v>
                </c:pt>
                <c:pt idx="44301">
                  <c:v>33516</c:v>
                </c:pt>
                <c:pt idx="44302">
                  <c:v>33515</c:v>
                </c:pt>
                <c:pt idx="44303">
                  <c:v>33515</c:v>
                </c:pt>
                <c:pt idx="44304">
                  <c:v>33515</c:v>
                </c:pt>
                <c:pt idx="44305">
                  <c:v>33515</c:v>
                </c:pt>
                <c:pt idx="44306">
                  <c:v>33515</c:v>
                </c:pt>
                <c:pt idx="44307">
                  <c:v>33514</c:v>
                </c:pt>
                <c:pt idx="44308">
                  <c:v>33514</c:v>
                </c:pt>
                <c:pt idx="44309">
                  <c:v>33514</c:v>
                </c:pt>
                <c:pt idx="44310">
                  <c:v>33514</c:v>
                </c:pt>
                <c:pt idx="44311">
                  <c:v>33514</c:v>
                </c:pt>
                <c:pt idx="44312">
                  <c:v>33514</c:v>
                </c:pt>
                <c:pt idx="44313">
                  <c:v>33514</c:v>
                </c:pt>
                <c:pt idx="44314">
                  <c:v>33514</c:v>
                </c:pt>
                <c:pt idx="44315">
                  <c:v>33514</c:v>
                </c:pt>
                <c:pt idx="44316">
                  <c:v>33514</c:v>
                </c:pt>
                <c:pt idx="44317">
                  <c:v>33513</c:v>
                </c:pt>
                <c:pt idx="44318">
                  <c:v>33513</c:v>
                </c:pt>
                <c:pt idx="44319">
                  <c:v>33513</c:v>
                </c:pt>
                <c:pt idx="44320">
                  <c:v>33513</c:v>
                </c:pt>
                <c:pt idx="44321">
                  <c:v>33513</c:v>
                </c:pt>
                <c:pt idx="44322">
                  <c:v>33512</c:v>
                </c:pt>
                <c:pt idx="44323">
                  <c:v>33512</c:v>
                </c:pt>
                <c:pt idx="44324">
                  <c:v>33512</c:v>
                </c:pt>
                <c:pt idx="44325">
                  <c:v>33512</c:v>
                </c:pt>
                <c:pt idx="44326">
                  <c:v>33512</c:v>
                </c:pt>
                <c:pt idx="44327">
                  <c:v>33512</c:v>
                </c:pt>
                <c:pt idx="44328">
                  <c:v>33512</c:v>
                </c:pt>
                <c:pt idx="44329">
                  <c:v>33512</c:v>
                </c:pt>
                <c:pt idx="44330">
                  <c:v>33511</c:v>
                </c:pt>
                <c:pt idx="44331">
                  <c:v>33511</c:v>
                </c:pt>
                <c:pt idx="44332">
                  <c:v>33511</c:v>
                </c:pt>
                <c:pt idx="44333">
                  <c:v>33511</c:v>
                </c:pt>
                <c:pt idx="44334">
                  <c:v>33511</c:v>
                </c:pt>
                <c:pt idx="44335">
                  <c:v>33511</c:v>
                </c:pt>
                <c:pt idx="44336">
                  <c:v>33511</c:v>
                </c:pt>
                <c:pt idx="44337">
                  <c:v>33511</c:v>
                </c:pt>
                <c:pt idx="44338">
                  <c:v>33511</c:v>
                </c:pt>
                <c:pt idx="44339">
                  <c:v>33511</c:v>
                </c:pt>
                <c:pt idx="44340">
                  <c:v>33510</c:v>
                </c:pt>
                <c:pt idx="44341">
                  <c:v>33510</c:v>
                </c:pt>
                <c:pt idx="44342">
                  <c:v>33510</c:v>
                </c:pt>
                <c:pt idx="44343">
                  <c:v>33510</c:v>
                </c:pt>
                <c:pt idx="44344">
                  <c:v>33510</c:v>
                </c:pt>
                <c:pt idx="44345">
                  <c:v>33510</c:v>
                </c:pt>
                <c:pt idx="44346">
                  <c:v>33509</c:v>
                </c:pt>
                <c:pt idx="44347">
                  <c:v>33509</c:v>
                </c:pt>
                <c:pt idx="44348">
                  <c:v>33509</c:v>
                </c:pt>
                <c:pt idx="44349">
                  <c:v>33508</c:v>
                </c:pt>
                <c:pt idx="44350">
                  <c:v>33508</c:v>
                </c:pt>
                <c:pt idx="44351">
                  <c:v>33508</c:v>
                </c:pt>
                <c:pt idx="44352">
                  <c:v>33508</c:v>
                </c:pt>
                <c:pt idx="44353">
                  <c:v>33508</c:v>
                </c:pt>
                <c:pt idx="44354">
                  <c:v>33507</c:v>
                </c:pt>
                <c:pt idx="44355">
                  <c:v>33507</c:v>
                </c:pt>
                <c:pt idx="44356">
                  <c:v>33507</c:v>
                </c:pt>
                <c:pt idx="44357">
                  <c:v>33507</c:v>
                </c:pt>
                <c:pt idx="44358">
                  <c:v>33507</c:v>
                </c:pt>
                <c:pt idx="44359">
                  <c:v>33507</c:v>
                </c:pt>
                <c:pt idx="44360">
                  <c:v>33506</c:v>
                </c:pt>
                <c:pt idx="44361">
                  <c:v>33506</c:v>
                </c:pt>
                <c:pt idx="44362">
                  <c:v>33506</c:v>
                </c:pt>
                <c:pt idx="44363">
                  <c:v>33506</c:v>
                </c:pt>
                <c:pt idx="44364">
                  <c:v>33506</c:v>
                </c:pt>
                <c:pt idx="44365">
                  <c:v>33506</c:v>
                </c:pt>
                <c:pt idx="44366">
                  <c:v>33506</c:v>
                </c:pt>
                <c:pt idx="44367">
                  <c:v>33506</c:v>
                </c:pt>
                <c:pt idx="44368">
                  <c:v>33506</c:v>
                </c:pt>
                <c:pt idx="44369">
                  <c:v>33506</c:v>
                </c:pt>
                <c:pt idx="44370">
                  <c:v>33505</c:v>
                </c:pt>
                <c:pt idx="44371">
                  <c:v>33505</c:v>
                </c:pt>
                <c:pt idx="44372">
                  <c:v>33505</c:v>
                </c:pt>
                <c:pt idx="44373">
                  <c:v>33505</c:v>
                </c:pt>
                <c:pt idx="44374">
                  <c:v>33505</c:v>
                </c:pt>
                <c:pt idx="44375">
                  <c:v>33505</c:v>
                </c:pt>
                <c:pt idx="44376">
                  <c:v>33505</c:v>
                </c:pt>
                <c:pt idx="44377">
                  <c:v>33504</c:v>
                </c:pt>
                <c:pt idx="44378">
                  <c:v>33504</c:v>
                </c:pt>
                <c:pt idx="44379">
                  <c:v>33504</c:v>
                </c:pt>
                <c:pt idx="44380">
                  <c:v>33504</c:v>
                </c:pt>
                <c:pt idx="44381">
                  <c:v>33504</c:v>
                </c:pt>
                <c:pt idx="44382">
                  <c:v>33504</c:v>
                </c:pt>
                <c:pt idx="44383">
                  <c:v>33504</c:v>
                </c:pt>
                <c:pt idx="44384">
                  <c:v>33503</c:v>
                </c:pt>
                <c:pt idx="44385">
                  <c:v>33503</c:v>
                </c:pt>
                <c:pt idx="44386">
                  <c:v>33503</c:v>
                </c:pt>
                <c:pt idx="44387">
                  <c:v>33503</c:v>
                </c:pt>
                <c:pt idx="44388">
                  <c:v>33503</c:v>
                </c:pt>
                <c:pt idx="44389">
                  <c:v>33502</c:v>
                </c:pt>
                <c:pt idx="44390">
                  <c:v>33502</c:v>
                </c:pt>
                <c:pt idx="44391">
                  <c:v>33502</c:v>
                </c:pt>
                <c:pt idx="44392">
                  <c:v>33502</c:v>
                </c:pt>
                <c:pt idx="44393">
                  <c:v>33502</c:v>
                </c:pt>
                <c:pt idx="44394">
                  <c:v>33502</c:v>
                </c:pt>
                <c:pt idx="44395">
                  <c:v>33502</c:v>
                </c:pt>
                <c:pt idx="44396">
                  <c:v>33502</c:v>
                </c:pt>
                <c:pt idx="44397">
                  <c:v>33502</c:v>
                </c:pt>
                <c:pt idx="44398">
                  <c:v>33502</c:v>
                </c:pt>
                <c:pt idx="44399">
                  <c:v>33501</c:v>
                </c:pt>
                <c:pt idx="44400">
                  <c:v>33501</c:v>
                </c:pt>
                <c:pt idx="44401">
                  <c:v>33501</c:v>
                </c:pt>
                <c:pt idx="44402">
                  <c:v>33501</c:v>
                </c:pt>
                <c:pt idx="44403">
                  <c:v>33501</c:v>
                </c:pt>
                <c:pt idx="44404">
                  <c:v>33500</c:v>
                </c:pt>
                <c:pt idx="44405">
                  <c:v>33500</c:v>
                </c:pt>
                <c:pt idx="44406">
                  <c:v>33500</c:v>
                </c:pt>
                <c:pt idx="44407">
                  <c:v>33500</c:v>
                </c:pt>
                <c:pt idx="44408">
                  <c:v>33500</c:v>
                </c:pt>
                <c:pt idx="44409">
                  <c:v>33499</c:v>
                </c:pt>
                <c:pt idx="44410">
                  <c:v>33499</c:v>
                </c:pt>
                <c:pt idx="44411">
                  <c:v>33499</c:v>
                </c:pt>
                <c:pt idx="44412">
                  <c:v>33499</c:v>
                </c:pt>
                <c:pt idx="44413">
                  <c:v>33499</c:v>
                </c:pt>
                <c:pt idx="44414">
                  <c:v>33499</c:v>
                </c:pt>
                <c:pt idx="44415">
                  <c:v>33499</c:v>
                </c:pt>
                <c:pt idx="44416">
                  <c:v>33498</c:v>
                </c:pt>
                <c:pt idx="44417">
                  <c:v>33498</c:v>
                </c:pt>
                <c:pt idx="44418">
                  <c:v>33498</c:v>
                </c:pt>
                <c:pt idx="44419">
                  <c:v>33498</c:v>
                </c:pt>
                <c:pt idx="44420">
                  <c:v>33498</c:v>
                </c:pt>
                <c:pt idx="44421">
                  <c:v>33498</c:v>
                </c:pt>
                <c:pt idx="44422">
                  <c:v>33498</c:v>
                </c:pt>
                <c:pt idx="44423">
                  <c:v>33497</c:v>
                </c:pt>
                <c:pt idx="44424">
                  <c:v>33497</c:v>
                </c:pt>
                <c:pt idx="44425">
                  <c:v>33497</c:v>
                </c:pt>
                <c:pt idx="44426">
                  <c:v>33497</c:v>
                </c:pt>
                <c:pt idx="44427">
                  <c:v>33497</c:v>
                </c:pt>
                <c:pt idx="44428">
                  <c:v>33497</c:v>
                </c:pt>
                <c:pt idx="44429">
                  <c:v>33497</c:v>
                </c:pt>
                <c:pt idx="44430">
                  <c:v>33497</c:v>
                </c:pt>
                <c:pt idx="44431">
                  <c:v>33497</c:v>
                </c:pt>
                <c:pt idx="44432">
                  <c:v>33497</c:v>
                </c:pt>
                <c:pt idx="44433">
                  <c:v>33497</c:v>
                </c:pt>
                <c:pt idx="44434">
                  <c:v>33496</c:v>
                </c:pt>
                <c:pt idx="44435">
                  <c:v>33496</c:v>
                </c:pt>
                <c:pt idx="44436">
                  <c:v>33496</c:v>
                </c:pt>
                <c:pt idx="44437">
                  <c:v>33496</c:v>
                </c:pt>
                <c:pt idx="44438">
                  <c:v>33496</c:v>
                </c:pt>
                <c:pt idx="44439">
                  <c:v>33495</c:v>
                </c:pt>
                <c:pt idx="44440">
                  <c:v>33495</c:v>
                </c:pt>
                <c:pt idx="44441">
                  <c:v>33495</c:v>
                </c:pt>
                <c:pt idx="44442">
                  <c:v>33495</c:v>
                </c:pt>
                <c:pt idx="44443">
                  <c:v>33495</c:v>
                </c:pt>
                <c:pt idx="44444">
                  <c:v>33495</c:v>
                </c:pt>
                <c:pt idx="44445">
                  <c:v>33495</c:v>
                </c:pt>
                <c:pt idx="44446">
                  <c:v>33494</c:v>
                </c:pt>
                <c:pt idx="44447">
                  <c:v>33494</c:v>
                </c:pt>
                <c:pt idx="44448">
                  <c:v>33494</c:v>
                </c:pt>
                <c:pt idx="44449">
                  <c:v>33494</c:v>
                </c:pt>
                <c:pt idx="44450">
                  <c:v>33494</c:v>
                </c:pt>
                <c:pt idx="44451">
                  <c:v>33494</c:v>
                </c:pt>
                <c:pt idx="44452">
                  <c:v>33494</c:v>
                </c:pt>
                <c:pt idx="44453">
                  <c:v>33493</c:v>
                </c:pt>
                <c:pt idx="44454">
                  <c:v>33493</c:v>
                </c:pt>
                <c:pt idx="44455">
                  <c:v>33493</c:v>
                </c:pt>
                <c:pt idx="44456">
                  <c:v>33493</c:v>
                </c:pt>
                <c:pt idx="44457">
                  <c:v>33493</c:v>
                </c:pt>
                <c:pt idx="44458">
                  <c:v>33493</c:v>
                </c:pt>
                <c:pt idx="44459">
                  <c:v>33493</c:v>
                </c:pt>
                <c:pt idx="44460">
                  <c:v>33492</c:v>
                </c:pt>
                <c:pt idx="44461">
                  <c:v>33492</c:v>
                </c:pt>
                <c:pt idx="44462">
                  <c:v>33492</c:v>
                </c:pt>
                <c:pt idx="44463">
                  <c:v>33492</c:v>
                </c:pt>
                <c:pt idx="44464">
                  <c:v>33492</c:v>
                </c:pt>
                <c:pt idx="44465">
                  <c:v>33492</c:v>
                </c:pt>
                <c:pt idx="44466">
                  <c:v>33492</c:v>
                </c:pt>
                <c:pt idx="44467">
                  <c:v>33492</c:v>
                </c:pt>
                <c:pt idx="44468">
                  <c:v>33492</c:v>
                </c:pt>
                <c:pt idx="44469">
                  <c:v>33491</c:v>
                </c:pt>
                <c:pt idx="44470">
                  <c:v>33491</c:v>
                </c:pt>
                <c:pt idx="44471">
                  <c:v>33491</c:v>
                </c:pt>
                <c:pt idx="44472">
                  <c:v>33491</c:v>
                </c:pt>
                <c:pt idx="44473">
                  <c:v>33491</c:v>
                </c:pt>
                <c:pt idx="44474">
                  <c:v>33491</c:v>
                </c:pt>
                <c:pt idx="44475">
                  <c:v>33491</c:v>
                </c:pt>
                <c:pt idx="44476">
                  <c:v>33490</c:v>
                </c:pt>
                <c:pt idx="44477">
                  <c:v>33490</c:v>
                </c:pt>
                <c:pt idx="44478">
                  <c:v>33490</c:v>
                </c:pt>
                <c:pt idx="44479">
                  <c:v>33490</c:v>
                </c:pt>
                <c:pt idx="44480">
                  <c:v>33490</c:v>
                </c:pt>
                <c:pt idx="44481">
                  <c:v>33490</c:v>
                </c:pt>
                <c:pt idx="44482">
                  <c:v>33490</c:v>
                </c:pt>
                <c:pt idx="44483">
                  <c:v>33490</c:v>
                </c:pt>
                <c:pt idx="44484">
                  <c:v>33489</c:v>
                </c:pt>
                <c:pt idx="44485">
                  <c:v>33489</c:v>
                </c:pt>
                <c:pt idx="44486">
                  <c:v>33489</c:v>
                </c:pt>
                <c:pt idx="44487">
                  <c:v>33489</c:v>
                </c:pt>
                <c:pt idx="44488">
                  <c:v>33489</c:v>
                </c:pt>
                <c:pt idx="44489">
                  <c:v>33489</c:v>
                </c:pt>
                <c:pt idx="44490">
                  <c:v>33489</c:v>
                </c:pt>
                <c:pt idx="44491">
                  <c:v>33489</c:v>
                </c:pt>
                <c:pt idx="44492">
                  <c:v>33489</c:v>
                </c:pt>
                <c:pt idx="44493">
                  <c:v>33489</c:v>
                </c:pt>
                <c:pt idx="44494">
                  <c:v>33489</c:v>
                </c:pt>
                <c:pt idx="44495">
                  <c:v>33489</c:v>
                </c:pt>
                <c:pt idx="44496">
                  <c:v>33489</c:v>
                </c:pt>
                <c:pt idx="44497">
                  <c:v>33489</c:v>
                </c:pt>
                <c:pt idx="44498">
                  <c:v>33489</c:v>
                </c:pt>
                <c:pt idx="44499">
                  <c:v>33489</c:v>
                </c:pt>
                <c:pt idx="44500">
                  <c:v>33489</c:v>
                </c:pt>
                <c:pt idx="44501">
                  <c:v>33488</c:v>
                </c:pt>
                <c:pt idx="44502">
                  <c:v>33488</c:v>
                </c:pt>
                <c:pt idx="44503">
                  <c:v>33487</c:v>
                </c:pt>
                <c:pt idx="44504">
                  <c:v>33487</c:v>
                </c:pt>
                <c:pt idx="44505">
                  <c:v>33487</c:v>
                </c:pt>
                <c:pt idx="44506">
                  <c:v>33487</c:v>
                </c:pt>
                <c:pt idx="44507">
                  <c:v>33487</c:v>
                </c:pt>
                <c:pt idx="44508">
                  <c:v>33487</c:v>
                </c:pt>
                <c:pt idx="44509">
                  <c:v>33487</c:v>
                </c:pt>
                <c:pt idx="44510">
                  <c:v>33486</c:v>
                </c:pt>
                <c:pt idx="44511">
                  <c:v>33486</c:v>
                </c:pt>
                <c:pt idx="44512">
                  <c:v>33486</c:v>
                </c:pt>
                <c:pt idx="44513">
                  <c:v>33486</c:v>
                </c:pt>
                <c:pt idx="44514">
                  <c:v>33486</c:v>
                </c:pt>
                <c:pt idx="44515">
                  <c:v>33485</c:v>
                </c:pt>
                <c:pt idx="44516">
                  <c:v>33485</c:v>
                </c:pt>
                <c:pt idx="44517">
                  <c:v>33485</c:v>
                </c:pt>
                <c:pt idx="44518">
                  <c:v>33485</c:v>
                </c:pt>
                <c:pt idx="44519">
                  <c:v>33485</c:v>
                </c:pt>
                <c:pt idx="44520">
                  <c:v>33485</c:v>
                </c:pt>
                <c:pt idx="44521">
                  <c:v>33485</c:v>
                </c:pt>
                <c:pt idx="44522">
                  <c:v>33485</c:v>
                </c:pt>
                <c:pt idx="44523">
                  <c:v>33484</c:v>
                </c:pt>
                <c:pt idx="44524">
                  <c:v>33484</c:v>
                </c:pt>
                <c:pt idx="44525">
                  <c:v>33484</c:v>
                </c:pt>
                <c:pt idx="44526">
                  <c:v>33484</c:v>
                </c:pt>
                <c:pt idx="44527">
                  <c:v>33484</c:v>
                </c:pt>
                <c:pt idx="44528">
                  <c:v>33484</c:v>
                </c:pt>
                <c:pt idx="44529">
                  <c:v>33484</c:v>
                </c:pt>
                <c:pt idx="44530">
                  <c:v>33483</c:v>
                </c:pt>
                <c:pt idx="44531">
                  <c:v>33483</c:v>
                </c:pt>
                <c:pt idx="44532">
                  <c:v>33483</c:v>
                </c:pt>
                <c:pt idx="44533">
                  <c:v>33483</c:v>
                </c:pt>
                <c:pt idx="44534">
                  <c:v>33483</c:v>
                </c:pt>
                <c:pt idx="44535">
                  <c:v>33483</c:v>
                </c:pt>
                <c:pt idx="44536">
                  <c:v>33483</c:v>
                </c:pt>
                <c:pt idx="44537">
                  <c:v>33483</c:v>
                </c:pt>
                <c:pt idx="44538">
                  <c:v>33483</c:v>
                </c:pt>
                <c:pt idx="44539">
                  <c:v>33483</c:v>
                </c:pt>
                <c:pt idx="44540">
                  <c:v>33482</c:v>
                </c:pt>
                <c:pt idx="44541">
                  <c:v>33482</c:v>
                </c:pt>
                <c:pt idx="44542">
                  <c:v>33482</c:v>
                </c:pt>
                <c:pt idx="44543">
                  <c:v>33482</c:v>
                </c:pt>
                <c:pt idx="44544">
                  <c:v>33482</c:v>
                </c:pt>
                <c:pt idx="44545">
                  <c:v>33482</c:v>
                </c:pt>
                <c:pt idx="44546">
                  <c:v>33482</c:v>
                </c:pt>
                <c:pt idx="44547">
                  <c:v>33481</c:v>
                </c:pt>
                <c:pt idx="44548">
                  <c:v>33481</c:v>
                </c:pt>
                <c:pt idx="44549">
                  <c:v>33481</c:v>
                </c:pt>
                <c:pt idx="44550">
                  <c:v>33481</c:v>
                </c:pt>
                <c:pt idx="44551">
                  <c:v>33481</c:v>
                </c:pt>
                <c:pt idx="44552">
                  <c:v>33481</c:v>
                </c:pt>
                <c:pt idx="44553">
                  <c:v>33481</c:v>
                </c:pt>
                <c:pt idx="44554">
                  <c:v>33480</c:v>
                </c:pt>
                <c:pt idx="44555">
                  <c:v>33480</c:v>
                </c:pt>
                <c:pt idx="44556">
                  <c:v>33480</c:v>
                </c:pt>
                <c:pt idx="44557">
                  <c:v>33480</c:v>
                </c:pt>
                <c:pt idx="44558">
                  <c:v>33479</c:v>
                </c:pt>
                <c:pt idx="44559">
                  <c:v>33479</c:v>
                </c:pt>
                <c:pt idx="44560">
                  <c:v>33479</c:v>
                </c:pt>
                <c:pt idx="44561">
                  <c:v>33478</c:v>
                </c:pt>
                <c:pt idx="44562">
                  <c:v>33478</c:v>
                </c:pt>
                <c:pt idx="44563">
                  <c:v>33478</c:v>
                </c:pt>
                <c:pt idx="44564">
                  <c:v>33478</c:v>
                </c:pt>
                <c:pt idx="44565">
                  <c:v>33478</c:v>
                </c:pt>
                <c:pt idx="44566">
                  <c:v>33478</c:v>
                </c:pt>
                <c:pt idx="44567">
                  <c:v>33478</c:v>
                </c:pt>
                <c:pt idx="44568">
                  <c:v>33477</c:v>
                </c:pt>
                <c:pt idx="44569">
                  <c:v>33477</c:v>
                </c:pt>
                <c:pt idx="44570">
                  <c:v>33477</c:v>
                </c:pt>
                <c:pt idx="44571">
                  <c:v>33477</c:v>
                </c:pt>
                <c:pt idx="44572">
                  <c:v>33477</c:v>
                </c:pt>
                <c:pt idx="44573">
                  <c:v>33477</c:v>
                </c:pt>
                <c:pt idx="44574">
                  <c:v>33477</c:v>
                </c:pt>
                <c:pt idx="44575">
                  <c:v>33477</c:v>
                </c:pt>
                <c:pt idx="44576">
                  <c:v>33476</c:v>
                </c:pt>
                <c:pt idx="44577">
                  <c:v>33476</c:v>
                </c:pt>
                <c:pt idx="44578">
                  <c:v>33476</c:v>
                </c:pt>
                <c:pt idx="44579">
                  <c:v>33476</c:v>
                </c:pt>
                <c:pt idx="44580">
                  <c:v>33476</c:v>
                </c:pt>
                <c:pt idx="44581">
                  <c:v>33476</c:v>
                </c:pt>
                <c:pt idx="44582">
                  <c:v>33476</c:v>
                </c:pt>
                <c:pt idx="44583">
                  <c:v>33476</c:v>
                </c:pt>
                <c:pt idx="44584">
                  <c:v>33476</c:v>
                </c:pt>
                <c:pt idx="44585">
                  <c:v>33475</c:v>
                </c:pt>
                <c:pt idx="44586">
                  <c:v>33475</c:v>
                </c:pt>
                <c:pt idx="44587">
                  <c:v>33475</c:v>
                </c:pt>
                <c:pt idx="44588">
                  <c:v>33475</c:v>
                </c:pt>
                <c:pt idx="44589">
                  <c:v>33475</c:v>
                </c:pt>
                <c:pt idx="44590">
                  <c:v>33475</c:v>
                </c:pt>
                <c:pt idx="44591">
                  <c:v>33475</c:v>
                </c:pt>
                <c:pt idx="44592">
                  <c:v>33475</c:v>
                </c:pt>
                <c:pt idx="44593">
                  <c:v>33474</c:v>
                </c:pt>
                <c:pt idx="44594">
                  <c:v>33474</c:v>
                </c:pt>
                <c:pt idx="44595">
                  <c:v>33474</c:v>
                </c:pt>
                <c:pt idx="44596">
                  <c:v>33474</c:v>
                </c:pt>
                <c:pt idx="44597">
                  <c:v>33474</c:v>
                </c:pt>
                <c:pt idx="44598">
                  <c:v>33474</c:v>
                </c:pt>
                <c:pt idx="44599">
                  <c:v>33473</c:v>
                </c:pt>
                <c:pt idx="44600">
                  <c:v>33473</c:v>
                </c:pt>
                <c:pt idx="44601">
                  <c:v>33473</c:v>
                </c:pt>
                <c:pt idx="44602">
                  <c:v>33473</c:v>
                </c:pt>
                <c:pt idx="44603">
                  <c:v>33473</c:v>
                </c:pt>
                <c:pt idx="44604">
                  <c:v>33473</c:v>
                </c:pt>
                <c:pt idx="44605">
                  <c:v>33473</c:v>
                </c:pt>
                <c:pt idx="44606">
                  <c:v>33472</c:v>
                </c:pt>
                <c:pt idx="44607">
                  <c:v>33472</c:v>
                </c:pt>
                <c:pt idx="44608">
                  <c:v>33472</c:v>
                </c:pt>
                <c:pt idx="44609">
                  <c:v>33472</c:v>
                </c:pt>
                <c:pt idx="44610">
                  <c:v>33472</c:v>
                </c:pt>
                <c:pt idx="44611">
                  <c:v>33472</c:v>
                </c:pt>
                <c:pt idx="44612">
                  <c:v>33472</c:v>
                </c:pt>
                <c:pt idx="44613">
                  <c:v>33471</c:v>
                </c:pt>
                <c:pt idx="44614">
                  <c:v>33471</c:v>
                </c:pt>
                <c:pt idx="44615">
                  <c:v>33471</c:v>
                </c:pt>
                <c:pt idx="44616">
                  <c:v>33471</c:v>
                </c:pt>
                <c:pt idx="44617">
                  <c:v>33471</c:v>
                </c:pt>
                <c:pt idx="44618">
                  <c:v>33471</c:v>
                </c:pt>
                <c:pt idx="44619">
                  <c:v>33471</c:v>
                </c:pt>
                <c:pt idx="44620">
                  <c:v>33471</c:v>
                </c:pt>
                <c:pt idx="44621">
                  <c:v>33471</c:v>
                </c:pt>
                <c:pt idx="44622">
                  <c:v>33470</c:v>
                </c:pt>
                <c:pt idx="44623">
                  <c:v>33470</c:v>
                </c:pt>
                <c:pt idx="44624">
                  <c:v>33470</c:v>
                </c:pt>
                <c:pt idx="44625">
                  <c:v>33470</c:v>
                </c:pt>
                <c:pt idx="44626">
                  <c:v>33469</c:v>
                </c:pt>
                <c:pt idx="44627">
                  <c:v>33469</c:v>
                </c:pt>
                <c:pt idx="44628">
                  <c:v>33469</c:v>
                </c:pt>
                <c:pt idx="44629">
                  <c:v>33469</c:v>
                </c:pt>
                <c:pt idx="44630">
                  <c:v>33469</c:v>
                </c:pt>
                <c:pt idx="44631">
                  <c:v>33469</c:v>
                </c:pt>
                <c:pt idx="44632">
                  <c:v>33469</c:v>
                </c:pt>
                <c:pt idx="44633">
                  <c:v>33469</c:v>
                </c:pt>
                <c:pt idx="44634">
                  <c:v>33469</c:v>
                </c:pt>
                <c:pt idx="44635">
                  <c:v>33469</c:v>
                </c:pt>
                <c:pt idx="44636">
                  <c:v>33468</c:v>
                </c:pt>
                <c:pt idx="44637">
                  <c:v>33468</c:v>
                </c:pt>
                <c:pt idx="44638">
                  <c:v>33468</c:v>
                </c:pt>
                <c:pt idx="44639">
                  <c:v>33468</c:v>
                </c:pt>
                <c:pt idx="44640">
                  <c:v>33468</c:v>
                </c:pt>
                <c:pt idx="44641">
                  <c:v>33468</c:v>
                </c:pt>
                <c:pt idx="44642">
                  <c:v>33468</c:v>
                </c:pt>
                <c:pt idx="44643">
                  <c:v>33467</c:v>
                </c:pt>
                <c:pt idx="44644">
                  <c:v>33467</c:v>
                </c:pt>
                <c:pt idx="44645">
                  <c:v>33467</c:v>
                </c:pt>
                <c:pt idx="44646">
                  <c:v>33467</c:v>
                </c:pt>
                <c:pt idx="44647">
                  <c:v>33466</c:v>
                </c:pt>
                <c:pt idx="44648">
                  <c:v>33466</c:v>
                </c:pt>
                <c:pt idx="44649">
                  <c:v>33466</c:v>
                </c:pt>
                <c:pt idx="44650">
                  <c:v>33466</c:v>
                </c:pt>
                <c:pt idx="44651">
                  <c:v>33466</c:v>
                </c:pt>
                <c:pt idx="44652">
                  <c:v>33466</c:v>
                </c:pt>
                <c:pt idx="44653">
                  <c:v>33466</c:v>
                </c:pt>
                <c:pt idx="44654">
                  <c:v>33466</c:v>
                </c:pt>
                <c:pt idx="44655">
                  <c:v>33466</c:v>
                </c:pt>
                <c:pt idx="44656">
                  <c:v>33466</c:v>
                </c:pt>
                <c:pt idx="44657">
                  <c:v>33466</c:v>
                </c:pt>
                <c:pt idx="44658">
                  <c:v>33465</c:v>
                </c:pt>
                <c:pt idx="44659">
                  <c:v>33465</c:v>
                </c:pt>
                <c:pt idx="44660">
                  <c:v>33465</c:v>
                </c:pt>
                <c:pt idx="44661">
                  <c:v>33465</c:v>
                </c:pt>
                <c:pt idx="44662">
                  <c:v>33464</c:v>
                </c:pt>
                <c:pt idx="44663">
                  <c:v>33464</c:v>
                </c:pt>
                <c:pt idx="44664">
                  <c:v>33464</c:v>
                </c:pt>
                <c:pt idx="44665">
                  <c:v>33463</c:v>
                </c:pt>
                <c:pt idx="44666">
                  <c:v>33463</c:v>
                </c:pt>
                <c:pt idx="44667">
                  <c:v>33463</c:v>
                </c:pt>
                <c:pt idx="44668">
                  <c:v>33463</c:v>
                </c:pt>
                <c:pt idx="44669">
                  <c:v>33462</c:v>
                </c:pt>
                <c:pt idx="44670">
                  <c:v>33462</c:v>
                </c:pt>
                <c:pt idx="44671">
                  <c:v>33462</c:v>
                </c:pt>
                <c:pt idx="44672">
                  <c:v>33462</c:v>
                </c:pt>
                <c:pt idx="44673">
                  <c:v>33462</c:v>
                </c:pt>
                <c:pt idx="44674">
                  <c:v>33462</c:v>
                </c:pt>
                <c:pt idx="44675">
                  <c:v>33462</c:v>
                </c:pt>
                <c:pt idx="44676">
                  <c:v>33462</c:v>
                </c:pt>
                <c:pt idx="44677">
                  <c:v>33462</c:v>
                </c:pt>
                <c:pt idx="44678">
                  <c:v>33462</c:v>
                </c:pt>
                <c:pt idx="44679">
                  <c:v>33462</c:v>
                </c:pt>
                <c:pt idx="44680">
                  <c:v>33462</c:v>
                </c:pt>
                <c:pt idx="44681">
                  <c:v>33462</c:v>
                </c:pt>
                <c:pt idx="44682">
                  <c:v>33462</c:v>
                </c:pt>
                <c:pt idx="44683">
                  <c:v>33462</c:v>
                </c:pt>
                <c:pt idx="44684">
                  <c:v>33462</c:v>
                </c:pt>
                <c:pt idx="44685">
                  <c:v>33461</c:v>
                </c:pt>
                <c:pt idx="44686">
                  <c:v>33461</c:v>
                </c:pt>
                <c:pt idx="44687">
                  <c:v>33461</c:v>
                </c:pt>
                <c:pt idx="44688">
                  <c:v>33461</c:v>
                </c:pt>
                <c:pt idx="44689">
                  <c:v>33461</c:v>
                </c:pt>
                <c:pt idx="44690">
                  <c:v>33461</c:v>
                </c:pt>
                <c:pt idx="44691">
                  <c:v>33461</c:v>
                </c:pt>
                <c:pt idx="44692">
                  <c:v>33461</c:v>
                </c:pt>
                <c:pt idx="44693">
                  <c:v>33460</c:v>
                </c:pt>
                <c:pt idx="44694">
                  <c:v>33460</c:v>
                </c:pt>
                <c:pt idx="44695">
                  <c:v>33460</c:v>
                </c:pt>
                <c:pt idx="44696">
                  <c:v>33460</c:v>
                </c:pt>
                <c:pt idx="44697">
                  <c:v>33460</c:v>
                </c:pt>
                <c:pt idx="44698">
                  <c:v>33459</c:v>
                </c:pt>
                <c:pt idx="44699">
                  <c:v>33459</c:v>
                </c:pt>
                <c:pt idx="44700">
                  <c:v>33459</c:v>
                </c:pt>
                <c:pt idx="44701">
                  <c:v>33459</c:v>
                </c:pt>
                <c:pt idx="44702">
                  <c:v>33459</c:v>
                </c:pt>
                <c:pt idx="44703">
                  <c:v>33459</c:v>
                </c:pt>
                <c:pt idx="44704">
                  <c:v>33459</c:v>
                </c:pt>
                <c:pt idx="44705">
                  <c:v>33459</c:v>
                </c:pt>
                <c:pt idx="44706">
                  <c:v>33459</c:v>
                </c:pt>
                <c:pt idx="44707">
                  <c:v>33459</c:v>
                </c:pt>
                <c:pt idx="44708">
                  <c:v>33458</c:v>
                </c:pt>
                <c:pt idx="44709">
                  <c:v>33458</c:v>
                </c:pt>
                <c:pt idx="44710">
                  <c:v>33458</c:v>
                </c:pt>
                <c:pt idx="44711">
                  <c:v>33458</c:v>
                </c:pt>
                <c:pt idx="44712">
                  <c:v>33458</c:v>
                </c:pt>
                <c:pt idx="44713">
                  <c:v>33458</c:v>
                </c:pt>
                <c:pt idx="44714">
                  <c:v>33458</c:v>
                </c:pt>
                <c:pt idx="44715">
                  <c:v>33458</c:v>
                </c:pt>
                <c:pt idx="44716">
                  <c:v>33457</c:v>
                </c:pt>
                <c:pt idx="44717">
                  <c:v>33457</c:v>
                </c:pt>
                <c:pt idx="44718">
                  <c:v>33457</c:v>
                </c:pt>
                <c:pt idx="44719">
                  <c:v>33457</c:v>
                </c:pt>
                <c:pt idx="44720">
                  <c:v>33457</c:v>
                </c:pt>
                <c:pt idx="44721">
                  <c:v>33457</c:v>
                </c:pt>
                <c:pt idx="44722">
                  <c:v>33457</c:v>
                </c:pt>
                <c:pt idx="44723">
                  <c:v>33457</c:v>
                </c:pt>
                <c:pt idx="44724">
                  <c:v>33456</c:v>
                </c:pt>
                <c:pt idx="44725">
                  <c:v>33456</c:v>
                </c:pt>
                <c:pt idx="44726">
                  <c:v>33456</c:v>
                </c:pt>
                <c:pt idx="44727">
                  <c:v>33456</c:v>
                </c:pt>
                <c:pt idx="44728">
                  <c:v>33456</c:v>
                </c:pt>
                <c:pt idx="44729">
                  <c:v>33456</c:v>
                </c:pt>
                <c:pt idx="44730">
                  <c:v>33456</c:v>
                </c:pt>
                <c:pt idx="44731">
                  <c:v>33456</c:v>
                </c:pt>
                <c:pt idx="44732">
                  <c:v>33456</c:v>
                </c:pt>
                <c:pt idx="44733">
                  <c:v>33455</c:v>
                </c:pt>
                <c:pt idx="44734">
                  <c:v>33455</c:v>
                </c:pt>
                <c:pt idx="44735">
                  <c:v>33455</c:v>
                </c:pt>
                <c:pt idx="44736">
                  <c:v>33455</c:v>
                </c:pt>
                <c:pt idx="44737">
                  <c:v>33454</c:v>
                </c:pt>
                <c:pt idx="44738">
                  <c:v>33454</c:v>
                </c:pt>
                <c:pt idx="44739">
                  <c:v>33454</c:v>
                </c:pt>
                <c:pt idx="44740">
                  <c:v>33454</c:v>
                </c:pt>
                <c:pt idx="44741">
                  <c:v>33454</c:v>
                </c:pt>
                <c:pt idx="44742">
                  <c:v>33454</c:v>
                </c:pt>
                <c:pt idx="44743">
                  <c:v>33453</c:v>
                </c:pt>
                <c:pt idx="44744">
                  <c:v>33453</c:v>
                </c:pt>
                <c:pt idx="44745">
                  <c:v>33453</c:v>
                </c:pt>
                <c:pt idx="44746">
                  <c:v>33452</c:v>
                </c:pt>
                <c:pt idx="44747">
                  <c:v>33452</c:v>
                </c:pt>
                <c:pt idx="44748">
                  <c:v>33452</c:v>
                </c:pt>
                <c:pt idx="44749">
                  <c:v>33452</c:v>
                </c:pt>
                <c:pt idx="44750">
                  <c:v>33452</c:v>
                </c:pt>
                <c:pt idx="44751">
                  <c:v>33452</c:v>
                </c:pt>
                <c:pt idx="44752">
                  <c:v>33452</c:v>
                </c:pt>
                <c:pt idx="44753">
                  <c:v>33451</c:v>
                </c:pt>
                <c:pt idx="44754">
                  <c:v>33451</c:v>
                </c:pt>
                <c:pt idx="44755">
                  <c:v>33451</c:v>
                </c:pt>
                <c:pt idx="44756">
                  <c:v>33450</c:v>
                </c:pt>
                <c:pt idx="44757">
                  <c:v>33450</c:v>
                </c:pt>
                <c:pt idx="44758">
                  <c:v>33450</c:v>
                </c:pt>
                <c:pt idx="44759">
                  <c:v>33450</c:v>
                </c:pt>
                <c:pt idx="44760">
                  <c:v>33450</c:v>
                </c:pt>
                <c:pt idx="44761">
                  <c:v>33450</c:v>
                </c:pt>
                <c:pt idx="44762">
                  <c:v>33450</c:v>
                </c:pt>
                <c:pt idx="44763">
                  <c:v>33450</c:v>
                </c:pt>
                <c:pt idx="44764">
                  <c:v>33449</c:v>
                </c:pt>
                <c:pt idx="44765">
                  <c:v>33449</c:v>
                </c:pt>
                <c:pt idx="44766">
                  <c:v>33449</c:v>
                </c:pt>
                <c:pt idx="44767">
                  <c:v>33449</c:v>
                </c:pt>
                <c:pt idx="44768">
                  <c:v>33448</c:v>
                </c:pt>
                <c:pt idx="44769">
                  <c:v>33448</c:v>
                </c:pt>
                <c:pt idx="44770">
                  <c:v>33448</c:v>
                </c:pt>
                <c:pt idx="44771">
                  <c:v>33448</c:v>
                </c:pt>
                <c:pt idx="44772">
                  <c:v>33448</c:v>
                </c:pt>
                <c:pt idx="44773">
                  <c:v>33448</c:v>
                </c:pt>
                <c:pt idx="44774">
                  <c:v>33448</c:v>
                </c:pt>
                <c:pt idx="44775">
                  <c:v>33447</c:v>
                </c:pt>
                <c:pt idx="44776">
                  <c:v>33447</c:v>
                </c:pt>
                <c:pt idx="44777">
                  <c:v>33447</c:v>
                </c:pt>
                <c:pt idx="44778">
                  <c:v>33447</c:v>
                </c:pt>
                <c:pt idx="44779">
                  <c:v>33447</c:v>
                </c:pt>
                <c:pt idx="44780">
                  <c:v>33447</c:v>
                </c:pt>
                <c:pt idx="44781">
                  <c:v>33447</c:v>
                </c:pt>
                <c:pt idx="44782">
                  <c:v>33446</c:v>
                </c:pt>
                <c:pt idx="44783">
                  <c:v>33446</c:v>
                </c:pt>
                <c:pt idx="44784">
                  <c:v>33446</c:v>
                </c:pt>
                <c:pt idx="44785">
                  <c:v>33446</c:v>
                </c:pt>
                <c:pt idx="44786">
                  <c:v>33446</c:v>
                </c:pt>
                <c:pt idx="44787">
                  <c:v>33446</c:v>
                </c:pt>
                <c:pt idx="44788">
                  <c:v>33446</c:v>
                </c:pt>
                <c:pt idx="44789">
                  <c:v>33445</c:v>
                </c:pt>
                <c:pt idx="44790">
                  <c:v>33445</c:v>
                </c:pt>
                <c:pt idx="44791">
                  <c:v>33445</c:v>
                </c:pt>
                <c:pt idx="44792">
                  <c:v>33445</c:v>
                </c:pt>
                <c:pt idx="44793">
                  <c:v>33445</c:v>
                </c:pt>
                <c:pt idx="44794">
                  <c:v>33445</c:v>
                </c:pt>
                <c:pt idx="44795">
                  <c:v>33445</c:v>
                </c:pt>
                <c:pt idx="44796">
                  <c:v>33445</c:v>
                </c:pt>
                <c:pt idx="44797">
                  <c:v>33445</c:v>
                </c:pt>
                <c:pt idx="44798">
                  <c:v>33444</c:v>
                </c:pt>
                <c:pt idx="44799">
                  <c:v>33444</c:v>
                </c:pt>
                <c:pt idx="44800">
                  <c:v>33444</c:v>
                </c:pt>
                <c:pt idx="44801">
                  <c:v>33444</c:v>
                </c:pt>
                <c:pt idx="44802">
                  <c:v>33444</c:v>
                </c:pt>
                <c:pt idx="44803">
                  <c:v>33444</c:v>
                </c:pt>
                <c:pt idx="44804">
                  <c:v>33443</c:v>
                </c:pt>
                <c:pt idx="44805">
                  <c:v>33443</c:v>
                </c:pt>
                <c:pt idx="44806">
                  <c:v>33443</c:v>
                </c:pt>
                <c:pt idx="44807">
                  <c:v>33443</c:v>
                </c:pt>
                <c:pt idx="44808">
                  <c:v>33443</c:v>
                </c:pt>
                <c:pt idx="44809">
                  <c:v>33443</c:v>
                </c:pt>
                <c:pt idx="44810">
                  <c:v>33443</c:v>
                </c:pt>
                <c:pt idx="44811">
                  <c:v>33443</c:v>
                </c:pt>
                <c:pt idx="44812">
                  <c:v>33442</c:v>
                </c:pt>
                <c:pt idx="44813">
                  <c:v>33442</c:v>
                </c:pt>
                <c:pt idx="44814">
                  <c:v>33442</c:v>
                </c:pt>
                <c:pt idx="44815">
                  <c:v>33442</c:v>
                </c:pt>
                <c:pt idx="44816">
                  <c:v>33442</c:v>
                </c:pt>
                <c:pt idx="44817">
                  <c:v>33442</c:v>
                </c:pt>
                <c:pt idx="44818">
                  <c:v>33441</c:v>
                </c:pt>
                <c:pt idx="44819">
                  <c:v>33441</c:v>
                </c:pt>
                <c:pt idx="44820">
                  <c:v>33441</c:v>
                </c:pt>
                <c:pt idx="44821">
                  <c:v>33441</c:v>
                </c:pt>
                <c:pt idx="44822">
                  <c:v>33441</c:v>
                </c:pt>
                <c:pt idx="44823">
                  <c:v>33441</c:v>
                </c:pt>
                <c:pt idx="44824">
                  <c:v>33440</c:v>
                </c:pt>
                <c:pt idx="44825">
                  <c:v>33440</c:v>
                </c:pt>
                <c:pt idx="44826">
                  <c:v>33440</c:v>
                </c:pt>
                <c:pt idx="44827">
                  <c:v>33440</c:v>
                </c:pt>
                <c:pt idx="44828">
                  <c:v>33440</c:v>
                </c:pt>
                <c:pt idx="44829">
                  <c:v>33440</c:v>
                </c:pt>
                <c:pt idx="44830">
                  <c:v>33440</c:v>
                </c:pt>
                <c:pt idx="44831">
                  <c:v>33440</c:v>
                </c:pt>
                <c:pt idx="44832">
                  <c:v>33440</c:v>
                </c:pt>
                <c:pt idx="44833">
                  <c:v>33439</c:v>
                </c:pt>
                <c:pt idx="44834">
                  <c:v>33439</c:v>
                </c:pt>
                <c:pt idx="44835">
                  <c:v>33439</c:v>
                </c:pt>
                <c:pt idx="44836">
                  <c:v>33439</c:v>
                </c:pt>
                <c:pt idx="44837">
                  <c:v>33439</c:v>
                </c:pt>
                <c:pt idx="44838">
                  <c:v>33439</c:v>
                </c:pt>
                <c:pt idx="44839">
                  <c:v>33439</c:v>
                </c:pt>
                <c:pt idx="44840">
                  <c:v>33439</c:v>
                </c:pt>
                <c:pt idx="44841">
                  <c:v>33439</c:v>
                </c:pt>
                <c:pt idx="44842">
                  <c:v>33439</c:v>
                </c:pt>
                <c:pt idx="44843">
                  <c:v>33439</c:v>
                </c:pt>
                <c:pt idx="44844">
                  <c:v>33438</c:v>
                </c:pt>
                <c:pt idx="44845">
                  <c:v>33438</c:v>
                </c:pt>
                <c:pt idx="44846">
                  <c:v>33438</c:v>
                </c:pt>
                <c:pt idx="44847">
                  <c:v>33438</c:v>
                </c:pt>
                <c:pt idx="44848">
                  <c:v>33438</c:v>
                </c:pt>
                <c:pt idx="44849">
                  <c:v>33438</c:v>
                </c:pt>
                <c:pt idx="44850">
                  <c:v>33438</c:v>
                </c:pt>
                <c:pt idx="44851">
                  <c:v>33438</c:v>
                </c:pt>
                <c:pt idx="44852">
                  <c:v>33437</c:v>
                </c:pt>
                <c:pt idx="44853">
                  <c:v>33437</c:v>
                </c:pt>
                <c:pt idx="44854">
                  <c:v>33437</c:v>
                </c:pt>
                <c:pt idx="44855">
                  <c:v>33437</c:v>
                </c:pt>
                <c:pt idx="44856">
                  <c:v>33437</c:v>
                </c:pt>
                <c:pt idx="44857">
                  <c:v>33437</c:v>
                </c:pt>
                <c:pt idx="44858">
                  <c:v>33437</c:v>
                </c:pt>
                <c:pt idx="44859">
                  <c:v>33436</c:v>
                </c:pt>
                <c:pt idx="44860">
                  <c:v>33436</c:v>
                </c:pt>
                <c:pt idx="44861">
                  <c:v>33436</c:v>
                </c:pt>
                <c:pt idx="44862">
                  <c:v>33436</c:v>
                </c:pt>
                <c:pt idx="44863">
                  <c:v>33436</c:v>
                </c:pt>
                <c:pt idx="44864">
                  <c:v>33436</c:v>
                </c:pt>
                <c:pt idx="44865">
                  <c:v>33435</c:v>
                </c:pt>
                <c:pt idx="44866">
                  <c:v>33435</c:v>
                </c:pt>
                <c:pt idx="44867">
                  <c:v>33435</c:v>
                </c:pt>
                <c:pt idx="44868">
                  <c:v>33435</c:v>
                </c:pt>
                <c:pt idx="44869">
                  <c:v>33435</c:v>
                </c:pt>
                <c:pt idx="44870">
                  <c:v>33435</c:v>
                </c:pt>
                <c:pt idx="44871">
                  <c:v>33434</c:v>
                </c:pt>
                <c:pt idx="44872">
                  <c:v>33434</c:v>
                </c:pt>
                <c:pt idx="44873">
                  <c:v>33434</c:v>
                </c:pt>
                <c:pt idx="44874">
                  <c:v>33434</c:v>
                </c:pt>
                <c:pt idx="44875">
                  <c:v>33434</c:v>
                </c:pt>
                <c:pt idx="44876">
                  <c:v>33434</c:v>
                </c:pt>
                <c:pt idx="44877">
                  <c:v>33434</c:v>
                </c:pt>
                <c:pt idx="44878">
                  <c:v>33434</c:v>
                </c:pt>
                <c:pt idx="44879">
                  <c:v>33434</c:v>
                </c:pt>
                <c:pt idx="44880">
                  <c:v>33433</c:v>
                </c:pt>
                <c:pt idx="44881">
                  <c:v>33433</c:v>
                </c:pt>
                <c:pt idx="44882">
                  <c:v>33433</c:v>
                </c:pt>
                <c:pt idx="44883">
                  <c:v>33433</c:v>
                </c:pt>
                <c:pt idx="44884">
                  <c:v>33432</c:v>
                </c:pt>
                <c:pt idx="44885">
                  <c:v>33432</c:v>
                </c:pt>
                <c:pt idx="44886">
                  <c:v>33432</c:v>
                </c:pt>
                <c:pt idx="44887">
                  <c:v>33432</c:v>
                </c:pt>
                <c:pt idx="44888">
                  <c:v>33432</c:v>
                </c:pt>
                <c:pt idx="44889">
                  <c:v>33432</c:v>
                </c:pt>
                <c:pt idx="44890">
                  <c:v>33432</c:v>
                </c:pt>
                <c:pt idx="44891">
                  <c:v>33432</c:v>
                </c:pt>
                <c:pt idx="44892">
                  <c:v>33432</c:v>
                </c:pt>
                <c:pt idx="44893">
                  <c:v>33432</c:v>
                </c:pt>
                <c:pt idx="44894">
                  <c:v>33431</c:v>
                </c:pt>
                <c:pt idx="44895">
                  <c:v>33431</c:v>
                </c:pt>
                <c:pt idx="44896">
                  <c:v>33431</c:v>
                </c:pt>
                <c:pt idx="44897">
                  <c:v>33431</c:v>
                </c:pt>
                <c:pt idx="44898">
                  <c:v>33431</c:v>
                </c:pt>
                <c:pt idx="44899">
                  <c:v>33431</c:v>
                </c:pt>
                <c:pt idx="44900">
                  <c:v>33430</c:v>
                </c:pt>
                <c:pt idx="44901">
                  <c:v>33430</c:v>
                </c:pt>
                <c:pt idx="44902">
                  <c:v>33430</c:v>
                </c:pt>
                <c:pt idx="44903">
                  <c:v>33430</c:v>
                </c:pt>
                <c:pt idx="44904">
                  <c:v>33430</c:v>
                </c:pt>
                <c:pt idx="44905">
                  <c:v>33430</c:v>
                </c:pt>
                <c:pt idx="44906">
                  <c:v>33430</c:v>
                </c:pt>
                <c:pt idx="44907">
                  <c:v>33430</c:v>
                </c:pt>
                <c:pt idx="44908">
                  <c:v>33430</c:v>
                </c:pt>
                <c:pt idx="44909">
                  <c:v>33430</c:v>
                </c:pt>
                <c:pt idx="44910">
                  <c:v>33429</c:v>
                </c:pt>
                <c:pt idx="44911">
                  <c:v>33429</c:v>
                </c:pt>
                <c:pt idx="44912">
                  <c:v>33429</c:v>
                </c:pt>
                <c:pt idx="44913">
                  <c:v>33429</c:v>
                </c:pt>
                <c:pt idx="44914">
                  <c:v>33429</c:v>
                </c:pt>
                <c:pt idx="44915">
                  <c:v>33428</c:v>
                </c:pt>
                <c:pt idx="44916">
                  <c:v>33428</c:v>
                </c:pt>
                <c:pt idx="44917">
                  <c:v>33428</c:v>
                </c:pt>
                <c:pt idx="44918">
                  <c:v>33428</c:v>
                </c:pt>
                <c:pt idx="44919">
                  <c:v>33428</c:v>
                </c:pt>
                <c:pt idx="44920">
                  <c:v>33428</c:v>
                </c:pt>
                <c:pt idx="44921">
                  <c:v>33427</c:v>
                </c:pt>
                <c:pt idx="44922">
                  <c:v>33427</c:v>
                </c:pt>
                <c:pt idx="44923">
                  <c:v>33427</c:v>
                </c:pt>
                <c:pt idx="44924">
                  <c:v>33427</c:v>
                </c:pt>
                <c:pt idx="44925">
                  <c:v>33427</c:v>
                </c:pt>
                <c:pt idx="44926">
                  <c:v>33427</c:v>
                </c:pt>
                <c:pt idx="44927">
                  <c:v>33427</c:v>
                </c:pt>
                <c:pt idx="44928">
                  <c:v>33427</c:v>
                </c:pt>
                <c:pt idx="44929">
                  <c:v>33426</c:v>
                </c:pt>
                <c:pt idx="44930">
                  <c:v>33426</c:v>
                </c:pt>
                <c:pt idx="44931">
                  <c:v>33426</c:v>
                </c:pt>
                <c:pt idx="44932">
                  <c:v>33426</c:v>
                </c:pt>
                <c:pt idx="44933">
                  <c:v>33426</c:v>
                </c:pt>
                <c:pt idx="44934">
                  <c:v>33426</c:v>
                </c:pt>
                <c:pt idx="44935">
                  <c:v>33426</c:v>
                </c:pt>
                <c:pt idx="44936">
                  <c:v>33425</c:v>
                </c:pt>
                <c:pt idx="44937">
                  <c:v>33425</c:v>
                </c:pt>
                <c:pt idx="44938">
                  <c:v>33425</c:v>
                </c:pt>
                <c:pt idx="44939">
                  <c:v>33425</c:v>
                </c:pt>
                <c:pt idx="44940">
                  <c:v>33425</c:v>
                </c:pt>
                <c:pt idx="44941">
                  <c:v>33425</c:v>
                </c:pt>
                <c:pt idx="44942">
                  <c:v>33425</c:v>
                </c:pt>
                <c:pt idx="44943">
                  <c:v>33425</c:v>
                </c:pt>
                <c:pt idx="44944">
                  <c:v>33424</c:v>
                </c:pt>
                <c:pt idx="44945">
                  <c:v>33424</c:v>
                </c:pt>
                <c:pt idx="44946">
                  <c:v>33424</c:v>
                </c:pt>
                <c:pt idx="44947">
                  <c:v>33424</c:v>
                </c:pt>
                <c:pt idx="44948">
                  <c:v>33424</c:v>
                </c:pt>
                <c:pt idx="44949">
                  <c:v>33424</c:v>
                </c:pt>
                <c:pt idx="44950">
                  <c:v>33424</c:v>
                </c:pt>
                <c:pt idx="44951">
                  <c:v>33424</c:v>
                </c:pt>
                <c:pt idx="44952">
                  <c:v>33423</c:v>
                </c:pt>
                <c:pt idx="44953">
                  <c:v>33423</c:v>
                </c:pt>
                <c:pt idx="44954">
                  <c:v>33423</c:v>
                </c:pt>
                <c:pt idx="44955">
                  <c:v>33423</c:v>
                </c:pt>
                <c:pt idx="44956">
                  <c:v>33423</c:v>
                </c:pt>
                <c:pt idx="44957">
                  <c:v>33422</c:v>
                </c:pt>
                <c:pt idx="44958">
                  <c:v>33422</c:v>
                </c:pt>
                <c:pt idx="44959">
                  <c:v>33422</c:v>
                </c:pt>
                <c:pt idx="44960">
                  <c:v>33422</c:v>
                </c:pt>
                <c:pt idx="44961">
                  <c:v>33422</c:v>
                </c:pt>
                <c:pt idx="44962">
                  <c:v>33422</c:v>
                </c:pt>
                <c:pt idx="44963">
                  <c:v>33422</c:v>
                </c:pt>
                <c:pt idx="44964">
                  <c:v>33422</c:v>
                </c:pt>
                <c:pt idx="44965">
                  <c:v>33422</c:v>
                </c:pt>
                <c:pt idx="44966">
                  <c:v>33421</c:v>
                </c:pt>
                <c:pt idx="44967">
                  <c:v>33421</c:v>
                </c:pt>
                <c:pt idx="44968">
                  <c:v>33421</c:v>
                </c:pt>
                <c:pt idx="44969">
                  <c:v>33421</c:v>
                </c:pt>
                <c:pt idx="44970">
                  <c:v>33421</c:v>
                </c:pt>
                <c:pt idx="44971">
                  <c:v>33421</c:v>
                </c:pt>
                <c:pt idx="44972">
                  <c:v>33421</c:v>
                </c:pt>
                <c:pt idx="44973">
                  <c:v>33420</c:v>
                </c:pt>
                <c:pt idx="44974">
                  <c:v>33420</c:v>
                </c:pt>
                <c:pt idx="44975">
                  <c:v>33420</c:v>
                </c:pt>
                <c:pt idx="44976">
                  <c:v>33419</c:v>
                </c:pt>
                <c:pt idx="44977">
                  <c:v>33419</c:v>
                </c:pt>
                <c:pt idx="44978">
                  <c:v>33419</c:v>
                </c:pt>
                <c:pt idx="44979">
                  <c:v>33419</c:v>
                </c:pt>
                <c:pt idx="44980">
                  <c:v>33419</c:v>
                </c:pt>
                <c:pt idx="44981">
                  <c:v>33419</c:v>
                </c:pt>
                <c:pt idx="44982">
                  <c:v>33419</c:v>
                </c:pt>
                <c:pt idx="44983">
                  <c:v>33419</c:v>
                </c:pt>
                <c:pt idx="44984">
                  <c:v>33419</c:v>
                </c:pt>
                <c:pt idx="44985">
                  <c:v>33419</c:v>
                </c:pt>
                <c:pt idx="44986">
                  <c:v>33418</c:v>
                </c:pt>
                <c:pt idx="44987">
                  <c:v>33418</c:v>
                </c:pt>
                <c:pt idx="44988">
                  <c:v>33418</c:v>
                </c:pt>
                <c:pt idx="44989">
                  <c:v>33418</c:v>
                </c:pt>
                <c:pt idx="44990">
                  <c:v>33418</c:v>
                </c:pt>
                <c:pt idx="44991">
                  <c:v>33418</c:v>
                </c:pt>
                <c:pt idx="44992">
                  <c:v>33418</c:v>
                </c:pt>
                <c:pt idx="44993">
                  <c:v>33417</c:v>
                </c:pt>
                <c:pt idx="44994">
                  <c:v>33417</c:v>
                </c:pt>
                <c:pt idx="44995">
                  <c:v>33417</c:v>
                </c:pt>
                <c:pt idx="44996">
                  <c:v>33417</c:v>
                </c:pt>
                <c:pt idx="44997">
                  <c:v>33417</c:v>
                </c:pt>
                <c:pt idx="44998">
                  <c:v>33417</c:v>
                </c:pt>
                <c:pt idx="44999">
                  <c:v>33417</c:v>
                </c:pt>
                <c:pt idx="45000">
                  <c:v>33417</c:v>
                </c:pt>
                <c:pt idx="45001">
                  <c:v>33417</c:v>
                </c:pt>
                <c:pt idx="45002">
                  <c:v>33417</c:v>
                </c:pt>
                <c:pt idx="45003">
                  <c:v>33417</c:v>
                </c:pt>
                <c:pt idx="45004">
                  <c:v>33417</c:v>
                </c:pt>
                <c:pt idx="45005">
                  <c:v>33416</c:v>
                </c:pt>
                <c:pt idx="45006">
                  <c:v>33416</c:v>
                </c:pt>
                <c:pt idx="45007">
                  <c:v>33416</c:v>
                </c:pt>
                <c:pt idx="45008">
                  <c:v>33416</c:v>
                </c:pt>
                <c:pt idx="45009">
                  <c:v>33415</c:v>
                </c:pt>
                <c:pt idx="45010">
                  <c:v>33415</c:v>
                </c:pt>
                <c:pt idx="45011">
                  <c:v>33415</c:v>
                </c:pt>
                <c:pt idx="45012">
                  <c:v>33415</c:v>
                </c:pt>
                <c:pt idx="45013">
                  <c:v>33414</c:v>
                </c:pt>
                <c:pt idx="45014">
                  <c:v>33414</c:v>
                </c:pt>
                <c:pt idx="45015">
                  <c:v>33414</c:v>
                </c:pt>
                <c:pt idx="45016">
                  <c:v>33414</c:v>
                </c:pt>
                <c:pt idx="45017">
                  <c:v>33414</c:v>
                </c:pt>
                <c:pt idx="45018">
                  <c:v>33414</c:v>
                </c:pt>
                <c:pt idx="45019">
                  <c:v>33414</c:v>
                </c:pt>
                <c:pt idx="45020">
                  <c:v>33414</c:v>
                </c:pt>
                <c:pt idx="45021">
                  <c:v>33413</c:v>
                </c:pt>
                <c:pt idx="45022">
                  <c:v>33413</c:v>
                </c:pt>
                <c:pt idx="45023">
                  <c:v>33413</c:v>
                </c:pt>
                <c:pt idx="45024">
                  <c:v>33413</c:v>
                </c:pt>
                <c:pt idx="45025">
                  <c:v>33413</c:v>
                </c:pt>
                <c:pt idx="45026">
                  <c:v>33413</c:v>
                </c:pt>
                <c:pt idx="45027">
                  <c:v>33412</c:v>
                </c:pt>
                <c:pt idx="45028">
                  <c:v>33412</c:v>
                </c:pt>
                <c:pt idx="45029">
                  <c:v>33412</c:v>
                </c:pt>
                <c:pt idx="45030">
                  <c:v>33412</c:v>
                </c:pt>
                <c:pt idx="45031">
                  <c:v>33412</c:v>
                </c:pt>
                <c:pt idx="45032">
                  <c:v>33412</c:v>
                </c:pt>
                <c:pt idx="45033">
                  <c:v>33412</c:v>
                </c:pt>
                <c:pt idx="45034">
                  <c:v>33411</c:v>
                </c:pt>
                <c:pt idx="45035">
                  <c:v>33411</c:v>
                </c:pt>
                <c:pt idx="45036">
                  <c:v>33411</c:v>
                </c:pt>
                <c:pt idx="45037">
                  <c:v>33411</c:v>
                </c:pt>
                <c:pt idx="45038">
                  <c:v>33411</c:v>
                </c:pt>
                <c:pt idx="45039">
                  <c:v>33411</c:v>
                </c:pt>
                <c:pt idx="45040">
                  <c:v>33411</c:v>
                </c:pt>
                <c:pt idx="45041">
                  <c:v>33411</c:v>
                </c:pt>
                <c:pt idx="45042">
                  <c:v>33411</c:v>
                </c:pt>
                <c:pt idx="45043">
                  <c:v>33411</c:v>
                </c:pt>
                <c:pt idx="45044">
                  <c:v>33411</c:v>
                </c:pt>
                <c:pt idx="45045">
                  <c:v>33410</c:v>
                </c:pt>
                <c:pt idx="45046">
                  <c:v>33410</c:v>
                </c:pt>
                <c:pt idx="45047">
                  <c:v>33410</c:v>
                </c:pt>
                <c:pt idx="45048">
                  <c:v>33410</c:v>
                </c:pt>
                <c:pt idx="45049">
                  <c:v>33410</c:v>
                </c:pt>
                <c:pt idx="45050">
                  <c:v>33410</c:v>
                </c:pt>
                <c:pt idx="45051">
                  <c:v>33410</c:v>
                </c:pt>
                <c:pt idx="45052">
                  <c:v>33410</c:v>
                </c:pt>
                <c:pt idx="45053">
                  <c:v>33410</c:v>
                </c:pt>
                <c:pt idx="45054">
                  <c:v>33409</c:v>
                </c:pt>
                <c:pt idx="45055">
                  <c:v>33409</c:v>
                </c:pt>
                <c:pt idx="45056">
                  <c:v>33409</c:v>
                </c:pt>
                <c:pt idx="45057">
                  <c:v>33409</c:v>
                </c:pt>
                <c:pt idx="45058">
                  <c:v>33409</c:v>
                </c:pt>
                <c:pt idx="45059">
                  <c:v>33409</c:v>
                </c:pt>
                <c:pt idx="45060">
                  <c:v>33409</c:v>
                </c:pt>
                <c:pt idx="45061">
                  <c:v>33409</c:v>
                </c:pt>
                <c:pt idx="45062">
                  <c:v>33409</c:v>
                </c:pt>
                <c:pt idx="45063">
                  <c:v>33409</c:v>
                </c:pt>
                <c:pt idx="45064">
                  <c:v>33408</c:v>
                </c:pt>
                <c:pt idx="45065">
                  <c:v>33408</c:v>
                </c:pt>
                <c:pt idx="45066">
                  <c:v>33408</c:v>
                </c:pt>
                <c:pt idx="45067">
                  <c:v>33408</c:v>
                </c:pt>
                <c:pt idx="45068">
                  <c:v>33408</c:v>
                </c:pt>
                <c:pt idx="45069">
                  <c:v>33408</c:v>
                </c:pt>
                <c:pt idx="45070">
                  <c:v>33408</c:v>
                </c:pt>
                <c:pt idx="45071">
                  <c:v>33408</c:v>
                </c:pt>
                <c:pt idx="45072">
                  <c:v>33408</c:v>
                </c:pt>
                <c:pt idx="45073">
                  <c:v>33408</c:v>
                </c:pt>
                <c:pt idx="45074">
                  <c:v>33408</c:v>
                </c:pt>
                <c:pt idx="45075">
                  <c:v>33407</c:v>
                </c:pt>
                <c:pt idx="45076">
                  <c:v>33407</c:v>
                </c:pt>
                <c:pt idx="45077">
                  <c:v>33407</c:v>
                </c:pt>
                <c:pt idx="45078">
                  <c:v>33407</c:v>
                </c:pt>
                <c:pt idx="45079">
                  <c:v>33407</c:v>
                </c:pt>
                <c:pt idx="45080">
                  <c:v>33406</c:v>
                </c:pt>
                <c:pt idx="45081">
                  <c:v>33406</c:v>
                </c:pt>
                <c:pt idx="45082">
                  <c:v>33406</c:v>
                </c:pt>
                <c:pt idx="45083">
                  <c:v>33406</c:v>
                </c:pt>
                <c:pt idx="45084">
                  <c:v>33406</c:v>
                </c:pt>
                <c:pt idx="45085">
                  <c:v>33406</c:v>
                </c:pt>
                <c:pt idx="45086">
                  <c:v>33405</c:v>
                </c:pt>
                <c:pt idx="45087">
                  <c:v>33405</c:v>
                </c:pt>
                <c:pt idx="45088">
                  <c:v>33405</c:v>
                </c:pt>
                <c:pt idx="45089">
                  <c:v>33405</c:v>
                </c:pt>
                <c:pt idx="45090">
                  <c:v>33405</c:v>
                </c:pt>
                <c:pt idx="45091">
                  <c:v>33405</c:v>
                </c:pt>
                <c:pt idx="45092">
                  <c:v>33405</c:v>
                </c:pt>
                <c:pt idx="45093">
                  <c:v>33404</c:v>
                </c:pt>
                <c:pt idx="45094">
                  <c:v>33403</c:v>
                </c:pt>
                <c:pt idx="45095">
                  <c:v>33403</c:v>
                </c:pt>
                <c:pt idx="45096">
                  <c:v>33403</c:v>
                </c:pt>
                <c:pt idx="45097">
                  <c:v>33403</c:v>
                </c:pt>
                <c:pt idx="45098">
                  <c:v>33403</c:v>
                </c:pt>
                <c:pt idx="45099">
                  <c:v>33403</c:v>
                </c:pt>
                <c:pt idx="45100">
                  <c:v>33403</c:v>
                </c:pt>
                <c:pt idx="45101">
                  <c:v>33403</c:v>
                </c:pt>
                <c:pt idx="45102">
                  <c:v>33403</c:v>
                </c:pt>
                <c:pt idx="45103">
                  <c:v>33402</c:v>
                </c:pt>
                <c:pt idx="45104">
                  <c:v>33402</c:v>
                </c:pt>
                <c:pt idx="45105">
                  <c:v>33402</c:v>
                </c:pt>
                <c:pt idx="45106">
                  <c:v>33402</c:v>
                </c:pt>
                <c:pt idx="45107">
                  <c:v>33401</c:v>
                </c:pt>
                <c:pt idx="45108">
                  <c:v>33401</c:v>
                </c:pt>
                <c:pt idx="45109">
                  <c:v>33401</c:v>
                </c:pt>
                <c:pt idx="45110">
                  <c:v>33401</c:v>
                </c:pt>
                <c:pt idx="45111">
                  <c:v>33400</c:v>
                </c:pt>
                <c:pt idx="45112">
                  <c:v>33400</c:v>
                </c:pt>
                <c:pt idx="45113">
                  <c:v>33400</c:v>
                </c:pt>
                <c:pt idx="45114">
                  <c:v>33400</c:v>
                </c:pt>
                <c:pt idx="45115">
                  <c:v>33400</c:v>
                </c:pt>
                <c:pt idx="45116">
                  <c:v>33400</c:v>
                </c:pt>
                <c:pt idx="45117">
                  <c:v>33400</c:v>
                </c:pt>
                <c:pt idx="45118">
                  <c:v>33400</c:v>
                </c:pt>
                <c:pt idx="45119">
                  <c:v>33400</c:v>
                </c:pt>
                <c:pt idx="45120">
                  <c:v>33400</c:v>
                </c:pt>
                <c:pt idx="45121">
                  <c:v>33400</c:v>
                </c:pt>
                <c:pt idx="45122">
                  <c:v>33399</c:v>
                </c:pt>
                <c:pt idx="45123">
                  <c:v>33399</c:v>
                </c:pt>
                <c:pt idx="45124">
                  <c:v>33399</c:v>
                </c:pt>
                <c:pt idx="45125">
                  <c:v>33399</c:v>
                </c:pt>
                <c:pt idx="45126">
                  <c:v>33399</c:v>
                </c:pt>
                <c:pt idx="45127">
                  <c:v>33399</c:v>
                </c:pt>
                <c:pt idx="45128">
                  <c:v>33399</c:v>
                </c:pt>
                <c:pt idx="45129">
                  <c:v>33398</c:v>
                </c:pt>
                <c:pt idx="45130">
                  <c:v>33398</c:v>
                </c:pt>
                <c:pt idx="45131">
                  <c:v>33398</c:v>
                </c:pt>
                <c:pt idx="45132">
                  <c:v>33398</c:v>
                </c:pt>
                <c:pt idx="45133">
                  <c:v>33398</c:v>
                </c:pt>
                <c:pt idx="45134">
                  <c:v>33398</c:v>
                </c:pt>
                <c:pt idx="45135">
                  <c:v>33398</c:v>
                </c:pt>
                <c:pt idx="45136">
                  <c:v>33397</c:v>
                </c:pt>
                <c:pt idx="45137">
                  <c:v>33397</c:v>
                </c:pt>
                <c:pt idx="45138">
                  <c:v>33397</c:v>
                </c:pt>
                <c:pt idx="45139">
                  <c:v>33397</c:v>
                </c:pt>
                <c:pt idx="45140">
                  <c:v>33397</c:v>
                </c:pt>
                <c:pt idx="45141">
                  <c:v>33397</c:v>
                </c:pt>
                <c:pt idx="45142">
                  <c:v>33397</c:v>
                </c:pt>
                <c:pt idx="45143">
                  <c:v>33397</c:v>
                </c:pt>
                <c:pt idx="45144">
                  <c:v>33397</c:v>
                </c:pt>
                <c:pt idx="45145">
                  <c:v>33396</c:v>
                </c:pt>
                <c:pt idx="45146">
                  <c:v>33396</c:v>
                </c:pt>
                <c:pt idx="45147">
                  <c:v>33396</c:v>
                </c:pt>
                <c:pt idx="45148">
                  <c:v>33396</c:v>
                </c:pt>
                <c:pt idx="45149">
                  <c:v>33396</c:v>
                </c:pt>
                <c:pt idx="45150">
                  <c:v>33396</c:v>
                </c:pt>
                <c:pt idx="45151">
                  <c:v>33396</c:v>
                </c:pt>
                <c:pt idx="45152">
                  <c:v>33396</c:v>
                </c:pt>
                <c:pt idx="45153">
                  <c:v>33396</c:v>
                </c:pt>
                <c:pt idx="45154">
                  <c:v>33396</c:v>
                </c:pt>
                <c:pt idx="45155">
                  <c:v>33396</c:v>
                </c:pt>
                <c:pt idx="45156">
                  <c:v>33396</c:v>
                </c:pt>
                <c:pt idx="45157">
                  <c:v>33396</c:v>
                </c:pt>
                <c:pt idx="45158">
                  <c:v>33396</c:v>
                </c:pt>
                <c:pt idx="45159">
                  <c:v>33396</c:v>
                </c:pt>
                <c:pt idx="45160">
                  <c:v>33396</c:v>
                </c:pt>
                <c:pt idx="45161">
                  <c:v>33395</c:v>
                </c:pt>
                <c:pt idx="45162">
                  <c:v>33395</c:v>
                </c:pt>
                <c:pt idx="45163">
                  <c:v>33395</c:v>
                </c:pt>
                <c:pt idx="45164">
                  <c:v>33395</c:v>
                </c:pt>
                <c:pt idx="45165">
                  <c:v>33395</c:v>
                </c:pt>
                <c:pt idx="45166">
                  <c:v>33395</c:v>
                </c:pt>
                <c:pt idx="45167">
                  <c:v>33395</c:v>
                </c:pt>
                <c:pt idx="45168">
                  <c:v>33395</c:v>
                </c:pt>
                <c:pt idx="45169">
                  <c:v>33395</c:v>
                </c:pt>
                <c:pt idx="45170">
                  <c:v>33395</c:v>
                </c:pt>
                <c:pt idx="45171">
                  <c:v>33394</c:v>
                </c:pt>
                <c:pt idx="45172">
                  <c:v>33394</c:v>
                </c:pt>
                <c:pt idx="45173">
                  <c:v>33394</c:v>
                </c:pt>
                <c:pt idx="45174">
                  <c:v>33394</c:v>
                </c:pt>
                <c:pt idx="45175">
                  <c:v>33394</c:v>
                </c:pt>
                <c:pt idx="45176">
                  <c:v>33394</c:v>
                </c:pt>
                <c:pt idx="45177">
                  <c:v>33394</c:v>
                </c:pt>
                <c:pt idx="45178">
                  <c:v>33394</c:v>
                </c:pt>
                <c:pt idx="45179">
                  <c:v>33394</c:v>
                </c:pt>
                <c:pt idx="45180">
                  <c:v>33394</c:v>
                </c:pt>
                <c:pt idx="45181">
                  <c:v>33394</c:v>
                </c:pt>
                <c:pt idx="45182">
                  <c:v>33394</c:v>
                </c:pt>
                <c:pt idx="45183">
                  <c:v>33393</c:v>
                </c:pt>
                <c:pt idx="45184">
                  <c:v>33393</c:v>
                </c:pt>
                <c:pt idx="45185">
                  <c:v>33393</c:v>
                </c:pt>
                <c:pt idx="45186">
                  <c:v>33393</c:v>
                </c:pt>
                <c:pt idx="45187">
                  <c:v>33393</c:v>
                </c:pt>
                <c:pt idx="45188">
                  <c:v>33393</c:v>
                </c:pt>
                <c:pt idx="45189">
                  <c:v>33392</c:v>
                </c:pt>
                <c:pt idx="45190">
                  <c:v>33392</c:v>
                </c:pt>
                <c:pt idx="45191">
                  <c:v>33392</c:v>
                </c:pt>
                <c:pt idx="45192">
                  <c:v>33392</c:v>
                </c:pt>
                <c:pt idx="45193">
                  <c:v>33391</c:v>
                </c:pt>
                <c:pt idx="45194">
                  <c:v>33391</c:v>
                </c:pt>
                <c:pt idx="45195">
                  <c:v>33391</c:v>
                </c:pt>
                <c:pt idx="45196">
                  <c:v>33391</c:v>
                </c:pt>
                <c:pt idx="45197">
                  <c:v>33391</c:v>
                </c:pt>
                <c:pt idx="45198">
                  <c:v>33390</c:v>
                </c:pt>
                <c:pt idx="45199">
                  <c:v>33390</c:v>
                </c:pt>
                <c:pt idx="45200">
                  <c:v>33390</c:v>
                </c:pt>
                <c:pt idx="45201">
                  <c:v>33390</c:v>
                </c:pt>
                <c:pt idx="45202">
                  <c:v>33390</c:v>
                </c:pt>
                <c:pt idx="45203">
                  <c:v>33390</c:v>
                </c:pt>
                <c:pt idx="45204">
                  <c:v>33390</c:v>
                </c:pt>
                <c:pt idx="45205">
                  <c:v>33389</c:v>
                </c:pt>
                <c:pt idx="45206">
                  <c:v>33389</c:v>
                </c:pt>
                <c:pt idx="45207">
                  <c:v>33389</c:v>
                </c:pt>
                <c:pt idx="45208">
                  <c:v>33389</c:v>
                </c:pt>
                <c:pt idx="45209">
                  <c:v>33389</c:v>
                </c:pt>
                <c:pt idx="45210">
                  <c:v>33389</c:v>
                </c:pt>
                <c:pt idx="45211">
                  <c:v>33389</c:v>
                </c:pt>
                <c:pt idx="45212">
                  <c:v>33389</c:v>
                </c:pt>
                <c:pt idx="45213">
                  <c:v>33389</c:v>
                </c:pt>
                <c:pt idx="45214">
                  <c:v>33388</c:v>
                </c:pt>
                <c:pt idx="45215">
                  <c:v>33388</c:v>
                </c:pt>
                <c:pt idx="45216">
                  <c:v>33388</c:v>
                </c:pt>
                <c:pt idx="45217">
                  <c:v>33388</c:v>
                </c:pt>
                <c:pt idx="45218">
                  <c:v>33388</c:v>
                </c:pt>
                <c:pt idx="45219">
                  <c:v>33388</c:v>
                </c:pt>
                <c:pt idx="45220">
                  <c:v>33387</c:v>
                </c:pt>
                <c:pt idx="45221">
                  <c:v>33387</c:v>
                </c:pt>
                <c:pt idx="45222">
                  <c:v>33387</c:v>
                </c:pt>
                <c:pt idx="45223">
                  <c:v>33387</c:v>
                </c:pt>
                <c:pt idx="45224">
                  <c:v>33387</c:v>
                </c:pt>
                <c:pt idx="45225">
                  <c:v>33387</c:v>
                </c:pt>
                <c:pt idx="45226">
                  <c:v>33386</c:v>
                </c:pt>
                <c:pt idx="45227">
                  <c:v>33386</c:v>
                </c:pt>
                <c:pt idx="45228">
                  <c:v>33386</c:v>
                </c:pt>
                <c:pt idx="45229">
                  <c:v>33386</c:v>
                </c:pt>
                <c:pt idx="45230">
                  <c:v>33386</c:v>
                </c:pt>
                <c:pt idx="45231">
                  <c:v>33385</c:v>
                </c:pt>
                <c:pt idx="45232">
                  <c:v>33385</c:v>
                </c:pt>
                <c:pt idx="45233">
                  <c:v>33385</c:v>
                </c:pt>
                <c:pt idx="45234">
                  <c:v>33385</c:v>
                </c:pt>
                <c:pt idx="45235">
                  <c:v>33384</c:v>
                </c:pt>
                <c:pt idx="45236">
                  <c:v>33384</c:v>
                </c:pt>
                <c:pt idx="45237">
                  <c:v>33384</c:v>
                </c:pt>
                <c:pt idx="45238">
                  <c:v>33384</c:v>
                </c:pt>
                <c:pt idx="45239">
                  <c:v>33384</c:v>
                </c:pt>
                <c:pt idx="45240">
                  <c:v>33384</c:v>
                </c:pt>
                <c:pt idx="45241">
                  <c:v>33384</c:v>
                </c:pt>
                <c:pt idx="45242">
                  <c:v>33383</c:v>
                </c:pt>
                <c:pt idx="45243">
                  <c:v>33383</c:v>
                </c:pt>
                <c:pt idx="45244">
                  <c:v>33383</c:v>
                </c:pt>
                <c:pt idx="45245">
                  <c:v>33383</c:v>
                </c:pt>
                <c:pt idx="45246">
                  <c:v>33383</c:v>
                </c:pt>
                <c:pt idx="45247">
                  <c:v>33383</c:v>
                </c:pt>
                <c:pt idx="45248">
                  <c:v>33382</c:v>
                </c:pt>
                <c:pt idx="45249">
                  <c:v>33382</c:v>
                </c:pt>
                <c:pt idx="45250">
                  <c:v>33382</c:v>
                </c:pt>
                <c:pt idx="45251">
                  <c:v>33382</c:v>
                </c:pt>
                <c:pt idx="45252">
                  <c:v>33382</c:v>
                </c:pt>
                <c:pt idx="45253">
                  <c:v>33382</c:v>
                </c:pt>
                <c:pt idx="45254">
                  <c:v>33382</c:v>
                </c:pt>
                <c:pt idx="45255">
                  <c:v>33382</c:v>
                </c:pt>
                <c:pt idx="45256">
                  <c:v>33381</c:v>
                </c:pt>
                <c:pt idx="45257">
                  <c:v>33381</c:v>
                </c:pt>
                <c:pt idx="45258">
                  <c:v>33381</c:v>
                </c:pt>
                <c:pt idx="45259">
                  <c:v>33381</c:v>
                </c:pt>
                <c:pt idx="45260">
                  <c:v>33381</c:v>
                </c:pt>
                <c:pt idx="45261">
                  <c:v>33381</c:v>
                </c:pt>
                <c:pt idx="45262">
                  <c:v>33381</c:v>
                </c:pt>
                <c:pt idx="45263">
                  <c:v>33381</c:v>
                </c:pt>
                <c:pt idx="45264">
                  <c:v>33381</c:v>
                </c:pt>
                <c:pt idx="45265">
                  <c:v>33381</c:v>
                </c:pt>
                <c:pt idx="45266">
                  <c:v>33380</c:v>
                </c:pt>
                <c:pt idx="45267">
                  <c:v>33380</c:v>
                </c:pt>
                <c:pt idx="45268">
                  <c:v>33380</c:v>
                </c:pt>
                <c:pt idx="45269">
                  <c:v>33379</c:v>
                </c:pt>
                <c:pt idx="45270">
                  <c:v>33379</c:v>
                </c:pt>
                <c:pt idx="45271">
                  <c:v>33378</c:v>
                </c:pt>
                <c:pt idx="45272">
                  <c:v>33378</c:v>
                </c:pt>
                <c:pt idx="45273">
                  <c:v>33378</c:v>
                </c:pt>
                <c:pt idx="45274">
                  <c:v>33378</c:v>
                </c:pt>
                <c:pt idx="45275">
                  <c:v>33378</c:v>
                </c:pt>
                <c:pt idx="45276">
                  <c:v>33378</c:v>
                </c:pt>
                <c:pt idx="45277">
                  <c:v>33378</c:v>
                </c:pt>
                <c:pt idx="45278">
                  <c:v>33378</c:v>
                </c:pt>
                <c:pt idx="45279">
                  <c:v>33377</c:v>
                </c:pt>
                <c:pt idx="45280">
                  <c:v>33377</c:v>
                </c:pt>
                <c:pt idx="45281">
                  <c:v>33377</c:v>
                </c:pt>
                <c:pt idx="45282">
                  <c:v>33377</c:v>
                </c:pt>
                <c:pt idx="45283">
                  <c:v>33377</c:v>
                </c:pt>
                <c:pt idx="45284">
                  <c:v>33377</c:v>
                </c:pt>
                <c:pt idx="45285">
                  <c:v>33377</c:v>
                </c:pt>
                <c:pt idx="45286">
                  <c:v>33376</c:v>
                </c:pt>
                <c:pt idx="45287">
                  <c:v>33376</c:v>
                </c:pt>
                <c:pt idx="45288">
                  <c:v>33376</c:v>
                </c:pt>
                <c:pt idx="45289">
                  <c:v>33376</c:v>
                </c:pt>
                <c:pt idx="45290">
                  <c:v>33376</c:v>
                </c:pt>
                <c:pt idx="45291">
                  <c:v>33375</c:v>
                </c:pt>
                <c:pt idx="45292">
                  <c:v>33375</c:v>
                </c:pt>
                <c:pt idx="45293">
                  <c:v>33375</c:v>
                </c:pt>
                <c:pt idx="45294">
                  <c:v>33375</c:v>
                </c:pt>
                <c:pt idx="45295">
                  <c:v>33375</c:v>
                </c:pt>
                <c:pt idx="45296">
                  <c:v>33375</c:v>
                </c:pt>
                <c:pt idx="45297">
                  <c:v>33375</c:v>
                </c:pt>
                <c:pt idx="45298">
                  <c:v>33375</c:v>
                </c:pt>
                <c:pt idx="45299">
                  <c:v>33375</c:v>
                </c:pt>
                <c:pt idx="45300">
                  <c:v>33375</c:v>
                </c:pt>
                <c:pt idx="45301">
                  <c:v>33374</c:v>
                </c:pt>
                <c:pt idx="45302">
                  <c:v>33374</c:v>
                </c:pt>
                <c:pt idx="45303">
                  <c:v>33374</c:v>
                </c:pt>
                <c:pt idx="45304">
                  <c:v>33374</c:v>
                </c:pt>
                <c:pt idx="45305">
                  <c:v>33374</c:v>
                </c:pt>
                <c:pt idx="45306">
                  <c:v>33374</c:v>
                </c:pt>
                <c:pt idx="45307">
                  <c:v>33373</c:v>
                </c:pt>
                <c:pt idx="45308">
                  <c:v>33373</c:v>
                </c:pt>
                <c:pt idx="45309">
                  <c:v>33373</c:v>
                </c:pt>
                <c:pt idx="45310">
                  <c:v>33373</c:v>
                </c:pt>
                <c:pt idx="45311">
                  <c:v>33373</c:v>
                </c:pt>
                <c:pt idx="45312">
                  <c:v>33373</c:v>
                </c:pt>
                <c:pt idx="45313">
                  <c:v>33373</c:v>
                </c:pt>
                <c:pt idx="45314">
                  <c:v>33373</c:v>
                </c:pt>
                <c:pt idx="45315">
                  <c:v>33373</c:v>
                </c:pt>
                <c:pt idx="45316">
                  <c:v>33373</c:v>
                </c:pt>
                <c:pt idx="45317">
                  <c:v>33372</c:v>
                </c:pt>
                <c:pt idx="45318">
                  <c:v>33372</c:v>
                </c:pt>
                <c:pt idx="45319">
                  <c:v>33372</c:v>
                </c:pt>
                <c:pt idx="45320">
                  <c:v>33372</c:v>
                </c:pt>
                <c:pt idx="45321">
                  <c:v>33372</c:v>
                </c:pt>
                <c:pt idx="45322">
                  <c:v>33372</c:v>
                </c:pt>
                <c:pt idx="45323">
                  <c:v>33372</c:v>
                </c:pt>
                <c:pt idx="45324">
                  <c:v>33372</c:v>
                </c:pt>
                <c:pt idx="45325">
                  <c:v>33372</c:v>
                </c:pt>
                <c:pt idx="45326">
                  <c:v>33371</c:v>
                </c:pt>
                <c:pt idx="45327">
                  <c:v>33371</c:v>
                </c:pt>
                <c:pt idx="45328">
                  <c:v>33371</c:v>
                </c:pt>
                <c:pt idx="45329">
                  <c:v>33371</c:v>
                </c:pt>
                <c:pt idx="45330">
                  <c:v>33371</c:v>
                </c:pt>
                <c:pt idx="45331">
                  <c:v>33371</c:v>
                </c:pt>
                <c:pt idx="45332">
                  <c:v>33371</c:v>
                </c:pt>
                <c:pt idx="45333">
                  <c:v>33371</c:v>
                </c:pt>
                <c:pt idx="45334">
                  <c:v>33370</c:v>
                </c:pt>
                <c:pt idx="45335">
                  <c:v>33370</c:v>
                </c:pt>
                <c:pt idx="45336">
                  <c:v>33370</c:v>
                </c:pt>
                <c:pt idx="45337">
                  <c:v>33370</c:v>
                </c:pt>
                <c:pt idx="45338">
                  <c:v>33370</c:v>
                </c:pt>
                <c:pt idx="45339">
                  <c:v>33370</c:v>
                </c:pt>
                <c:pt idx="45340">
                  <c:v>33370</c:v>
                </c:pt>
                <c:pt idx="45341">
                  <c:v>33370</c:v>
                </c:pt>
                <c:pt idx="45342">
                  <c:v>33370</c:v>
                </c:pt>
                <c:pt idx="45343">
                  <c:v>33370</c:v>
                </c:pt>
                <c:pt idx="45344">
                  <c:v>33369</c:v>
                </c:pt>
                <c:pt idx="45345">
                  <c:v>33369</c:v>
                </c:pt>
                <c:pt idx="45346">
                  <c:v>33369</c:v>
                </c:pt>
                <c:pt idx="45347">
                  <c:v>33369</c:v>
                </c:pt>
                <c:pt idx="45348">
                  <c:v>33369</c:v>
                </c:pt>
                <c:pt idx="45349">
                  <c:v>33368</c:v>
                </c:pt>
                <c:pt idx="45350">
                  <c:v>33368</c:v>
                </c:pt>
                <c:pt idx="45351">
                  <c:v>33368</c:v>
                </c:pt>
                <c:pt idx="45352">
                  <c:v>33368</c:v>
                </c:pt>
                <c:pt idx="45353">
                  <c:v>33368</c:v>
                </c:pt>
                <c:pt idx="45354">
                  <c:v>33368</c:v>
                </c:pt>
                <c:pt idx="45355">
                  <c:v>33368</c:v>
                </c:pt>
                <c:pt idx="45356">
                  <c:v>33368</c:v>
                </c:pt>
                <c:pt idx="45357">
                  <c:v>33368</c:v>
                </c:pt>
                <c:pt idx="45358">
                  <c:v>33368</c:v>
                </c:pt>
                <c:pt idx="45359">
                  <c:v>33368</c:v>
                </c:pt>
                <c:pt idx="45360">
                  <c:v>33367</c:v>
                </c:pt>
                <c:pt idx="45361">
                  <c:v>33367</c:v>
                </c:pt>
                <c:pt idx="45362">
                  <c:v>33367</c:v>
                </c:pt>
                <c:pt idx="45363">
                  <c:v>33367</c:v>
                </c:pt>
                <c:pt idx="45364">
                  <c:v>33367</c:v>
                </c:pt>
                <c:pt idx="45365">
                  <c:v>33367</c:v>
                </c:pt>
                <c:pt idx="45366">
                  <c:v>33366</c:v>
                </c:pt>
                <c:pt idx="45367">
                  <c:v>33366</c:v>
                </c:pt>
                <c:pt idx="45368">
                  <c:v>33366</c:v>
                </c:pt>
                <c:pt idx="45369">
                  <c:v>33366</c:v>
                </c:pt>
                <c:pt idx="45370">
                  <c:v>33366</c:v>
                </c:pt>
                <c:pt idx="45371">
                  <c:v>33366</c:v>
                </c:pt>
                <c:pt idx="45372">
                  <c:v>33366</c:v>
                </c:pt>
                <c:pt idx="45373">
                  <c:v>33366</c:v>
                </c:pt>
                <c:pt idx="45374">
                  <c:v>33366</c:v>
                </c:pt>
                <c:pt idx="45375">
                  <c:v>33365</c:v>
                </c:pt>
                <c:pt idx="45376">
                  <c:v>33365</c:v>
                </c:pt>
                <c:pt idx="45377">
                  <c:v>33365</c:v>
                </c:pt>
                <c:pt idx="45378">
                  <c:v>33365</c:v>
                </c:pt>
                <c:pt idx="45379">
                  <c:v>33365</c:v>
                </c:pt>
                <c:pt idx="45380">
                  <c:v>33365</c:v>
                </c:pt>
                <c:pt idx="45381">
                  <c:v>33365</c:v>
                </c:pt>
                <c:pt idx="45382">
                  <c:v>33364</c:v>
                </c:pt>
                <c:pt idx="45383">
                  <c:v>33364</c:v>
                </c:pt>
                <c:pt idx="45384">
                  <c:v>33364</c:v>
                </c:pt>
                <c:pt idx="45385">
                  <c:v>33364</c:v>
                </c:pt>
                <c:pt idx="45386">
                  <c:v>33364</c:v>
                </c:pt>
                <c:pt idx="45387">
                  <c:v>33363</c:v>
                </c:pt>
                <c:pt idx="45388">
                  <c:v>33363</c:v>
                </c:pt>
                <c:pt idx="45389">
                  <c:v>33363</c:v>
                </c:pt>
                <c:pt idx="45390">
                  <c:v>33363</c:v>
                </c:pt>
                <c:pt idx="45391">
                  <c:v>33362</c:v>
                </c:pt>
                <c:pt idx="45392">
                  <c:v>33362</c:v>
                </c:pt>
                <c:pt idx="45393">
                  <c:v>33362</c:v>
                </c:pt>
                <c:pt idx="45394">
                  <c:v>33362</c:v>
                </c:pt>
                <c:pt idx="45395">
                  <c:v>33362</c:v>
                </c:pt>
                <c:pt idx="45396">
                  <c:v>33362</c:v>
                </c:pt>
                <c:pt idx="45397">
                  <c:v>33362</c:v>
                </c:pt>
                <c:pt idx="45398">
                  <c:v>33361</c:v>
                </c:pt>
                <c:pt idx="45399">
                  <c:v>33361</c:v>
                </c:pt>
                <c:pt idx="45400">
                  <c:v>33361</c:v>
                </c:pt>
                <c:pt idx="45401">
                  <c:v>33361</c:v>
                </c:pt>
                <c:pt idx="45402">
                  <c:v>33361</c:v>
                </c:pt>
                <c:pt idx="45403">
                  <c:v>33361</c:v>
                </c:pt>
                <c:pt idx="45404">
                  <c:v>33361</c:v>
                </c:pt>
                <c:pt idx="45405">
                  <c:v>33361</c:v>
                </c:pt>
                <c:pt idx="45406">
                  <c:v>33360</c:v>
                </c:pt>
                <c:pt idx="45407">
                  <c:v>33360</c:v>
                </c:pt>
                <c:pt idx="45408">
                  <c:v>33360</c:v>
                </c:pt>
                <c:pt idx="45409">
                  <c:v>33360</c:v>
                </c:pt>
                <c:pt idx="45410">
                  <c:v>33360</c:v>
                </c:pt>
                <c:pt idx="45411">
                  <c:v>33360</c:v>
                </c:pt>
                <c:pt idx="45412">
                  <c:v>33360</c:v>
                </c:pt>
                <c:pt idx="45413">
                  <c:v>33360</c:v>
                </c:pt>
                <c:pt idx="45414">
                  <c:v>33359</c:v>
                </c:pt>
                <c:pt idx="45415">
                  <c:v>33359</c:v>
                </c:pt>
                <c:pt idx="45416">
                  <c:v>33359</c:v>
                </c:pt>
                <c:pt idx="45417">
                  <c:v>33358</c:v>
                </c:pt>
                <c:pt idx="45418">
                  <c:v>33358</c:v>
                </c:pt>
                <c:pt idx="45419">
                  <c:v>33358</c:v>
                </c:pt>
                <c:pt idx="45420">
                  <c:v>33358</c:v>
                </c:pt>
                <c:pt idx="45421">
                  <c:v>33358</c:v>
                </c:pt>
                <c:pt idx="45422">
                  <c:v>33358</c:v>
                </c:pt>
                <c:pt idx="45423">
                  <c:v>33358</c:v>
                </c:pt>
                <c:pt idx="45424">
                  <c:v>33357</c:v>
                </c:pt>
                <c:pt idx="45425">
                  <c:v>33357</c:v>
                </c:pt>
                <c:pt idx="45426">
                  <c:v>33357</c:v>
                </c:pt>
                <c:pt idx="45427">
                  <c:v>33357</c:v>
                </c:pt>
                <c:pt idx="45428">
                  <c:v>33357</c:v>
                </c:pt>
                <c:pt idx="45429">
                  <c:v>33357</c:v>
                </c:pt>
                <c:pt idx="45430">
                  <c:v>33357</c:v>
                </c:pt>
                <c:pt idx="45431">
                  <c:v>33357</c:v>
                </c:pt>
                <c:pt idx="45432">
                  <c:v>33357</c:v>
                </c:pt>
                <c:pt idx="45433">
                  <c:v>33357</c:v>
                </c:pt>
                <c:pt idx="45434">
                  <c:v>33357</c:v>
                </c:pt>
                <c:pt idx="45435">
                  <c:v>33357</c:v>
                </c:pt>
                <c:pt idx="45436">
                  <c:v>33356</c:v>
                </c:pt>
                <c:pt idx="45437">
                  <c:v>33356</c:v>
                </c:pt>
                <c:pt idx="45438">
                  <c:v>33356</c:v>
                </c:pt>
                <c:pt idx="45439">
                  <c:v>33356</c:v>
                </c:pt>
                <c:pt idx="45440">
                  <c:v>33356</c:v>
                </c:pt>
                <c:pt idx="45441">
                  <c:v>33356</c:v>
                </c:pt>
                <c:pt idx="45442">
                  <c:v>33356</c:v>
                </c:pt>
                <c:pt idx="45443">
                  <c:v>33355</c:v>
                </c:pt>
                <c:pt idx="45444">
                  <c:v>33355</c:v>
                </c:pt>
                <c:pt idx="45445">
                  <c:v>33355</c:v>
                </c:pt>
                <c:pt idx="45446">
                  <c:v>33354</c:v>
                </c:pt>
                <c:pt idx="45447">
                  <c:v>33354</c:v>
                </c:pt>
                <c:pt idx="45448">
                  <c:v>33353</c:v>
                </c:pt>
                <c:pt idx="45449">
                  <c:v>33353</c:v>
                </c:pt>
                <c:pt idx="45450">
                  <c:v>33353</c:v>
                </c:pt>
                <c:pt idx="45451">
                  <c:v>33353</c:v>
                </c:pt>
                <c:pt idx="45452">
                  <c:v>33353</c:v>
                </c:pt>
                <c:pt idx="45453">
                  <c:v>33353</c:v>
                </c:pt>
                <c:pt idx="45454">
                  <c:v>33353</c:v>
                </c:pt>
                <c:pt idx="45455">
                  <c:v>33352</c:v>
                </c:pt>
                <c:pt idx="45456">
                  <c:v>33352</c:v>
                </c:pt>
                <c:pt idx="45457">
                  <c:v>33352</c:v>
                </c:pt>
                <c:pt idx="45458">
                  <c:v>33352</c:v>
                </c:pt>
                <c:pt idx="45459">
                  <c:v>33352</c:v>
                </c:pt>
                <c:pt idx="45460">
                  <c:v>33352</c:v>
                </c:pt>
                <c:pt idx="45461">
                  <c:v>33352</c:v>
                </c:pt>
                <c:pt idx="45462">
                  <c:v>33352</c:v>
                </c:pt>
                <c:pt idx="45463">
                  <c:v>33352</c:v>
                </c:pt>
                <c:pt idx="45464">
                  <c:v>33352</c:v>
                </c:pt>
                <c:pt idx="45465">
                  <c:v>33352</c:v>
                </c:pt>
                <c:pt idx="45466">
                  <c:v>33351</c:v>
                </c:pt>
                <c:pt idx="45467">
                  <c:v>33351</c:v>
                </c:pt>
                <c:pt idx="45468">
                  <c:v>33351</c:v>
                </c:pt>
                <c:pt idx="45469">
                  <c:v>33351</c:v>
                </c:pt>
                <c:pt idx="45470">
                  <c:v>33351</c:v>
                </c:pt>
                <c:pt idx="45471">
                  <c:v>33351</c:v>
                </c:pt>
                <c:pt idx="45472">
                  <c:v>33350</c:v>
                </c:pt>
                <c:pt idx="45473">
                  <c:v>33350</c:v>
                </c:pt>
                <c:pt idx="45474">
                  <c:v>33350</c:v>
                </c:pt>
                <c:pt idx="45475">
                  <c:v>33350</c:v>
                </c:pt>
                <c:pt idx="45476">
                  <c:v>33349</c:v>
                </c:pt>
                <c:pt idx="45477">
                  <c:v>33349</c:v>
                </c:pt>
                <c:pt idx="45478">
                  <c:v>33349</c:v>
                </c:pt>
                <c:pt idx="45479">
                  <c:v>33349</c:v>
                </c:pt>
                <c:pt idx="45480">
                  <c:v>33349</c:v>
                </c:pt>
                <c:pt idx="45481">
                  <c:v>33349</c:v>
                </c:pt>
                <c:pt idx="45482">
                  <c:v>33349</c:v>
                </c:pt>
                <c:pt idx="45483">
                  <c:v>33349</c:v>
                </c:pt>
                <c:pt idx="45484">
                  <c:v>33349</c:v>
                </c:pt>
                <c:pt idx="45485">
                  <c:v>33348</c:v>
                </c:pt>
                <c:pt idx="45486">
                  <c:v>33348</c:v>
                </c:pt>
                <c:pt idx="45487">
                  <c:v>33348</c:v>
                </c:pt>
                <c:pt idx="45488">
                  <c:v>33348</c:v>
                </c:pt>
                <c:pt idx="45489">
                  <c:v>33348</c:v>
                </c:pt>
                <c:pt idx="45490">
                  <c:v>33348</c:v>
                </c:pt>
                <c:pt idx="45491">
                  <c:v>33348</c:v>
                </c:pt>
                <c:pt idx="45492">
                  <c:v>33348</c:v>
                </c:pt>
                <c:pt idx="45493">
                  <c:v>33348</c:v>
                </c:pt>
                <c:pt idx="45494">
                  <c:v>33347</c:v>
                </c:pt>
                <c:pt idx="45495">
                  <c:v>33347</c:v>
                </c:pt>
                <c:pt idx="45496">
                  <c:v>33347</c:v>
                </c:pt>
                <c:pt idx="45497">
                  <c:v>33347</c:v>
                </c:pt>
                <c:pt idx="45498">
                  <c:v>33346</c:v>
                </c:pt>
                <c:pt idx="45499">
                  <c:v>33346</c:v>
                </c:pt>
                <c:pt idx="45500">
                  <c:v>33346</c:v>
                </c:pt>
                <c:pt idx="45501">
                  <c:v>33346</c:v>
                </c:pt>
                <c:pt idx="45502">
                  <c:v>33346</c:v>
                </c:pt>
                <c:pt idx="45503">
                  <c:v>33346</c:v>
                </c:pt>
                <c:pt idx="45504">
                  <c:v>33346</c:v>
                </c:pt>
                <c:pt idx="45505">
                  <c:v>33346</c:v>
                </c:pt>
                <c:pt idx="45506">
                  <c:v>33346</c:v>
                </c:pt>
                <c:pt idx="45507">
                  <c:v>33346</c:v>
                </c:pt>
                <c:pt idx="45508">
                  <c:v>33346</c:v>
                </c:pt>
                <c:pt idx="45509">
                  <c:v>33346</c:v>
                </c:pt>
                <c:pt idx="45510">
                  <c:v>33345</c:v>
                </c:pt>
                <c:pt idx="45511">
                  <c:v>33345</c:v>
                </c:pt>
                <c:pt idx="45512">
                  <c:v>33345</c:v>
                </c:pt>
                <c:pt idx="45513">
                  <c:v>33345</c:v>
                </c:pt>
                <c:pt idx="45514">
                  <c:v>33345</c:v>
                </c:pt>
                <c:pt idx="45515">
                  <c:v>33345</c:v>
                </c:pt>
                <c:pt idx="45516">
                  <c:v>33344</c:v>
                </c:pt>
                <c:pt idx="45517">
                  <c:v>33344</c:v>
                </c:pt>
                <c:pt idx="45518">
                  <c:v>33344</c:v>
                </c:pt>
                <c:pt idx="45519">
                  <c:v>33344</c:v>
                </c:pt>
                <c:pt idx="45520">
                  <c:v>33344</c:v>
                </c:pt>
                <c:pt idx="45521">
                  <c:v>33344</c:v>
                </c:pt>
                <c:pt idx="45522">
                  <c:v>33343</c:v>
                </c:pt>
                <c:pt idx="45523">
                  <c:v>33343</c:v>
                </c:pt>
                <c:pt idx="45524">
                  <c:v>33343</c:v>
                </c:pt>
                <c:pt idx="45525">
                  <c:v>33343</c:v>
                </c:pt>
                <c:pt idx="45526">
                  <c:v>33343</c:v>
                </c:pt>
                <c:pt idx="45527">
                  <c:v>33343</c:v>
                </c:pt>
                <c:pt idx="45528">
                  <c:v>33343</c:v>
                </c:pt>
                <c:pt idx="45529">
                  <c:v>33343</c:v>
                </c:pt>
                <c:pt idx="45530">
                  <c:v>33343</c:v>
                </c:pt>
                <c:pt idx="45531">
                  <c:v>33342</c:v>
                </c:pt>
                <c:pt idx="45532">
                  <c:v>33342</c:v>
                </c:pt>
                <c:pt idx="45533">
                  <c:v>33342</c:v>
                </c:pt>
                <c:pt idx="45534">
                  <c:v>33342</c:v>
                </c:pt>
                <c:pt idx="45535">
                  <c:v>33341</c:v>
                </c:pt>
                <c:pt idx="45536">
                  <c:v>33341</c:v>
                </c:pt>
                <c:pt idx="45537">
                  <c:v>33341</c:v>
                </c:pt>
                <c:pt idx="45538">
                  <c:v>33341</c:v>
                </c:pt>
                <c:pt idx="45539">
                  <c:v>33341</c:v>
                </c:pt>
                <c:pt idx="45540">
                  <c:v>33341</c:v>
                </c:pt>
                <c:pt idx="45541">
                  <c:v>33340</c:v>
                </c:pt>
                <c:pt idx="45542">
                  <c:v>33340</c:v>
                </c:pt>
                <c:pt idx="45543">
                  <c:v>33340</c:v>
                </c:pt>
                <c:pt idx="45544">
                  <c:v>33340</c:v>
                </c:pt>
                <c:pt idx="45545">
                  <c:v>33340</c:v>
                </c:pt>
                <c:pt idx="45546">
                  <c:v>33340</c:v>
                </c:pt>
                <c:pt idx="45547">
                  <c:v>33340</c:v>
                </c:pt>
                <c:pt idx="45548">
                  <c:v>33340</c:v>
                </c:pt>
                <c:pt idx="45549">
                  <c:v>33339</c:v>
                </c:pt>
                <c:pt idx="45550">
                  <c:v>33339</c:v>
                </c:pt>
                <c:pt idx="45551">
                  <c:v>33339</c:v>
                </c:pt>
                <c:pt idx="45552">
                  <c:v>33339</c:v>
                </c:pt>
                <c:pt idx="45553">
                  <c:v>33339</c:v>
                </c:pt>
                <c:pt idx="45554">
                  <c:v>33339</c:v>
                </c:pt>
                <c:pt idx="45555">
                  <c:v>33339</c:v>
                </c:pt>
                <c:pt idx="45556">
                  <c:v>33339</c:v>
                </c:pt>
                <c:pt idx="45557">
                  <c:v>33339</c:v>
                </c:pt>
                <c:pt idx="45558">
                  <c:v>33339</c:v>
                </c:pt>
                <c:pt idx="45559">
                  <c:v>33339</c:v>
                </c:pt>
                <c:pt idx="45560">
                  <c:v>33339</c:v>
                </c:pt>
                <c:pt idx="45561">
                  <c:v>33338</c:v>
                </c:pt>
                <c:pt idx="45562">
                  <c:v>33338</c:v>
                </c:pt>
                <c:pt idx="45563">
                  <c:v>33338</c:v>
                </c:pt>
                <c:pt idx="45564">
                  <c:v>33338</c:v>
                </c:pt>
                <c:pt idx="45565">
                  <c:v>33338</c:v>
                </c:pt>
                <c:pt idx="45566">
                  <c:v>33338</c:v>
                </c:pt>
                <c:pt idx="45567">
                  <c:v>33338</c:v>
                </c:pt>
                <c:pt idx="45568">
                  <c:v>33338</c:v>
                </c:pt>
                <c:pt idx="45569">
                  <c:v>33338</c:v>
                </c:pt>
                <c:pt idx="45570">
                  <c:v>33337</c:v>
                </c:pt>
                <c:pt idx="45571">
                  <c:v>33337</c:v>
                </c:pt>
                <c:pt idx="45572">
                  <c:v>33337</c:v>
                </c:pt>
                <c:pt idx="45573">
                  <c:v>33337</c:v>
                </c:pt>
                <c:pt idx="45574">
                  <c:v>33337</c:v>
                </c:pt>
                <c:pt idx="45575">
                  <c:v>33336</c:v>
                </c:pt>
                <c:pt idx="45576">
                  <c:v>33336</c:v>
                </c:pt>
                <c:pt idx="45577">
                  <c:v>33336</c:v>
                </c:pt>
                <c:pt idx="45578">
                  <c:v>33336</c:v>
                </c:pt>
                <c:pt idx="45579">
                  <c:v>33336</c:v>
                </c:pt>
                <c:pt idx="45580">
                  <c:v>33336</c:v>
                </c:pt>
                <c:pt idx="45581">
                  <c:v>33336</c:v>
                </c:pt>
                <c:pt idx="45582">
                  <c:v>33335</c:v>
                </c:pt>
                <c:pt idx="45583">
                  <c:v>33335</c:v>
                </c:pt>
                <c:pt idx="45584">
                  <c:v>33335</c:v>
                </c:pt>
                <c:pt idx="45585">
                  <c:v>33335</c:v>
                </c:pt>
                <c:pt idx="45586">
                  <c:v>33335</c:v>
                </c:pt>
                <c:pt idx="45587">
                  <c:v>33335</c:v>
                </c:pt>
                <c:pt idx="45588">
                  <c:v>33335</c:v>
                </c:pt>
                <c:pt idx="45589">
                  <c:v>33335</c:v>
                </c:pt>
                <c:pt idx="45590">
                  <c:v>33335</c:v>
                </c:pt>
                <c:pt idx="45591">
                  <c:v>33335</c:v>
                </c:pt>
                <c:pt idx="45592">
                  <c:v>33335</c:v>
                </c:pt>
                <c:pt idx="45593">
                  <c:v>33334</c:v>
                </c:pt>
                <c:pt idx="45594">
                  <c:v>33334</c:v>
                </c:pt>
                <c:pt idx="45595">
                  <c:v>33334</c:v>
                </c:pt>
                <c:pt idx="45596">
                  <c:v>33334</c:v>
                </c:pt>
                <c:pt idx="45597">
                  <c:v>33334</c:v>
                </c:pt>
                <c:pt idx="45598">
                  <c:v>33333</c:v>
                </c:pt>
                <c:pt idx="45599">
                  <c:v>33333</c:v>
                </c:pt>
                <c:pt idx="45600">
                  <c:v>33333</c:v>
                </c:pt>
                <c:pt idx="45601">
                  <c:v>33333</c:v>
                </c:pt>
                <c:pt idx="45602">
                  <c:v>33333</c:v>
                </c:pt>
                <c:pt idx="45603">
                  <c:v>33333</c:v>
                </c:pt>
                <c:pt idx="45604">
                  <c:v>33332</c:v>
                </c:pt>
                <c:pt idx="45605">
                  <c:v>33332</c:v>
                </c:pt>
                <c:pt idx="45606">
                  <c:v>33332</c:v>
                </c:pt>
                <c:pt idx="45607">
                  <c:v>33332</c:v>
                </c:pt>
                <c:pt idx="45608">
                  <c:v>33332</c:v>
                </c:pt>
                <c:pt idx="45609">
                  <c:v>33332</c:v>
                </c:pt>
                <c:pt idx="45610">
                  <c:v>33332</c:v>
                </c:pt>
                <c:pt idx="45611">
                  <c:v>33332</c:v>
                </c:pt>
                <c:pt idx="45612">
                  <c:v>33332</c:v>
                </c:pt>
                <c:pt idx="45613">
                  <c:v>33332</c:v>
                </c:pt>
                <c:pt idx="45614">
                  <c:v>33332</c:v>
                </c:pt>
                <c:pt idx="45615">
                  <c:v>33332</c:v>
                </c:pt>
                <c:pt idx="45616">
                  <c:v>33332</c:v>
                </c:pt>
                <c:pt idx="45617">
                  <c:v>33331</c:v>
                </c:pt>
                <c:pt idx="45618">
                  <c:v>33331</c:v>
                </c:pt>
                <c:pt idx="45619">
                  <c:v>33331</c:v>
                </c:pt>
                <c:pt idx="45620">
                  <c:v>33331</c:v>
                </c:pt>
                <c:pt idx="45621">
                  <c:v>33331</c:v>
                </c:pt>
                <c:pt idx="45622">
                  <c:v>33331</c:v>
                </c:pt>
                <c:pt idx="45623">
                  <c:v>33331</c:v>
                </c:pt>
                <c:pt idx="45624">
                  <c:v>33331</c:v>
                </c:pt>
                <c:pt idx="45625">
                  <c:v>33330</c:v>
                </c:pt>
                <c:pt idx="45626">
                  <c:v>33330</c:v>
                </c:pt>
                <c:pt idx="45627">
                  <c:v>33330</c:v>
                </c:pt>
                <c:pt idx="45628">
                  <c:v>33330</c:v>
                </c:pt>
                <c:pt idx="45629">
                  <c:v>33330</c:v>
                </c:pt>
                <c:pt idx="45630">
                  <c:v>33330</c:v>
                </c:pt>
                <c:pt idx="45631">
                  <c:v>33329</c:v>
                </c:pt>
                <c:pt idx="45632">
                  <c:v>33329</c:v>
                </c:pt>
                <c:pt idx="45633">
                  <c:v>33329</c:v>
                </c:pt>
                <c:pt idx="45634">
                  <c:v>33329</c:v>
                </c:pt>
                <c:pt idx="45635">
                  <c:v>33329</c:v>
                </c:pt>
                <c:pt idx="45636">
                  <c:v>33329</c:v>
                </c:pt>
                <c:pt idx="45637">
                  <c:v>33329</c:v>
                </c:pt>
                <c:pt idx="45638">
                  <c:v>33329</c:v>
                </c:pt>
                <c:pt idx="45639">
                  <c:v>33329</c:v>
                </c:pt>
                <c:pt idx="45640">
                  <c:v>33328</c:v>
                </c:pt>
                <c:pt idx="45641">
                  <c:v>33328</c:v>
                </c:pt>
                <c:pt idx="45642">
                  <c:v>33328</c:v>
                </c:pt>
                <c:pt idx="45643">
                  <c:v>33328</c:v>
                </c:pt>
                <c:pt idx="45644">
                  <c:v>33327</c:v>
                </c:pt>
                <c:pt idx="45645">
                  <c:v>33327</c:v>
                </c:pt>
                <c:pt idx="45646">
                  <c:v>33327</c:v>
                </c:pt>
                <c:pt idx="45647">
                  <c:v>33327</c:v>
                </c:pt>
                <c:pt idx="45648">
                  <c:v>33327</c:v>
                </c:pt>
                <c:pt idx="45649">
                  <c:v>33327</c:v>
                </c:pt>
                <c:pt idx="45650">
                  <c:v>33327</c:v>
                </c:pt>
                <c:pt idx="45651">
                  <c:v>33327</c:v>
                </c:pt>
                <c:pt idx="45652">
                  <c:v>33327</c:v>
                </c:pt>
                <c:pt idx="45653">
                  <c:v>33327</c:v>
                </c:pt>
                <c:pt idx="45654">
                  <c:v>33327</c:v>
                </c:pt>
                <c:pt idx="45655">
                  <c:v>33326</c:v>
                </c:pt>
                <c:pt idx="45656">
                  <c:v>33326</c:v>
                </c:pt>
                <c:pt idx="45657">
                  <c:v>33326</c:v>
                </c:pt>
                <c:pt idx="45658">
                  <c:v>33326</c:v>
                </c:pt>
                <c:pt idx="45659">
                  <c:v>33326</c:v>
                </c:pt>
                <c:pt idx="45660">
                  <c:v>33326</c:v>
                </c:pt>
                <c:pt idx="45661">
                  <c:v>33326</c:v>
                </c:pt>
                <c:pt idx="45662">
                  <c:v>33325</c:v>
                </c:pt>
                <c:pt idx="45663">
                  <c:v>33325</c:v>
                </c:pt>
                <c:pt idx="45664">
                  <c:v>33325</c:v>
                </c:pt>
                <c:pt idx="45665">
                  <c:v>33325</c:v>
                </c:pt>
                <c:pt idx="45666">
                  <c:v>33325</c:v>
                </c:pt>
                <c:pt idx="45667">
                  <c:v>33325</c:v>
                </c:pt>
                <c:pt idx="45668">
                  <c:v>33325</c:v>
                </c:pt>
                <c:pt idx="45669">
                  <c:v>33325</c:v>
                </c:pt>
                <c:pt idx="45670">
                  <c:v>33325</c:v>
                </c:pt>
                <c:pt idx="45671">
                  <c:v>33325</c:v>
                </c:pt>
                <c:pt idx="45672">
                  <c:v>33325</c:v>
                </c:pt>
                <c:pt idx="45673">
                  <c:v>33324</c:v>
                </c:pt>
                <c:pt idx="45674">
                  <c:v>33324</c:v>
                </c:pt>
                <c:pt idx="45675">
                  <c:v>33324</c:v>
                </c:pt>
                <c:pt idx="45676">
                  <c:v>33324</c:v>
                </c:pt>
                <c:pt idx="45677">
                  <c:v>33324</c:v>
                </c:pt>
                <c:pt idx="45678">
                  <c:v>33324</c:v>
                </c:pt>
                <c:pt idx="45679">
                  <c:v>33324</c:v>
                </c:pt>
                <c:pt idx="45680">
                  <c:v>33323</c:v>
                </c:pt>
                <c:pt idx="45681">
                  <c:v>33323</c:v>
                </c:pt>
                <c:pt idx="45682">
                  <c:v>33322</c:v>
                </c:pt>
                <c:pt idx="45683">
                  <c:v>33322</c:v>
                </c:pt>
                <c:pt idx="45684">
                  <c:v>33322</c:v>
                </c:pt>
                <c:pt idx="45685">
                  <c:v>33322</c:v>
                </c:pt>
                <c:pt idx="45686">
                  <c:v>33322</c:v>
                </c:pt>
                <c:pt idx="45687">
                  <c:v>33322</c:v>
                </c:pt>
                <c:pt idx="45688">
                  <c:v>33322</c:v>
                </c:pt>
                <c:pt idx="45689">
                  <c:v>33322</c:v>
                </c:pt>
                <c:pt idx="45690">
                  <c:v>33321</c:v>
                </c:pt>
                <c:pt idx="45691">
                  <c:v>33321</c:v>
                </c:pt>
                <c:pt idx="45692">
                  <c:v>33321</c:v>
                </c:pt>
                <c:pt idx="45693">
                  <c:v>33321</c:v>
                </c:pt>
                <c:pt idx="45694">
                  <c:v>33321</c:v>
                </c:pt>
                <c:pt idx="45695">
                  <c:v>33321</c:v>
                </c:pt>
                <c:pt idx="45696">
                  <c:v>33321</c:v>
                </c:pt>
                <c:pt idx="45697">
                  <c:v>33321</c:v>
                </c:pt>
                <c:pt idx="45698">
                  <c:v>33320</c:v>
                </c:pt>
                <c:pt idx="45699">
                  <c:v>33320</c:v>
                </c:pt>
                <c:pt idx="45700">
                  <c:v>33320</c:v>
                </c:pt>
                <c:pt idx="45701">
                  <c:v>33320</c:v>
                </c:pt>
                <c:pt idx="45702">
                  <c:v>33320</c:v>
                </c:pt>
                <c:pt idx="45703">
                  <c:v>33320</c:v>
                </c:pt>
                <c:pt idx="45704">
                  <c:v>33320</c:v>
                </c:pt>
                <c:pt idx="45705">
                  <c:v>33320</c:v>
                </c:pt>
                <c:pt idx="45706">
                  <c:v>33320</c:v>
                </c:pt>
                <c:pt idx="45707">
                  <c:v>33319</c:v>
                </c:pt>
                <c:pt idx="45708">
                  <c:v>33319</c:v>
                </c:pt>
                <c:pt idx="45709">
                  <c:v>33319</c:v>
                </c:pt>
                <c:pt idx="45710">
                  <c:v>33319</c:v>
                </c:pt>
                <c:pt idx="45711">
                  <c:v>33319</c:v>
                </c:pt>
                <c:pt idx="45712">
                  <c:v>33318</c:v>
                </c:pt>
                <c:pt idx="45713">
                  <c:v>33318</c:v>
                </c:pt>
                <c:pt idx="45714">
                  <c:v>33318</c:v>
                </c:pt>
                <c:pt idx="45715">
                  <c:v>33318</c:v>
                </c:pt>
                <c:pt idx="45716">
                  <c:v>33318</c:v>
                </c:pt>
                <c:pt idx="45717">
                  <c:v>33318</c:v>
                </c:pt>
                <c:pt idx="45718">
                  <c:v>33318</c:v>
                </c:pt>
                <c:pt idx="45719">
                  <c:v>33318</c:v>
                </c:pt>
                <c:pt idx="45720">
                  <c:v>33317</c:v>
                </c:pt>
                <c:pt idx="45721">
                  <c:v>33317</c:v>
                </c:pt>
                <c:pt idx="45722">
                  <c:v>33317</c:v>
                </c:pt>
                <c:pt idx="45723">
                  <c:v>33316</c:v>
                </c:pt>
                <c:pt idx="45724">
                  <c:v>33316</c:v>
                </c:pt>
                <c:pt idx="45725">
                  <c:v>33316</c:v>
                </c:pt>
                <c:pt idx="45726">
                  <c:v>33316</c:v>
                </c:pt>
                <c:pt idx="45727">
                  <c:v>33316</c:v>
                </c:pt>
                <c:pt idx="45728">
                  <c:v>33316</c:v>
                </c:pt>
                <c:pt idx="45729">
                  <c:v>33315</c:v>
                </c:pt>
                <c:pt idx="45730">
                  <c:v>33315</c:v>
                </c:pt>
                <c:pt idx="45731">
                  <c:v>33315</c:v>
                </c:pt>
                <c:pt idx="45732">
                  <c:v>33315</c:v>
                </c:pt>
                <c:pt idx="45733">
                  <c:v>33315</c:v>
                </c:pt>
                <c:pt idx="45734">
                  <c:v>33315</c:v>
                </c:pt>
                <c:pt idx="45735">
                  <c:v>33315</c:v>
                </c:pt>
                <c:pt idx="45736">
                  <c:v>33314</c:v>
                </c:pt>
                <c:pt idx="45737">
                  <c:v>33314</c:v>
                </c:pt>
                <c:pt idx="45738">
                  <c:v>33314</c:v>
                </c:pt>
                <c:pt idx="45739">
                  <c:v>33314</c:v>
                </c:pt>
                <c:pt idx="45740">
                  <c:v>33314</c:v>
                </c:pt>
                <c:pt idx="45741">
                  <c:v>33314</c:v>
                </c:pt>
                <c:pt idx="45742">
                  <c:v>33313</c:v>
                </c:pt>
                <c:pt idx="45743">
                  <c:v>33313</c:v>
                </c:pt>
                <c:pt idx="45744">
                  <c:v>33313</c:v>
                </c:pt>
                <c:pt idx="45745">
                  <c:v>33313</c:v>
                </c:pt>
                <c:pt idx="45746">
                  <c:v>33313</c:v>
                </c:pt>
                <c:pt idx="45747">
                  <c:v>33313</c:v>
                </c:pt>
                <c:pt idx="45748">
                  <c:v>33313</c:v>
                </c:pt>
                <c:pt idx="45749">
                  <c:v>33313</c:v>
                </c:pt>
                <c:pt idx="45750">
                  <c:v>33313</c:v>
                </c:pt>
                <c:pt idx="45751">
                  <c:v>33313</c:v>
                </c:pt>
                <c:pt idx="45752">
                  <c:v>33313</c:v>
                </c:pt>
                <c:pt idx="45753">
                  <c:v>33313</c:v>
                </c:pt>
                <c:pt idx="45754">
                  <c:v>33313</c:v>
                </c:pt>
                <c:pt idx="45755">
                  <c:v>33313</c:v>
                </c:pt>
                <c:pt idx="45756">
                  <c:v>33313</c:v>
                </c:pt>
                <c:pt idx="45757">
                  <c:v>33313</c:v>
                </c:pt>
                <c:pt idx="45758">
                  <c:v>33313</c:v>
                </c:pt>
                <c:pt idx="45759">
                  <c:v>33313</c:v>
                </c:pt>
                <c:pt idx="45760">
                  <c:v>33313</c:v>
                </c:pt>
                <c:pt idx="45761">
                  <c:v>33312</c:v>
                </c:pt>
                <c:pt idx="45762">
                  <c:v>33312</c:v>
                </c:pt>
                <c:pt idx="45763">
                  <c:v>33312</c:v>
                </c:pt>
                <c:pt idx="45764">
                  <c:v>33312</c:v>
                </c:pt>
                <c:pt idx="45765">
                  <c:v>33311</c:v>
                </c:pt>
                <c:pt idx="45766">
                  <c:v>33311</c:v>
                </c:pt>
                <c:pt idx="45767">
                  <c:v>33311</c:v>
                </c:pt>
                <c:pt idx="45768">
                  <c:v>33311</c:v>
                </c:pt>
                <c:pt idx="45769">
                  <c:v>33310</c:v>
                </c:pt>
                <c:pt idx="45770">
                  <c:v>33310</c:v>
                </c:pt>
                <c:pt idx="45771">
                  <c:v>33310</c:v>
                </c:pt>
                <c:pt idx="45772">
                  <c:v>33310</c:v>
                </c:pt>
                <c:pt idx="45773">
                  <c:v>33310</c:v>
                </c:pt>
                <c:pt idx="45774">
                  <c:v>33310</c:v>
                </c:pt>
                <c:pt idx="45775">
                  <c:v>33310</c:v>
                </c:pt>
                <c:pt idx="45776">
                  <c:v>33309</c:v>
                </c:pt>
                <c:pt idx="45777">
                  <c:v>33309</c:v>
                </c:pt>
                <c:pt idx="45778">
                  <c:v>33309</c:v>
                </c:pt>
                <c:pt idx="45779">
                  <c:v>33309</c:v>
                </c:pt>
                <c:pt idx="45780">
                  <c:v>33309</c:v>
                </c:pt>
                <c:pt idx="45781">
                  <c:v>33309</c:v>
                </c:pt>
                <c:pt idx="45782">
                  <c:v>33308</c:v>
                </c:pt>
                <c:pt idx="45783">
                  <c:v>33308</c:v>
                </c:pt>
                <c:pt idx="45784">
                  <c:v>33308</c:v>
                </c:pt>
                <c:pt idx="45785">
                  <c:v>33308</c:v>
                </c:pt>
                <c:pt idx="45786">
                  <c:v>33308</c:v>
                </c:pt>
                <c:pt idx="45787">
                  <c:v>33307</c:v>
                </c:pt>
                <c:pt idx="45788">
                  <c:v>33307</c:v>
                </c:pt>
                <c:pt idx="45789">
                  <c:v>33307</c:v>
                </c:pt>
                <c:pt idx="45790">
                  <c:v>33307</c:v>
                </c:pt>
                <c:pt idx="45791">
                  <c:v>33307</c:v>
                </c:pt>
                <c:pt idx="45792">
                  <c:v>33307</c:v>
                </c:pt>
                <c:pt idx="45793">
                  <c:v>33307</c:v>
                </c:pt>
                <c:pt idx="45794">
                  <c:v>33306</c:v>
                </c:pt>
                <c:pt idx="45795">
                  <c:v>33306</c:v>
                </c:pt>
                <c:pt idx="45796">
                  <c:v>33306</c:v>
                </c:pt>
                <c:pt idx="45797">
                  <c:v>33306</c:v>
                </c:pt>
                <c:pt idx="45798">
                  <c:v>33306</c:v>
                </c:pt>
                <c:pt idx="45799">
                  <c:v>33306</c:v>
                </c:pt>
                <c:pt idx="45800">
                  <c:v>33306</c:v>
                </c:pt>
                <c:pt idx="45801">
                  <c:v>33306</c:v>
                </c:pt>
                <c:pt idx="45802">
                  <c:v>33305</c:v>
                </c:pt>
                <c:pt idx="45803">
                  <c:v>33305</c:v>
                </c:pt>
                <c:pt idx="45804">
                  <c:v>33305</c:v>
                </c:pt>
                <c:pt idx="45805">
                  <c:v>33305</c:v>
                </c:pt>
                <c:pt idx="45806">
                  <c:v>33304</c:v>
                </c:pt>
                <c:pt idx="45807">
                  <c:v>33304</c:v>
                </c:pt>
                <c:pt idx="45808">
                  <c:v>33304</c:v>
                </c:pt>
                <c:pt idx="45809">
                  <c:v>33304</c:v>
                </c:pt>
                <c:pt idx="45810">
                  <c:v>33304</c:v>
                </c:pt>
                <c:pt idx="45811">
                  <c:v>33304</c:v>
                </c:pt>
                <c:pt idx="45812">
                  <c:v>33304</c:v>
                </c:pt>
                <c:pt idx="45813">
                  <c:v>33304</c:v>
                </c:pt>
                <c:pt idx="45814">
                  <c:v>33303</c:v>
                </c:pt>
                <c:pt idx="45815">
                  <c:v>33303</c:v>
                </c:pt>
                <c:pt idx="45816">
                  <c:v>33303</c:v>
                </c:pt>
                <c:pt idx="45817">
                  <c:v>33303</c:v>
                </c:pt>
                <c:pt idx="45818">
                  <c:v>33303</c:v>
                </c:pt>
                <c:pt idx="45819">
                  <c:v>33302</c:v>
                </c:pt>
                <c:pt idx="45820">
                  <c:v>33302</c:v>
                </c:pt>
                <c:pt idx="45821">
                  <c:v>33302</c:v>
                </c:pt>
                <c:pt idx="45822">
                  <c:v>33302</c:v>
                </c:pt>
                <c:pt idx="45823">
                  <c:v>33302</c:v>
                </c:pt>
                <c:pt idx="45824">
                  <c:v>33302</c:v>
                </c:pt>
                <c:pt idx="45825">
                  <c:v>33302</c:v>
                </c:pt>
                <c:pt idx="45826">
                  <c:v>33301</c:v>
                </c:pt>
                <c:pt idx="45827">
                  <c:v>33301</c:v>
                </c:pt>
                <c:pt idx="45828">
                  <c:v>33301</c:v>
                </c:pt>
                <c:pt idx="45829">
                  <c:v>33301</c:v>
                </c:pt>
                <c:pt idx="45830">
                  <c:v>33301</c:v>
                </c:pt>
                <c:pt idx="45831">
                  <c:v>33300</c:v>
                </c:pt>
                <c:pt idx="45832">
                  <c:v>33300</c:v>
                </c:pt>
                <c:pt idx="45833">
                  <c:v>33300</c:v>
                </c:pt>
                <c:pt idx="45834">
                  <c:v>33300</c:v>
                </c:pt>
                <c:pt idx="45835">
                  <c:v>33300</c:v>
                </c:pt>
                <c:pt idx="45836">
                  <c:v>33300</c:v>
                </c:pt>
                <c:pt idx="45837">
                  <c:v>33299</c:v>
                </c:pt>
                <c:pt idx="45838">
                  <c:v>33299</c:v>
                </c:pt>
                <c:pt idx="45839">
                  <c:v>33299</c:v>
                </c:pt>
                <c:pt idx="45840">
                  <c:v>33299</c:v>
                </c:pt>
                <c:pt idx="45841">
                  <c:v>33299</c:v>
                </c:pt>
                <c:pt idx="45842">
                  <c:v>33299</c:v>
                </c:pt>
                <c:pt idx="45843">
                  <c:v>33299</c:v>
                </c:pt>
                <c:pt idx="45844">
                  <c:v>33299</c:v>
                </c:pt>
                <c:pt idx="45845">
                  <c:v>33299</c:v>
                </c:pt>
                <c:pt idx="45846">
                  <c:v>33299</c:v>
                </c:pt>
                <c:pt idx="45847">
                  <c:v>33298</c:v>
                </c:pt>
                <c:pt idx="45848">
                  <c:v>33298</c:v>
                </c:pt>
                <c:pt idx="45849">
                  <c:v>33298</c:v>
                </c:pt>
                <c:pt idx="45850">
                  <c:v>33298</c:v>
                </c:pt>
                <c:pt idx="45851">
                  <c:v>33298</c:v>
                </c:pt>
                <c:pt idx="45852">
                  <c:v>33298</c:v>
                </c:pt>
                <c:pt idx="45853">
                  <c:v>33298</c:v>
                </c:pt>
                <c:pt idx="45854">
                  <c:v>33297</c:v>
                </c:pt>
                <c:pt idx="45855">
                  <c:v>33297</c:v>
                </c:pt>
                <c:pt idx="45856">
                  <c:v>33297</c:v>
                </c:pt>
                <c:pt idx="45857">
                  <c:v>33296</c:v>
                </c:pt>
                <c:pt idx="45858">
                  <c:v>33296</c:v>
                </c:pt>
                <c:pt idx="45859">
                  <c:v>33296</c:v>
                </c:pt>
                <c:pt idx="45860">
                  <c:v>33296</c:v>
                </c:pt>
                <c:pt idx="45861">
                  <c:v>33296</c:v>
                </c:pt>
                <c:pt idx="45862">
                  <c:v>33296</c:v>
                </c:pt>
                <c:pt idx="45863">
                  <c:v>33295</c:v>
                </c:pt>
                <c:pt idx="45864">
                  <c:v>33295</c:v>
                </c:pt>
                <c:pt idx="45865">
                  <c:v>33295</c:v>
                </c:pt>
                <c:pt idx="45866">
                  <c:v>33295</c:v>
                </c:pt>
                <c:pt idx="45867">
                  <c:v>33295</c:v>
                </c:pt>
                <c:pt idx="45868">
                  <c:v>33295</c:v>
                </c:pt>
                <c:pt idx="45869">
                  <c:v>33295</c:v>
                </c:pt>
                <c:pt idx="45870">
                  <c:v>33295</c:v>
                </c:pt>
                <c:pt idx="45871">
                  <c:v>33295</c:v>
                </c:pt>
                <c:pt idx="45872">
                  <c:v>33295</c:v>
                </c:pt>
                <c:pt idx="45873">
                  <c:v>33295</c:v>
                </c:pt>
                <c:pt idx="45874">
                  <c:v>33295</c:v>
                </c:pt>
                <c:pt idx="45875">
                  <c:v>33295</c:v>
                </c:pt>
                <c:pt idx="45876">
                  <c:v>33295</c:v>
                </c:pt>
                <c:pt idx="45877">
                  <c:v>33294</c:v>
                </c:pt>
                <c:pt idx="45878">
                  <c:v>33294</c:v>
                </c:pt>
                <c:pt idx="45879">
                  <c:v>33294</c:v>
                </c:pt>
                <c:pt idx="45880">
                  <c:v>33294</c:v>
                </c:pt>
                <c:pt idx="45881">
                  <c:v>33294</c:v>
                </c:pt>
                <c:pt idx="45882">
                  <c:v>33294</c:v>
                </c:pt>
                <c:pt idx="45883">
                  <c:v>33294</c:v>
                </c:pt>
                <c:pt idx="45884">
                  <c:v>33294</c:v>
                </c:pt>
                <c:pt idx="45885">
                  <c:v>33294</c:v>
                </c:pt>
                <c:pt idx="45886">
                  <c:v>33294</c:v>
                </c:pt>
                <c:pt idx="45887">
                  <c:v>33293</c:v>
                </c:pt>
                <c:pt idx="45888">
                  <c:v>33293</c:v>
                </c:pt>
                <c:pt idx="45889">
                  <c:v>33293</c:v>
                </c:pt>
                <c:pt idx="45890">
                  <c:v>33293</c:v>
                </c:pt>
                <c:pt idx="45891">
                  <c:v>33293</c:v>
                </c:pt>
                <c:pt idx="45892">
                  <c:v>33293</c:v>
                </c:pt>
                <c:pt idx="45893">
                  <c:v>33293</c:v>
                </c:pt>
                <c:pt idx="45894">
                  <c:v>33292</c:v>
                </c:pt>
                <c:pt idx="45895">
                  <c:v>33292</c:v>
                </c:pt>
                <c:pt idx="45896">
                  <c:v>33292</c:v>
                </c:pt>
                <c:pt idx="45897">
                  <c:v>33292</c:v>
                </c:pt>
                <c:pt idx="45898">
                  <c:v>33291</c:v>
                </c:pt>
                <c:pt idx="45899">
                  <c:v>33291</c:v>
                </c:pt>
                <c:pt idx="45900">
                  <c:v>33291</c:v>
                </c:pt>
                <c:pt idx="45901">
                  <c:v>33291</c:v>
                </c:pt>
                <c:pt idx="45902">
                  <c:v>33291</c:v>
                </c:pt>
                <c:pt idx="45903">
                  <c:v>33291</c:v>
                </c:pt>
                <c:pt idx="45904">
                  <c:v>33291</c:v>
                </c:pt>
                <c:pt idx="45905">
                  <c:v>33291</c:v>
                </c:pt>
                <c:pt idx="45906">
                  <c:v>33291</c:v>
                </c:pt>
                <c:pt idx="45907">
                  <c:v>33291</c:v>
                </c:pt>
                <c:pt idx="45908">
                  <c:v>33290</c:v>
                </c:pt>
                <c:pt idx="45909">
                  <c:v>33290</c:v>
                </c:pt>
                <c:pt idx="45910">
                  <c:v>33290</c:v>
                </c:pt>
                <c:pt idx="45911">
                  <c:v>33289</c:v>
                </c:pt>
                <c:pt idx="45912">
                  <c:v>33289</c:v>
                </c:pt>
                <c:pt idx="45913">
                  <c:v>33289</c:v>
                </c:pt>
                <c:pt idx="45914">
                  <c:v>33289</c:v>
                </c:pt>
                <c:pt idx="45915">
                  <c:v>33289</c:v>
                </c:pt>
                <c:pt idx="45916">
                  <c:v>33289</c:v>
                </c:pt>
                <c:pt idx="45917">
                  <c:v>33289</c:v>
                </c:pt>
                <c:pt idx="45918">
                  <c:v>33289</c:v>
                </c:pt>
                <c:pt idx="45919">
                  <c:v>33289</c:v>
                </c:pt>
                <c:pt idx="45920">
                  <c:v>33289</c:v>
                </c:pt>
                <c:pt idx="45921">
                  <c:v>33289</c:v>
                </c:pt>
                <c:pt idx="45922">
                  <c:v>33288</c:v>
                </c:pt>
                <c:pt idx="45923">
                  <c:v>33288</c:v>
                </c:pt>
                <c:pt idx="45924">
                  <c:v>33288</c:v>
                </c:pt>
                <c:pt idx="45925">
                  <c:v>33288</c:v>
                </c:pt>
                <c:pt idx="45926">
                  <c:v>33288</c:v>
                </c:pt>
                <c:pt idx="45927">
                  <c:v>33288</c:v>
                </c:pt>
                <c:pt idx="45928">
                  <c:v>33288</c:v>
                </c:pt>
                <c:pt idx="45929">
                  <c:v>33287</c:v>
                </c:pt>
                <c:pt idx="45930">
                  <c:v>33287</c:v>
                </c:pt>
                <c:pt idx="45931">
                  <c:v>33287</c:v>
                </c:pt>
                <c:pt idx="45932">
                  <c:v>33287</c:v>
                </c:pt>
                <c:pt idx="45933">
                  <c:v>33287</c:v>
                </c:pt>
                <c:pt idx="45934">
                  <c:v>33286</c:v>
                </c:pt>
                <c:pt idx="45935">
                  <c:v>33286</c:v>
                </c:pt>
                <c:pt idx="45936">
                  <c:v>33286</c:v>
                </c:pt>
                <c:pt idx="45937">
                  <c:v>33286</c:v>
                </c:pt>
                <c:pt idx="45938">
                  <c:v>33286</c:v>
                </c:pt>
                <c:pt idx="45939">
                  <c:v>33286</c:v>
                </c:pt>
                <c:pt idx="45940">
                  <c:v>33286</c:v>
                </c:pt>
                <c:pt idx="45941">
                  <c:v>33286</c:v>
                </c:pt>
                <c:pt idx="45942">
                  <c:v>33286</c:v>
                </c:pt>
                <c:pt idx="45943">
                  <c:v>33285</c:v>
                </c:pt>
                <c:pt idx="45944">
                  <c:v>33285</c:v>
                </c:pt>
                <c:pt idx="45945">
                  <c:v>33285</c:v>
                </c:pt>
                <c:pt idx="45946">
                  <c:v>33285</c:v>
                </c:pt>
                <c:pt idx="45947">
                  <c:v>33285</c:v>
                </c:pt>
                <c:pt idx="45948">
                  <c:v>33285</c:v>
                </c:pt>
                <c:pt idx="45949">
                  <c:v>33285</c:v>
                </c:pt>
                <c:pt idx="45950">
                  <c:v>33285</c:v>
                </c:pt>
                <c:pt idx="45951">
                  <c:v>33285</c:v>
                </c:pt>
                <c:pt idx="45952">
                  <c:v>33284</c:v>
                </c:pt>
                <c:pt idx="45953">
                  <c:v>33284</c:v>
                </c:pt>
                <c:pt idx="45954">
                  <c:v>33284</c:v>
                </c:pt>
                <c:pt idx="45955">
                  <c:v>33284</c:v>
                </c:pt>
                <c:pt idx="45956">
                  <c:v>33284</c:v>
                </c:pt>
                <c:pt idx="45957">
                  <c:v>33284</c:v>
                </c:pt>
                <c:pt idx="45958">
                  <c:v>33284</c:v>
                </c:pt>
                <c:pt idx="45959">
                  <c:v>33284</c:v>
                </c:pt>
                <c:pt idx="45960">
                  <c:v>33283</c:v>
                </c:pt>
                <c:pt idx="45961">
                  <c:v>33283</c:v>
                </c:pt>
                <c:pt idx="45962">
                  <c:v>33283</c:v>
                </c:pt>
                <c:pt idx="45963">
                  <c:v>33283</c:v>
                </c:pt>
                <c:pt idx="45964">
                  <c:v>33283</c:v>
                </c:pt>
                <c:pt idx="45965">
                  <c:v>33283</c:v>
                </c:pt>
                <c:pt idx="45966">
                  <c:v>33282</c:v>
                </c:pt>
                <c:pt idx="45967">
                  <c:v>33282</c:v>
                </c:pt>
                <c:pt idx="45968">
                  <c:v>33282</c:v>
                </c:pt>
                <c:pt idx="45969">
                  <c:v>33282</c:v>
                </c:pt>
                <c:pt idx="45970">
                  <c:v>33282</c:v>
                </c:pt>
                <c:pt idx="45971">
                  <c:v>33282</c:v>
                </c:pt>
                <c:pt idx="45972">
                  <c:v>33282</c:v>
                </c:pt>
                <c:pt idx="45973">
                  <c:v>33281</c:v>
                </c:pt>
                <c:pt idx="45974">
                  <c:v>33281</c:v>
                </c:pt>
                <c:pt idx="45975">
                  <c:v>33281</c:v>
                </c:pt>
                <c:pt idx="45976">
                  <c:v>33281</c:v>
                </c:pt>
                <c:pt idx="45977">
                  <c:v>33281</c:v>
                </c:pt>
                <c:pt idx="45978">
                  <c:v>33281</c:v>
                </c:pt>
                <c:pt idx="45979">
                  <c:v>33281</c:v>
                </c:pt>
                <c:pt idx="45980">
                  <c:v>33280</c:v>
                </c:pt>
                <c:pt idx="45981">
                  <c:v>33280</c:v>
                </c:pt>
                <c:pt idx="45982">
                  <c:v>33280</c:v>
                </c:pt>
                <c:pt idx="45983">
                  <c:v>33280</c:v>
                </c:pt>
                <c:pt idx="45984">
                  <c:v>33280</c:v>
                </c:pt>
                <c:pt idx="45985">
                  <c:v>33280</c:v>
                </c:pt>
                <c:pt idx="45986">
                  <c:v>33280</c:v>
                </c:pt>
                <c:pt idx="45987">
                  <c:v>33279</c:v>
                </c:pt>
                <c:pt idx="45988">
                  <c:v>33279</c:v>
                </c:pt>
                <c:pt idx="45989">
                  <c:v>33279</c:v>
                </c:pt>
                <c:pt idx="45990">
                  <c:v>33279</c:v>
                </c:pt>
                <c:pt idx="45991">
                  <c:v>33279</c:v>
                </c:pt>
                <c:pt idx="45992">
                  <c:v>33279</c:v>
                </c:pt>
                <c:pt idx="45993">
                  <c:v>33279</c:v>
                </c:pt>
                <c:pt idx="45994">
                  <c:v>33279</c:v>
                </c:pt>
                <c:pt idx="45995">
                  <c:v>33279</c:v>
                </c:pt>
                <c:pt idx="45996">
                  <c:v>33279</c:v>
                </c:pt>
                <c:pt idx="45997">
                  <c:v>33278</c:v>
                </c:pt>
                <c:pt idx="45998">
                  <c:v>33278</c:v>
                </c:pt>
                <c:pt idx="45999">
                  <c:v>33278</c:v>
                </c:pt>
                <c:pt idx="46000">
                  <c:v>33278</c:v>
                </c:pt>
                <c:pt idx="46001">
                  <c:v>33277</c:v>
                </c:pt>
                <c:pt idx="46002">
                  <c:v>33277</c:v>
                </c:pt>
                <c:pt idx="46003">
                  <c:v>33277</c:v>
                </c:pt>
                <c:pt idx="46004">
                  <c:v>33277</c:v>
                </c:pt>
                <c:pt idx="46005">
                  <c:v>33277</c:v>
                </c:pt>
                <c:pt idx="46006">
                  <c:v>33277</c:v>
                </c:pt>
                <c:pt idx="46007">
                  <c:v>33277</c:v>
                </c:pt>
                <c:pt idx="46008">
                  <c:v>33277</c:v>
                </c:pt>
                <c:pt idx="46009">
                  <c:v>33277</c:v>
                </c:pt>
                <c:pt idx="46010">
                  <c:v>33277</c:v>
                </c:pt>
                <c:pt idx="46011">
                  <c:v>33277</c:v>
                </c:pt>
                <c:pt idx="46012">
                  <c:v>33276</c:v>
                </c:pt>
                <c:pt idx="46013">
                  <c:v>33276</c:v>
                </c:pt>
                <c:pt idx="46014">
                  <c:v>33276</c:v>
                </c:pt>
                <c:pt idx="46015">
                  <c:v>33276</c:v>
                </c:pt>
                <c:pt idx="46016">
                  <c:v>33276</c:v>
                </c:pt>
                <c:pt idx="46017">
                  <c:v>33276</c:v>
                </c:pt>
                <c:pt idx="46018">
                  <c:v>33276</c:v>
                </c:pt>
                <c:pt idx="46019">
                  <c:v>33275</c:v>
                </c:pt>
                <c:pt idx="46020">
                  <c:v>33275</c:v>
                </c:pt>
                <c:pt idx="46021">
                  <c:v>33275</c:v>
                </c:pt>
                <c:pt idx="46022">
                  <c:v>33275</c:v>
                </c:pt>
                <c:pt idx="46023">
                  <c:v>33275</c:v>
                </c:pt>
                <c:pt idx="46024">
                  <c:v>33275</c:v>
                </c:pt>
                <c:pt idx="46025">
                  <c:v>33275</c:v>
                </c:pt>
                <c:pt idx="46026">
                  <c:v>33275</c:v>
                </c:pt>
                <c:pt idx="46027">
                  <c:v>33275</c:v>
                </c:pt>
                <c:pt idx="46028">
                  <c:v>33274</c:v>
                </c:pt>
                <c:pt idx="46029">
                  <c:v>33274</c:v>
                </c:pt>
                <c:pt idx="46030">
                  <c:v>33274</c:v>
                </c:pt>
                <c:pt idx="46031">
                  <c:v>33274</c:v>
                </c:pt>
                <c:pt idx="46032">
                  <c:v>33274</c:v>
                </c:pt>
                <c:pt idx="46033">
                  <c:v>33273</c:v>
                </c:pt>
                <c:pt idx="46034">
                  <c:v>33273</c:v>
                </c:pt>
                <c:pt idx="46035">
                  <c:v>33273</c:v>
                </c:pt>
                <c:pt idx="46036">
                  <c:v>33273</c:v>
                </c:pt>
                <c:pt idx="46037">
                  <c:v>33273</c:v>
                </c:pt>
                <c:pt idx="46038">
                  <c:v>33273</c:v>
                </c:pt>
                <c:pt idx="46039">
                  <c:v>33273</c:v>
                </c:pt>
                <c:pt idx="46040">
                  <c:v>33273</c:v>
                </c:pt>
                <c:pt idx="46041">
                  <c:v>33273</c:v>
                </c:pt>
                <c:pt idx="46042">
                  <c:v>33273</c:v>
                </c:pt>
                <c:pt idx="46043">
                  <c:v>33273</c:v>
                </c:pt>
                <c:pt idx="46044">
                  <c:v>33273</c:v>
                </c:pt>
                <c:pt idx="46045">
                  <c:v>33273</c:v>
                </c:pt>
                <c:pt idx="46046">
                  <c:v>33272</c:v>
                </c:pt>
                <c:pt idx="46047">
                  <c:v>33272</c:v>
                </c:pt>
                <c:pt idx="46048">
                  <c:v>33272</c:v>
                </c:pt>
                <c:pt idx="46049">
                  <c:v>33271</c:v>
                </c:pt>
                <c:pt idx="46050">
                  <c:v>33271</c:v>
                </c:pt>
                <c:pt idx="46051">
                  <c:v>33271</c:v>
                </c:pt>
                <c:pt idx="46052">
                  <c:v>33271</c:v>
                </c:pt>
                <c:pt idx="46053">
                  <c:v>33271</c:v>
                </c:pt>
                <c:pt idx="46054">
                  <c:v>33271</c:v>
                </c:pt>
                <c:pt idx="46055">
                  <c:v>33270</c:v>
                </c:pt>
                <c:pt idx="46056">
                  <c:v>33270</c:v>
                </c:pt>
                <c:pt idx="46057">
                  <c:v>33270</c:v>
                </c:pt>
                <c:pt idx="46058">
                  <c:v>33270</c:v>
                </c:pt>
                <c:pt idx="46059">
                  <c:v>33270</c:v>
                </c:pt>
                <c:pt idx="46060">
                  <c:v>33269</c:v>
                </c:pt>
                <c:pt idx="46061">
                  <c:v>33269</c:v>
                </c:pt>
                <c:pt idx="46062">
                  <c:v>33269</c:v>
                </c:pt>
                <c:pt idx="46063">
                  <c:v>33269</c:v>
                </c:pt>
                <c:pt idx="46064">
                  <c:v>33269</c:v>
                </c:pt>
                <c:pt idx="46065">
                  <c:v>33269</c:v>
                </c:pt>
                <c:pt idx="46066">
                  <c:v>33269</c:v>
                </c:pt>
                <c:pt idx="46067">
                  <c:v>33269</c:v>
                </c:pt>
                <c:pt idx="46068">
                  <c:v>33268</c:v>
                </c:pt>
                <c:pt idx="46069">
                  <c:v>33268</c:v>
                </c:pt>
                <c:pt idx="46070">
                  <c:v>33268</c:v>
                </c:pt>
                <c:pt idx="46071">
                  <c:v>33268</c:v>
                </c:pt>
                <c:pt idx="46072">
                  <c:v>33268</c:v>
                </c:pt>
                <c:pt idx="46073">
                  <c:v>33268</c:v>
                </c:pt>
                <c:pt idx="46074">
                  <c:v>33268</c:v>
                </c:pt>
                <c:pt idx="46075">
                  <c:v>33268</c:v>
                </c:pt>
                <c:pt idx="46076">
                  <c:v>33267</c:v>
                </c:pt>
                <c:pt idx="46077">
                  <c:v>33267</c:v>
                </c:pt>
                <c:pt idx="46078">
                  <c:v>33267</c:v>
                </c:pt>
                <c:pt idx="46079">
                  <c:v>33267</c:v>
                </c:pt>
                <c:pt idx="46080">
                  <c:v>33267</c:v>
                </c:pt>
                <c:pt idx="46081">
                  <c:v>33267</c:v>
                </c:pt>
                <c:pt idx="46082">
                  <c:v>33267</c:v>
                </c:pt>
                <c:pt idx="46083">
                  <c:v>33267</c:v>
                </c:pt>
                <c:pt idx="46084">
                  <c:v>33267</c:v>
                </c:pt>
                <c:pt idx="46085">
                  <c:v>33266</c:v>
                </c:pt>
                <c:pt idx="46086">
                  <c:v>33266</c:v>
                </c:pt>
                <c:pt idx="46087">
                  <c:v>33266</c:v>
                </c:pt>
                <c:pt idx="46088">
                  <c:v>33266</c:v>
                </c:pt>
                <c:pt idx="46089">
                  <c:v>33266</c:v>
                </c:pt>
                <c:pt idx="46090">
                  <c:v>33266</c:v>
                </c:pt>
                <c:pt idx="46091">
                  <c:v>33266</c:v>
                </c:pt>
                <c:pt idx="46092">
                  <c:v>33266</c:v>
                </c:pt>
                <c:pt idx="46093">
                  <c:v>33266</c:v>
                </c:pt>
                <c:pt idx="46094">
                  <c:v>33265</c:v>
                </c:pt>
                <c:pt idx="46095">
                  <c:v>33265</c:v>
                </c:pt>
                <c:pt idx="46096">
                  <c:v>33265</c:v>
                </c:pt>
                <c:pt idx="46097">
                  <c:v>33264</c:v>
                </c:pt>
                <c:pt idx="46098">
                  <c:v>33264</c:v>
                </c:pt>
                <c:pt idx="46099">
                  <c:v>33264</c:v>
                </c:pt>
                <c:pt idx="46100">
                  <c:v>33264</c:v>
                </c:pt>
                <c:pt idx="46101">
                  <c:v>33264</c:v>
                </c:pt>
                <c:pt idx="46102">
                  <c:v>33264</c:v>
                </c:pt>
                <c:pt idx="46103">
                  <c:v>33264</c:v>
                </c:pt>
                <c:pt idx="46104">
                  <c:v>33264</c:v>
                </c:pt>
                <c:pt idx="46105">
                  <c:v>33264</c:v>
                </c:pt>
                <c:pt idx="46106">
                  <c:v>33264</c:v>
                </c:pt>
                <c:pt idx="46107">
                  <c:v>33263</c:v>
                </c:pt>
                <c:pt idx="46108">
                  <c:v>33263</c:v>
                </c:pt>
                <c:pt idx="46109">
                  <c:v>33263</c:v>
                </c:pt>
                <c:pt idx="46110">
                  <c:v>33263</c:v>
                </c:pt>
                <c:pt idx="46111">
                  <c:v>33263</c:v>
                </c:pt>
                <c:pt idx="46112">
                  <c:v>33263</c:v>
                </c:pt>
                <c:pt idx="46113">
                  <c:v>33263</c:v>
                </c:pt>
                <c:pt idx="46114">
                  <c:v>33263</c:v>
                </c:pt>
                <c:pt idx="46115">
                  <c:v>33263</c:v>
                </c:pt>
                <c:pt idx="46116">
                  <c:v>33263</c:v>
                </c:pt>
                <c:pt idx="46117">
                  <c:v>33263</c:v>
                </c:pt>
                <c:pt idx="46118">
                  <c:v>33262</c:v>
                </c:pt>
                <c:pt idx="46119">
                  <c:v>33262</c:v>
                </c:pt>
                <c:pt idx="46120">
                  <c:v>33262</c:v>
                </c:pt>
                <c:pt idx="46121">
                  <c:v>33262</c:v>
                </c:pt>
                <c:pt idx="46122">
                  <c:v>33262</c:v>
                </c:pt>
                <c:pt idx="46123">
                  <c:v>33262</c:v>
                </c:pt>
                <c:pt idx="46124">
                  <c:v>33262</c:v>
                </c:pt>
                <c:pt idx="46125">
                  <c:v>33262</c:v>
                </c:pt>
                <c:pt idx="46126">
                  <c:v>33261</c:v>
                </c:pt>
                <c:pt idx="46127">
                  <c:v>33261</c:v>
                </c:pt>
                <c:pt idx="46128">
                  <c:v>33261</c:v>
                </c:pt>
                <c:pt idx="46129">
                  <c:v>33261</c:v>
                </c:pt>
                <c:pt idx="46130">
                  <c:v>33261</c:v>
                </c:pt>
                <c:pt idx="46131">
                  <c:v>33261</c:v>
                </c:pt>
                <c:pt idx="46132">
                  <c:v>33261</c:v>
                </c:pt>
                <c:pt idx="46133">
                  <c:v>33261</c:v>
                </c:pt>
                <c:pt idx="46134">
                  <c:v>33261</c:v>
                </c:pt>
                <c:pt idx="46135">
                  <c:v>33261</c:v>
                </c:pt>
                <c:pt idx="46136">
                  <c:v>33261</c:v>
                </c:pt>
                <c:pt idx="46137">
                  <c:v>33260</c:v>
                </c:pt>
                <c:pt idx="46138">
                  <c:v>33260</c:v>
                </c:pt>
                <c:pt idx="46139">
                  <c:v>33260</c:v>
                </c:pt>
                <c:pt idx="46140">
                  <c:v>33260</c:v>
                </c:pt>
                <c:pt idx="46141">
                  <c:v>33260</c:v>
                </c:pt>
                <c:pt idx="46142">
                  <c:v>33260</c:v>
                </c:pt>
                <c:pt idx="46143">
                  <c:v>33260</c:v>
                </c:pt>
                <c:pt idx="46144">
                  <c:v>33260</c:v>
                </c:pt>
                <c:pt idx="46145">
                  <c:v>33260</c:v>
                </c:pt>
                <c:pt idx="46146">
                  <c:v>33260</c:v>
                </c:pt>
                <c:pt idx="46147">
                  <c:v>33259</c:v>
                </c:pt>
                <c:pt idx="46148">
                  <c:v>33259</c:v>
                </c:pt>
                <c:pt idx="46149">
                  <c:v>33259</c:v>
                </c:pt>
                <c:pt idx="46150">
                  <c:v>33259</c:v>
                </c:pt>
                <c:pt idx="46151">
                  <c:v>33259</c:v>
                </c:pt>
                <c:pt idx="46152">
                  <c:v>33258</c:v>
                </c:pt>
                <c:pt idx="46153">
                  <c:v>33258</c:v>
                </c:pt>
                <c:pt idx="46154">
                  <c:v>33258</c:v>
                </c:pt>
                <c:pt idx="46155">
                  <c:v>33258</c:v>
                </c:pt>
                <c:pt idx="46156">
                  <c:v>33258</c:v>
                </c:pt>
                <c:pt idx="46157">
                  <c:v>33258</c:v>
                </c:pt>
                <c:pt idx="46158">
                  <c:v>33258</c:v>
                </c:pt>
                <c:pt idx="46159">
                  <c:v>33258</c:v>
                </c:pt>
                <c:pt idx="46160">
                  <c:v>33258</c:v>
                </c:pt>
                <c:pt idx="46161">
                  <c:v>33257</c:v>
                </c:pt>
                <c:pt idx="46162">
                  <c:v>33257</c:v>
                </c:pt>
                <c:pt idx="46163">
                  <c:v>33257</c:v>
                </c:pt>
                <c:pt idx="46164">
                  <c:v>33257</c:v>
                </c:pt>
                <c:pt idx="46165">
                  <c:v>33256</c:v>
                </c:pt>
                <c:pt idx="46166">
                  <c:v>33256</c:v>
                </c:pt>
                <c:pt idx="46167">
                  <c:v>33256</c:v>
                </c:pt>
                <c:pt idx="46168">
                  <c:v>33255</c:v>
                </c:pt>
                <c:pt idx="46169">
                  <c:v>33255</c:v>
                </c:pt>
                <c:pt idx="46170">
                  <c:v>33255</c:v>
                </c:pt>
                <c:pt idx="46171">
                  <c:v>33255</c:v>
                </c:pt>
                <c:pt idx="46172">
                  <c:v>33255</c:v>
                </c:pt>
                <c:pt idx="46173">
                  <c:v>33255</c:v>
                </c:pt>
                <c:pt idx="46174">
                  <c:v>33254</c:v>
                </c:pt>
                <c:pt idx="46175">
                  <c:v>33254</c:v>
                </c:pt>
                <c:pt idx="46176">
                  <c:v>33254</c:v>
                </c:pt>
                <c:pt idx="46177">
                  <c:v>33254</c:v>
                </c:pt>
                <c:pt idx="46178">
                  <c:v>33254</c:v>
                </c:pt>
                <c:pt idx="46179">
                  <c:v>33254</c:v>
                </c:pt>
                <c:pt idx="46180">
                  <c:v>33254</c:v>
                </c:pt>
                <c:pt idx="46181">
                  <c:v>33254</c:v>
                </c:pt>
                <c:pt idx="46182">
                  <c:v>33253</c:v>
                </c:pt>
                <c:pt idx="46183">
                  <c:v>33253</c:v>
                </c:pt>
                <c:pt idx="46184">
                  <c:v>33253</c:v>
                </c:pt>
                <c:pt idx="46185">
                  <c:v>33253</c:v>
                </c:pt>
                <c:pt idx="46186">
                  <c:v>33253</c:v>
                </c:pt>
                <c:pt idx="46187">
                  <c:v>33253</c:v>
                </c:pt>
                <c:pt idx="46188">
                  <c:v>33252</c:v>
                </c:pt>
                <c:pt idx="46189">
                  <c:v>33252</c:v>
                </c:pt>
                <c:pt idx="46190">
                  <c:v>33252</c:v>
                </c:pt>
                <c:pt idx="46191">
                  <c:v>33252</c:v>
                </c:pt>
                <c:pt idx="46192">
                  <c:v>33252</c:v>
                </c:pt>
                <c:pt idx="46193">
                  <c:v>33252</c:v>
                </c:pt>
                <c:pt idx="46194">
                  <c:v>33252</c:v>
                </c:pt>
                <c:pt idx="46195">
                  <c:v>33252</c:v>
                </c:pt>
                <c:pt idx="46196">
                  <c:v>33252</c:v>
                </c:pt>
                <c:pt idx="46197">
                  <c:v>33251</c:v>
                </c:pt>
                <c:pt idx="46198">
                  <c:v>33251</c:v>
                </c:pt>
                <c:pt idx="46199">
                  <c:v>33251</c:v>
                </c:pt>
                <c:pt idx="46200">
                  <c:v>33251</c:v>
                </c:pt>
                <c:pt idx="46201">
                  <c:v>33251</c:v>
                </c:pt>
                <c:pt idx="46202">
                  <c:v>33251</c:v>
                </c:pt>
                <c:pt idx="46203">
                  <c:v>33250</c:v>
                </c:pt>
                <c:pt idx="46204">
                  <c:v>33250</c:v>
                </c:pt>
                <c:pt idx="46205">
                  <c:v>33250</c:v>
                </c:pt>
                <c:pt idx="46206">
                  <c:v>33250</c:v>
                </c:pt>
                <c:pt idx="46207">
                  <c:v>33250</c:v>
                </c:pt>
                <c:pt idx="46208">
                  <c:v>33250</c:v>
                </c:pt>
                <c:pt idx="46209">
                  <c:v>33250</c:v>
                </c:pt>
                <c:pt idx="46210">
                  <c:v>33250</c:v>
                </c:pt>
                <c:pt idx="46211">
                  <c:v>33250</c:v>
                </c:pt>
                <c:pt idx="46212">
                  <c:v>33249</c:v>
                </c:pt>
                <c:pt idx="46213">
                  <c:v>33249</c:v>
                </c:pt>
                <c:pt idx="46214">
                  <c:v>33249</c:v>
                </c:pt>
                <c:pt idx="46215">
                  <c:v>33249</c:v>
                </c:pt>
                <c:pt idx="46216">
                  <c:v>33248</c:v>
                </c:pt>
                <c:pt idx="46217">
                  <c:v>33248</c:v>
                </c:pt>
                <c:pt idx="46218">
                  <c:v>33248</c:v>
                </c:pt>
                <c:pt idx="46219">
                  <c:v>33248</c:v>
                </c:pt>
                <c:pt idx="46220">
                  <c:v>33248</c:v>
                </c:pt>
                <c:pt idx="46221">
                  <c:v>33247</c:v>
                </c:pt>
                <c:pt idx="46222">
                  <c:v>33247</c:v>
                </c:pt>
                <c:pt idx="46223">
                  <c:v>33247</c:v>
                </c:pt>
                <c:pt idx="46224">
                  <c:v>33247</c:v>
                </c:pt>
                <c:pt idx="46225">
                  <c:v>33247</c:v>
                </c:pt>
                <c:pt idx="46226">
                  <c:v>33247</c:v>
                </c:pt>
                <c:pt idx="46227">
                  <c:v>33247</c:v>
                </c:pt>
                <c:pt idx="46228">
                  <c:v>33247</c:v>
                </c:pt>
                <c:pt idx="46229">
                  <c:v>33247</c:v>
                </c:pt>
                <c:pt idx="46230">
                  <c:v>33246</c:v>
                </c:pt>
                <c:pt idx="46231">
                  <c:v>33246</c:v>
                </c:pt>
                <c:pt idx="46232">
                  <c:v>33246</c:v>
                </c:pt>
                <c:pt idx="46233">
                  <c:v>33246</c:v>
                </c:pt>
                <c:pt idx="46234">
                  <c:v>33246</c:v>
                </c:pt>
                <c:pt idx="46235">
                  <c:v>33245</c:v>
                </c:pt>
                <c:pt idx="46236">
                  <c:v>33245</c:v>
                </c:pt>
                <c:pt idx="46237">
                  <c:v>33245</c:v>
                </c:pt>
                <c:pt idx="46238">
                  <c:v>33245</c:v>
                </c:pt>
                <c:pt idx="46239">
                  <c:v>33245</c:v>
                </c:pt>
                <c:pt idx="46240">
                  <c:v>33245</c:v>
                </c:pt>
                <c:pt idx="46241">
                  <c:v>33245</c:v>
                </c:pt>
                <c:pt idx="46242">
                  <c:v>33245</c:v>
                </c:pt>
                <c:pt idx="46243">
                  <c:v>33245</c:v>
                </c:pt>
                <c:pt idx="46244">
                  <c:v>33245</c:v>
                </c:pt>
                <c:pt idx="46245">
                  <c:v>33245</c:v>
                </c:pt>
                <c:pt idx="46246">
                  <c:v>33245</c:v>
                </c:pt>
                <c:pt idx="46247">
                  <c:v>33244</c:v>
                </c:pt>
                <c:pt idx="46248">
                  <c:v>33244</c:v>
                </c:pt>
                <c:pt idx="46249">
                  <c:v>33244</c:v>
                </c:pt>
                <c:pt idx="46250">
                  <c:v>33244</c:v>
                </c:pt>
                <c:pt idx="46251">
                  <c:v>33244</c:v>
                </c:pt>
                <c:pt idx="46252">
                  <c:v>33244</c:v>
                </c:pt>
                <c:pt idx="46253">
                  <c:v>33244</c:v>
                </c:pt>
                <c:pt idx="46254">
                  <c:v>33243</c:v>
                </c:pt>
                <c:pt idx="46255">
                  <c:v>33243</c:v>
                </c:pt>
                <c:pt idx="46256">
                  <c:v>33243</c:v>
                </c:pt>
                <c:pt idx="46257">
                  <c:v>33243</c:v>
                </c:pt>
                <c:pt idx="46258">
                  <c:v>33243</c:v>
                </c:pt>
                <c:pt idx="46259">
                  <c:v>33243</c:v>
                </c:pt>
                <c:pt idx="46260">
                  <c:v>33243</c:v>
                </c:pt>
                <c:pt idx="46261">
                  <c:v>33243</c:v>
                </c:pt>
                <c:pt idx="46262">
                  <c:v>33243</c:v>
                </c:pt>
                <c:pt idx="46263">
                  <c:v>33243</c:v>
                </c:pt>
                <c:pt idx="46264">
                  <c:v>33242</c:v>
                </c:pt>
                <c:pt idx="46265">
                  <c:v>33242</c:v>
                </c:pt>
                <c:pt idx="46266">
                  <c:v>33242</c:v>
                </c:pt>
                <c:pt idx="46267">
                  <c:v>33242</c:v>
                </c:pt>
                <c:pt idx="46268">
                  <c:v>33242</c:v>
                </c:pt>
                <c:pt idx="46269">
                  <c:v>33242</c:v>
                </c:pt>
                <c:pt idx="46270">
                  <c:v>33242</c:v>
                </c:pt>
                <c:pt idx="46271">
                  <c:v>33242</c:v>
                </c:pt>
                <c:pt idx="46272">
                  <c:v>33242</c:v>
                </c:pt>
                <c:pt idx="46273">
                  <c:v>33242</c:v>
                </c:pt>
                <c:pt idx="46274">
                  <c:v>33241</c:v>
                </c:pt>
                <c:pt idx="46275">
                  <c:v>33241</c:v>
                </c:pt>
                <c:pt idx="46276">
                  <c:v>33241</c:v>
                </c:pt>
                <c:pt idx="46277">
                  <c:v>33241</c:v>
                </c:pt>
                <c:pt idx="46278">
                  <c:v>33241</c:v>
                </c:pt>
                <c:pt idx="46279">
                  <c:v>33241</c:v>
                </c:pt>
                <c:pt idx="46280">
                  <c:v>33241</c:v>
                </c:pt>
                <c:pt idx="46281">
                  <c:v>33241</c:v>
                </c:pt>
                <c:pt idx="46282">
                  <c:v>33241</c:v>
                </c:pt>
                <c:pt idx="46283">
                  <c:v>33241</c:v>
                </c:pt>
                <c:pt idx="46284">
                  <c:v>33240</c:v>
                </c:pt>
                <c:pt idx="46285">
                  <c:v>33240</c:v>
                </c:pt>
                <c:pt idx="46286">
                  <c:v>33240</c:v>
                </c:pt>
                <c:pt idx="46287">
                  <c:v>33240</c:v>
                </c:pt>
                <c:pt idx="46288">
                  <c:v>33240</c:v>
                </c:pt>
                <c:pt idx="46289">
                  <c:v>33240</c:v>
                </c:pt>
                <c:pt idx="46290">
                  <c:v>33240</c:v>
                </c:pt>
                <c:pt idx="46291">
                  <c:v>33240</c:v>
                </c:pt>
                <c:pt idx="46292">
                  <c:v>33240</c:v>
                </c:pt>
                <c:pt idx="46293">
                  <c:v>33239</c:v>
                </c:pt>
                <c:pt idx="46294">
                  <c:v>33239</c:v>
                </c:pt>
                <c:pt idx="46295">
                  <c:v>33239</c:v>
                </c:pt>
                <c:pt idx="46296">
                  <c:v>33239</c:v>
                </c:pt>
                <c:pt idx="46297">
                  <c:v>33239</c:v>
                </c:pt>
                <c:pt idx="46298">
                  <c:v>33239</c:v>
                </c:pt>
                <c:pt idx="46299">
                  <c:v>33238</c:v>
                </c:pt>
                <c:pt idx="46300">
                  <c:v>33238</c:v>
                </c:pt>
                <c:pt idx="46301">
                  <c:v>33238</c:v>
                </c:pt>
                <c:pt idx="46302">
                  <c:v>33238</c:v>
                </c:pt>
                <c:pt idx="46303">
                  <c:v>33238</c:v>
                </c:pt>
                <c:pt idx="46304">
                  <c:v>33238</c:v>
                </c:pt>
                <c:pt idx="46305">
                  <c:v>33238</c:v>
                </c:pt>
                <c:pt idx="46306">
                  <c:v>33237</c:v>
                </c:pt>
                <c:pt idx="46307">
                  <c:v>33237</c:v>
                </c:pt>
                <c:pt idx="46308">
                  <c:v>33237</c:v>
                </c:pt>
                <c:pt idx="46309">
                  <c:v>33237</c:v>
                </c:pt>
                <c:pt idx="46310">
                  <c:v>33237</c:v>
                </c:pt>
                <c:pt idx="46311">
                  <c:v>33237</c:v>
                </c:pt>
                <c:pt idx="46312">
                  <c:v>33237</c:v>
                </c:pt>
                <c:pt idx="46313">
                  <c:v>33236</c:v>
                </c:pt>
                <c:pt idx="46314">
                  <c:v>33236</c:v>
                </c:pt>
                <c:pt idx="46315">
                  <c:v>33236</c:v>
                </c:pt>
                <c:pt idx="46316">
                  <c:v>33236</c:v>
                </c:pt>
                <c:pt idx="46317">
                  <c:v>33236</c:v>
                </c:pt>
                <c:pt idx="46318">
                  <c:v>33236</c:v>
                </c:pt>
                <c:pt idx="46319">
                  <c:v>33236</c:v>
                </c:pt>
                <c:pt idx="46320">
                  <c:v>33236</c:v>
                </c:pt>
                <c:pt idx="46321">
                  <c:v>33235</c:v>
                </c:pt>
                <c:pt idx="46322">
                  <c:v>33235</c:v>
                </c:pt>
                <c:pt idx="46323">
                  <c:v>33235</c:v>
                </c:pt>
                <c:pt idx="46324">
                  <c:v>33235</c:v>
                </c:pt>
                <c:pt idx="46325">
                  <c:v>33235</c:v>
                </c:pt>
                <c:pt idx="46326">
                  <c:v>33234</c:v>
                </c:pt>
                <c:pt idx="46327">
                  <c:v>33234</c:v>
                </c:pt>
                <c:pt idx="46328">
                  <c:v>33234</c:v>
                </c:pt>
                <c:pt idx="46329">
                  <c:v>33234</c:v>
                </c:pt>
                <c:pt idx="46330">
                  <c:v>33234</c:v>
                </c:pt>
                <c:pt idx="46331">
                  <c:v>33233</c:v>
                </c:pt>
                <c:pt idx="46332">
                  <c:v>33233</c:v>
                </c:pt>
                <c:pt idx="46333">
                  <c:v>33233</c:v>
                </c:pt>
                <c:pt idx="46334">
                  <c:v>33233</c:v>
                </c:pt>
                <c:pt idx="46335">
                  <c:v>33232</c:v>
                </c:pt>
                <c:pt idx="46336">
                  <c:v>33232</c:v>
                </c:pt>
                <c:pt idx="46337">
                  <c:v>33232</c:v>
                </c:pt>
                <c:pt idx="46338">
                  <c:v>33232</c:v>
                </c:pt>
                <c:pt idx="46339">
                  <c:v>33232</c:v>
                </c:pt>
                <c:pt idx="46340">
                  <c:v>33231</c:v>
                </c:pt>
                <c:pt idx="46341">
                  <c:v>33231</c:v>
                </c:pt>
                <c:pt idx="46342">
                  <c:v>33231</c:v>
                </c:pt>
                <c:pt idx="46343">
                  <c:v>33231</c:v>
                </c:pt>
                <c:pt idx="46344">
                  <c:v>33231</c:v>
                </c:pt>
                <c:pt idx="46345">
                  <c:v>33231</c:v>
                </c:pt>
                <c:pt idx="46346">
                  <c:v>33231</c:v>
                </c:pt>
                <c:pt idx="46347">
                  <c:v>33231</c:v>
                </c:pt>
                <c:pt idx="46348">
                  <c:v>33231</c:v>
                </c:pt>
                <c:pt idx="46349">
                  <c:v>33231</c:v>
                </c:pt>
                <c:pt idx="46350">
                  <c:v>33230</c:v>
                </c:pt>
                <c:pt idx="46351">
                  <c:v>33230</c:v>
                </c:pt>
                <c:pt idx="46352">
                  <c:v>33230</c:v>
                </c:pt>
                <c:pt idx="46353">
                  <c:v>33230</c:v>
                </c:pt>
                <c:pt idx="46354">
                  <c:v>33230</c:v>
                </c:pt>
                <c:pt idx="46355">
                  <c:v>33230</c:v>
                </c:pt>
                <c:pt idx="46356">
                  <c:v>33230</c:v>
                </c:pt>
                <c:pt idx="46357">
                  <c:v>33229</c:v>
                </c:pt>
                <c:pt idx="46358">
                  <c:v>33229</c:v>
                </c:pt>
                <c:pt idx="46359">
                  <c:v>33229</c:v>
                </c:pt>
                <c:pt idx="46360">
                  <c:v>33229</c:v>
                </c:pt>
                <c:pt idx="46361">
                  <c:v>33229</c:v>
                </c:pt>
                <c:pt idx="46362">
                  <c:v>33229</c:v>
                </c:pt>
                <c:pt idx="46363">
                  <c:v>33229</c:v>
                </c:pt>
                <c:pt idx="46364">
                  <c:v>33229</c:v>
                </c:pt>
                <c:pt idx="46365">
                  <c:v>33229</c:v>
                </c:pt>
                <c:pt idx="46366">
                  <c:v>33229</c:v>
                </c:pt>
                <c:pt idx="46367">
                  <c:v>33228</c:v>
                </c:pt>
                <c:pt idx="46368">
                  <c:v>33228</c:v>
                </c:pt>
                <c:pt idx="46369">
                  <c:v>33228</c:v>
                </c:pt>
                <c:pt idx="46370">
                  <c:v>33228</c:v>
                </c:pt>
                <c:pt idx="46371">
                  <c:v>33228</c:v>
                </c:pt>
                <c:pt idx="46372">
                  <c:v>33228</c:v>
                </c:pt>
                <c:pt idx="46373">
                  <c:v>33227</c:v>
                </c:pt>
                <c:pt idx="46374">
                  <c:v>33227</c:v>
                </c:pt>
                <c:pt idx="46375">
                  <c:v>33227</c:v>
                </c:pt>
                <c:pt idx="46376">
                  <c:v>33227</c:v>
                </c:pt>
                <c:pt idx="46377">
                  <c:v>33227</c:v>
                </c:pt>
                <c:pt idx="46378">
                  <c:v>33227</c:v>
                </c:pt>
                <c:pt idx="46379">
                  <c:v>33227</c:v>
                </c:pt>
                <c:pt idx="46380">
                  <c:v>33226</c:v>
                </c:pt>
                <c:pt idx="46381">
                  <c:v>33226</c:v>
                </c:pt>
                <c:pt idx="46382">
                  <c:v>33226</c:v>
                </c:pt>
                <c:pt idx="46383">
                  <c:v>33226</c:v>
                </c:pt>
                <c:pt idx="46384">
                  <c:v>33226</c:v>
                </c:pt>
                <c:pt idx="46385">
                  <c:v>33226</c:v>
                </c:pt>
                <c:pt idx="46386">
                  <c:v>33226</c:v>
                </c:pt>
                <c:pt idx="46387">
                  <c:v>33226</c:v>
                </c:pt>
                <c:pt idx="46388">
                  <c:v>33226</c:v>
                </c:pt>
                <c:pt idx="46389">
                  <c:v>33226</c:v>
                </c:pt>
                <c:pt idx="46390">
                  <c:v>33226</c:v>
                </c:pt>
                <c:pt idx="46391">
                  <c:v>33226</c:v>
                </c:pt>
                <c:pt idx="46392">
                  <c:v>33225</c:v>
                </c:pt>
                <c:pt idx="46393">
                  <c:v>33225</c:v>
                </c:pt>
                <c:pt idx="46394">
                  <c:v>33225</c:v>
                </c:pt>
                <c:pt idx="46395">
                  <c:v>33225</c:v>
                </c:pt>
                <c:pt idx="46396">
                  <c:v>33225</c:v>
                </c:pt>
                <c:pt idx="46397">
                  <c:v>33225</c:v>
                </c:pt>
                <c:pt idx="46398">
                  <c:v>33224</c:v>
                </c:pt>
                <c:pt idx="46399">
                  <c:v>33223</c:v>
                </c:pt>
                <c:pt idx="46400">
                  <c:v>33223</c:v>
                </c:pt>
                <c:pt idx="46401">
                  <c:v>33223</c:v>
                </c:pt>
                <c:pt idx="46402">
                  <c:v>33223</c:v>
                </c:pt>
                <c:pt idx="46403">
                  <c:v>33223</c:v>
                </c:pt>
                <c:pt idx="46404">
                  <c:v>33223</c:v>
                </c:pt>
                <c:pt idx="46405">
                  <c:v>33223</c:v>
                </c:pt>
                <c:pt idx="46406">
                  <c:v>33223</c:v>
                </c:pt>
                <c:pt idx="46407">
                  <c:v>33222</c:v>
                </c:pt>
                <c:pt idx="46408">
                  <c:v>33222</c:v>
                </c:pt>
                <c:pt idx="46409">
                  <c:v>33222</c:v>
                </c:pt>
                <c:pt idx="46410">
                  <c:v>33222</c:v>
                </c:pt>
                <c:pt idx="46411">
                  <c:v>33221</c:v>
                </c:pt>
                <c:pt idx="46412">
                  <c:v>33221</c:v>
                </c:pt>
                <c:pt idx="46413">
                  <c:v>33221</c:v>
                </c:pt>
                <c:pt idx="46414">
                  <c:v>33221</c:v>
                </c:pt>
                <c:pt idx="46415">
                  <c:v>33221</c:v>
                </c:pt>
                <c:pt idx="46416">
                  <c:v>33221</c:v>
                </c:pt>
                <c:pt idx="46417">
                  <c:v>33221</c:v>
                </c:pt>
                <c:pt idx="46418">
                  <c:v>33221</c:v>
                </c:pt>
                <c:pt idx="46419">
                  <c:v>33221</c:v>
                </c:pt>
                <c:pt idx="46420">
                  <c:v>33221</c:v>
                </c:pt>
                <c:pt idx="46421">
                  <c:v>33221</c:v>
                </c:pt>
                <c:pt idx="46422">
                  <c:v>33220</c:v>
                </c:pt>
                <c:pt idx="46423">
                  <c:v>33220</c:v>
                </c:pt>
                <c:pt idx="46424">
                  <c:v>33220</c:v>
                </c:pt>
                <c:pt idx="46425">
                  <c:v>33220</c:v>
                </c:pt>
                <c:pt idx="46426">
                  <c:v>33220</c:v>
                </c:pt>
                <c:pt idx="46427">
                  <c:v>33220</c:v>
                </c:pt>
                <c:pt idx="46428">
                  <c:v>33220</c:v>
                </c:pt>
                <c:pt idx="46429">
                  <c:v>33220</c:v>
                </c:pt>
                <c:pt idx="46430">
                  <c:v>33220</c:v>
                </c:pt>
                <c:pt idx="46431">
                  <c:v>33219</c:v>
                </c:pt>
                <c:pt idx="46432">
                  <c:v>33219</c:v>
                </c:pt>
                <c:pt idx="46433">
                  <c:v>33219</c:v>
                </c:pt>
                <c:pt idx="46434">
                  <c:v>33219</c:v>
                </c:pt>
                <c:pt idx="46435">
                  <c:v>33219</c:v>
                </c:pt>
                <c:pt idx="46436">
                  <c:v>33218</c:v>
                </c:pt>
                <c:pt idx="46437">
                  <c:v>33218</c:v>
                </c:pt>
                <c:pt idx="46438">
                  <c:v>33218</c:v>
                </c:pt>
                <c:pt idx="46439">
                  <c:v>33218</c:v>
                </c:pt>
                <c:pt idx="46440">
                  <c:v>33218</c:v>
                </c:pt>
                <c:pt idx="46441">
                  <c:v>33218</c:v>
                </c:pt>
                <c:pt idx="46442">
                  <c:v>33218</c:v>
                </c:pt>
                <c:pt idx="46443">
                  <c:v>33218</c:v>
                </c:pt>
                <c:pt idx="46444">
                  <c:v>33217</c:v>
                </c:pt>
                <c:pt idx="46445">
                  <c:v>33217</c:v>
                </c:pt>
                <c:pt idx="46446">
                  <c:v>33217</c:v>
                </c:pt>
                <c:pt idx="46447">
                  <c:v>33217</c:v>
                </c:pt>
                <c:pt idx="46448">
                  <c:v>33217</c:v>
                </c:pt>
                <c:pt idx="46449">
                  <c:v>33217</c:v>
                </c:pt>
                <c:pt idx="46450">
                  <c:v>33216</c:v>
                </c:pt>
                <c:pt idx="46451">
                  <c:v>33216</c:v>
                </c:pt>
                <c:pt idx="46452">
                  <c:v>33216</c:v>
                </c:pt>
                <c:pt idx="46453">
                  <c:v>33216</c:v>
                </c:pt>
                <c:pt idx="46454">
                  <c:v>33216</c:v>
                </c:pt>
                <c:pt idx="46455">
                  <c:v>33216</c:v>
                </c:pt>
                <c:pt idx="46456">
                  <c:v>33215</c:v>
                </c:pt>
                <c:pt idx="46457">
                  <c:v>33215</c:v>
                </c:pt>
                <c:pt idx="46458">
                  <c:v>33215</c:v>
                </c:pt>
                <c:pt idx="46459">
                  <c:v>33215</c:v>
                </c:pt>
                <c:pt idx="46460">
                  <c:v>33215</c:v>
                </c:pt>
                <c:pt idx="46461">
                  <c:v>33215</c:v>
                </c:pt>
                <c:pt idx="46462">
                  <c:v>33215</c:v>
                </c:pt>
                <c:pt idx="46463">
                  <c:v>33214</c:v>
                </c:pt>
                <c:pt idx="46464">
                  <c:v>33214</c:v>
                </c:pt>
                <c:pt idx="46465">
                  <c:v>33214</c:v>
                </c:pt>
                <c:pt idx="46466">
                  <c:v>33214</c:v>
                </c:pt>
                <c:pt idx="46467">
                  <c:v>33214</c:v>
                </c:pt>
                <c:pt idx="46468">
                  <c:v>33214</c:v>
                </c:pt>
                <c:pt idx="46469">
                  <c:v>33214</c:v>
                </c:pt>
                <c:pt idx="46470">
                  <c:v>33214</c:v>
                </c:pt>
                <c:pt idx="46471">
                  <c:v>33214</c:v>
                </c:pt>
                <c:pt idx="46472">
                  <c:v>33214</c:v>
                </c:pt>
                <c:pt idx="46473">
                  <c:v>33213</c:v>
                </c:pt>
                <c:pt idx="46474">
                  <c:v>33213</c:v>
                </c:pt>
                <c:pt idx="46475">
                  <c:v>33213</c:v>
                </c:pt>
                <c:pt idx="46476">
                  <c:v>33213</c:v>
                </c:pt>
                <c:pt idx="46477">
                  <c:v>33213</c:v>
                </c:pt>
                <c:pt idx="46478">
                  <c:v>33213</c:v>
                </c:pt>
                <c:pt idx="46479">
                  <c:v>33213</c:v>
                </c:pt>
                <c:pt idx="46480">
                  <c:v>33212</c:v>
                </c:pt>
                <c:pt idx="46481">
                  <c:v>33212</c:v>
                </c:pt>
                <c:pt idx="46482">
                  <c:v>33212</c:v>
                </c:pt>
                <c:pt idx="46483">
                  <c:v>33212</c:v>
                </c:pt>
                <c:pt idx="46484">
                  <c:v>33212</c:v>
                </c:pt>
                <c:pt idx="46485">
                  <c:v>33212</c:v>
                </c:pt>
                <c:pt idx="46486">
                  <c:v>33212</c:v>
                </c:pt>
                <c:pt idx="46487">
                  <c:v>33212</c:v>
                </c:pt>
                <c:pt idx="46488">
                  <c:v>33211</c:v>
                </c:pt>
                <c:pt idx="46489">
                  <c:v>33211</c:v>
                </c:pt>
                <c:pt idx="46490">
                  <c:v>33211</c:v>
                </c:pt>
                <c:pt idx="46491">
                  <c:v>33211</c:v>
                </c:pt>
                <c:pt idx="46492">
                  <c:v>33211</c:v>
                </c:pt>
                <c:pt idx="46493">
                  <c:v>33211</c:v>
                </c:pt>
                <c:pt idx="46494">
                  <c:v>33211</c:v>
                </c:pt>
                <c:pt idx="46495">
                  <c:v>33210</c:v>
                </c:pt>
                <c:pt idx="46496">
                  <c:v>33210</c:v>
                </c:pt>
                <c:pt idx="46497">
                  <c:v>33210</c:v>
                </c:pt>
                <c:pt idx="46498">
                  <c:v>33210</c:v>
                </c:pt>
                <c:pt idx="46499">
                  <c:v>33210</c:v>
                </c:pt>
                <c:pt idx="46500">
                  <c:v>33210</c:v>
                </c:pt>
                <c:pt idx="46501">
                  <c:v>33210</c:v>
                </c:pt>
                <c:pt idx="46502">
                  <c:v>33210</c:v>
                </c:pt>
                <c:pt idx="46503">
                  <c:v>33210</c:v>
                </c:pt>
                <c:pt idx="46504">
                  <c:v>33209</c:v>
                </c:pt>
                <c:pt idx="46505">
                  <c:v>33209</c:v>
                </c:pt>
                <c:pt idx="46506">
                  <c:v>33209</c:v>
                </c:pt>
                <c:pt idx="46507">
                  <c:v>33209</c:v>
                </c:pt>
                <c:pt idx="46508">
                  <c:v>33209</c:v>
                </c:pt>
                <c:pt idx="46509">
                  <c:v>33209</c:v>
                </c:pt>
                <c:pt idx="46510">
                  <c:v>33209</c:v>
                </c:pt>
                <c:pt idx="46511">
                  <c:v>33209</c:v>
                </c:pt>
                <c:pt idx="46512">
                  <c:v>33209</c:v>
                </c:pt>
                <c:pt idx="46513">
                  <c:v>33209</c:v>
                </c:pt>
                <c:pt idx="46514">
                  <c:v>33209</c:v>
                </c:pt>
                <c:pt idx="46515">
                  <c:v>33209</c:v>
                </c:pt>
                <c:pt idx="46516">
                  <c:v>33208</c:v>
                </c:pt>
                <c:pt idx="46517">
                  <c:v>33208</c:v>
                </c:pt>
                <c:pt idx="46518">
                  <c:v>33208</c:v>
                </c:pt>
                <c:pt idx="46519">
                  <c:v>33208</c:v>
                </c:pt>
                <c:pt idx="46520">
                  <c:v>33208</c:v>
                </c:pt>
                <c:pt idx="46521">
                  <c:v>33208</c:v>
                </c:pt>
                <c:pt idx="46522">
                  <c:v>33208</c:v>
                </c:pt>
                <c:pt idx="46523">
                  <c:v>33208</c:v>
                </c:pt>
                <c:pt idx="46524">
                  <c:v>33208</c:v>
                </c:pt>
                <c:pt idx="46525">
                  <c:v>33207</c:v>
                </c:pt>
                <c:pt idx="46526">
                  <c:v>33207</c:v>
                </c:pt>
                <c:pt idx="46527">
                  <c:v>33207</c:v>
                </c:pt>
                <c:pt idx="46528">
                  <c:v>33207</c:v>
                </c:pt>
                <c:pt idx="46529">
                  <c:v>33207</c:v>
                </c:pt>
                <c:pt idx="46530">
                  <c:v>33207</c:v>
                </c:pt>
                <c:pt idx="46531">
                  <c:v>33207</c:v>
                </c:pt>
                <c:pt idx="46532">
                  <c:v>33207</c:v>
                </c:pt>
                <c:pt idx="46533">
                  <c:v>33207</c:v>
                </c:pt>
                <c:pt idx="46534">
                  <c:v>33206</c:v>
                </c:pt>
                <c:pt idx="46535">
                  <c:v>33206</c:v>
                </c:pt>
                <c:pt idx="46536">
                  <c:v>33206</c:v>
                </c:pt>
                <c:pt idx="46537">
                  <c:v>33206</c:v>
                </c:pt>
                <c:pt idx="46538">
                  <c:v>33205</c:v>
                </c:pt>
                <c:pt idx="46539">
                  <c:v>33205</c:v>
                </c:pt>
                <c:pt idx="46540">
                  <c:v>33205</c:v>
                </c:pt>
                <c:pt idx="46541">
                  <c:v>33205</c:v>
                </c:pt>
                <c:pt idx="46542">
                  <c:v>33205</c:v>
                </c:pt>
                <c:pt idx="46543">
                  <c:v>33205</c:v>
                </c:pt>
                <c:pt idx="46544">
                  <c:v>33205</c:v>
                </c:pt>
                <c:pt idx="46545">
                  <c:v>33205</c:v>
                </c:pt>
                <c:pt idx="46546">
                  <c:v>33205</c:v>
                </c:pt>
                <c:pt idx="46547">
                  <c:v>33205</c:v>
                </c:pt>
                <c:pt idx="46548">
                  <c:v>33205</c:v>
                </c:pt>
                <c:pt idx="46549">
                  <c:v>33204</c:v>
                </c:pt>
                <c:pt idx="46550">
                  <c:v>33204</c:v>
                </c:pt>
                <c:pt idx="46551">
                  <c:v>33204</c:v>
                </c:pt>
                <c:pt idx="46552">
                  <c:v>33204</c:v>
                </c:pt>
                <c:pt idx="46553">
                  <c:v>33204</c:v>
                </c:pt>
                <c:pt idx="46554">
                  <c:v>33204</c:v>
                </c:pt>
                <c:pt idx="46555">
                  <c:v>33204</c:v>
                </c:pt>
                <c:pt idx="46556">
                  <c:v>33204</c:v>
                </c:pt>
                <c:pt idx="46557">
                  <c:v>33204</c:v>
                </c:pt>
                <c:pt idx="46558">
                  <c:v>33204</c:v>
                </c:pt>
                <c:pt idx="46559">
                  <c:v>33204</c:v>
                </c:pt>
                <c:pt idx="46560">
                  <c:v>33204</c:v>
                </c:pt>
                <c:pt idx="46561">
                  <c:v>33204</c:v>
                </c:pt>
                <c:pt idx="46562">
                  <c:v>33204</c:v>
                </c:pt>
                <c:pt idx="46563">
                  <c:v>33204</c:v>
                </c:pt>
                <c:pt idx="46564">
                  <c:v>33203</c:v>
                </c:pt>
                <c:pt idx="46565">
                  <c:v>33203</c:v>
                </c:pt>
                <c:pt idx="46566">
                  <c:v>33203</c:v>
                </c:pt>
                <c:pt idx="46567">
                  <c:v>33203</c:v>
                </c:pt>
                <c:pt idx="46568">
                  <c:v>33203</c:v>
                </c:pt>
                <c:pt idx="46569">
                  <c:v>33203</c:v>
                </c:pt>
                <c:pt idx="46570">
                  <c:v>33202</c:v>
                </c:pt>
                <c:pt idx="46571">
                  <c:v>33202</c:v>
                </c:pt>
                <c:pt idx="46572">
                  <c:v>33202</c:v>
                </c:pt>
                <c:pt idx="46573">
                  <c:v>33202</c:v>
                </c:pt>
                <c:pt idx="46574">
                  <c:v>33202</c:v>
                </c:pt>
                <c:pt idx="46575">
                  <c:v>33202</c:v>
                </c:pt>
                <c:pt idx="46576">
                  <c:v>33202</c:v>
                </c:pt>
                <c:pt idx="46577">
                  <c:v>33202</c:v>
                </c:pt>
                <c:pt idx="46578">
                  <c:v>33202</c:v>
                </c:pt>
                <c:pt idx="46579">
                  <c:v>33201</c:v>
                </c:pt>
                <c:pt idx="46580">
                  <c:v>33201</c:v>
                </c:pt>
                <c:pt idx="46581">
                  <c:v>33201</c:v>
                </c:pt>
                <c:pt idx="46582">
                  <c:v>33201</c:v>
                </c:pt>
                <c:pt idx="46583">
                  <c:v>33200</c:v>
                </c:pt>
                <c:pt idx="46584">
                  <c:v>33200</c:v>
                </c:pt>
                <c:pt idx="46585">
                  <c:v>33200</c:v>
                </c:pt>
                <c:pt idx="46586">
                  <c:v>33200</c:v>
                </c:pt>
                <c:pt idx="46587">
                  <c:v>33199</c:v>
                </c:pt>
                <c:pt idx="46588">
                  <c:v>33199</c:v>
                </c:pt>
                <c:pt idx="46589">
                  <c:v>33199</c:v>
                </c:pt>
                <c:pt idx="46590">
                  <c:v>33199</c:v>
                </c:pt>
                <c:pt idx="46591">
                  <c:v>33198</c:v>
                </c:pt>
                <c:pt idx="46592">
                  <c:v>33198</c:v>
                </c:pt>
                <c:pt idx="46593">
                  <c:v>33198</c:v>
                </c:pt>
                <c:pt idx="46594">
                  <c:v>33198</c:v>
                </c:pt>
                <c:pt idx="46595">
                  <c:v>33197</c:v>
                </c:pt>
                <c:pt idx="46596">
                  <c:v>33197</c:v>
                </c:pt>
                <c:pt idx="46597">
                  <c:v>33197</c:v>
                </c:pt>
                <c:pt idx="46598">
                  <c:v>33197</c:v>
                </c:pt>
                <c:pt idx="46599">
                  <c:v>33197</c:v>
                </c:pt>
                <c:pt idx="46600">
                  <c:v>33197</c:v>
                </c:pt>
                <c:pt idx="46601">
                  <c:v>33196</c:v>
                </c:pt>
                <c:pt idx="46602">
                  <c:v>33196</c:v>
                </c:pt>
                <c:pt idx="46603">
                  <c:v>33196</c:v>
                </c:pt>
                <c:pt idx="46604">
                  <c:v>33196</c:v>
                </c:pt>
                <c:pt idx="46605">
                  <c:v>33195</c:v>
                </c:pt>
                <c:pt idx="46606">
                  <c:v>33195</c:v>
                </c:pt>
                <c:pt idx="46607">
                  <c:v>33195</c:v>
                </c:pt>
                <c:pt idx="46608">
                  <c:v>33194</c:v>
                </c:pt>
                <c:pt idx="46609">
                  <c:v>33194</c:v>
                </c:pt>
                <c:pt idx="46610">
                  <c:v>33194</c:v>
                </c:pt>
                <c:pt idx="46611">
                  <c:v>33194</c:v>
                </c:pt>
                <c:pt idx="46612">
                  <c:v>33194</c:v>
                </c:pt>
                <c:pt idx="46613">
                  <c:v>33193</c:v>
                </c:pt>
                <c:pt idx="46614">
                  <c:v>33193</c:v>
                </c:pt>
                <c:pt idx="46615">
                  <c:v>33193</c:v>
                </c:pt>
                <c:pt idx="46616">
                  <c:v>33193</c:v>
                </c:pt>
                <c:pt idx="46617">
                  <c:v>33193</c:v>
                </c:pt>
                <c:pt idx="46618">
                  <c:v>33192</c:v>
                </c:pt>
                <c:pt idx="46619">
                  <c:v>33192</c:v>
                </c:pt>
                <c:pt idx="46620">
                  <c:v>33192</c:v>
                </c:pt>
                <c:pt idx="46621">
                  <c:v>33192</c:v>
                </c:pt>
                <c:pt idx="46622">
                  <c:v>33192</c:v>
                </c:pt>
                <c:pt idx="46623">
                  <c:v>33192</c:v>
                </c:pt>
                <c:pt idx="46624">
                  <c:v>33192</c:v>
                </c:pt>
                <c:pt idx="46625">
                  <c:v>33192</c:v>
                </c:pt>
                <c:pt idx="46626">
                  <c:v>33192</c:v>
                </c:pt>
                <c:pt idx="46627">
                  <c:v>33192</c:v>
                </c:pt>
                <c:pt idx="46628">
                  <c:v>33191</c:v>
                </c:pt>
                <c:pt idx="46629">
                  <c:v>33191</c:v>
                </c:pt>
                <c:pt idx="46630">
                  <c:v>33191</c:v>
                </c:pt>
                <c:pt idx="46631">
                  <c:v>33191</c:v>
                </c:pt>
                <c:pt idx="46632">
                  <c:v>33191</c:v>
                </c:pt>
                <c:pt idx="46633">
                  <c:v>33191</c:v>
                </c:pt>
                <c:pt idx="46634">
                  <c:v>33191</c:v>
                </c:pt>
                <c:pt idx="46635">
                  <c:v>33190</c:v>
                </c:pt>
                <c:pt idx="46636">
                  <c:v>33190</c:v>
                </c:pt>
                <c:pt idx="46637">
                  <c:v>33190</c:v>
                </c:pt>
                <c:pt idx="46638">
                  <c:v>33190</c:v>
                </c:pt>
                <c:pt idx="46639">
                  <c:v>33190</c:v>
                </c:pt>
                <c:pt idx="46640">
                  <c:v>33190</c:v>
                </c:pt>
                <c:pt idx="46641">
                  <c:v>33190</c:v>
                </c:pt>
                <c:pt idx="46642">
                  <c:v>33189</c:v>
                </c:pt>
                <c:pt idx="46643">
                  <c:v>33189</c:v>
                </c:pt>
                <c:pt idx="46644">
                  <c:v>33189</c:v>
                </c:pt>
                <c:pt idx="46645">
                  <c:v>33189</c:v>
                </c:pt>
                <c:pt idx="46646">
                  <c:v>33189</c:v>
                </c:pt>
                <c:pt idx="46647">
                  <c:v>33189</c:v>
                </c:pt>
                <c:pt idx="46648">
                  <c:v>33189</c:v>
                </c:pt>
                <c:pt idx="46649">
                  <c:v>33188</c:v>
                </c:pt>
                <c:pt idx="46650">
                  <c:v>33188</c:v>
                </c:pt>
                <c:pt idx="46651">
                  <c:v>33188</c:v>
                </c:pt>
                <c:pt idx="46652">
                  <c:v>33188</c:v>
                </c:pt>
                <c:pt idx="46653">
                  <c:v>33188</c:v>
                </c:pt>
                <c:pt idx="46654">
                  <c:v>33188</c:v>
                </c:pt>
                <c:pt idx="46655">
                  <c:v>33187</c:v>
                </c:pt>
                <c:pt idx="46656">
                  <c:v>33187</c:v>
                </c:pt>
                <c:pt idx="46657">
                  <c:v>33187</c:v>
                </c:pt>
                <c:pt idx="46658">
                  <c:v>33187</c:v>
                </c:pt>
                <c:pt idx="46659">
                  <c:v>33187</c:v>
                </c:pt>
                <c:pt idx="46660">
                  <c:v>33187</c:v>
                </c:pt>
                <c:pt idx="46661">
                  <c:v>33187</c:v>
                </c:pt>
                <c:pt idx="46662">
                  <c:v>33187</c:v>
                </c:pt>
                <c:pt idx="46663">
                  <c:v>33187</c:v>
                </c:pt>
                <c:pt idx="46664">
                  <c:v>33187</c:v>
                </c:pt>
                <c:pt idx="46665">
                  <c:v>33187</c:v>
                </c:pt>
                <c:pt idx="46666">
                  <c:v>33186</c:v>
                </c:pt>
                <c:pt idx="46667">
                  <c:v>33186</c:v>
                </c:pt>
                <c:pt idx="46668">
                  <c:v>33186</c:v>
                </c:pt>
                <c:pt idx="46669">
                  <c:v>33186</c:v>
                </c:pt>
                <c:pt idx="46670">
                  <c:v>33186</c:v>
                </c:pt>
                <c:pt idx="46671">
                  <c:v>33186</c:v>
                </c:pt>
                <c:pt idx="46672">
                  <c:v>33185</c:v>
                </c:pt>
                <c:pt idx="46673">
                  <c:v>33185</c:v>
                </c:pt>
                <c:pt idx="46674">
                  <c:v>33185</c:v>
                </c:pt>
                <c:pt idx="46675">
                  <c:v>33185</c:v>
                </c:pt>
                <c:pt idx="46676">
                  <c:v>33185</c:v>
                </c:pt>
                <c:pt idx="46677">
                  <c:v>33184</c:v>
                </c:pt>
                <c:pt idx="46678">
                  <c:v>33184</c:v>
                </c:pt>
                <c:pt idx="46679">
                  <c:v>33184</c:v>
                </c:pt>
                <c:pt idx="46680">
                  <c:v>33184</c:v>
                </c:pt>
                <c:pt idx="46681">
                  <c:v>33183</c:v>
                </c:pt>
                <c:pt idx="46682">
                  <c:v>33183</c:v>
                </c:pt>
                <c:pt idx="46683">
                  <c:v>33183</c:v>
                </c:pt>
                <c:pt idx="46684">
                  <c:v>33183</c:v>
                </c:pt>
                <c:pt idx="46685">
                  <c:v>33183</c:v>
                </c:pt>
                <c:pt idx="46686">
                  <c:v>33183</c:v>
                </c:pt>
                <c:pt idx="46687">
                  <c:v>33183</c:v>
                </c:pt>
                <c:pt idx="46688">
                  <c:v>33183</c:v>
                </c:pt>
                <c:pt idx="46689">
                  <c:v>33183</c:v>
                </c:pt>
                <c:pt idx="46690">
                  <c:v>33183</c:v>
                </c:pt>
                <c:pt idx="46691">
                  <c:v>33183</c:v>
                </c:pt>
                <c:pt idx="46692">
                  <c:v>33183</c:v>
                </c:pt>
                <c:pt idx="46693">
                  <c:v>33182</c:v>
                </c:pt>
                <c:pt idx="46694">
                  <c:v>33182</c:v>
                </c:pt>
                <c:pt idx="46695">
                  <c:v>33182</c:v>
                </c:pt>
                <c:pt idx="46696">
                  <c:v>33182</c:v>
                </c:pt>
                <c:pt idx="46697">
                  <c:v>33182</c:v>
                </c:pt>
                <c:pt idx="46698">
                  <c:v>33181</c:v>
                </c:pt>
                <c:pt idx="46699">
                  <c:v>33181</c:v>
                </c:pt>
                <c:pt idx="46700">
                  <c:v>33181</c:v>
                </c:pt>
                <c:pt idx="46701">
                  <c:v>33181</c:v>
                </c:pt>
                <c:pt idx="46702">
                  <c:v>33181</c:v>
                </c:pt>
                <c:pt idx="46703">
                  <c:v>33180</c:v>
                </c:pt>
                <c:pt idx="46704">
                  <c:v>33180</c:v>
                </c:pt>
                <c:pt idx="46705">
                  <c:v>33180</c:v>
                </c:pt>
                <c:pt idx="46706">
                  <c:v>33180</c:v>
                </c:pt>
                <c:pt idx="46707">
                  <c:v>33180</c:v>
                </c:pt>
                <c:pt idx="46708">
                  <c:v>33179</c:v>
                </c:pt>
                <c:pt idx="46709">
                  <c:v>33179</c:v>
                </c:pt>
                <c:pt idx="46710">
                  <c:v>33179</c:v>
                </c:pt>
                <c:pt idx="46711">
                  <c:v>33179</c:v>
                </c:pt>
                <c:pt idx="46712">
                  <c:v>33179</c:v>
                </c:pt>
                <c:pt idx="46713">
                  <c:v>33178</c:v>
                </c:pt>
                <c:pt idx="46714">
                  <c:v>33178</c:v>
                </c:pt>
                <c:pt idx="46715">
                  <c:v>33178</c:v>
                </c:pt>
                <c:pt idx="46716">
                  <c:v>33178</c:v>
                </c:pt>
                <c:pt idx="46717">
                  <c:v>33178</c:v>
                </c:pt>
                <c:pt idx="46718">
                  <c:v>33178</c:v>
                </c:pt>
                <c:pt idx="46719">
                  <c:v>33178</c:v>
                </c:pt>
                <c:pt idx="46720">
                  <c:v>33177</c:v>
                </c:pt>
                <c:pt idx="46721">
                  <c:v>33177</c:v>
                </c:pt>
                <c:pt idx="46722">
                  <c:v>33177</c:v>
                </c:pt>
                <c:pt idx="46723">
                  <c:v>33177</c:v>
                </c:pt>
                <c:pt idx="46724">
                  <c:v>33177</c:v>
                </c:pt>
                <c:pt idx="46725">
                  <c:v>33177</c:v>
                </c:pt>
                <c:pt idx="46726">
                  <c:v>33177</c:v>
                </c:pt>
                <c:pt idx="46727">
                  <c:v>33176</c:v>
                </c:pt>
                <c:pt idx="46728">
                  <c:v>33176</c:v>
                </c:pt>
                <c:pt idx="46729">
                  <c:v>33176</c:v>
                </c:pt>
                <c:pt idx="46730">
                  <c:v>33176</c:v>
                </c:pt>
                <c:pt idx="46731">
                  <c:v>33176</c:v>
                </c:pt>
                <c:pt idx="46732">
                  <c:v>33176</c:v>
                </c:pt>
                <c:pt idx="46733">
                  <c:v>33175</c:v>
                </c:pt>
                <c:pt idx="46734">
                  <c:v>33175</c:v>
                </c:pt>
                <c:pt idx="46735">
                  <c:v>33175</c:v>
                </c:pt>
                <c:pt idx="46736">
                  <c:v>33175</c:v>
                </c:pt>
                <c:pt idx="46737">
                  <c:v>33174</c:v>
                </c:pt>
                <c:pt idx="46738">
                  <c:v>33174</c:v>
                </c:pt>
                <c:pt idx="46739">
                  <c:v>33174</c:v>
                </c:pt>
                <c:pt idx="46740">
                  <c:v>33174</c:v>
                </c:pt>
                <c:pt idx="46741">
                  <c:v>33174</c:v>
                </c:pt>
                <c:pt idx="46742">
                  <c:v>33174</c:v>
                </c:pt>
                <c:pt idx="46743">
                  <c:v>33174</c:v>
                </c:pt>
                <c:pt idx="46744">
                  <c:v>33174</c:v>
                </c:pt>
                <c:pt idx="46745">
                  <c:v>33173</c:v>
                </c:pt>
                <c:pt idx="46746">
                  <c:v>33173</c:v>
                </c:pt>
                <c:pt idx="46747">
                  <c:v>33173</c:v>
                </c:pt>
                <c:pt idx="46748">
                  <c:v>33173</c:v>
                </c:pt>
                <c:pt idx="46749">
                  <c:v>33173</c:v>
                </c:pt>
                <c:pt idx="46750">
                  <c:v>33173</c:v>
                </c:pt>
                <c:pt idx="46751">
                  <c:v>33173</c:v>
                </c:pt>
                <c:pt idx="46752">
                  <c:v>33173</c:v>
                </c:pt>
                <c:pt idx="46753">
                  <c:v>33173</c:v>
                </c:pt>
                <c:pt idx="46754">
                  <c:v>33173</c:v>
                </c:pt>
                <c:pt idx="46755">
                  <c:v>33173</c:v>
                </c:pt>
                <c:pt idx="46756">
                  <c:v>33173</c:v>
                </c:pt>
                <c:pt idx="46757">
                  <c:v>33173</c:v>
                </c:pt>
                <c:pt idx="46758">
                  <c:v>33173</c:v>
                </c:pt>
                <c:pt idx="46759">
                  <c:v>33173</c:v>
                </c:pt>
                <c:pt idx="46760">
                  <c:v>33172</c:v>
                </c:pt>
                <c:pt idx="46761">
                  <c:v>33172</c:v>
                </c:pt>
                <c:pt idx="46762">
                  <c:v>33172</c:v>
                </c:pt>
                <c:pt idx="46763">
                  <c:v>33172</c:v>
                </c:pt>
                <c:pt idx="46764">
                  <c:v>33172</c:v>
                </c:pt>
                <c:pt idx="46765">
                  <c:v>33172</c:v>
                </c:pt>
                <c:pt idx="46766">
                  <c:v>33172</c:v>
                </c:pt>
                <c:pt idx="46767">
                  <c:v>33172</c:v>
                </c:pt>
                <c:pt idx="46768">
                  <c:v>33172</c:v>
                </c:pt>
                <c:pt idx="46769">
                  <c:v>33172</c:v>
                </c:pt>
                <c:pt idx="46770">
                  <c:v>33172</c:v>
                </c:pt>
                <c:pt idx="46771">
                  <c:v>33172</c:v>
                </c:pt>
                <c:pt idx="46772">
                  <c:v>33172</c:v>
                </c:pt>
                <c:pt idx="46773">
                  <c:v>33171</c:v>
                </c:pt>
                <c:pt idx="46774">
                  <c:v>33171</c:v>
                </c:pt>
                <c:pt idx="46775">
                  <c:v>33171</c:v>
                </c:pt>
                <c:pt idx="46776">
                  <c:v>33171</c:v>
                </c:pt>
                <c:pt idx="46777">
                  <c:v>33171</c:v>
                </c:pt>
                <c:pt idx="46778">
                  <c:v>33171</c:v>
                </c:pt>
                <c:pt idx="46779">
                  <c:v>33170</c:v>
                </c:pt>
                <c:pt idx="46780">
                  <c:v>33170</c:v>
                </c:pt>
                <c:pt idx="46781">
                  <c:v>33169</c:v>
                </c:pt>
                <c:pt idx="46782">
                  <c:v>33169</c:v>
                </c:pt>
                <c:pt idx="46783">
                  <c:v>33169</c:v>
                </c:pt>
                <c:pt idx="46784">
                  <c:v>33169</c:v>
                </c:pt>
                <c:pt idx="46785">
                  <c:v>33169</c:v>
                </c:pt>
                <c:pt idx="46786">
                  <c:v>33169</c:v>
                </c:pt>
                <c:pt idx="46787">
                  <c:v>33168</c:v>
                </c:pt>
                <c:pt idx="46788">
                  <c:v>33168</c:v>
                </c:pt>
                <c:pt idx="46789">
                  <c:v>33168</c:v>
                </c:pt>
                <c:pt idx="46790">
                  <c:v>33168</c:v>
                </c:pt>
                <c:pt idx="46791">
                  <c:v>33168</c:v>
                </c:pt>
                <c:pt idx="46792">
                  <c:v>33168</c:v>
                </c:pt>
                <c:pt idx="46793">
                  <c:v>33168</c:v>
                </c:pt>
                <c:pt idx="46794">
                  <c:v>33168</c:v>
                </c:pt>
                <c:pt idx="46795">
                  <c:v>33168</c:v>
                </c:pt>
                <c:pt idx="46796">
                  <c:v>33168</c:v>
                </c:pt>
                <c:pt idx="46797">
                  <c:v>33167</c:v>
                </c:pt>
                <c:pt idx="46798">
                  <c:v>33167</c:v>
                </c:pt>
                <c:pt idx="46799">
                  <c:v>33167</c:v>
                </c:pt>
                <c:pt idx="46800">
                  <c:v>33167</c:v>
                </c:pt>
                <c:pt idx="46801">
                  <c:v>33167</c:v>
                </c:pt>
                <c:pt idx="46802">
                  <c:v>33167</c:v>
                </c:pt>
                <c:pt idx="46803">
                  <c:v>33166</c:v>
                </c:pt>
                <c:pt idx="46804">
                  <c:v>33166</c:v>
                </c:pt>
                <c:pt idx="46805">
                  <c:v>33166</c:v>
                </c:pt>
                <c:pt idx="46806">
                  <c:v>33166</c:v>
                </c:pt>
                <c:pt idx="46807">
                  <c:v>33166</c:v>
                </c:pt>
                <c:pt idx="46808">
                  <c:v>33166</c:v>
                </c:pt>
                <c:pt idx="46809">
                  <c:v>33166</c:v>
                </c:pt>
                <c:pt idx="46810">
                  <c:v>33166</c:v>
                </c:pt>
                <c:pt idx="46811">
                  <c:v>33166</c:v>
                </c:pt>
                <c:pt idx="46812">
                  <c:v>33166</c:v>
                </c:pt>
                <c:pt idx="46813">
                  <c:v>33165</c:v>
                </c:pt>
                <c:pt idx="46814">
                  <c:v>33165</c:v>
                </c:pt>
                <c:pt idx="46815">
                  <c:v>33165</c:v>
                </c:pt>
                <c:pt idx="46816">
                  <c:v>33165</c:v>
                </c:pt>
                <c:pt idx="46817">
                  <c:v>33165</c:v>
                </c:pt>
                <c:pt idx="46818">
                  <c:v>33165</c:v>
                </c:pt>
                <c:pt idx="46819">
                  <c:v>33165</c:v>
                </c:pt>
                <c:pt idx="46820">
                  <c:v>33165</c:v>
                </c:pt>
                <c:pt idx="46821">
                  <c:v>33165</c:v>
                </c:pt>
                <c:pt idx="46822">
                  <c:v>33165</c:v>
                </c:pt>
                <c:pt idx="46823">
                  <c:v>33165</c:v>
                </c:pt>
                <c:pt idx="46824">
                  <c:v>33164</c:v>
                </c:pt>
                <c:pt idx="46825">
                  <c:v>33164</c:v>
                </c:pt>
                <c:pt idx="46826">
                  <c:v>33164</c:v>
                </c:pt>
                <c:pt idx="46827">
                  <c:v>33164</c:v>
                </c:pt>
                <c:pt idx="46828">
                  <c:v>33164</c:v>
                </c:pt>
                <c:pt idx="46829">
                  <c:v>33164</c:v>
                </c:pt>
                <c:pt idx="46830">
                  <c:v>33164</c:v>
                </c:pt>
                <c:pt idx="46831">
                  <c:v>33163</c:v>
                </c:pt>
                <c:pt idx="46832">
                  <c:v>33163</c:v>
                </c:pt>
                <c:pt idx="46833">
                  <c:v>33163</c:v>
                </c:pt>
                <c:pt idx="46834">
                  <c:v>33163</c:v>
                </c:pt>
                <c:pt idx="46835">
                  <c:v>33163</c:v>
                </c:pt>
                <c:pt idx="46836">
                  <c:v>33162</c:v>
                </c:pt>
                <c:pt idx="46837">
                  <c:v>33162</c:v>
                </c:pt>
                <c:pt idx="46838">
                  <c:v>33162</c:v>
                </c:pt>
                <c:pt idx="46839">
                  <c:v>33162</c:v>
                </c:pt>
                <c:pt idx="46840">
                  <c:v>33162</c:v>
                </c:pt>
                <c:pt idx="46841">
                  <c:v>33162</c:v>
                </c:pt>
                <c:pt idx="46842">
                  <c:v>33162</c:v>
                </c:pt>
                <c:pt idx="46843">
                  <c:v>33162</c:v>
                </c:pt>
                <c:pt idx="46844">
                  <c:v>33162</c:v>
                </c:pt>
                <c:pt idx="46845">
                  <c:v>33162</c:v>
                </c:pt>
                <c:pt idx="46846">
                  <c:v>33162</c:v>
                </c:pt>
                <c:pt idx="46847">
                  <c:v>33162</c:v>
                </c:pt>
                <c:pt idx="46848">
                  <c:v>33161</c:v>
                </c:pt>
                <c:pt idx="46849">
                  <c:v>33161</c:v>
                </c:pt>
                <c:pt idx="46850">
                  <c:v>33161</c:v>
                </c:pt>
                <c:pt idx="46851">
                  <c:v>33161</c:v>
                </c:pt>
                <c:pt idx="46852">
                  <c:v>33161</c:v>
                </c:pt>
                <c:pt idx="46853">
                  <c:v>33161</c:v>
                </c:pt>
                <c:pt idx="46854">
                  <c:v>33161</c:v>
                </c:pt>
                <c:pt idx="46855">
                  <c:v>33160</c:v>
                </c:pt>
                <c:pt idx="46856">
                  <c:v>33160</c:v>
                </c:pt>
                <c:pt idx="46857">
                  <c:v>33160</c:v>
                </c:pt>
                <c:pt idx="46858">
                  <c:v>33160</c:v>
                </c:pt>
                <c:pt idx="46859">
                  <c:v>33160</c:v>
                </c:pt>
                <c:pt idx="46860">
                  <c:v>33160</c:v>
                </c:pt>
                <c:pt idx="46861">
                  <c:v>33160</c:v>
                </c:pt>
                <c:pt idx="46862">
                  <c:v>33159</c:v>
                </c:pt>
                <c:pt idx="46863">
                  <c:v>33159</c:v>
                </c:pt>
                <c:pt idx="46864">
                  <c:v>33159</c:v>
                </c:pt>
                <c:pt idx="46865">
                  <c:v>33159</c:v>
                </c:pt>
                <c:pt idx="46866">
                  <c:v>33159</c:v>
                </c:pt>
                <c:pt idx="46867">
                  <c:v>33159</c:v>
                </c:pt>
                <c:pt idx="46868">
                  <c:v>33158</c:v>
                </c:pt>
                <c:pt idx="46869">
                  <c:v>33158</c:v>
                </c:pt>
                <c:pt idx="46870">
                  <c:v>33158</c:v>
                </c:pt>
                <c:pt idx="46871">
                  <c:v>33158</c:v>
                </c:pt>
                <c:pt idx="46872">
                  <c:v>33158</c:v>
                </c:pt>
                <c:pt idx="46873">
                  <c:v>33158</c:v>
                </c:pt>
                <c:pt idx="46874">
                  <c:v>33158</c:v>
                </c:pt>
                <c:pt idx="46875">
                  <c:v>33158</c:v>
                </c:pt>
                <c:pt idx="46876">
                  <c:v>33158</c:v>
                </c:pt>
                <c:pt idx="46877">
                  <c:v>33157</c:v>
                </c:pt>
                <c:pt idx="46878">
                  <c:v>33157</c:v>
                </c:pt>
                <c:pt idx="46879">
                  <c:v>33157</c:v>
                </c:pt>
                <c:pt idx="46880">
                  <c:v>33157</c:v>
                </c:pt>
                <c:pt idx="46881">
                  <c:v>33157</c:v>
                </c:pt>
                <c:pt idx="46882">
                  <c:v>33157</c:v>
                </c:pt>
                <c:pt idx="46883">
                  <c:v>33157</c:v>
                </c:pt>
                <c:pt idx="46884">
                  <c:v>33156</c:v>
                </c:pt>
                <c:pt idx="46885">
                  <c:v>33156</c:v>
                </c:pt>
                <c:pt idx="46886">
                  <c:v>33156</c:v>
                </c:pt>
                <c:pt idx="46887">
                  <c:v>33156</c:v>
                </c:pt>
                <c:pt idx="46888">
                  <c:v>33156</c:v>
                </c:pt>
                <c:pt idx="46889">
                  <c:v>33156</c:v>
                </c:pt>
                <c:pt idx="46890">
                  <c:v>33156</c:v>
                </c:pt>
                <c:pt idx="46891">
                  <c:v>33156</c:v>
                </c:pt>
                <c:pt idx="46892">
                  <c:v>33155</c:v>
                </c:pt>
                <c:pt idx="46893">
                  <c:v>33155</c:v>
                </c:pt>
                <c:pt idx="46894">
                  <c:v>33155</c:v>
                </c:pt>
                <c:pt idx="46895">
                  <c:v>33155</c:v>
                </c:pt>
                <c:pt idx="46896">
                  <c:v>33155</c:v>
                </c:pt>
                <c:pt idx="46897">
                  <c:v>33155</c:v>
                </c:pt>
                <c:pt idx="46898">
                  <c:v>33154</c:v>
                </c:pt>
                <c:pt idx="46899">
                  <c:v>33154</c:v>
                </c:pt>
                <c:pt idx="46900">
                  <c:v>33154</c:v>
                </c:pt>
                <c:pt idx="46901">
                  <c:v>33154</c:v>
                </c:pt>
                <c:pt idx="46902">
                  <c:v>33154</c:v>
                </c:pt>
                <c:pt idx="46903">
                  <c:v>33154</c:v>
                </c:pt>
                <c:pt idx="46904">
                  <c:v>33154</c:v>
                </c:pt>
                <c:pt idx="46905">
                  <c:v>33154</c:v>
                </c:pt>
                <c:pt idx="46906">
                  <c:v>33154</c:v>
                </c:pt>
                <c:pt idx="46907">
                  <c:v>33154</c:v>
                </c:pt>
                <c:pt idx="46908">
                  <c:v>33154</c:v>
                </c:pt>
                <c:pt idx="46909">
                  <c:v>33154</c:v>
                </c:pt>
                <c:pt idx="46910">
                  <c:v>33153</c:v>
                </c:pt>
                <c:pt idx="46911">
                  <c:v>33153</c:v>
                </c:pt>
                <c:pt idx="46912">
                  <c:v>33153</c:v>
                </c:pt>
                <c:pt idx="46913">
                  <c:v>33153</c:v>
                </c:pt>
                <c:pt idx="46914">
                  <c:v>33153</c:v>
                </c:pt>
                <c:pt idx="46915">
                  <c:v>33153</c:v>
                </c:pt>
                <c:pt idx="46916">
                  <c:v>33153</c:v>
                </c:pt>
                <c:pt idx="46917">
                  <c:v>33153</c:v>
                </c:pt>
                <c:pt idx="46918">
                  <c:v>33153</c:v>
                </c:pt>
                <c:pt idx="46919">
                  <c:v>33153</c:v>
                </c:pt>
                <c:pt idx="46920">
                  <c:v>33153</c:v>
                </c:pt>
                <c:pt idx="46921">
                  <c:v>33153</c:v>
                </c:pt>
                <c:pt idx="46922">
                  <c:v>33153</c:v>
                </c:pt>
                <c:pt idx="46923">
                  <c:v>33153</c:v>
                </c:pt>
                <c:pt idx="46924">
                  <c:v>33152</c:v>
                </c:pt>
                <c:pt idx="46925">
                  <c:v>33152</c:v>
                </c:pt>
                <c:pt idx="46926">
                  <c:v>33152</c:v>
                </c:pt>
                <c:pt idx="46927">
                  <c:v>33152</c:v>
                </c:pt>
                <c:pt idx="46928">
                  <c:v>33152</c:v>
                </c:pt>
                <c:pt idx="46929">
                  <c:v>33152</c:v>
                </c:pt>
                <c:pt idx="46930">
                  <c:v>33152</c:v>
                </c:pt>
                <c:pt idx="46931">
                  <c:v>33152</c:v>
                </c:pt>
                <c:pt idx="46932">
                  <c:v>33151</c:v>
                </c:pt>
                <c:pt idx="46933">
                  <c:v>33151</c:v>
                </c:pt>
                <c:pt idx="46934">
                  <c:v>33151</c:v>
                </c:pt>
                <c:pt idx="46935">
                  <c:v>33151</c:v>
                </c:pt>
                <c:pt idx="46936">
                  <c:v>33151</c:v>
                </c:pt>
                <c:pt idx="46937">
                  <c:v>33150</c:v>
                </c:pt>
                <c:pt idx="46938">
                  <c:v>33150</c:v>
                </c:pt>
                <c:pt idx="46939">
                  <c:v>33150</c:v>
                </c:pt>
                <c:pt idx="46940">
                  <c:v>33150</c:v>
                </c:pt>
                <c:pt idx="46941">
                  <c:v>33150</c:v>
                </c:pt>
                <c:pt idx="46942">
                  <c:v>33150</c:v>
                </c:pt>
                <c:pt idx="46943">
                  <c:v>33150</c:v>
                </c:pt>
                <c:pt idx="46944">
                  <c:v>33150</c:v>
                </c:pt>
                <c:pt idx="46945">
                  <c:v>33150</c:v>
                </c:pt>
                <c:pt idx="46946">
                  <c:v>33149</c:v>
                </c:pt>
                <c:pt idx="46947">
                  <c:v>33149</c:v>
                </c:pt>
                <c:pt idx="46948">
                  <c:v>33149</c:v>
                </c:pt>
                <c:pt idx="46949">
                  <c:v>33149</c:v>
                </c:pt>
                <c:pt idx="46950">
                  <c:v>33149</c:v>
                </c:pt>
                <c:pt idx="46951">
                  <c:v>33148</c:v>
                </c:pt>
                <c:pt idx="46952">
                  <c:v>33148</c:v>
                </c:pt>
                <c:pt idx="46953">
                  <c:v>33148</c:v>
                </c:pt>
                <c:pt idx="46954">
                  <c:v>33148</c:v>
                </c:pt>
                <c:pt idx="46955">
                  <c:v>33148</c:v>
                </c:pt>
                <c:pt idx="46956">
                  <c:v>33148</c:v>
                </c:pt>
                <c:pt idx="46957">
                  <c:v>33148</c:v>
                </c:pt>
                <c:pt idx="46958">
                  <c:v>33147</c:v>
                </c:pt>
                <c:pt idx="46959">
                  <c:v>33147</c:v>
                </c:pt>
                <c:pt idx="46960">
                  <c:v>33147</c:v>
                </c:pt>
                <c:pt idx="46961">
                  <c:v>33147</c:v>
                </c:pt>
                <c:pt idx="46962">
                  <c:v>33147</c:v>
                </c:pt>
                <c:pt idx="46963">
                  <c:v>33147</c:v>
                </c:pt>
                <c:pt idx="46964">
                  <c:v>33147</c:v>
                </c:pt>
                <c:pt idx="46965">
                  <c:v>33147</c:v>
                </c:pt>
                <c:pt idx="46966">
                  <c:v>33147</c:v>
                </c:pt>
                <c:pt idx="46967">
                  <c:v>33146</c:v>
                </c:pt>
                <c:pt idx="46968">
                  <c:v>33146</c:v>
                </c:pt>
                <c:pt idx="46969">
                  <c:v>33146</c:v>
                </c:pt>
                <c:pt idx="46970">
                  <c:v>33146</c:v>
                </c:pt>
                <c:pt idx="46971">
                  <c:v>33146</c:v>
                </c:pt>
                <c:pt idx="46972">
                  <c:v>33146</c:v>
                </c:pt>
                <c:pt idx="46973">
                  <c:v>33145</c:v>
                </c:pt>
                <c:pt idx="46974">
                  <c:v>33145</c:v>
                </c:pt>
                <c:pt idx="46975">
                  <c:v>33145</c:v>
                </c:pt>
                <c:pt idx="46976">
                  <c:v>33145</c:v>
                </c:pt>
                <c:pt idx="46977">
                  <c:v>33145</c:v>
                </c:pt>
                <c:pt idx="46978">
                  <c:v>33145</c:v>
                </c:pt>
                <c:pt idx="46979">
                  <c:v>33145</c:v>
                </c:pt>
                <c:pt idx="46980">
                  <c:v>33145</c:v>
                </c:pt>
                <c:pt idx="46981">
                  <c:v>33145</c:v>
                </c:pt>
                <c:pt idx="46982">
                  <c:v>33144</c:v>
                </c:pt>
                <c:pt idx="46983">
                  <c:v>33144</c:v>
                </c:pt>
                <c:pt idx="46984">
                  <c:v>33144</c:v>
                </c:pt>
                <c:pt idx="46985">
                  <c:v>33144</c:v>
                </c:pt>
                <c:pt idx="46986">
                  <c:v>33144</c:v>
                </c:pt>
                <c:pt idx="46987">
                  <c:v>33144</c:v>
                </c:pt>
                <c:pt idx="46988">
                  <c:v>33144</c:v>
                </c:pt>
                <c:pt idx="46989">
                  <c:v>33144</c:v>
                </c:pt>
                <c:pt idx="46990">
                  <c:v>33143</c:v>
                </c:pt>
                <c:pt idx="46991">
                  <c:v>33143</c:v>
                </c:pt>
                <c:pt idx="46992">
                  <c:v>33143</c:v>
                </c:pt>
                <c:pt idx="46993">
                  <c:v>33143</c:v>
                </c:pt>
                <c:pt idx="46994">
                  <c:v>33143</c:v>
                </c:pt>
                <c:pt idx="46995">
                  <c:v>33143</c:v>
                </c:pt>
                <c:pt idx="46996">
                  <c:v>33142</c:v>
                </c:pt>
                <c:pt idx="46997">
                  <c:v>33142</c:v>
                </c:pt>
                <c:pt idx="46998">
                  <c:v>33142</c:v>
                </c:pt>
                <c:pt idx="46999">
                  <c:v>33142</c:v>
                </c:pt>
                <c:pt idx="47000">
                  <c:v>33141</c:v>
                </c:pt>
                <c:pt idx="47001">
                  <c:v>33141</c:v>
                </c:pt>
                <c:pt idx="47002">
                  <c:v>33141</c:v>
                </c:pt>
                <c:pt idx="47003">
                  <c:v>33141</c:v>
                </c:pt>
                <c:pt idx="47004">
                  <c:v>33141</c:v>
                </c:pt>
                <c:pt idx="47005">
                  <c:v>33141</c:v>
                </c:pt>
                <c:pt idx="47006">
                  <c:v>33141</c:v>
                </c:pt>
                <c:pt idx="47007">
                  <c:v>33141</c:v>
                </c:pt>
                <c:pt idx="47008">
                  <c:v>33141</c:v>
                </c:pt>
                <c:pt idx="47009">
                  <c:v>33140</c:v>
                </c:pt>
                <c:pt idx="47010">
                  <c:v>33140</c:v>
                </c:pt>
                <c:pt idx="47011">
                  <c:v>33140</c:v>
                </c:pt>
                <c:pt idx="47012">
                  <c:v>33140</c:v>
                </c:pt>
                <c:pt idx="47013">
                  <c:v>33140</c:v>
                </c:pt>
                <c:pt idx="47014">
                  <c:v>33140</c:v>
                </c:pt>
                <c:pt idx="47015">
                  <c:v>33140</c:v>
                </c:pt>
                <c:pt idx="47016">
                  <c:v>33140</c:v>
                </c:pt>
                <c:pt idx="47017">
                  <c:v>33139</c:v>
                </c:pt>
                <c:pt idx="47018">
                  <c:v>33139</c:v>
                </c:pt>
                <c:pt idx="47019">
                  <c:v>33139</c:v>
                </c:pt>
                <c:pt idx="47020">
                  <c:v>33139</c:v>
                </c:pt>
                <c:pt idx="47021">
                  <c:v>33139</c:v>
                </c:pt>
                <c:pt idx="47022">
                  <c:v>33139</c:v>
                </c:pt>
                <c:pt idx="47023">
                  <c:v>33139</c:v>
                </c:pt>
                <c:pt idx="47024">
                  <c:v>33139</c:v>
                </c:pt>
                <c:pt idx="47025">
                  <c:v>33138</c:v>
                </c:pt>
                <c:pt idx="47026">
                  <c:v>33138</c:v>
                </c:pt>
                <c:pt idx="47027">
                  <c:v>33138</c:v>
                </c:pt>
                <c:pt idx="47028">
                  <c:v>33138</c:v>
                </c:pt>
                <c:pt idx="47029">
                  <c:v>33138</c:v>
                </c:pt>
                <c:pt idx="47030">
                  <c:v>33138</c:v>
                </c:pt>
                <c:pt idx="47031">
                  <c:v>33138</c:v>
                </c:pt>
                <c:pt idx="47032">
                  <c:v>33137</c:v>
                </c:pt>
                <c:pt idx="47033">
                  <c:v>33137</c:v>
                </c:pt>
                <c:pt idx="47034">
                  <c:v>33137</c:v>
                </c:pt>
                <c:pt idx="47035">
                  <c:v>33137</c:v>
                </c:pt>
                <c:pt idx="47036">
                  <c:v>33137</c:v>
                </c:pt>
                <c:pt idx="47037">
                  <c:v>33137</c:v>
                </c:pt>
                <c:pt idx="47038">
                  <c:v>33137</c:v>
                </c:pt>
                <c:pt idx="47039">
                  <c:v>33136</c:v>
                </c:pt>
                <c:pt idx="47040">
                  <c:v>33136</c:v>
                </c:pt>
                <c:pt idx="47041">
                  <c:v>33136</c:v>
                </c:pt>
                <c:pt idx="47042">
                  <c:v>33136</c:v>
                </c:pt>
                <c:pt idx="47043">
                  <c:v>33136</c:v>
                </c:pt>
                <c:pt idx="47044">
                  <c:v>33136</c:v>
                </c:pt>
                <c:pt idx="47045">
                  <c:v>33136</c:v>
                </c:pt>
                <c:pt idx="47046">
                  <c:v>33136</c:v>
                </c:pt>
                <c:pt idx="47047">
                  <c:v>33135</c:v>
                </c:pt>
                <c:pt idx="47048">
                  <c:v>33135</c:v>
                </c:pt>
                <c:pt idx="47049">
                  <c:v>33135</c:v>
                </c:pt>
                <c:pt idx="47050">
                  <c:v>33135</c:v>
                </c:pt>
                <c:pt idx="47051">
                  <c:v>33135</c:v>
                </c:pt>
                <c:pt idx="47052">
                  <c:v>33135</c:v>
                </c:pt>
                <c:pt idx="47053">
                  <c:v>33134</c:v>
                </c:pt>
                <c:pt idx="47054">
                  <c:v>33134</c:v>
                </c:pt>
                <c:pt idx="47055">
                  <c:v>33134</c:v>
                </c:pt>
                <c:pt idx="47056">
                  <c:v>33133</c:v>
                </c:pt>
                <c:pt idx="47057">
                  <c:v>33133</c:v>
                </c:pt>
                <c:pt idx="47058">
                  <c:v>33133</c:v>
                </c:pt>
                <c:pt idx="47059">
                  <c:v>33133</c:v>
                </c:pt>
                <c:pt idx="47060">
                  <c:v>33132</c:v>
                </c:pt>
                <c:pt idx="47061">
                  <c:v>33132</c:v>
                </c:pt>
                <c:pt idx="47062">
                  <c:v>33132</c:v>
                </c:pt>
                <c:pt idx="47063">
                  <c:v>33132</c:v>
                </c:pt>
                <c:pt idx="47064">
                  <c:v>33132</c:v>
                </c:pt>
                <c:pt idx="47065">
                  <c:v>33132</c:v>
                </c:pt>
                <c:pt idx="47066">
                  <c:v>33132</c:v>
                </c:pt>
                <c:pt idx="47067">
                  <c:v>33131</c:v>
                </c:pt>
                <c:pt idx="47068">
                  <c:v>33131</c:v>
                </c:pt>
                <c:pt idx="47069">
                  <c:v>33131</c:v>
                </c:pt>
                <c:pt idx="47070">
                  <c:v>33131</c:v>
                </c:pt>
                <c:pt idx="47071">
                  <c:v>33131</c:v>
                </c:pt>
                <c:pt idx="47072">
                  <c:v>33131</c:v>
                </c:pt>
                <c:pt idx="47073">
                  <c:v>33131</c:v>
                </c:pt>
                <c:pt idx="47074">
                  <c:v>33130</c:v>
                </c:pt>
                <c:pt idx="47075">
                  <c:v>33130</c:v>
                </c:pt>
                <c:pt idx="47076">
                  <c:v>33130</c:v>
                </c:pt>
                <c:pt idx="47077">
                  <c:v>33130</c:v>
                </c:pt>
                <c:pt idx="47078">
                  <c:v>33130</c:v>
                </c:pt>
                <c:pt idx="47079">
                  <c:v>33130</c:v>
                </c:pt>
                <c:pt idx="47080">
                  <c:v>33130</c:v>
                </c:pt>
                <c:pt idx="47081">
                  <c:v>33130</c:v>
                </c:pt>
                <c:pt idx="47082">
                  <c:v>33130</c:v>
                </c:pt>
                <c:pt idx="47083">
                  <c:v>33130</c:v>
                </c:pt>
                <c:pt idx="47084">
                  <c:v>33129</c:v>
                </c:pt>
                <c:pt idx="47085">
                  <c:v>33129</c:v>
                </c:pt>
                <c:pt idx="47086">
                  <c:v>33129</c:v>
                </c:pt>
                <c:pt idx="47087">
                  <c:v>33129</c:v>
                </c:pt>
                <c:pt idx="47088">
                  <c:v>33129</c:v>
                </c:pt>
                <c:pt idx="47089">
                  <c:v>33129</c:v>
                </c:pt>
                <c:pt idx="47090">
                  <c:v>33129</c:v>
                </c:pt>
                <c:pt idx="47091">
                  <c:v>33129</c:v>
                </c:pt>
                <c:pt idx="47092">
                  <c:v>33129</c:v>
                </c:pt>
                <c:pt idx="47093">
                  <c:v>33129</c:v>
                </c:pt>
                <c:pt idx="47094">
                  <c:v>33129</c:v>
                </c:pt>
                <c:pt idx="47095">
                  <c:v>33129</c:v>
                </c:pt>
                <c:pt idx="47096">
                  <c:v>33128</c:v>
                </c:pt>
                <c:pt idx="47097">
                  <c:v>33128</c:v>
                </c:pt>
                <c:pt idx="47098">
                  <c:v>33128</c:v>
                </c:pt>
                <c:pt idx="47099">
                  <c:v>33128</c:v>
                </c:pt>
                <c:pt idx="47100">
                  <c:v>33128</c:v>
                </c:pt>
                <c:pt idx="47101">
                  <c:v>33128</c:v>
                </c:pt>
                <c:pt idx="47102">
                  <c:v>33128</c:v>
                </c:pt>
                <c:pt idx="47103">
                  <c:v>33128</c:v>
                </c:pt>
                <c:pt idx="47104">
                  <c:v>33128</c:v>
                </c:pt>
                <c:pt idx="47105">
                  <c:v>33128</c:v>
                </c:pt>
                <c:pt idx="47106">
                  <c:v>33128</c:v>
                </c:pt>
                <c:pt idx="47107">
                  <c:v>33128</c:v>
                </c:pt>
                <c:pt idx="47108">
                  <c:v>33128</c:v>
                </c:pt>
                <c:pt idx="47109">
                  <c:v>33128</c:v>
                </c:pt>
                <c:pt idx="47110">
                  <c:v>33127</c:v>
                </c:pt>
                <c:pt idx="47111">
                  <c:v>33127</c:v>
                </c:pt>
                <c:pt idx="47112">
                  <c:v>33127</c:v>
                </c:pt>
                <c:pt idx="47113">
                  <c:v>33127</c:v>
                </c:pt>
                <c:pt idx="47114">
                  <c:v>33127</c:v>
                </c:pt>
                <c:pt idx="47115">
                  <c:v>33126</c:v>
                </c:pt>
                <c:pt idx="47116">
                  <c:v>33126</c:v>
                </c:pt>
                <c:pt idx="47117">
                  <c:v>33126</c:v>
                </c:pt>
                <c:pt idx="47118">
                  <c:v>33126</c:v>
                </c:pt>
                <c:pt idx="47119">
                  <c:v>33126</c:v>
                </c:pt>
                <c:pt idx="47120">
                  <c:v>33126</c:v>
                </c:pt>
                <c:pt idx="47121">
                  <c:v>33125</c:v>
                </c:pt>
                <c:pt idx="47122">
                  <c:v>33125</c:v>
                </c:pt>
                <c:pt idx="47123">
                  <c:v>33125</c:v>
                </c:pt>
                <c:pt idx="47124">
                  <c:v>33125</c:v>
                </c:pt>
                <c:pt idx="47125">
                  <c:v>33125</c:v>
                </c:pt>
                <c:pt idx="47126">
                  <c:v>33125</c:v>
                </c:pt>
                <c:pt idx="47127">
                  <c:v>33125</c:v>
                </c:pt>
                <c:pt idx="47128">
                  <c:v>33124</c:v>
                </c:pt>
                <c:pt idx="47129">
                  <c:v>33124</c:v>
                </c:pt>
                <c:pt idx="47130">
                  <c:v>33124</c:v>
                </c:pt>
                <c:pt idx="47131">
                  <c:v>33124</c:v>
                </c:pt>
                <c:pt idx="47132">
                  <c:v>33124</c:v>
                </c:pt>
                <c:pt idx="47133">
                  <c:v>33124</c:v>
                </c:pt>
                <c:pt idx="47134">
                  <c:v>33124</c:v>
                </c:pt>
                <c:pt idx="47135">
                  <c:v>33124</c:v>
                </c:pt>
                <c:pt idx="47136">
                  <c:v>33123</c:v>
                </c:pt>
                <c:pt idx="47137">
                  <c:v>33123</c:v>
                </c:pt>
                <c:pt idx="47138">
                  <c:v>33123</c:v>
                </c:pt>
                <c:pt idx="47139">
                  <c:v>33123</c:v>
                </c:pt>
                <c:pt idx="47140">
                  <c:v>33123</c:v>
                </c:pt>
                <c:pt idx="47141">
                  <c:v>33123</c:v>
                </c:pt>
                <c:pt idx="47142">
                  <c:v>33122</c:v>
                </c:pt>
                <c:pt idx="47143">
                  <c:v>33122</c:v>
                </c:pt>
                <c:pt idx="47144">
                  <c:v>33122</c:v>
                </c:pt>
                <c:pt idx="47145">
                  <c:v>33122</c:v>
                </c:pt>
                <c:pt idx="47146">
                  <c:v>33122</c:v>
                </c:pt>
                <c:pt idx="47147">
                  <c:v>33122</c:v>
                </c:pt>
                <c:pt idx="47148">
                  <c:v>33121</c:v>
                </c:pt>
                <c:pt idx="47149">
                  <c:v>33121</c:v>
                </c:pt>
                <c:pt idx="47150">
                  <c:v>33121</c:v>
                </c:pt>
                <c:pt idx="47151">
                  <c:v>33121</c:v>
                </c:pt>
                <c:pt idx="47152">
                  <c:v>33121</c:v>
                </c:pt>
                <c:pt idx="47153">
                  <c:v>33120</c:v>
                </c:pt>
                <c:pt idx="47154">
                  <c:v>33120</c:v>
                </c:pt>
                <c:pt idx="47155">
                  <c:v>33120</c:v>
                </c:pt>
                <c:pt idx="47156">
                  <c:v>33120</c:v>
                </c:pt>
                <c:pt idx="47157">
                  <c:v>33119</c:v>
                </c:pt>
                <c:pt idx="47158">
                  <c:v>33119</c:v>
                </c:pt>
                <c:pt idx="47159">
                  <c:v>33119</c:v>
                </c:pt>
                <c:pt idx="47160">
                  <c:v>33119</c:v>
                </c:pt>
                <c:pt idx="47161">
                  <c:v>33119</c:v>
                </c:pt>
                <c:pt idx="47162">
                  <c:v>33119</c:v>
                </c:pt>
                <c:pt idx="47163">
                  <c:v>33119</c:v>
                </c:pt>
                <c:pt idx="47164">
                  <c:v>33119</c:v>
                </c:pt>
                <c:pt idx="47165">
                  <c:v>33119</c:v>
                </c:pt>
                <c:pt idx="47166">
                  <c:v>33119</c:v>
                </c:pt>
                <c:pt idx="47167">
                  <c:v>33119</c:v>
                </c:pt>
                <c:pt idx="47168">
                  <c:v>33119</c:v>
                </c:pt>
                <c:pt idx="47169">
                  <c:v>33119</c:v>
                </c:pt>
                <c:pt idx="47170">
                  <c:v>33119</c:v>
                </c:pt>
                <c:pt idx="47171">
                  <c:v>33118</c:v>
                </c:pt>
                <c:pt idx="47172">
                  <c:v>33118</c:v>
                </c:pt>
                <c:pt idx="47173">
                  <c:v>33118</c:v>
                </c:pt>
                <c:pt idx="47174">
                  <c:v>33118</c:v>
                </c:pt>
                <c:pt idx="47175">
                  <c:v>33118</c:v>
                </c:pt>
                <c:pt idx="47176">
                  <c:v>33118</c:v>
                </c:pt>
                <c:pt idx="47177">
                  <c:v>33118</c:v>
                </c:pt>
                <c:pt idx="47178">
                  <c:v>33117</c:v>
                </c:pt>
                <c:pt idx="47179">
                  <c:v>33117</c:v>
                </c:pt>
                <c:pt idx="47180">
                  <c:v>33117</c:v>
                </c:pt>
                <c:pt idx="47181">
                  <c:v>33117</c:v>
                </c:pt>
                <c:pt idx="47182">
                  <c:v>33117</c:v>
                </c:pt>
                <c:pt idx="47183">
                  <c:v>33117</c:v>
                </c:pt>
                <c:pt idx="47184">
                  <c:v>33116</c:v>
                </c:pt>
                <c:pt idx="47185">
                  <c:v>33116</c:v>
                </c:pt>
                <c:pt idx="47186">
                  <c:v>33116</c:v>
                </c:pt>
                <c:pt idx="47187">
                  <c:v>33116</c:v>
                </c:pt>
                <c:pt idx="47188">
                  <c:v>33116</c:v>
                </c:pt>
                <c:pt idx="47189">
                  <c:v>33116</c:v>
                </c:pt>
                <c:pt idx="47190">
                  <c:v>33115</c:v>
                </c:pt>
                <c:pt idx="47191">
                  <c:v>33115</c:v>
                </c:pt>
                <c:pt idx="47192">
                  <c:v>33115</c:v>
                </c:pt>
                <c:pt idx="47193">
                  <c:v>33115</c:v>
                </c:pt>
                <c:pt idx="47194">
                  <c:v>33115</c:v>
                </c:pt>
                <c:pt idx="47195">
                  <c:v>33115</c:v>
                </c:pt>
                <c:pt idx="47196">
                  <c:v>33115</c:v>
                </c:pt>
                <c:pt idx="47197">
                  <c:v>33115</c:v>
                </c:pt>
                <c:pt idx="47198">
                  <c:v>33114</c:v>
                </c:pt>
                <c:pt idx="47199">
                  <c:v>33114</c:v>
                </c:pt>
                <c:pt idx="47200">
                  <c:v>33114</c:v>
                </c:pt>
                <c:pt idx="47201">
                  <c:v>33114</c:v>
                </c:pt>
                <c:pt idx="47202">
                  <c:v>33114</c:v>
                </c:pt>
                <c:pt idx="47203">
                  <c:v>33114</c:v>
                </c:pt>
                <c:pt idx="47204">
                  <c:v>33113</c:v>
                </c:pt>
                <c:pt idx="47205">
                  <c:v>33113</c:v>
                </c:pt>
                <c:pt idx="47206">
                  <c:v>33113</c:v>
                </c:pt>
                <c:pt idx="47207">
                  <c:v>33113</c:v>
                </c:pt>
                <c:pt idx="47208">
                  <c:v>33113</c:v>
                </c:pt>
                <c:pt idx="47209">
                  <c:v>33113</c:v>
                </c:pt>
                <c:pt idx="47210">
                  <c:v>33113</c:v>
                </c:pt>
                <c:pt idx="47211">
                  <c:v>33113</c:v>
                </c:pt>
                <c:pt idx="47212">
                  <c:v>33113</c:v>
                </c:pt>
                <c:pt idx="47213">
                  <c:v>33113</c:v>
                </c:pt>
                <c:pt idx="47214">
                  <c:v>33113</c:v>
                </c:pt>
                <c:pt idx="47215">
                  <c:v>33113</c:v>
                </c:pt>
                <c:pt idx="47216">
                  <c:v>33112</c:v>
                </c:pt>
                <c:pt idx="47217">
                  <c:v>33112</c:v>
                </c:pt>
                <c:pt idx="47218">
                  <c:v>33112</c:v>
                </c:pt>
                <c:pt idx="47219">
                  <c:v>33112</c:v>
                </c:pt>
                <c:pt idx="47220">
                  <c:v>33112</c:v>
                </c:pt>
                <c:pt idx="47221">
                  <c:v>33112</c:v>
                </c:pt>
                <c:pt idx="47222">
                  <c:v>33112</c:v>
                </c:pt>
                <c:pt idx="47223">
                  <c:v>33112</c:v>
                </c:pt>
                <c:pt idx="47224">
                  <c:v>33112</c:v>
                </c:pt>
                <c:pt idx="47225">
                  <c:v>33112</c:v>
                </c:pt>
                <c:pt idx="47226">
                  <c:v>33111</c:v>
                </c:pt>
                <c:pt idx="47227">
                  <c:v>33111</c:v>
                </c:pt>
                <c:pt idx="47228">
                  <c:v>33111</c:v>
                </c:pt>
                <c:pt idx="47229">
                  <c:v>33111</c:v>
                </c:pt>
                <c:pt idx="47230">
                  <c:v>33111</c:v>
                </c:pt>
                <c:pt idx="47231">
                  <c:v>33111</c:v>
                </c:pt>
                <c:pt idx="47232">
                  <c:v>33111</c:v>
                </c:pt>
                <c:pt idx="47233">
                  <c:v>33111</c:v>
                </c:pt>
                <c:pt idx="47234">
                  <c:v>33111</c:v>
                </c:pt>
                <c:pt idx="47235">
                  <c:v>33111</c:v>
                </c:pt>
                <c:pt idx="47236">
                  <c:v>33110</c:v>
                </c:pt>
                <c:pt idx="47237">
                  <c:v>33110</c:v>
                </c:pt>
                <c:pt idx="47238">
                  <c:v>33110</c:v>
                </c:pt>
                <c:pt idx="47239">
                  <c:v>33110</c:v>
                </c:pt>
                <c:pt idx="47240">
                  <c:v>33110</c:v>
                </c:pt>
                <c:pt idx="47241">
                  <c:v>33110</c:v>
                </c:pt>
                <c:pt idx="47242">
                  <c:v>33110</c:v>
                </c:pt>
                <c:pt idx="47243">
                  <c:v>33109</c:v>
                </c:pt>
                <c:pt idx="47244">
                  <c:v>33109</c:v>
                </c:pt>
                <c:pt idx="47245">
                  <c:v>33109</c:v>
                </c:pt>
                <c:pt idx="47246">
                  <c:v>33109</c:v>
                </c:pt>
                <c:pt idx="47247">
                  <c:v>33109</c:v>
                </c:pt>
                <c:pt idx="47248">
                  <c:v>33109</c:v>
                </c:pt>
                <c:pt idx="47249">
                  <c:v>33109</c:v>
                </c:pt>
                <c:pt idx="47250">
                  <c:v>33108</c:v>
                </c:pt>
                <c:pt idx="47251">
                  <c:v>33108</c:v>
                </c:pt>
                <c:pt idx="47252">
                  <c:v>33108</c:v>
                </c:pt>
                <c:pt idx="47253">
                  <c:v>33108</c:v>
                </c:pt>
                <c:pt idx="47254">
                  <c:v>33108</c:v>
                </c:pt>
                <c:pt idx="47255">
                  <c:v>33107</c:v>
                </c:pt>
                <c:pt idx="47256">
                  <c:v>33107</c:v>
                </c:pt>
                <c:pt idx="47257">
                  <c:v>33107</c:v>
                </c:pt>
                <c:pt idx="47258">
                  <c:v>33107</c:v>
                </c:pt>
                <c:pt idx="47259">
                  <c:v>33107</c:v>
                </c:pt>
                <c:pt idx="47260">
                  <c:v>33107</c:v>
                </c:pt>
                <c:pt idx="47261">
                  <c:v>33107</c:v>
                </c:pt>
                <c:pt idx="47262">
                  <c:v>33106</c:v>
                </c:pt>
                <c:pt idx="47263">
                  <c:v>33106</c:v>
                </c:pt>
                <c:pt idx="47264">
                  <c:v>33106</c:v>
                </c:pt>
                <c:pt idx="47265">
                  <c:v>33106</c:v>
                </c:pt>
                <c:pt idx="47266">
                  <c:v>33106</c:v>
                </c:pt>
                <c:pt idx="47267">
                  <c:v>33106</c:v>
                </c:pt>
                <c:pt idx="47268">
                  <c:v>33106</c:v>
                </c:pt>
                <c:pt idx="47269">
                  <c:v>33106</c:v>
                </c:pt>
                <c:pt idx="47270">
                  <c:v>33105</c:v>
                </c:pt>
                <c:pt idx="47271">
                  <c:v>33105</c:v>
                </c:pt>
                <c:pt idx="47272">
                  <c:v>33105</c:v>
                </c:pt>
                <c:pt idx="47273">
                  <c:v>33105</c:v>
                </c:pt>
                <c:pt idx="47274">
                  <c:v>33104</c:v>
                </c:pt>
                <c:pt idx="47275">
                  <c:v>33104</c:v>
                </c:pt>
                <c:pt idx="47276">
                  <c:v>33104</c:v>
                </c:pt>
                <c:pt idx="47277">
                  <c:v>33104</c:v>
                </c:pt>
                <c:pt idx="47278">
                  <c:v>33104</c:v>
                </c:pt>
                <c:pt idx="47279">
                  <c:v>33104</c:v>
                </c:pt>
                <c:pt idx="47280">
                  <c:v>33104</c:v>
                </c:pt>
                <c:pt idx="47281">
                  <c:v>33104</c:v>
                </c:pt>
                <c:pt idx="47282">
                  <c:v>33104</c:v>
                </c:pt>
                <c:pt idx="47283">
                  <c:v>33104</c:v>
                </c:pt>
                <c:pt idx="47284">
                  <c:v>33104</c:v>
                </c:pt>
                <c:pt idx="47285">
                  <c:v>33103</c:v>
                </c:pt>
                <c:pt idx="47286">
                  <c:v>33103</c:v>
                </c:pt>
                <c:pt idx="47287">
                  <c:v>33103</c:v>
                </c:pt>
                <c:pt idx="47288">
                  <c:v>33103</c:v>
                </c:pt>
                <c:pt idx="47289">
                  <c:v>33102</c:v>
                </c:pt>
                <c:pt idx="47290">
                  <c:v>33102</c:v>
                </c:pt>
                <c:pt idx="47291">
                  <c:v>33102</c:v>
                </c:pt>
                <c:pt idx="47292">
                  <c:v>33102</c:v>
                </c:pt>
                <c:pt idx="47293">
                  <c:v>33102</c:v>
                </c:pt>
                <c:pt idx="47294">
                  <c:v>33102</c:v>
                </c:pt>
                <c:pt idx="47295">
                  <c:v>33102</c:v>
                </c:pt>
                <c:pt idx="47296">
                  <c:v>33102</c:v>
                </c:pt>
                <c:pt idx="47297">
                  <c:v>33102</c:v>
                </c:pt>
                <c:pt idx="47298">
                  <c:v>33101</c:v>
                </c:pt>
                <c:pt idx="47299">
                  <c:v>33101</c:v>
                </c:pt>
                <c:pt idx="47300">
                  <c:v>33101</c:v>
                </c:pt>
                <c:pt idx="47301">
                  <c:v>33101</c:v>
                </c:pt>
                <c:pt idx="47302">
                  <c:v>33100</c:v>
                </c:pt>
                <c:pt idx="47303">
                  <c:v>33100</c:v>
                </c:pt>
                <c:pt idx="47304">
                  <c:v>33100</c:v>
                </c:pt>
                <c:pt idx="47305">
                  <c:v>33100</c:v>
                </c:pt>
                <c:pt idx="47306">
                  <c:v>33100</c:v>
                </c:pt>
                <c:pt idx="47307">
                  <c:v>33099</c:v>
                </c:pt>
                <c:pt idx="47308">
                  <c:v>33099</c:v>
                </c:pt>
                <c:pt idx="47309">
                  <c:v>33099</c:v>
                </c:pt>
                <c:pt idx="47310">
                  <c:v>33099</c:v>
                </c:pt>
                <c:pt idx="47311">
                  <c:v>33099</c:v>
                </c:pt>
                <c:pt idx="47312">
                  <c:v>33099</c:v>
                </c:pt>
                <c:pt idx="47313">
                  <c:v>33099</c:v>
                </c:pt>
                <c:pt idx="47314">
                  <c:v>33099</c:v>
                </c:pt>
                <c:pt idx="47315">
                  <c:v>33098</c:v>
                </c:pt>
                <c:pt idx="47316">
                  <c:v>33098</c:v>
                </c:pt>
                <c:pt idx="47317">
                  <c:v>33098</c:v>
                </c:pt>
                <c:pt idx="47318">
                  <c:v>33098</c:v>
                </c:pt>
                <c:pt idx="47319">
                  <c:v>33098</c:v>
                </c:pt>
                <c:pt idx="47320">
                  <c:v>33097</c:v>
                </c:pt>
                <c:pt idx="47321">
                  <c:v>33097</c:v>
                </c:pt>
                <c:pt idx="47322">
                  <c:v>33097</c:v>
                </c:pt>
                <c:pt idx="47323">
                  <c:v>33097</c:v>
                </c:pt>
                <c:pt idx="47324">
                  <c:v>33097</c:v>
                </c:pt>
                <c:pt idx="47325">
                  <c:v>33097</c:v>
                </c:pt>
                <c:pt idx="47326">
                  <c:v>33096</c:v>
                </c:pt>
                <c:pt idx="47327">
                  <c:v>33096</c:v>
                </c:pt>
                <c:pt idx="47328">
                  <c:v>33096</c:v>
                </c:pt>
                <c:pt idx="47329">
                  <c:v>33096</c:v>
                </c:pt>
                <c:pt idx="47330">
                  <c:v>33096</c:v>
                </c:pt>
                <c:pt idx="47331">
                  <c:v>33095</c:v>
                </c:pt>
                <c:pt idx="47332">
                  <c:v>33095</c:v>
                </c:pt>
                <c:pt idx="47333">
                  <c:v>33095</c:v>
                </c:pt>
                <c:pt idx="47334">
                  <c:v>33095</c:v>
                </c:pt>
                <c:pt idx="47335">
                  <c:v>33095</c:v>
                </c:pt>
                <c:pt idx="47336">
                  <c:v>33095</c:v>
                </c:pt>
                <c:pt idx="47337">
                  <c:v>33095</c:v>
                </c:pt>
                <c:pt idx="47338">
                  <c:v>33095</c:v>
                </c:pt>
                <c:pt idx="47339">
                  <c:v>33095</c:v>
                </c:pt>
                <c:pt idx="47340">
                  <c:v>33095</c:v>
                </c:pt>
                <c:pt idx="47341">
                  <c:v>33095</c:v>
                </c:pt>
                <c:pt idx="47342">
                  <c:v>33095</c:v>
                </c:pt>
                <c:pt idx="47343">
                  <c:v>33095</c:v>
                </c:pt>
                <c:pt idx="47344">
                  <c:v>33095</c:v>
                </c:pt>
                <c:pt idx="47345">
                  <c:v>33095</c:v>
                </c:pt>
                <c:pt idx="47346">
                  <c:v>33094</c:v>
                </c:pt>
                <c:pt idx="47347">
                  <c:v>33094</c:v>
                </c:pt>
                <c:pt idx="47348">
                  <c:v>33094</c:v>
                </c:pt>
                <c:pt idx="47349">
                  <c:v>33094</c:v>
                </c:pt>
                <c:pt idx="47350">
                  <c:v>33093</c:v>
                </c:pt>
                <c:pt idx="47351">
                  <c:v>33093</c:v>
                </c:pt>
                <c:pt idx="47352">
                  <c:v>33093</c:v>
                </c:pt>
                <c:pt idx="47353">
                  <c:v>33093</c:v>
                </c:pt>
                <c:pt idx="47354">
                  <c:v>33093</c:v>
                </c:pt>
                <c:pt idx="47355">
                  <c:v>33092</c:v>
                </c:pt>
                <c:pt idx="47356">
                  <c:v>33092</c:v>
                </c:pt>
                <c:pt idx="47357">
                  <c:v>33092</c:v>
                </c:pt>
                <c:pt idx="47358">
                  <c:v>33092</c:v>
                </c:pt>
                <c:pt idx="47359">
                  <c:v>33092</c:v>
                </c:pt>
                <c:pt idx="47360">
                  <c:v>33092</c:v>
                </c:pt>
                <c:pt idx="47361">
                  <c:v>33092</c:v>
                </c:pt>
                <c:pt idx="47362">
                  <c:v>33091</c:v>
                </c:pt>
                <c:pt idx="47363">
                  <c:v>33091</c:v>
                </c:pt>
                <c:pt idx="47364">
                  <c:v>33090</c:v>
                </c:pt>
                <c:pt idx="47365">
                  <c:v>33090</c:v>
                </c:pt>
                <c:pt idx="47366">
                  <c:v>33090</c:v>
                </c:pt>
                <c:pt idx="47367">
                  <c:v>33090</c:v>
                </c:pt>
                <c:pt idx="47368">
                  <c:v>33090</c:v>
                </c:pt>
                <c:pt idx="47369">
                  <c:v>33090</c:v>
                </c:pt>
                <c:pt idx="47370">
                  <c:v>33090</c:v>
                </c:pt>
                <c:pt idx="47371">
                  <c:v>33090</c:v>
                </c:pt>
                <c:pt idx="47372">
                  <c:v>33090</c:v>
                </c:pt>
                <c:pt idx="47373">
                  <c:v>33090</c:v>
                </c:pt>
                <c:pt idx="47374">
                  <c:v>33090</c:v>
                </c:pt>
                <c:pt idx="47375">
                  <c:v>33089</c:v>
                </c:pt>
                <c:pt idx="47376">
                  <c:v>33089</c:v>
                </c:pt>
                <c:pt idx="47377">
                  <c:v>33089</c:v>
                </c:pt>
                <c:pt idx="47378">
                  <c:v>33089</c:v>
                </c:pt>
                <c:pt idx="47379">
                  <c:v>33088</c:v>
                </c:pt>
                <c:pt idx="47380">
                  <c:v>33088</c:v>
                </c:pt>
                <c:pt idx="47381">
                  <c:v>33088</c:v>
                </c:pt>
                <c:pt idx="47382">
                  <c:v>33088</c:v>
                </c:pt>
                <c:pt idx="47383">
                  <c:v>33088</c:v>
                </c:pt>
                <c:pt idx="47384">
                  <c:v>33088</c:v>
                </c:pt>
                <c:pt idx="47385">
                  <c:v>33088</c:v>
                </c:pt>
                <c:pt idx="47386">
                  <c:v>33088</c:v>
                </c:pt>
                <c:pt idx="47387">
                  <c:v>33088</c:v>
                </c:pt>
                <c:pt idx="47388">
                  <c:v>33088</c:v>
                </c:pt>
                <c:pt idx="47389">
                  <c:v>33088</c:v>
                </c:pt>
                <c:pt idx="47390">
                  <c:v>33087</c:v>
                </c:pt>
                <c:pt idx="47391">
                  <c:v>33087</c:v>
                </c:pt>
                <c:pt idx="47392">
                  <c:v>33087</c:v>
                </c:pt>
                <c:pt idx="47393">
                  <c:v>33087</c:v>
                </c:pt>
                <c:pt idx="47394">
                  <c:v>33087</c:v>
                </c:pt>
                <c:pt idx="47395">
                  <c:v>33087</c:v>
                </c:pt>
                <c:pt idx="47396">
                  <c:v>33087</c:v>
                </c:pt>
                <c:pt idx="47397">
                  <c:v>33087</c:v>
                </c:pt>
                <c:pt idx="47398">
                  <c:v>33086</c:v>
                </c:pt>
                <c:pt idx="47399">
                  <c:v>33086</c:v>
                </c:pt>
                <c:pt idx="47400">
                  <c:v>33086</c:v>
                </c:pt>
                <c:pt idx="47401">
                  <c:v>33086</c:v>
                </c:pt>
                <c:pt idx="47402">
                  <c:v>33086</c:v>
                </c:pt>
                <c:pt idx="47403">
                  <c:v>33086</c:v>
                </c:pt>
                <c:pt idx="47404">
                  <c:v>33086</c:v>
                </c:pt>
                <c:pt idx="47405">
                  <c:v>33085</c:v>
                </c:pt>
                <c:pt idx="47406">
                  <c:v>33085</c:v>
                </c:pt>
                <c:pt idx="47407">
                  <c:v>33085</c:v>
                </c:pt>
                <c:pt idx="47408">
                  <c:v>33085</c:v>
                </c:pt>
                <c:pt idx="47409">
                  <c:v>33085</c:v>
                </c:pt>
                <c:pt idx="47410">
                  <c:v>33085</c:v>
                </c:pt>
                <c:pt idx="47411">
                  <c:v>33085</c:v>
                </c:pt>
                <c:pt idx="47412">
                  <c:v>33085</c:v>
                </c:pt>
                <c:pt idx="47413">
                  <c:v>33084</c:v>
                </c:pt>
                <c:pt idx="47414">
                  <c:v>33084</c:v>
                </c:pt>
                <c:pt idx="47415">
                  <c:v>33084</c:v>
                </c:pt>
                <c:pt idx="47416">
                  <c:v>33084</c:v>
                </c:pt>
                <c:pt idx="47417">
                  <c:v>33084</c:v>
                </c:pt>
                <c:pt idx="47418">
                  <c:v>33084</c:v>
                </c:pt>
                <c:pt idx="47419">
                  <c:v>33084</c:v>
                </c:pt>
                <c:pt idx="47420">
                  <c:v>33083</c:v>
                </c:pt>
                <c:pt idx="47421">
                  <c:v>33083</c:v>
                </c:pt>
                <c:pt idx="47422">
                  <c:v>33083</c:v>
                </c:pt>
                <c:pt idx="47423">
                  <c:v>33083</c:v>
                </c:pt>
                <c:pt idx="47424">
                  <c:v>33083</c:v>
                </c:pt>
                <c:pt idx="47425">
                  <c:v>33083</c:v>
                </c:pt>
                <c:pt idx="47426">
                  <c:v>33082</c:v>
                </c:pt>
                <c:pt idx="47427">
                  <c:v>33082</c:v>
                </c:pt>
                <c:pt idx="47428">
                  <c:v>33082</c:v>
                </c:pt>
                <c:pt idx="47429">
                  <c:v>33082</c:v>
                </c:pt>
                <c:pt idx="47430">
                  <c:v>33082</c:v>
                </c:pt>
                <c:pt idx="47431">
                  <c:v>33082</c:v>
                </c:pt>
                <c:pt idx="47432">
                  <c:v>33081</c:v>
                </c:pt>
                <c:pt idx="47433">
                  <c:v>33081</c:v>
                </c:pt>
                <c:pt idx="47434">
                  <c:v>33081</c:v>
                </c:pt>
                <c:pt idx="47435">
                  <c:v>33081</c:v>
                </c:pt>
                <c:pt idx="47436">
                  <c:v>33081</c:v>
                </c:pt>
                <c:pt idx="47437">
                  <c:v>33081</c:v>
                </c:pt>
                <c:pt idx="47438">
                  <c:v>33081</c:v>
                </c:pt>
                <c:pt idx="47439">
                  <c:v>33081</c:v>
                </c:pt>
                <c:pt idx="47440">
                  <c:v>33081</c:v>
                </c:pt>
                <c:pt idx="47441">
                  <c:v>33081</c:v>
                </c:pt>
                <c:pt idx="47442">
                  <c:v>33080</c:v>
                </c:pt>
                <c:pt idx="47443">
                  <c:v>33080</c:v>
                </c:pt>
                <c:pt idx="47444">
                  <c:v>33080</c:v>
                </c:pt>
                <c:pt idx="47445">
                  <c:v>33080</c:v>
                </c:pt>
                <c:pt idx="47446">
                  <c:v>33080</c:v>
                </c:pt>
                <c:pt idx="47447">
                  <c:v>33080</c:v>
                </c:pt>
                <c:pt idx="47448">
                  <c:v>33080</c:v>
                </c:pt>
                <c:pt idx="47449">
                  <c:v>33079</c:v>
                </c:pt>
                <c:pt idx="47450">
                  <c:v>33079</c:v>
                </c:pt>
                <c:pt idx="47451">
                  <c:v>33079</c:v>
                </c:pt>
                <c:pt idx="47452">
                  <c:v>33079</c:v>
                </c:pt>
                <c:pt idx="47453">
                  <c:v>33079</c:v>
                </c:pt>
                <c:pt idx="47454">
                  <c:v>33079</c:v>
                </c:pt>
                <c:pt idx="47455">
                  <c:v>33078</c:v>
                </c:pt>
                <c:pt idx="47456">
                  <c:v>33078</c:v>
                </c:pt>
                <c:pt idx="47457">
                  <c:v>33078</c:v>
                </c:pt>
                <c:pt idx="47458">
                  <c:v>33078</c:v>
                </c:pt>
                <c:pt idx="47459">
                  <c:v>33078</c:v>
                </c:pt>
                <c:pt idx="47460">
                  <c:v>33077</c:v>
                </c:pt>
                <c:pt idx="47461">
                  <c:v>33077</c:v>
                </c:pt>
                <c:pt idx="47462">
                  <c:v>33077</c:v>
                </c:pt>
                <c:pt idx="47463">
                  <c:v>33077</c:v>
                </c:pt>
                <c:pt idx="47464">
                  <c:v>33077</c:v>
                </c:pt>
                <c:pt idx="47465">
                  <c:v>33077</c:v>
                </c:pt>
                <c:pt idx="47466">
                  <c:v>33077</c:v>
                </c:pt>
                <c:pt idx="47467">
                  <c:v>33077</c:v>
                </c:pt>
                <c:pt idx="47468">
                  <c:v>33077</c:v>
                </c:pt>
                <c:pt idx="47469">
                  <c:v>33076</c:v>
                </c:pt>
                <c:pt idx="47470">
                  <c:v>33076</c:v>
                </c:pt>
                <c:pt idx="47471">
                  <c:v>33076</c:v>
                </c:pt>
                <c:pt idx="47472">
                  <c:v>33076</c:v>
                </c:pt>
                <c:pt idx="47473">
                  <c:v>33075</c:v>
                </c:pt>
                <c:pt idx="47474">
                  <c:v>33075</c:v>
                </c:pt>
                <c:pt idx="47475">
                  <c:v>33075</c:v>
                </c:pt>
                <c:pt idx="47476">
                  <c:v>33075</c:v>
                </c:pt>
                <c:pt idx="47477">
                  <c:v>33075</c:v>
                </c:pt>
                <c:pt idx="47478">
                  <c:v>33074</c:v>
                </c:pt>
                <c:pt idx="47479">
                  <c:v>33074</c:v>
                </c:pt>
                <c:pt idx="47480">
                  <c:v>33074</c:v>
                </c:pt>
                <c:pt idx="47481">
                  <c:v>33074</c:v>
                </c:pt>
                <c:pt idx="47482">
                  <c:v>33074</c:v>
                </c:pt>
                <c:pt idx="47483">
                  <c:v>33074</c:v>
                </c:pt>
                <c:pt idx="47484">
                  <c:v>33074</c:v>
                </c:pt>
                <c:pt idx="47485">
                  <c:v>33074</c:v>
                </c:pt>
                <c:pt idx="47486">
                  <c:v>33074</c:v>
                </c:pt>
                <c:pt idx="47487">
                  <c:v>33074</c:v>
                </c:pt>
                <c:pt idx="47488">
                  <c:v>33073</c:v>
                </c:pt>
                <c:pt idx="47489">
                  <c:v>33073</c:v>
                </c:pt>
                <c:pt idx="47490">
                  <c:v>33073</c:v>
                </c:pt>
                <c:pt idx="47491">
                  <c:v>33073</c:v>
                </c:pt>
                <c:pt idx="47492">
                  <c:v>33073</c:v>
                </c:pt>
                <c:pt idx="47493">
                  <c:v>33073</c:v>
                </c:pt>
                <c:pt idx="47494">
                  <c:v>33073</c:v>
                </c:pt>
                <c:pt idx="47495">
                  <c:v>33073</c:v>
                </c:pt>
                <c:pt idx="47496">
                  <c:v>33072</c:v>
                </c:pt>
                <c:pt idx="47497">
                  <c:v>33072</c:v>
                </c:pt>
                <c:pt idx="47498">
                  <c:v>33072</c:v>
                </c:pt>
                <c:pt idx="47499">
                  <c:v>33072</c:v>
                </c:pt>
                <c:pt idx="47500">
                  <c:v>33072</c:v>
                </c:pt>
                <c:pt idx="47501">
                  <c:v>33072</c:v>
                </c:pt>
                <c:pt idx="47502">
                  <c:v>33072</c:v>
                </c:pt>
                <c:pt idx="47503">
                  <c:v>33072</c:v>
                </c:pt>
                <c:pt idx="47504">
                  <c:v>33071</c:v>
                </c:pt>
                <c:pt idx="47505">
                  <c:v>33071</c:v>
                </c:pt>
                <c:pt idx="47506">
                  <c:v>33071</c:v>
                </c:pt>
                <c:pt idx="47507">
                  <c:v>33071</c:v>
                </c:pt>
                <c:pt idx="47508">
                  <c:v>33071</c:v>
                </c:pt>
                <c:pt idx="47509">
                  <c:v>33071</c:v>
                </c:pt>
                <c:pt idx="47510">
                  <c:v>33071</c:v>
                </c:pt>
                <c:pt idx="47511">
                  <c:v>33071</c:v>
                </c:pt>
                <c:pt idx="47512">
                  <c:v>33071</c:v>
                </c:pt>
                <c:pt idx="47513">
                  <c:v>33070</c:v>
                </c:pt>
                <c:pt idx="47514">
                  <c:v>33070</c:v>
                </c:pt>
                <c:pt idx="47515">
                  <c:v>33070</c:v>
                </c:pt>
                <c:pt idx="47516">
                  <c:v>33069</c:v>
                </c:pt>
                <c:pt idx="47517">
                  <c:v>33069</c:v>
                </c:pt>
                <c:pt idx="47518">
                  <c:v>33069</c:v>
                </c:pt>
                <c:pt idx="47519">
                  <c:v>33069</c:v>
                </c:pt>
                <c:pt idx="47520">
                  <c:v>33069</c:v>
                </c:pt>
                <c:pt idx="47521">
                  <c:v>33068</c:v>
                </c:pt>
                <c:pt idx="47522">
                  <c:v>33068</c:v>
                </c:pt>
                <c:pt idx="47523">
                  <c:v>33068</c:v>
                </c:pt>
                <c:pt idx="47524">
                  <c:v>33068</c:v>
                </c:pt>
                <c:pt idx="47525">
                  <c:v>33068</c:v>
                </c:pt>
                <c:pt idx="47526">
                  <c:v>33068</c:v>
                </c:pt>
                <c:pt idx="47527">
                  <c:v>33068</c:v>
                </c:pt>
                <c:pt idx="47528">
                  <c:v>33068</c:v>
                </c:pt>
                <c:pt idx="47529">
                  <c:v>33068</c:v>
                </c:pt>
                <c:pt idx="47530">
                  <c:v>33068</c:v>
                </c:pt>
                <c:pt idx="47531">
                  <c:v>33068</c:v>
                </c:pt>
                <c:pt idx="47532">
                  <c:v>33068</c:v>
                </c:pt>
                <c:pt idx="47533">
                  <c:v>33067</c:v>
                </c:pt>
                <c:pt idx="47534">
                  <c:v>33067</c:v>
                </c:pt>
                <c:pt idx="47535">
                  <c:v>33067</c:v>
                </c:pt>
                <c:pt idx="47536">
                  <c:v>33067</c:v>
                </c:pt>
                <c:pt idx="47537">
                  <c:v>33067</c:v>
                </c:pt>
                <c:pt idx="47538">
                  <c:v>33067</c:v>
                </c:pt>
                <c:pt idx="47539">
                  <c:v>33067</c:v>
                </c:pt>
                <c:pt idx="47540">
                  <c:v>33067</c:v>
                </c:pt>
                <c:pt idx="47541">
                  <c:v>33067</c:v>
                </c:pt>
                <c:pt idx="47542">
                  <c:v>33067</c:v>
                </c:pt>
                <c:pt idx="47543">
                  <c:v>33066</c:v>
                </c:pt>
                <c:pt idx="47544">
                  <c:v>33066</c:v>
                </c:pt>
                <c:pt idx="47545">
                  <c:v>33066</c:v>
                </c:pt>
                <c:pt idx="47546">
                  <c:v>33066</c:v>
                </c:pt>
                <c:pt idx="47547">
                  <c:v>33066</c:v>
                </c:pt>
                <c:pt idx="47548">
                  <c:v>33066</c:v>
                </c:pt>
                <c:pt idx="47549">
                  <c:v>33066</c:v>
                </c:pt>
                <c:pt idx="47550">
                  <c:v>33066</c:v>
                </c:pt>
                <c:pt idx="47551">
                  <c:v>33065</c:v>
                </c:pt>
                <c:pt idx="47552">
                  <c:v>33065</c:v>
                </c:pt>
                <c:pt idx="47553">
                  <c:v>33065</c:v>
                </c:pt>
                <c:pt idx="47554">
                  <c:v>33065</c:v>
                </c:pt>
                <c:pt idx="47555">
                  <c:v>33065</c:v>
                </c:pt>
                <c:pt idx="47556">
                  <c:v>33064</c:v>
                </c:pt>
                <c:pt idx="47557">
                  <c:v>33064</c:v>
                </c:pt>
                <c:pt idx="47558">
                  <c:v>33064</c:v>
                </c:pt>
                <c:pt idx="47559">
                  <c:v>33064</c:v>
                </c:pt>
                <c:pt idx="47560">
                  <c:v>33064</c:v>
                </c:pt>
                <c:pt idx="47561">
                  <c:v>33064</c:v>
                </c:pt>
                <c:pt idx="47562">
                  <c:v>33064</c:v>
                </c:pt>
                <c:pt idx="47563">
                  <c:v>33064</c:v>
                </c:pt>
                <c:pt idx="47564">
                  <c:v>33063</c:v>
                </c:pt>
                <c:pt idx="47565">
                  <c:v>33063</c:v>
                </c:pt>
                <c:pt idx="47566">
                  <c:v>33063</c:v>
                </c:pt>
                <c:pt idx="47567">
                  <c:v>33063</c:v>
                </c:pt>
                <c:pt idx="47568">
                  <c:v>33063</c:v>
                </c:pt>
                <c:pt idx="47569">
                  <c:v>33063</c:v>
                </c:pt>
                <c:pt idx="47570">
                  <c:v>33063</c:v>
                </c:pt>
                <c:pt idx="47571">
                  <c:v>33063</c:v>
                </c:pt>
                <c:pt idx="47572">
                  <c:v>33063</c:v>
                </c:pt>
                <c:pt idx="47573">
                  <c:v>33063</c:v>
                </c:pt>
                <c:pt idx="47574">
                  <c:v>33062</c:v>
                </c:pt>
                <c:pt idx="47575">
                  <c:v>33062</c:v>
                </c:pt>
                <c:pt idx="47576">
                  <c:v>33062</c:v>
                </c:pt>
                <c:pt idx="47577">
                  <c:v>33062</c:v>
                </c:pt>
                <c:pt idx="47578">
                  <c:v>33062</c:v>
                </c:pt>
                <c:pt idx="47579">
                  <c:v>33062</c:v>
                </c:pt>
                <c:pt idx="47580">
                  <c:v>33062</c:v>
                </c:pt>
                <c:pt idx="47581">
                  <c:v>33062</c:v>
                </c:pt>
                <c:pt idx="47582">
                  <c:v>33062</c:v>
                </c:pt>
                <c:pt idx="47583">
                  <c:v>33062</c:v>
                </c:pt>
                <c:pt idx="47584">
                  <c:v>33060</c:v>
                </c:pt>
                <c:pt idx="47585">
                  <c:v>33060</c:v>
                </c:pt>
                <c:pt idx="47586">
                  <c:v>33060</c:v>
                </c:pt>
                <c:pt idx="47587">
                  <c:v>33060</c:v>
                </c:pt>
                <c:pt idx="47588">
                  <c:v>33060</c:v>
                </c:pt>
                <c:pt idx="47589">
                  <c:v>33060</c:v>
                </c:pt>
                <c:pt idx="47590">
                  <c:v>33060</c:v>
                </c:pt>
                <c:pt idx="47591">
                  <c:v>33060</c:v>
                </c:pt>
                <c:pt idx="47592">
                  <c:v>33060</c:v>
                </c:pt>
                <c:pt idx="47593">
                  <c:v>33060</c:v>
                </c:pt>
                <c:pt idx="47594">
                  <c:v>33060</c:v>
                </c:pt>
                <c:pt idx="47595">
                  <c:v>33059</c:v>
                </c:pt>
                <c:pt idx="47596">
                  <c:v>33059</c:v>
                </c:pt>
                <c:pt idx="47597">
                  <c:v>33059</c:v>
                </c:pt>
                <c:pt idx="47598">
                  <c:v>33059</c:v>
                </c:pt>
                <c:pt idx="47599">
                  <c:v>33058</c:v>
                </c:pt>
                <c:pt idx="47600">
                  <c:v>33058</c:v>
                </c:pt>
                <c:pt idx="47601">
                  <c:v>33058</c:v>
                </c:pt>
                <c:pt idx="47602">
                  <c:v>33058</c:v>
                </c:pt>
                <c:pt idx="47603">
                  <c:v>33058</c:v>
                </c:pt>
                <c:pt idx="47604">
                  <c:v>33058</c:v>
                </c:pt>
                <c:pt idx="47605">
                  <c:v>33058</c:v>
                </c:pt>
                <c:pt idx="47606">
                  <c:v>33058</c:v>
                </c:pt>
                <c:pt idx="47607">
                  <c:v>33058</c:v>
                </c:pt>
                <c:pt idx="47608">
                  <c:v>33058</c:v>
                </c:pt>
                <c:pt idx="47609">
                  <c:v>33057</c:v>
                </c:pt>
                <c:pt idx="47610">
                  <c:v>33057</c:v>
                </c:pt>
                <c:pt idx="47611">
                  <c:v>33057</c:v>
                </c:pt>
                <c:pt idx="47612">
                  <c:v>33057</c:v>
                </c:pt>
                <c:pt idx="47613">
                  <c:v>33056</c:v>
                </c:pt>
                <c:pt idx="47614">
                  <c:v>33056</c:v>
                </c:pt>
                <c:pt idx="47615">
                  <c:v>33056</c:v>
                </c:pt>
                <c:pt idx="47616">
                  <c:v>33055</c:v>
                </c:pt>
                <c:pt idx="47617">
                  <c:v>33055</c:v>
                </c:pt>
                <c:pt idx="47618">
                  <c:v>33055</c:v>
                </c:pt>
                <c:pt idx="47619">
                  <c:v>33055</c:v>
                </c:pt>
                <c:pt idx="47620">
                  <c:v>33055</c:v>
                </c:pt>
                <c:pt idx="47621">
                  <c:v>33055</c:v>
                </c:pt>
                <c:pt idx="47622">
                  <c:v>33055</c:v>
                </c:pt>
                <c:pt idx="47623">
                  <c:v>33055</c:v>
                </c:pt>
                <c:pt idx="47624">
                  <c:v>33055</c:v>
                </c:pt>
                <c:pt idx="47625">
                  <c:v>33055</c:v>
                </c:pt>
                <c:pt idx="47626">
                  <c:v>33055</c:v>
                </c:pt>
                <c:pt idx="47627">
                  <c:v>33054</c:v>
                </c:pt>
                <c:pt idx="47628">
                  <c:v>33054</c:v>
                </c:pt>
                <c:pt idx="47629">
                  <c:v>33054</c:v>
                </c:pt>
                <c:pt idx="47630">
                  <c:v>33054</c:v>
                </c:pt>
                <c:pt idx="47631">
                  <c:v>33054</c:v>
                </c:pt>
                <c:pt idx="47632">
                  <c:v>33054</c:v>
                </c:pt>
                <c:pt idx="47633">
                  <c:v>33054</c:v>
                </c:pt>
                <c:pt idx="47634">
                  <c:v>33054</c:v>
                </c:pt>
                <c:pt idx="47635">
                  <c:v>33054</c:v>
                </c:pt>
                <c:pt idx="47636">
                  <c:v>33053</c:v>
                </c:pt>
                <c:pt idx="47637">
                  <c:v>33053</c:v>
                </c:pt>
                <c:pt idx="47638">
                  <c:v>33053</c:v>
                </c:pt>
                <c:pt idx="47639">
                  <c:v>33053</c:v>
                </c:pt>
                <c:pt idx="47640">
                  <c:v>33053</c:v>
                </c:pt>
                <c:pt idx="47641">
                  <c:v>33053</c:v>
                </c:pt>
                <c:pt idx="47642">
                  <c:v>33053</c:v>
                </c:pt>
                <c:pt idx="47643">
                  <c:v>33053</c:v>
                </c:pt>
                <c:pt idx="47644">
                  <c:v>33052</c:v>
                </c:pt>
                <c:pt idx="47645">
                  <c:v>33052</c:v>
                </c:pt>
                <c:pt idx="47646">
                  <c:v>33052</c:v>
                </c:pt>
                <c:pt idx="47647">
                  <c:v>33052</c:v>
                </c:pt>
                <c:pt idx="47648">
                  <c:v>33052</c:v>
                </c:pt>
                <c:pt idx="47649">
                  <c:v>33052</c:v>
                </c:pt>
                <c:pt idx="47650">
                  <c:v>33052</c:v>
                </c:pt>
                <c:pt idx="47651">
                  <c:v>33051</c:v>
                </c:pt>
                <c:pt idx="47652">
                  <c:v>33051</c:v>
                </c:pt>
                <c:pt idx="47653">
                  <c:v>33051</c:v>
                </c:pt>
                <c:pt idx="47654">
                  <c:v>33051</c:v>
                </c:pt>
                <c:pt idx="47655">
                  <c:v>33051</c:v>
                </c:pt>
                <c:pt idx="47656">
                  <c:v>33051</c:v>
                </c:pt>
                <c:pt idx="47657">
                  <c:v>33051</c:v>
                </c:pt>
                <c:pt idx="47658">
                  <c:v>33051</c:v>
                </c:pt>
                <c:pt idx="47659">
                  <c:v>33050</c:v>
                </c:pt>
                <c:pt idx="47660">
                  <c:v>33050</c:v>
                </c:pt>
                <c:pt idx="47661">
                  <c:v>33050</c:v>
                </c:pt>
                <c:pt idx="47662">
                  <c:v>33050</c:v>
                </c:pt>
                <c:pt idx="47663">
                  <c:v>33050</c:v>
                </c:pt>
                <c:pt idx="47664">
                  <c:v>33050</c:v>
                </c:pt>
                <c:pt idx="47665">
                  <c:v>33050</c:v>
                </c:pt>
                <c:pt idx="47666">
                  <c:v>33049</c:v>
                </c:pt>
                <c:pt idx="47667">
                  <c:v>33049</c:v>
                </c:pt>
                <c:pt idx="47668">
                  <c:v>33049</c:v>
                </c:pt>
                <c:pt idx="47669">
                  <c:v>33049</c:v>
                </c:pt>
                <c:pt idx="47670">
                  <c:v>33049</c:v>
                </c:pt>
                <c:pt idx="47671">
                  <c:v>33049</c:v>
                </c:pt>
                <c:pt idx="47672">
                  <c:v>33049</c:v>
                </c:pt>
                <c:pt idx="47673">
                  <c:v>33048</c:v>
                </c:pt>
                <c:pt idx="47674">
                  <c:v>33048</c:v>
                </c:pt>
                <c:pt idx="47675">
                  <c:v>33048</c:v>
                </c:pt>
                <c:pt idx="47676">
                  <c:v>33048</c:v>
                </c:pt>
                <c:pt idx="47677">
                  <c:v>33048</c:v>
                </c:pt>
                <c:pt idx="47678">
                  <c:v>33048</c:v>
                </c:pt>
                <c:pt idx="47679">
                  <c:v>33048</c:v>
                </c:pt>
                <c:pt idx="47680">
                  <c:v>33047</c:v>
                </c:pt>
                <c:pt idx="47681">
                  <c:v>33047</c:v>
                </c:pt>
                <c:pt idx="47682">
                  <c:v>33047</c:v>
                </c:pt>
                <c:pt idx="47683">
                  <c:v>33047</c:v>
                </c:pt>
                <c:pt idx="47684">
                  <c:v>33046</c:v>
                </c:pt>
                <c:pt idx="47685">
                  <c:v>33046</c:v>
                </c:pt>
                <c:pt idx="47686">
                  <c:v>33046</c:v>
                </c:pt>
                <c:pt idx="47687">
                  <c:v>33046</c:v>
                </c:pt>
                <c:pt idx="47688">
                  <c:v>33046</c:v>
                </c:pt>
                <c:pt idx="47689">
                  <c:v>33046</c:v>
                </c:pt>
                <c:pt idx="47690">
                  <c:v>33045</c:v>
                </c:pt>
                <c:pt idx="47691">
                  <c:v>33045</c:v>
                </c:pt>
                <c:pt idx="47692">
                  <c:v>33045</c:v>
                </c:pt>
                <c:pt idx="47693">
                  <c:v>33045</c:v>
                </c:pt>
                <c:pt idx="47694">
                  <c:v>33044</c:v>
                </c:pt>
                <c:pt idx="47695">
                  <c:v>33044</c:v>
                </c:pt>
                <c:pt idx="47696">
                  <c:v>33044</c:v>
                </c:pt>
                <c:pt idx="47697">
                  <c:v>33044</c:v>
                </c:pt>
                <c:pt idx="47698">
                  <c:v>33043</c:v>
                </c:pt>
                <c:pt idx="47699">
                  <c:v>33043</c:v>
                </c:pt>
                <c:pt idx="47700">
                  <c:v>33043</c:v>
                </c:pt>
                <c:pt idx="47701">
                  <c:v>33043</c:v>
                </c:pt>
                <c:pt idx="47702">
                  <c:v>33043</c:v>
                </c:pt>
                <c:pt idx="47703">
                  <c:v>33043</c:v>
                </c:pt>
                <c:pt idx="47704">
                  <c:v>33043</c:v>
                </c:pt>
                <c:pt idx="47705">
                  <c:v>33043</c:v>
                </c:pt>
                <c:pt idx="47706">
                  <c:v>33043</c:v>
                </c:pt>
                <c:pt idx="47707">
                  <c:v>33042</c:v>
                </c:pt>
                <c:pt idx="47708">
                  <c:v>33042</c:v>
                </c:pt>
                <c:pt idx="47709">
                  <c:v>33042</c:v>
                </c:pt>
                <c:pt idx="47710">
                  <c:v>33042</c:v>
                </c:pt>
                <c:pt idx="47711">
                  <c:v>33041</c:v>
                </c:pt>
                <c:pt idx="47712">
                  <c:v>33041</c:v>
                </c:pt>
                <c:pt idx="47713">
                  <c:v>33041</c:v>
                </c:pt>
                <c:pt idx="47714">
                  <c:v>33041</c:v>
                </c:pt>
                <c:pt idx="47715">
                  <c:v>33041</c:v>
                </c:pt>
                <c:pt idx="47716">
                  <c:v>33041</c:v>
                </c:pt>
                <c:pt idx="47717">
                  <c:v>33041</c:v>
                </c:pt>
                <c:pt idx="47718">
                  <c:v>33041</c:v>
                </c:pt>
                <c:pt idx="47719">
                  <c:v>33041</c:v>
                </c:pt>
                <c:pt idx="47720">
                  <c:v>33040</c:v>
                </c:pt>
                <c:pt idx="47721">
                  <c:v>33040</c:v>
                </c:pt>
                <c:pt idx="47722">
                  <c:v>33040</c:v>
                </c:pt>
                <c:pt idx="47723">
                  <c:v>33040</c:v>
                </c:pt>
                <c:pt idx="47724">
                  <c:v>33040</c:v>
                </c:pt>
                <c:pt idx="47725">
                  <c:v>33040</c:v>
                </c:pt>
                <c:pt idx="47726">
                  <c:v>33040</c:v>
                </c:pt>
                <c:pt idx="47727">
                  <c:v>33040</c:v>
                </c:pt>
                <c:pt idx="47728">
                  <c:v>33039</c:v>
                </c:pt>
                <c:pt idx="47729">
                  <c:v>33039</c:v>
                </c:pt>
                <c:pt idx="47730">
                  <c:v>33039</c:v>
                </c:pt>
                <c:pt idx="47731">
                  <c:v>33039</c:v>
                </c:pt>
                <c:pt idx="47732">
                  <c:v>33039</c:v>
                </c:pt>
                <c:pt idx="47733">
                  <c:v>33038</c:v>
                </c:pt>
                <c:pt idx="47734">
                  <c:v>33038</c:v>
                </c:pt>
                <c:pt idx="47735">
                  <c:v>33038</c:v>
                </c:pt>
                <c:pt idx="47736">
                  <c:v>33038</c:v>
                </c:pt>
                <c:pt idx="47737">
                  <c:v>33038</c:v>
                </c:pt>
                <c:pt idx="47738">
                  <c:v>33038</c:v>
                </c:pt>
                <c:pt idx="47739">
                  <c:v>33038</c:v>
                </c:pt>
                <c:pt idx="47740">
                  <c:v>33038</c:v>
                </c:pt>
                <c:pt idx="47741">
                  <c:v>33038</c:v>
                </c:pt>
                <c:pt idx="47742">
                  <c:v>33038</c:v>
                </c:pt>
                <c:pt idx="47743">
                  <c:v>33037</c:v>
                </c:pt>
                <c:pt idx="47744">
                  <c:v>33037</c:v>
                </c:pt>
                <c:pt idx="47745">
                  <c:v>33037</c:v>
                </c:pt>
                <c:pt idx="47746">
                  <c:v>33037</c:v>
                </c:pt>
                <c:pt idx="47747">
                  <c:v>33037</c:v>
                </c:pt>
                <c:pt idx="47748">
                  <c:v>33036</c:v>
                </c:pt>
                <c:pt idx="47749">
                  <c:v>33036</c:v>
                </c:pt>
                <c:pt idx="47750">
                  <c:v>33036</c:v>
                </c:pt>
                <c:pt idx="47751">
                  <c:v>33036</c:v>
                </c:pt>
                <c:pt idx="47752">
                  <c:v>33036</c:v>
                </c:pt>
                <c:pt idx="47753">
                  <c:v>33036</c:v>
                </c:pt>
                <c:pt idx="47754">
                  <c:v>33035</c:v>
                </c:pt>
                <c:pt idx="47755">
                  <c:v>33035</c:v>
                </c:pt>
                <c:pt idx="47756">
                  <c:v>33035</c:v>
                </c:pt>
                <c:pt idx="47757">
                  <c:v>33035</c:v>
                </c:pt>
                <c:pt idx="47758">
                  <c:v>33035</c:v>
                </c:pt>
                <c:pt idx="47759">
                  <c:v>33035</c:v>
                </c:pt>
                <c:pt idx="47760">
                  <c:v>33034</c:v>
                </c:pt>
                <c:pt idx="47761">
                  <c:v>33034</c:v>
                </c:pt>
                <c:pt idx="47762">
                  <c:v>33034</c:v>
                </c:pt>
                <c:pt idx="47763">
                  <c:v>33034</c:v>
                </c:pt>
                <c:pt idx="47764">
                  <c:v>33034</c:v>
                </c:pt>
                <c:pt idx="47765">
                  <c:v>33034</c:v>
                </c:pt>
                <c:pt idx="47766">
                  <c:v>33034</c:v>
                </c:pt>
                <c:pt idx="47767">
                  <c:v>33033</c:v>
                </c:pt>
                <c:pt idx="47768">
                  <c:v>33033</c:v>
                </c:pt>
                <c:pt idx="47769">
                  <c:v>33033</c:v>
                </c:pt>
                <c:pt idx="47770">
                  <c:v>33033</c:v>
                </c:pt>
                <c:pt idx="47771">
                  <c:v>33033</c:v>
                </c:pt>
                <c:pt idx="47772">
                  <c:v>33032</c:v>
                </c:pt>
                <c:pt idx="47773">
                  <c:v>33032</c:v>
                </c:pt>
                <c:pt idx="47774">
                  <c:v>33032</c:v>
                </c:pt>
                <c:pt idx="47775">
                  <c:v>33032</c:v>
                </c:pt>
                <c:pt idx="47776">
                  <c:v>33032</c:v>
                </c:pt>
                <c:pt idx="47777">
                  <c:v>33032</c:v>
                </c:pt>
                <c:pt idx="47778">
                  <c:v>33031</c:v>
                </c:pt>
                <c:pt idx="47779">
                  <c:v>33031</c:v>
                </c:pt>
                <c:pt idx="47780">
                  <c:v>33031</c:v>
                </c:pt>
                <c:pt idx="47781">
                  <c:v>33031</c:v>
                </c:pt>
                <c:pt idx="47782">
                  <c:v>33031</c:v>
                </c:pt>
                <c:pt idx="47783">
                  <c:v>33031</c:v>
                </c:pt>
                <c:pt idx="47784">
                  <c:v>33031</c:v>
                </c:pt>
                <c:pt idx="47785">
                  <c:v>33031</c:v>
                </c:pt>
                <c:pt idx="47786">
                  <c:v>33031</c:v>
                </c:pt>
                <c:pt idx="47787">
                  <c:v>33030</c:v>
                </c:pt>
                <c:pt idx="47788">
                  <c:v>33030</c:v>
                </c:pt>
                <c:pt idx="47789">
                  <c:v>33030</c:v>
                </c:pt>
                <c:pt idx="47790">
                  <c:v>33030</c:v>
                </c:pt>
                <c:pt idx="47791">
                  <c:v>33030</c:v>
                </c:pt>
                <c:pt idx="47792">
                  <c:v>33030</c:v>
                </c:pt>
                <c:pt idx="47793">
                  <c:v>33030</c:v>
                </c:pt>
                <c:pt idx="47794">
                  <c:v>33029</c:v>
                </c:pt>
                <c:pt idx="47795">
                  <c:v>33029</c:v>
                </c:pt>
                <c:pt idx="47796">
                  <c:v>33029</c:v>
                </c:pt>
                <c:pt idx="47797">
                  <c:v>33029</c:v>
                </c:pt>
                <c:pt idx="47798">
                  <c:v>33029</c:v>
                </c:pt>
                <c:pt idx="47799">
                  <c:v>33028</c:v>
                </c:pt>
                <c:pt idx="47800">
                  <c:v>33028</c:v>
                </c:pt>
                <c:pt idx="47801">
                  <c:v>33028</c:v>
                </c:pt>
                <c:pt idx="47802">
                  <c:v>33028</c:v>
                </c:pt>
                <c:pt idx="47803">
                  <c:v>33028</c:v>
                </c:pt>
                <c:pt idx="47804">
                  <c:v>33028</c:v>
                </c:pt>
                <c:pt idx="47805">
                  <c:v>33028</c:v>
                </c:pt>
                <c:pt idx="47806">
                  <c:v>33027</c:v>
                </c:pt>
                <c:pt idx="47807">
                  <c:v>33027</c:v>
                </c:pt>
                <c:pt idx="47808">
                  <c:v>33027</c:v>
                </c:pt>
                <c:pt idx="47809">
                  <c:v>33027</c:v>
                </c:pt>
                <c:pt idx="47810">
                  <c:v>33027</c:v>
                </c:pt>
                <c:pt idx="47811">
                  <c:v>33027</c:v>
                </c:pt>
                <c:pt idx="47812">
                  <c:v>33027</c:v>
                </c:pt>
                <c:pt idx="47813">
                  <c:v>33026</c:v>
                </c:pt>
                <c:pt idx="47814">
                  <c:v>33026</c:v>
                </c:pt>
                <c:pt idx="47815">
                  <c:v>33026</c:v>
                </c:pt>
                <c:pt idx="47816">
                  <c:v>33025</c:v>
                </c:pt>
                <c:pt idx="47817">
                  <c:v>33025</c:v>
                </c:pt>
                <c:pt idx="47818">
                  <c:v>33025</c:v>
                </c:pt>
                <c:pt idx="47819">
                  <c:v>33025</c:v>
                </c:pt>
                <c:pt idx="47820">
                  <c:v>33025</c:v>
                </c:pt>
                <c:pt idx="47821">
                  <c:v>33025</c:v>
                </c:pt>
                <c:pt idx="47822">
                  <c:v>33025</c:v>
                </c:pt>
                <c:pt idx="47823">
                  <c:v>33025</c:v>
                </c:pt>
                <c:pt idx="47824">
                  <c:v>33025</c:v>
                </c:pt>
                <c:pt idx="47825">
                  <c:v>33024</c:v>
                </c:pt>
                <c:pt idx="47826">
                  <c:v>33024</c:v>
                </c:pt>
                <c:pt idx="47827">
                  <c:v>33024</c:v>
                </c:pt>
                <c:pt idx="47828">
                  <c:v>33024</c:v>
                </c:pt>
                <c:pt idx="47829">
                  <c:v>33024</c:v>
                </c:pt>
                <c:pt idx="47830">
                  <c:v>33024</c:v>
                </c:pt>
                <c:pt idx="47831">
                  <c:v>33024</c:v>
                </c:pt>
                <c:pt idx="47832">
                  <c:v>33024</c:v>
                </c:pt>
                <c:pt idx="47833">
                  <c:v>33024</c:v>
                </c:pt>
                <c:pt idx="47834">
                  <c:v>33023</c:v>
                </c:pt>
                <c:pt idx="47835">
                  <c:v>33023</c:v>
                </c:pt>
                <c:pt idx="47836">
                  <c:v>33023</c:v>
                </c:pt>
                <c:pt idx="47837">
                  <c:v>33023</c:v>
                </c:pt>
                <c:pt idx="47838">
                  <c:v>33023</c:v>
                </c:pt>
                <c:pt idx="47839">
                  <c:v>33023</c:v>
                </c:pt>
                <c:pt idx="47840">
                  <c:v>33023</c:v>
                </c:pt>
                <c:pt idx="47841">
                  <c:v>33023</c:v>
                </c:pt>
                <c:pt idx="47842">
                  <c:v>33022</c:v>
                </c:pt>
                <c:pt idx="47843">
                  <c:v>33022</c:v>
                </c:pt>
                <c:pt idx="47844">
                  <c:v>33022</c:v>
                </c:pt>
                <c:pt idx="47845">
                  <c:v>33022</c:v>
                </c:pt>
                <c:pt idx="47846">
                  <c:v>33022</c:v>
                </c:pt>
                <c:pt idx="47847">
                  <c:v>33022</c:v>
                </c:pt>
                <c:pt idx="47848">
                  <c:v>33022</c:v>
                </c:pt>
                <c:pt idx="47849">
                  <c:v>33022</c:v>
                </c:pt>
                <c:pt idx="47850">
                  <c:v>33021</c:v>
                </c:pt>
                <c:pt idx="47851">
                  <c:v>33021</c:v>
                </c:pt>
                <c:pt idx="47852">
                  <c:v>33021</c:v>
                </c:pt>
                <c:pt idx="47853">
                  <c:v>33021</c:v>
                </c:pt>
                <c:pt idx="47854">
                  <c:v>33021</c:v>
                </c:pt>
                <c:pt idx="47855">
                  <c:v>33021</c:v>
                </c:pt>
                <c:pt idx="47856">
                  <c:v>33021</c:v>
                </c:pt>
                <c:pt idx="47857">
                  <c:v>33020</c:v>
                </c:pt>
                <c:pt idx="47858">
                  <c:v>33020</c:v>
                </c:pt>
                <c:pt idx="47859">
                  <c:v>33020</c:v>
                </c:pt>
                <c:pt idx="47860">
                  <c:v>33020</c:v>
                </c:pt>
                <c:pt idx="47861">
                  <c:v>33020</c:v>
                </c:pt>
                <c:pt idx="47862">
                  <c:v>33020</c:v>
                </c:pt>
                <c:pt idx="47863">
                  <c:v>33020</c:v>
                </c:pt>
                <c:pt idx="47864">
                  <c:v>33020</c:v>
                </c:pt>
                <c:pt idx="47865">
                  <c:v>33020</c:v>
                </c:pt>
                <c:pt idx="47866">
                  <c:v>33020</c:v>
                </c:pt>
                <c:pt idx="47867">
                  <c:v>33019</c:v>
                </c:pt>
                <c:pt idx="47868">
                  <c:v>33019</c:v>
                </c:pt>
                <c:pt idx="47869">
                  <c:v>33019</c:v>
                </c:pt>
                <c:pt idx="47870">
                  <c:v>33019</c:v>
                </c:pt>
                <c:pt idx="47871">
                  <c:v>33019</c:v>
                </c:pt>
                <c:pt idx="47872">
                  <c:v>33019</c:v>
                </c:pt>
                <c:pt idx="47873">
                  <c:v>33019</c:v>
                </c:pt>
                <c:pt idx="47874">
                  <c:v>33019</c:v>
                </c:pt>
                <c:pt idx="47875">
                  <c:v>33019</c:v>
                </c:pt>
                <c:pt idx="47876">
                  <c:v>33019</c:v>
                </c:pt>
                <c:pt idx="47877">
                  <c:v>33019</c:v>
                </c:pt>
                <c:pt idx="47878">
                  <c:v>33018</c:v>
                </c:pt>
                <c:pt idx="47879">
                  <c:v>33018</c:v>
                </c:pt>
                <c:pt idx="47880">
                  <c:v>33018</c:v>
                </c:pt>
                <c:pt idx="47881">
                  <c:v>33018</c:v>
                </c:pt>
                <c:pt idx="47882">
                  <c:v>33018</c:v>
                </c:pt>
                <c:pt idx="47883">
                  <c:v>33018</c:v>
                </c:pt>
                <c:pt idx="47884">
                  <c:v>33018</c:v>
                </c:pt>
                <c:pt idx="47885">
                  <c:v>33017</c:v>
                </c:pt>
                <c:pt idx="47886">
                  <c:v>33017</c:v>
                </c:pt>
                <c:pt idx="47887">
                  <c:v>33017</c:v>
                </c:pt>
                <c:pt idx="47888">
                  <c:v>33017</c:v>
                </c:pt>
                <c:pt idx="47889">
                  <c:v>33017</c:v>
                </c:pt>
                <c:pt idx="47890">
                  <c:v>33017</c:v>
                </c:pt>
                <c:pt idx="47891">
                  <c:v>33016</c:v>
                </c:pt>
                <c:pt idx="47892">
                  <c:v>33016</c:v>
                </c:pt>
                <c:pt idx="47893">
                  <c:v>33016</c:v>
                </c:pt>
                <c:pt idx="47894">
                  <c:v>33016</c:v>
                </c:pt>
                <c:pt idx="47895">
                  <c:v>33016</c:v>
                </c:pt>
                <c:pt idx="47896">
                  <c:v>33016</c:v>
                </c:pt>
                <c:pt idx="47897">
                  <c:v>33016</c:v>
                </c:pt>
                <c:pt idx="47898">
                  <c:v>33016</c:v>
                </c:pt>
                <c:pt idx="47899">
                  <c:v>33016</c:v>
                </c:pt>
                <c:pt idx="47900">
                  <c:v>33016</c:v>
                </c:pt>
                <c:pt idx="47901">
                  <c:v>33015</c:v>
                </c:pt>
                <c:pt idx="47902">
                  <c:v>33015</c:v>
                </c:pt>
                <c:pt idx="47903">
                  <c:v>33015</c:v>
                </c:pt>
                <c:pt idx="47904">
                  <c:v>33015</c:v>
                </c:pt>
                <c:pt idx="47905">
                  <c:v>33015</c:v>
                </c:pt>
                <c:pt idx="47906">
                  <c:v>33015</c:v>
                </c:pt>
                <c:pt idx="47907">
                  <c:v>33015</c:v>
                </c:pt>
                <c:pt idx="47908">
                  <c:v>33015</c:v>
                </c:pt>
                <c:pt idx="47909">
                  <c:v>33014</c:v>
                </c:pt>
                <c:pt idx="47910">
                  <c:v>33014</c:v>
                </c:pt>
                <c:pt idx="47911">
                  <c:v>33014</c:v>
                </c:pt>
                <c:pt idx="47912">
                  <c:v>33014</c:v>
                </c:pt>
                <c:pt idx="47913">
                  <c:v>33014</c:v>
                </c:pt>
                <c:pt idx="47914">
                  <c:v>33014</c:v>
                </c:pt>
                <c:pt idx="47915">
                  <c:v>33014</c:v>
                </c:pt>
                <c:pt idx="47916">
                  <c:v>33014</c:v>
                </c:pt>
                <c:pt idx="47917">
                  <c:v>33014</c:v>
                </c:pt>
                <c:pt idx="47918">
                  <c:v>33013</c:v>
                </c:pt>
                <c:pt idx="47919">
                  <c:v>33013</c:v>
                </c:pt>
                <c:pt idx="47920">
                  <c:v>33013</c:v>
                </c:pt>
                <c:pt idx="47921">
                  <c:v>33013</c:v>
                </c:pt>
                <c:pt idx="47922">
                  <c:v>33013</c:v>
                </c:pt>
                <c:pt idx="47923">
                  <c:v>33013</c:v>
                </c:pt>
                <c:pt idx="47924">
                  <c:v>33013</c:v>
                </c:pt>
                <c:pt idx="47925">
                  <c:v>33013</c:v>
                </c:pt>
                <c:pt idx="47926">
                  <c:v>33013</c:v>
                </c:pt>
                <c:pt idx="47927">
                  <c:v>33012</c:v>
                </c:pt>
                <c:pt idx="47928">
                  <c:v>33012</c:v>
                </c:pt>
                <c:pt idx="47929">
                  <c:v>33012</c:v>
                </c:pt>
                <c:pt idx="47930">
                  <c:v>33012</c:v>
                </c:pt>
                <c:pt idx="47931">
                  <c:v>33012</c:v>
                </c:pt>
                <c:pt idx="47932">
                  <c:v>33012</c:v>
                </c:pt>
                <c:pt idx="47933">
                  <c:v>33012</c:v>
                </c:pt>
                <c:pt idx="47934">
                  <c:v>33012</c:v>
                </c:pt>
                <c:pt idx="47935">
                  <c:v>33011</c:v>
                </c:pt>
                <c:pt idx="47936">
                  <c:v>33011</c:v>
                </c:pt>
                <c:pt idx="47937">
                  <c:v>33011</c:v>
                </c:pt>
                <c:pt idx="47938">
                  <c:v>33011</c:v>
                </c:pt>
                <c:pt idx="47939">
                  <c:v>33011</c:v>
                </c:pt>
                <c:pt idx="47940">
                  <c:v>33011</c:v>
                </c:pt>
                <c:pt idx="47941">
                  <c:v>33011</c:v>
                </c:pt>
                <c:pt idx="47942">
                  <c:v>33011</c:v>
                </c:pt>
                <c:pt idx="47943">
                  <c:v>33010</c:v>
                </c:pt>
                <c:pt idx="47944">
                  <c:v>33010</c:v>
                </c:pt>
                <c:pt idx="47945">
                  <c:v>33010</c:v>
                </c:pt>
                <c:pt idx="47946">
                  <c:v>33010</c:v>
                </c:pt>
                <c:pt idx="47947">
                  <c:v>33010</c:v>
                </c:pt>
                <c:pt idx="47948">
                  <c:v>33010</c:v>
                </c:pt>
                <c:pt idx="47949">
                  <c:v>33009</c:v>
                </c:pt>
                <c:pt idx="47950">
                  <c:v>33009</c:v>
                </c:pt>
                <c:pt idx="47951">
                  <c:v>33009</c:v>
                </c:pt>
                <c:pt idx="47952">
                  <c:v>33009</c:v>
                </c:pt>
                <c:pt idx="47953">
                  <c:v>33008</c:v>
                </c:pt>
                <c:pt idx="47954">
                  <c:v>33008</c:v>
                </c:pt>
                <c:pt idx="47955">
                  <c:v>33008</c:v>
                </c:pt>
                <c:pt idx="47956">
                  <c:v>33008</c:v>
                </c:pt>
                <c:pt idx="47957">
                  <c:v>33008</c:v>
                </c:pt>
                <c:pt idx="47958">
                  <c:v>33008</c:v>
                </c:pt>
                <c:pt idx="47959">
                  <c:v>33008</c:v>
                </c:pt>
                <c:pt idx="47960">
                  <c:v>33007</c:v>
                </c:pt>
                <c:pt idx="47961">
                  <c:v>33007</c:v>
                </c:pt>
                <c:pt idx="47962">
                  <c:v>33007</c:v>
                </c:pt>
                <c:pt idx="47963">
                  <c:v>33007</c:v>
                </c:pt>
                <c:pt idx="47964">
                  <c:v>33007</c:v>
                </c:pt>
                <c:pt idx="47965">
                  <c:v>33007</c:v>
                </c:pt>
                <c:pt idx="47966">
                  <c:v>33006</c:v>
                </c:pt>
                <c:pt idx="47967">
                  <c:v>33006</c:v>
                </c:pt>
                <c:pt idx="47968">
                  <c:v>33006</c:v>
                </c:pt>
                <c:pt idx="47969">
                  <c:v>33006</c:v>
                </c:pt>
                <c:pt idx="47970">
                  <c:v>33005</c:v>
                </c:pt>
                <c:pt idx="47971">
                  <c:v>33005</c:v>
                </c:pt>
                <c:pt idx="47972">
                  <c:v>33005</c:v>
                </c:pt>
                <c:pt idx="47973">
                  <c:v>33005</c:v>
                </c:pt>
                <c:pt idx="47974">
                  <c:v>33004</c:v>
                </c:pt>
                <c:pt idx="47975">
                  <c:v>33004</c:v>
                </c:pt>
                <c:pt idx="47976">
                  <c:v>33004</c:v>
                </c:pt>
                <c:pt idx="47977">
                  <c:v>33004</c:v>
                </c:pt>
                <c:pt idx="47978">
                  <c:v>33004</c:v>
                </c:pt>
                <c:pt idx="47979">
                  <c:v>33004</c:v>
                </c:pt>
                <c:pt idx="47980">
                  <c:v>33004</c:v>
                </c:pt>
                <c:pt idx="47981">
                  <c:v>33004</c:v>
                </c:pt>
                <c:pt idx="47982">
                  <c:v>33004</c:v>
                </c:pt>
                <c:pt idx="47983">
                  <c:v>33003</c:v>
                </c:pt>
                <c:pt idx="47984">
                  <c:v>33003</c:v>
                </c:pt>
                <c:pt idx="47985">
                  <c:v>33003</c:v>
                </c:pt>
                <c:pt idx="47986">
                  <c:v>33003</c:v>
                </c:pt>
                <c:pt idx="47987">
                  <c:v>33003</c:v>
                </c:pt>
                <c:pt idx="47988">
                  <c:v>33003</c:v>
                </c:pt>
                <c:pt idx="47989">
                  <c:v>33002</c:v>
                </c:pt>
                <c:pt idx="47990">
                  <c:v>33002</c:v>
                </c:pt>
                <c:pt idx="47991">
                  <c:v>33002</c:v>
                </c:pt>
                <c:pt idx="47992">
                  <c:v>33002</c:v>
                </c:pt>
                <c:pt idx="47993">
                  <c:v>33001</c:v>
                </c:pt>
                <c:pt idx="47994">
                  <c:v>33001</c:v>
                </c:pt>
                <c:pt idx="47995">
                  <c:v>33001</c:v>
                </c:pt>
                <c:pt idx="47996">
                  <c:v>33001</c:v>
                </c:pt>
                <c:pt idx="47997">
                  <c:v>33001</c:v>
                </c:pt>
                <c:pt idx="47998">
                  <c:v>33001</c:v>
                </c:pt>
                <c:pt idx="47999">
                  <c:v>33001</c:v>
                </c:pt>
                <c:pt idx="48000">
                  <c:v>33000</c:v>
                </c:pt>
                <c:pt idx="48001">
                  <c:v>33000</c:v>
                </c:pt>
                <c:pt idx="48002">
                  <c:v>33000</c:v>
                </c:pt>
                <c:pt idx="48003">
                  <c:v>33000</c:v>
                </c:pt>
                <c:pt idx="48004">
                  <c:v>33000</c:v>
                </c:pt>
                <c:pt idx="48005">
                  <c:v>33000</c:v>
                </c:pt>
                <c:pt idx="48006">
                  <c:v>33000</c:v>
                </c:pt>
                <c:pt idx="48007">
                  <c:v>33000</c:v>
                </c:pt>
                <c:pt idx="48008">
                  <c:v>33000</c:v>
                </c:pt>
                <c:pt idx="48009">
                  <c:v>33000</c:v>
                </c:pt>
                <c:pt idx="48010">
                  <c:v>33000</c:v>
                </c:pt>
                <c:pt idx="48011">
                  <c:v>33000</c:v>
                </c:pt>
                <c:pt idx="48012">
                  <c:v>33000</c:v>
                </c:pt>
                <c:pt idx="48013">
                  <c:v>33000</c:v>
                </c:pt>
                <c:pt idx="48014">
                  <c:v>32999</c:v>
                </c:pt>
                <c:pt idx="48015">
                  <c:v>32999</c:v>
                </c:pt>
                <c:pt idx="48016">
                  <c:v>32999</c:v>
                </c:pt>
                <c:pt idx="48017">
                  <c:v>32999</c:v>
                </c:pt>
                <c:pt idx="48018">
                  <c:v>32999</c:v>
                </c:pt>
                <c:pt idx="48019">
                  <c:v>32999</c:v>
                </c:pt>
                <c:pt idx="48020">
                  <c:v>32999</c:v>
                </c:pt>
                <c:pt idx="48021">
                  <c:v>32999</c:v>
                </c:pt>
                <c:pt idx="48022">
                  <c:v>32999</c:v>
                </c:pt>
                <c:pt idx="48023">
                  <c:v>32999</c:v>
                </c:pt>
                <c:pt idx="48024">
                  <c:v>32999</c:v>
                </c:pt>
                <c:pt idx="48025">
                  <c:v>32999</c:v>
                </c:pt>
                <c:pt idx="48026">
                  <c:v>32998</c:v>
                </c:pt>
                <c:pt idx="48027">
                  <c:v>32998</c:v>
                </c:pt>
                <c:pt idx="48028">
                  <c:v>32998</c:v>
                </c:pt>
                <c:pt idx="48029">
                  <c:v>32998</c:v>
                </c:pt>
                <c:pt idx="48030">
                  <c:v>32998</c:v>
                </c:pt>
                <c:pt idx="48031">
                  <c:v>32997</c:v>
                </c:pt>
                <c:pt idx="48032">
                  <c:v>32997</c:v>
                </c:pt>
                <c:pt idx="48033">
                  <c:v>32997</c:v>
                </c:pt>
                <c:pt idx="48034">
                  <c:v>32997</c:v>
                </c:pt>
                <c:pt idx="48035">
                  <c:v>32997</c:v>
                </c:pt>
                <c:pt idx="48036">
                  <c:v>32997</c:v>
                </c:pt>
                <c:pt idx="48037">
                  <c:v>32997</c:v>
                </c:pt>
                <c:pt idx="48038">
                  <c:v>32996</c:v>
                </c:pt>
                <c:pt idx="48039">
                  <c:v>32996</c:v>
                </c:pt>
                <c:pt idx="48040">
                  <c:v>32996</c:v>
                </c:pt>
                <c:pt idx="48041">
                  <c:v>32996</c:v>
                </c:pt>
                <c:pt idx="48042">
                  <c:v>32996</c:v>
                </c:pt>
                <c:pt idx="48043">
                  <c:v>32996</c:v>
                </c:pt>
                <c:pt idx="48044">
                  <c:v>32996</c:v>
                </c:pt>
                <c:pt idx="48045">
                  <c:v>32995</c:v>
                </c:pt>
                <c:pt idx="48046">
                  <c:v>32995</c:v>
                </c:pt>
                <c:pt idx="48047">
                  <c:v>32995</c:v>
                </c:pt>
                <c:pt idx="48048">
                  <c:v>32995</c:v>
                </c:pt>
                <c:pt idx="48049">
                  <c:v>32995</c:v>
                </c:pt>
                <c:pt idx="48050">
                  <c:v>32995</c:v>
                </c:pt>
                <c:pt idx="48051">
                  <c:v>32995</c:v>
                </c:pt>
                <c:pt idx="48052">
                  <c:v>32994</c:v>
                </c:pt>
                <c:pt idx="48053">
                  <c:v>32994</c:v>
                </c:pt>
                <c:pt idx="48054">
                  <c:v>32994</c:v>
                </c:pt>
                <c:pt idx="48055">
                  <c:v>32994</c:v>
                </c:pt>
                <c:pt idx="48056">
                  <c:v>32994</c:v>
                </c:pt>
                <c:pt idx="48057">
                  <c:v>32994</c:v>
                </c:pt>
                <c:pt idx="48058">
                  <c:v>32994</c:v>
                </c:pt>
                <c:pt idx="48059">
                  <c:v>32994</c:v>
                </c:pt>
                <c:pt idx="48060">
                  <c:v>32994</c:v>
                </c:pt>
                <c:pt idx="48061">
                  <c:v>32994</c:v>
                </c:pt>
                <c:pt idx="48062">
                  <c:v>32994</c:v>
                </c:pt>
                <c:pt idx="48063">
                  <c:v>32994</c:v>
                </c:pt>
                <c:pt idx="48064">
                  <c:v>32993</c:v>
                </c:pt>
                <c:pt idx="48065">
                  <c:v>32993</c:v>
                </c:pt>
                <c:pt idx="48066">
                  <c:v>32993</c:v>
                </c:pt>
                <c:pt idx="48067">
                  <c:v>32993</c:v>
                </c:pt>
                <c:pt idx="48068">
                  <c:v>32993</c:v>
                </c:pt>
                <c:pt idx="48069">
                  <c:v>32993</c:v>
                </c:pt>
                <c:pt idx="48070">
                  <c:v>32993</c:v>
                </c:pt>
                <c:pt idx="48071">
                  <c:v>32993</c:v>
                </c:pt>
                <c:pt idx="48072">
                  <c:v>32993</c:v>
                </c:pt>
                <c:pt idx="48073">
                  <c:v>32993</c:v>
                </c:pt>
                <c:pt idx="48074">
                  <c:v>32993</c:v>
                </c:pt>
                <c:pt idx="48075">
                  <c:v>32992</c:v>
                </c:pt>
                <c:pt idx="48076">
                  <c:v>32992</c:v>
                </c:pt>
                <c:pt idx="48077">
                  <c:v>32992</c:v>
                </c:pt>
                <c:pt idx="48078">
                  <c:v>32992</c:v>
                </c:pt>
                <c:pt idx="48079">
                  <c:v>32992</c:v>
                </c:pt>
                <c:pt idx="48080">
                  <c:v>32992</c:v>
                </c:pt>
                <c:pt idx="48081">
                  <c:v>32992</c:v>
                </c:pt>
                <c:pt idx="48082">
                  <c:v>32992</c:v>
                </c:pt>
                <c:pt idx="48083">
                  <c:v>32992</c:v>
                </c:pt>
                <c:pt idx="48084">
                  <c:v>32991</c:v>
                </c:pt>
                <c:pt idx="48085">
                  <c:v>32991</c:v>
                </c:pt>
                <c:pt idx="48086">
                  <c:v>32991</c:v>
                </c:pt>
                <c:pt idx="48087">
                  <c:v>32991</c:v>
                </c:pt>
                <c:pt idx="48088">
                  <c:v>32991</c:v>
                </c:pt>
                <c:pt idx="48089">
                  <c:v>32990</c:v>
                </c:pt>
                <c:pt idx="48090">
                  <c:v>32990</c:v>
                </c:pt>
                <c:pt idx="48091">
                  <c:v>32990</c:v>
                </c:pt>
                <c:pt idx="48092">
                  <c:v>32990</c:v>
                </c:pt>
                <c:pt idx="48093">
                  <c:v>32990</c:v>
                </c:pt>
                <c:pt idx="48094">
                  <c:v>32990</c:v>
                </c:pt>
                <c:pt idx="48095">
                  <c:v>32990</c:v>
                </c:pt>
                <c:pt idx="48096">
                  <c:v>32989</c:v>
                </c:pt>
                <c:pt idx="48097">
                  <c:v>32989</c:v>
                </c:pt>
                <c:pt idx="48098">
                  <c:v>32989</c:v>
                </c:pt>
                <c:pt idx="48099">
                  <c:v>32989</c:v>
                </c:pt>
                <c:pt idx="48100">
                  <c:v>32989</c:v>
                </c:pt>
                <c:pt idx="48101">
                  <c:v>32989</c:v>
                </c:pt>
                <c:pt idx="48102">
                  <c:v>32989</c:v>
                </c:pt>
                <c:pt idx="48103">
                  <c:v>32988</c:v>
                </c:pt>
                <c:pt idx="48104">
                  <c:v>32988</c:v>
                </c:pt>
                <c:pt idx="48105">
                  <c:v>32988</c:v>
                </c:pt>
                <c:pt idx="48106">
                  <c:v>32988</c:v>
                </c:pt>
                <c:pt idx="48107">
                  <c:v>32988</c:v>
                </c:pt>
                <c:pt idx="48108">
                  <c:v>32988</c:v>
                </c:pt>
                <c:pt idx="48109">
                  <c:v>32988</c:v>
                </c:pt>
                <c:pt idx="48110">
                  <c:v>32988</c:v>
                </c:pt>
                <c:pt idx="48111">
                  <c:v>32988</c:v>
                </c:pt>
                <c:pt idx="48112">
                  <c:v>32988</c:v>
                </c:pt>
                <c:pt idx="48113">
                  <c:v>32987</c:v>
                </c:pt>
                <c:pt idx="48114">
                  <c:v>32987</c:v>
                </c:pt>
                <c:pt idx="48115">
                  <c:v>32987</c:v>
                </c:pt>
                <c:pt idx="48116">
                  <c:v>32987</c:v>
                </c:pt>
                <c:pt idx="48117">
                  <c:v>32987</c:v>
                </c:pt>
                <c:pt idx="48118">
                  <c:v>32987</c:v>
                </c:pt>
                <c:pt idx="48119">
                  <c:v>32987</c:v>
                </c:pt>
                <c:pt idx="48120">
                  <c:v>32986</c:v>
                </c:pt>
                <c:pt idx="48121">
                  <c:v>32986</c:v>
                </c:pt>
                <c:pt idx="48122">
                  <c:v>32986</c:v>
                </c:pt>
                <c:pt idx="48123">
                  <c:v>32986</c:v>
                </c:pt>
                <c:pt idx="48124">
                  <c:v>32986</c:v>
                </c:pt>
                <c:pt idx="48125">
                  <c:v>32986</c:v>
                </c:pt>
                <c:pt idx="48126">
                  <c:v>32986</c:v>
                </c:pt>
                <c:pt idx="48127">
                  <c:v>32985</c:v>
                </c:pt>
                <c:pt idx="48128">
                  <c:v>32985</c:v>
                </c:pt>
                <c:pt idx="48129">
                  <c:v>32985</c:v>
                </c:pt>
                <c:pt idx="48130">
                  <c:v>32985</c:v>
                </c:pt>
                <c:pt idx="48131">
                  <c:v>32984</c:v>
                </c:pt>
                <c:pt idx="48132">
                  <c:v>32984</c:v>
                </c:pt>
                <c:pt idx="48133">
                  <c:v>32984</c:v>
                </c:pt>
                <c:pt idx="48134">
                  <c:v>32984</c:v>
                </c:pt>
                <c:pt idx="48135">
                  <c:v>32984</c:v>
                </c:pt>
                <c:pt idx="48136">
                  <c:v>32984</c:v>
                </c:pt>
                <c:pt idx="48137">
                  <c:v>32984</c:v>
                </c:pt>
                <c:pt idx="48138">
                  <c:v>32984</c:v>
                </c:pt>
                <c:pt idx="48139">
                  <c:v>32984</c:v>
                </c:pt>
                <c:pt idx="48140">
                  <c:v>32983</c:v>
                </c:pt>
                <c:pt idx="48141">
                  <c:v>32983</c:v>
                </c:pt>
                <c:pt idx="48142">
                  <c:v>32983</c:v>
                </c:pt>
                <c:pt idx="48143">
                  <c:v>32983</c:v>
                </c:pt>
                <c:pt idx="48144">
                  <c:v>32983</c:v>
                </c:pt>
                <c:pt idx="48145">
                  <c:v>32983</c:v>
                </c:pt>
                <c:pt idx="48146">
                  <c:v>32983</c:v>
                </c:pt>
                <c:pt idx="48147">
                  <c:v>32983</c:v>
                </c:pt>
                <c:pt idx="48148">
                  <c:v>32983</c:v>
                </c:pt>
                <c:pt idx="48149">
                  <c:v>32983</c:v>
                </c:pt>
                <c:pt idx="48150">
                  <c:v>32983</c:v>
                </c:pt>
                <c:pt idx="48151">
                  <c:v>32983</c:v>
                </c:pt>
                <c:pt idx="48152">
                  <c:v>32983</c:v>
                </c:pt>
                <c:pt idx="48153">
                  <c:v>32983</c:v>
                </c:pt>
                <c:pt idx="48154">
                  <c:v>32982</c:v>
                </c:pt>
                <c:pt idx="48155">
                  <c:v>32982</c:v>
                </c:pt>
                <c:pt idx="48156">
                  <c:v>32982</c:v>
                </c:pt>
                <c:pt idx="48157">
                  <c:v>32982</c:v>
                </c:pt>
                <c:pt idx="48158">
                  <c:v>32982</c:v>
                </c:pt>
                <c:pt idx="48159">
                  <c:v>32982</c:v>
                </c:pt>
                <c:pt idx="48160">
                  <c:v>32981</c:v>
                </c:pt>
                <c:pt idx="48161">
                  <c:v>32981</c:v>
                </c:pt>
                <c:pt idx="48162">
                  <c:v>32981</c:v>
                </c:pt>
                <c:pt idx="48163">
                  <c:v>32981</c:v>
                </c:pt>
                <c:pt idx="48164">
                  <c:v>32981</c:v>
                </c:pt>
                <c:pt idx="48165">
                  <c:v>32980</c:v>
                </c:pt>
                <c:pt idx="48166">
                  <c:v>32980</c:v>
                </c:pt>
                <c:pt idx="48167">
                  <c:v>32980</c:v>
                </c:pt>
                <c:pt idx="48168">
                  <c:v>32980</c:v>
                </c:pt>
                <c:pt idx="48169">
                  <c:v>32980</c:v>
                </c:pt>
                <c:pt idx="48170">
                  <c:v>32980</c:v>
                </c:pt>
                <c:pt idx="48171">
                  <c:v>32980</c:v>
                </c:pt>
                <c:pt idx="48172">
                  <c:v>32980</c:v>
                </c:pt>
                <c:pt idx="48173">
                  <c:v>32980</c:v>
                </c:pt>
                <c:pt idx="48174">
                  <c:v>32980</c:v>
                </c:pt>
                <c:pt idx="48175">
                  <c:v>32980</c:v>
                </c:pt>
                <c:pt idx="48176">
                  <c:v>32979</c:v>
                </c:pt>
                <c:pt idx="48177">
                  <c:v>32979</c:v>
                </c:pt>
                <c:pt idx="48178">
                  <c:v>32979</c:v>
                </c:pt>
                <c:pt idx="48179">
                  <c:v>32979</c:v>
                </c:pt>
                <c:pt idx="48180">
                  <c:v>32979</c:v>
                </c:pt>
                <c:pt idx="48181">
                  <c:v>32979</c:v>
                </c:pt>
                <c:pt idx="48182">
                  <c:v>32979</c:v>
                </c:pt>
                <c:pt idx="48183">
                  <c:v>32978</c:v>
                </c:pt>
                <c:pt idx="48184">
                  <c:v>32978</c:v>
                </c:pt>
                <c:pt idx="48185">
                  <c:v>32978</c:v>
                </c:pt>
                <c:pt idx="48186">
                  <c:v>32978</c:v>
                </c:pt>
                <c:pt idx="48187">
                  <c:v>32978</c:v>
                </c:pt>
                <c:pt idx="48188">
                  <c:v>32978</c:v>
                </c:pt>
                <c:pt idx="48189">
                  <c:v>32978</c:v>
                </c:pt>
                <c:pt idx="48190">
                  <c:v>32978</c:v>
                </c:pt>
                <c:pt idx="48191">
                  <c:v>32978</c:v>
                </c:pt>
                <c:pt idx="48192">
                  <c:v>32977</c:v>
                </c:pt>
                <c:pt idx="48193">
                  <c:v>32977</c:v>
                </c:pt>
                <c:pt idx="48194">
                  <c:v>32977</c:v>
                </c:pt>
                <c:pt idx="48195">
                  <c:v>32977</c:v>
                </c:pt>
                <c:pt idx="48196">
                  <c:v>32977</c:v>
                </c:pt>
                <c:pt idx="48197">
                  <c:v>32977</c:v>
                </c:pt>
                <c:pt idx="48198">
                  <c:v>32976</c:v>
                </c:pt>
                <c:pt idx="48199">
                  <c:v>32976</c:v>
                </c:pt>
                <c:pt idx="48200">
                  <c:v>32976</c:v>
                </c:pt>
                <c:pt idx="48201">
                  <c:v>32976</c:v>
                </c:pt>
                <c:pt idx="48202">
                  <c:v>32976</c:v>
                </c:pt>
                <c:pt idx="48203">
                  <c:v>32976</c:v>
                </c:pt>
                <c:pt idx="48204">
                  <c:v>32975</c:v>
                </c:pt>
                <c:pt idx="48205">
                  <c:v>32975</c:v>
                </c:pt>
                <c:pt idx="48206">
                  <c:v>32975</c:v>
                </c:pt>
                <c:pt idx="48207">
                  <c:v>32975</c:v>
                </c:pt>
                <c:pt idx="48208">
                  <c:v>32975</c:v>
                </c:pt>
                <c:pt idx="48209">
                  <c:v>32975</c:v>
                </c:pt>
                <c:pt idx="48210">
                  <c:v>32975</c:v>
                </c:pt>
                <c:pt idx="48211">
                  <c:v>32975</c:v>
                </c:pt>
                <c:pt idx="48212">
                  <c:v>32974</c:v>
                </c:pt>
                <c:pt idx="48213">
                  <c:v>32974</c:v>
                </c:pt>
                <c:pt idx="48214">
                  <c:v>32974</c:v>
                </c:pt>
                <c:pt idx="48215">
                  <c:v>32974</c:v>
                </c:pt>
                <c:pt idx="48216">
                  <c:v>32974</c:v>
                </c:pt>
                <c:pt idx="48217">
                  <c:v>32974</c:v>
                </c:pt>
                <c:pt idx="48218">
                  <c:v>32974</c:v>
                </c:pt>
                <c:pt idx="48219">
                  <c:v>32974</c:v>
                </c:pt>
                <c:pt idx="48220">
                  <c:v>32974</c:v>
                </c:pt>
                <c:pt idx="48221">
                  <c:v>32974</c:v>
                </c:pt>
                <c:pt idx="48222">
                  <c:v>32973</c:v>
                </c:pt>
                <c:pt idx="48223">
                  <c:v>32973</c:v>
                </c:pt>
                <c:pt idx="48224">
                  <c:v>32972</c:v>
                </c:pt>
                <c:pt idx="48225">
                  <c:v>32972</c:v>
                </c:pt>
                <c:pt idx="48226">
                  <c:v>32972</c:v>
                </c:pt>
                <c:pt idx="48227">
                  <c:v>32972</c:v>
                </c:pt>
                <c:pt idx="48228">
                  <c:v>32972</c:v>
                </c:pt>
                <c:pt idx="48229">
                  <c:v>32972</c:v>
                </c:pt>
                <c:pt idx="48230">
                  <c:v>32972</c:v>
                </c:pt>
                <c:pt idx="48231">
                  <c:v>32971</c:v>
                </c:pt>
                <c:pt idx="48232">
                  <c:v>32971</c:v>
                </c:pt>
                <c:pt idx="48233">
                  <c:v>32971</c:v>
                </c:pt>
                <c:pt idx="48234">
                  <c:v>32971</c:v>
                </c:pt>
                <c:pt idx="48235">
                  <c:v>32970</c:v>
                </c:pt>
                <c:pt idx="48236">
                  <c:v>32970</c:v>
                </c:pt>
                <c:pt idx="48237">
                  <c:v>32970</c:v>
                </c:pt>
                <c:pt idx="48238">
                  <c:v>32970</c:v>
                </c:pt>
                <c:pt idx="48239">
                  <c:v>32970</c:v>
                </c:pt>
                <c:pt idx="48240">
                  <c:v>32970</c:v>
                </c:pt>
                <c:pt idx="48241">
                  <c:v>32970</c:v>
                </c:pt>
                <c:pt idx="48242">
                  <c:v>32969</c:v>
                </c:pt>
                <c:pt idx="48243">
                  <c:v>32969</c:v>
                </c:pt>
                <c:pt idx="48244">
                  <c:v>32969</c:v>
                </c:pt>
                <c:pt idx="48245">
                  <c:v>32969</c:v>
                </c:pt>
                <c:pt idx="48246">
                  <c:v>32969</c:v>
                </c:pt>
                <c:pt idx="48247">
                  <c:v>32969</c:v>
                </c:pt>
                <c:pt idx="48248">
                  <c:v>32969</c:v>
                </c:pt>
                <c:pt idx="48249">
                  <c:v>32969</c:v>
                </c:pt>
                <c:pt idx="48250">
                  <c:v>32969</c:v>
                </c:pt>
                <c:pt idx="48251">
                  <c:v>32969</c:v>
                </c:pt>
                <c:pt idx="48252">
                  <c:v>32969</c:v>
                </c:pt>
                <c:pt idx="48253">
                  <c:v>32969</c:v>
                </c:pt>
                <c:pt idx="48254">
                  <c:v>32969</c:v>
                </c:pt>
                <c:pt idx="48255">
                  <c:v>32968</c:v>
                </c:pt>
                <c:pt idx="48256">
                  <c:v>32968</c:v>
                </c:pt>
                <c:pt idx="48257">
                  <c:v>32968</c:v>
                </c:pt>
                <c:pt idx="48258">
                  <c:v>32968</c:v>
                </c:pt>
                <c:pt idx="48259">
                  <c:v>32968</c:v>
                </c:pt>
                <c:pt idx="48260">
                  <c:v>32967</c:v>
                </c:pt>
                <c:pt idx="48261">
                  <c:v>32967</c:v>
                </c:pt>
                <c:pt idx="48262">
                  <c:v>32967</c:v>
                </c:pt>
                <c:pt idx="48263">
                  <c:v>32966</c:v>
                </c:pt>
                <c:pt idx="48264">
                  <c:v>32966</c:v>
                </c:pt>
                <c:pt idx="48265">
                  <c:v>32966</c:v>
                </c:pt>
                <c:pt idx="48266">
                  <c:v>32966</c:v>
                </c:pt>
                <c:pt idx="48267">
                  <c:v>32966</c:v>
                </c:pt>
                <c:pt idx="48268">
                  <c:v>32966</c:v>
                </c:pt>
                <c:pt idx="48269">
                  <c:v>32966</c:v>
                </c:pt>
                <c:pt idx="48270">
                  <c:v>32966</c:v>
                </c:pt>
                <c:pt idx="48271">
                  <c:v>32966</c:v>
                </c:pt>
                <c:pt idx="48272">
                  <c:v>32966</c:v>
                </c:pt>
                <c:pt idx="48273">
                  <c:v>32966</c:v>
                </c:pt>
                <c:pt idx="48274">
                  <c:v>32965</c:v>
                </c:pt>
                <c:pt idx="48275">
                  <c:v>32965</c:v>
                </c:pt>
                <c:pt idx="48276">
                  <c:v>32965</c:v>
                </c:pt>
                <c:pt idx="48277">
                  <c:v>32965</c:v>
                </c:pt>
                <c:pt idx="48278">
                  <c:v>32965</c:v>
                </c:pt>
                <c:pt idx="48279">
                  <c:v>32965</c:v>
                </c:pt>
                <c:pt idx="48280">
                  <c:v>32965</c:v>
                </c:pt>
                <c:pt idx="48281">
                  <c:v>32964</c:v>
                </c:pt>
                <c:pt idx="48282">
                  <c:v>32964</c:v>
                </c:pt>
                <c:pt idx="48283">
                  <c:v>32964</c:v>
                </c:pt>
                <c:pt idx="48284">
                  <c:v>32963</c:v>
                </c:pt>
                <c:pt idx="48285">
                  <c:v>32963</c:v>
                </c:pt>
                <c:pt idx="48286">
                  <c:v>32963</c:v>
                </c:pt>
                <c:pt idx="48287">
                  <c:v>32963</c:v>
                </c:pt>
                <c:pt idx="48288">
                  <c:v>32963</c:v>
                </c:pt>
                <c:pt idx="48289">
                  <c:v>32963</c:v>
                </c:pt>
                <c:pt idx="48290">
                  <c:v>32963</c:v>
                </c:pt>
                <c:pt idx="48291">
                  <c:v>32963</c:v>
                </c:pt>
                <c:pt idx="48292">
                  <c:v>32962</c:v>
                </c:pt>
                <c:pt idx="48293">
                  <c:v>32962</c:v>
                </c:pt>
                <c:pt idx="48294">
                  <c:v>32962</c:v>
                </c:pt>
                <c:pt idx="48295">
                  <c:v>32962</c:v>
                </c:pt>
                <c:pt idx="48296">
                  <c:v>32962</c:v>
                </c:pt>
                <c:pt idx="48297">
                  <c:v>32962</c:v>
                </c:pt>
                <c:pt idx="48298">
                  <c:v>32962</c:v>
                </c:pt>
                <c:pt idx="48299">
                  <c:v>32962</c:v>
                </c:pt>
                <c:pt idx="48300">
                  <c:v>32961</c:v>
                </c:pt>
                <c:pt idx="48301">
                  <c:v>32961</c:v>
                </c:pt>
                <c:pt idx="48302">
                  <c:v>32961</c:v>
                </c:pt>
                <c:pt idx="48303">
                  <c:v>32961</c:v>
                </c:pt>
                <c:pt idx="48304">
                  <c:v>32961</c:v>
                </c:pt>
                <c:pt idx="48305">
                  <c:v>32961</c:v>
                </c:pt>
                <c:pt idx="48306">
                  <c:v>32961</c:v>
                </c:pt>
                <c:pt idx="48307">
                  <c:v>32960</c:v>
                </c:pt>
                <c:pt idx="48308">
                  <c:v>32960</c:v>
                </c:pt>
                <c:pt idx="48309">
                  <c:v>32960</c:v>
                </c:pt>
                <c:pt idx="48310">
                  <c:v>32960</c:v>
                </c:pt>
                <c:pt idx="48311">
                  <c:v>32960</c:v>
                </c:pt>
                <c:pt idx="48312">
                  <c:v>32959</c:v>
                </c:pt>
                <c:pt idx="48313">
                  <c:v>32959</c:v>
                </c:pt>
                <c:pt idx="48314">
                  <c:v>32959</c:v>
                </c:pt>
                <c:pt idx="48315">
                  <c:v>32959</c:v>
                </c:pt>
                <c:pt idx="48316">
                  <c:v>32959</c:v>
                </c:pt>
                <c:pt idx="48317">
                  <c:v>32958</c:v>
                </c:pt>
                <c:pt idx="48318">
                  <c:v>32958</c:v>
                </c:pt>
                <c:pt idx="48319">
                  <c:v>32958</c:v>
                </c:pt>
                <c:pt idx="48320">
                  <c:v>32958</c:v>
                </c:pt>
                <c:pt idx="48321">
                  <c:v>32958</c:v>
                </c:pt>
                <c:pt idx="48322">
                  <c:v>32958</c:v>
                </c:pt>
                <c:pt idx="48323">
                  <c:v>32958</c:v>
                </c:pt>
                <c:pt idx="48324">
                  <c:v>32957</c:v>
                </c:pt>
                <c:pt idx="48325">
                  <c:v>32957</c:v>
                </c:pt>
                <c:pt idx="48326">
                  <c:v>32957</c:v>
                </c:pt>
                <c:pt idx="48327">
                  <c:v>32957</c:v>
                </c:pt>
                <c:pt idx="48328">
                  <c:v>32957</c:v>
                </c:pt>
                <c:pt idx="48329">
                  <c:v>32957</c:v>
                </c:pt>
                <c:pt idx="48330">
                  <c:v>32957</c:v>
                </c:pt>
                <c:pt idx="48331">
                  <c:v>32957</c:v>
                </c:pt>
                <c:pt idx="48332">
                  <c:v>32957</c:v>
                </c:pt>
                <c:pt idx="48333">
                  <c:v>32957</c:v>
                </c:pt>
                <c:pt idx="48334">
                  <c:v>32957</c:v>
                </c:pt>
                <c:pt idx="48335">
                  <c:v>32956</c:v>
                </c:pt>
                <c:pt idx="48336">
                  <c:v>32956</c:v>
                </c:pt>
                <c:pt idx="48337">
                  <c:v>32956</c:v>
                </c:pt>
                <c:pt idx="48338">
                  <c:v>32956</c:v>
                </c:pt>
                <c:pt idx="48339">
                  <c:v>32955</c:v>
                </c:pt>
                <c:pt idx="48340">
                  <c:v>32955</c:v>
                </c:pt>
                <c:pt idx="48341">
                  <c:v>32955</c:v>
                </c:pt>
                <c:pt idx="48342">
                  <c:v>32955</c:v>
                </c:pt>
                <c:pt idx="48343">
                  <c:v>32955</c:v>
                </c:pt>
                <c:pt idx="48344">
                  <c:v>32954</c:v>
                </c:pt>
                <c:pt idx="48345">
                  <c:v>32954</c:v>
                </c:pt>
                <c:pt idx="48346">
                  <c:v>32954</c:v>
                </c:pt>
                <c:pt idx="48347">
                  <c:v>32954</c:v>
                </c:pt>
                <c:pt idx="48348">
                  <c:v>32954</c:v>
                </c:pt>
                <c:pt idx="48349">
                  <c:v>32954</c:v>
                </c:pt>
                <c:pt idx="48350">
                  <c:v>32954</c:v>
                </c:pt>
                <c:pt idx="48351">
                  <c:v>32954</c:v>
                </c:pt>
                <c:pt idx="48352">
                  <c:v>32953</c:v>
                </c:pt>
                <c:pt idx="48353">
                  <c:v>32953</c:v>
                </c:pt>
                <c:pt idx="48354">
                  <c:v>32953</c:v>
                </c:pt>
                <c:pt idx="48355">
                  <c:v>32953</c:v>
                </c:pt>
                <c:pt idx="48356">
                  <c:v>32953</c:v>
                </c:pt>
                <c:pt idx="48357">
                  <c:v>32953</c:v>
                </c:pt>
                <c:pt idx="48358">
                  <c:v>32953</c:v>
                </c:pt>
                <c:pt idx="48359">
                  <c:v>32953</c:v>
                </c:pt>
                <c:pt idx="48360">
                  <c:v>32953</c:v>
                </c:pt>
                <c:pt idx="48361">
                  <c:v>32953</c:v>
                </c:pt>
                <c:pt idx="48362">
                  <c:v>32953</c:v>
                </c:pt>
                <c:pt idx="48363">
                  <c:v>32953</c:v>
                </c:pt>
                <c:pt idx="48364">
                  <c:v>32953</c:v>
                </c:pt>
                <c:pt idx="48365">
                  <c:v>32953</c:v>
                </c:pt>
                <c:pt idx="48366">
                  <c:v>32952</c:v>
                </c:pt>
                <c:pt idx="48367">
                  <c:v>32952</c:v>
                </c:pt>
                <c:pt idx="48368">
                  <c:v>32952</c:v>
                </c:pt>
                <c:pt idx="48369">
                  <c:v>32952</c:v>
                </c:pt>
                <c:pt idx="48370">
                  <c:v>32952</c:v>
                </c:pt>
                <c:pt idx="48371">
                  <c:v>32952</c:v>
                </c:pt>
                <c:pt idx="48372">
                  <c:v>32952</c:v>
                </c:pt>
                <c:pt idx="48373">
                  <c:v>32952</c:v>
                </c:pt>
                <c:pt idx="48374">
                  <c:v>32952</c:v>
                </c:pt>
                <c:pt idx="48375">
                  <c:v>32952</c:v>
                </c:pt>
                <c:pt idx="48376">
                  <c:v>32952</c:v>
                </c:pt>
                <c:pt idx="48377">
                  <c:v>32952</c:v>
                </c:pt>
                <c:pt idx="48378">
                  <c:v>32952</c:v>
                </c:pt>
                <c:pt idx="48379">
                  <c:v>32952</c:v>
                </c:pt>
                <c:pt idx="48380">
                  <c:v>32951</c:v>
                </c:pt>
                <c:pt idx="48381">
                  <c:v>32951</c:v>
                </c:pt>
                <c:pt idx="48382">
                  <c:v>32951</c:v>
                </c:pt>
                <c:pt idx="48383">
                  <c:v>32951</c:v>
                </c:pt>
                <c:pt idx="48384">
                  <c:v>32951</c:v>
                </c:pt>
                <c:pt idx="48385">
                  <c:v>32950</c:v>
                </c:pt>
                <c:pt idx="48386">
                  <c:v>32950</c:v>
                </c:pt>
                <c:pt idx="48387">
                  <c:v>32950</c:v>
                </c:pt>
                <c:pt idx="48388">
                  <c:v>32950</c:v>
                </c:pt>
                <c:pt idx="48389">
                  <c:v>32950</c:v>
                </c:pt>
                <c:pt idx="48390">
                  <c:v>32950</c:v>
                </c:pt>
                <c:pt idx="48391">
                  <c:v>32949</c:v>
                </c:pt>
                <c:pt idx="48392">
                  <c:v>32949</c:v>
                </c:pt>
                <c:pt idx="48393">
                  <c:v>32949</c:v>
                </c:pt>
                <c:pt idx="48394">
                  <c:v>32949</c:v>
                </c:pt>
                <c:pt idx="48395">
                  <c:v>32949</c:v>
                </c:pt>
                <c:pt idx="48396">
                  <c:v>32949</c:v>
                </c:pt>
                <c:pt idx="48397">
                  <c:v>32949</c:v>
                </c:pt>
                <c:pt idx="48398">
                  <c:v>32949</c:v>
                </c:pt>
                <c:pt idx="48399">
                  <c:v>32949</c:v>
                </c:pt>
                <c:pt idx="48400">
                  <c:v>32949</c:v>
                </c:pt>
                <c:pt idx="48401">
                  <c:v>32949</c:v>
                </c:pt>
                <c:pt idx="48402">
                  <c:v>32949</c:v>
                </c:pt>
                <c:pt idx="48403">
                  <c:v>32949</c:v>
                </c:pt>
                <c:pt idx="48404">
                  <c:v>32948</c:v>
                </c:pt>
                <c:pt idx="48405">
                  <c:v>32948</c:v>
                </c:pt>
                <c:pt idx="48406">
                  <c:v>32948</c:v>
                </c:pt>
                <c:pt idx="48407">
                  <c:v>32947</c:v>
                </c:pt>
                <c:pt idx="48408">
                  <c:v>32947</c:v>
                </c:pt>
                <c:pt idx="48409">
                  <c:v>32947</c:v>
                </c:pt>
                <c:pt idx="48410">
                  <c:v>32947</c:v>
                </c:pt>
                <c:pt idx="48411">
                  <c:v>32947</c:v>
                </c:pt>
                <c:pt idx="48412">
                  <c:v>32947</c:v>
                </c:pt>
                <c:pt idx="48413">
                  <c:v>32947</c:v>
                </c:pt>
                <c:pt idx="48414">
                  <c:v>32947</c:v>
                </c:pt>
                <c:pt idx="48415">
                  <c:v>32947</c:v>
                </c:pt>
                <c:pt idx="48416">
                  <c:v>32947</c:v>
                </c:pt>
                <c:pt idx="48417">
                  <c:v>32947</c:v>
                </c:pt>
                <c:pt idx="48418">
                  <c:v>32947</c:v>
                </c:pt>
                <c:pt idx="48419">
                  <c:v>32947</c:v>
                </c:pt>
                <c:pt idx="48420">
                  <c:v>32947</c:v>
                </c:pt>
                <c:pt idx="48421">
                  <c:v>32946</c:v>
                </c:pt>
                <c:pt idx="48422">
                  <c:v>32946</c:v>
                </c:pt>
                <c:pt idx="48423">
                  <c:v>32946</c:v>
                </c:pt>
                <c:pt idx="48424">
                  <c:v>32946</c:v>
                </c:pt>
                <c:pt idx="48425">
                  <c:v>32946</c:v>
                </c:pt>
                <c:pt idx="48426">
                  <c:v>32946</c:v>
                </c:pt>
                <c:pt idx="48427">
                  <c:v>32946</c:v>
                </c:pt>
                <c:pt idx="48428">
                  <c:v>32946</c:v>
                </c:pt>
                <c:pt idx="48429">
                  <c:v>32946</c:v>
                </c:pt>
                <c:pt idx="48430">
                  <c:v>32946</c:v>
                </c:pt>
                <c:pt idx="48431">
                  <c:v>32946</c:v>
                </c:pt>
                <c:pt idx="48432">
                  <c:v>32946</c:v>
                </c:pt>
                <c:pt idx="48433">
                  <c:v>32945</c:v>
                </c:pt>
                <c:pt idx="48434">
                  <c:v>32945</c:v>
                </c:pt>
                <c:pt idx="48435">
                  <c:v>32945</c:v>
                </c:pt>
                <c:pt idx="48436">
                  <c:v>32945</c:v>
                </c:pt>
                <c:pt idx="48437">
                  <c:v>32945</c:v>
                </c:pt>
                <c:pt idx="48438">
                  <c:v>32944</c:v>
                </c:pt>
                <c:pt idx="48439">
                  <c:v>32944</c:v>
                </c:pt>
                <c:pt idx="48440">
                  <c:v>32944</c:v>
                </c:pt>
                <c:pt idx="48441">
                  <c:v>32944</c:v>
                </c:pt>
                <c:pt idx="48442">
                  <c:v>32944</c:v>
                </c:pt>
                <c:pt idx="48443">
                  <c:v>32944</c:v>
                </c:pt>
                <c:pt idx="48444">
                  <c:v>32944</c:v>
                </c:pt>
                <c:pt idx="48445">
                  <c:v>32943</c:v>
                </c:pt>
                <c:pt idx="48446">
                  <c:v>32943</c:v>
                </c:pt>
                <c:pt idx="48447">
                  <c:v>32943</c:v>
                </c:pt>
                <c:pt idx="48448">
                  <c:v>32943</c:v>
                </c:pt>
                <c:pt idx="48449">
                  <c:v>32943</c:v>
                </c:pt>
                <c:pt idx="48450">
                  <c:v>32943</c:v>
                </c:pt>
                <c:pt idx="48451">
                  <c:v>32943</c:v>
                </c:pt>
                <c:pt idx="48452">
                  <c:v>32942</c:v>
                </c:pt>
                <c:pt idx="48453">
                  <c:v>32942</c:v>
                </c:pt>
                <c:pt idx="48454">
                  <c:v>32942</c:v>
                </c:pt>
                <c:pt idx="48455">
                  <c:v>32942</c:v>
                </c:pt>
                <c:pt idx="48456">
                  <c:v>32942</c:v>
                </c:pt>
                <c:pt idx="48457">
                  <c:v>32942</c:v>
                </c:pt>
                <c:pt idx="48458">
                  <c:v>32942</c:v>
                </c:pt>
                <c:pt idx="48459">
                  <c:v>32942</c:v>
                </c:pt>
                <c:pt idx="48460">
                  <c:v>32942</c:v>
                </c:pt>
                <c:pt idx="48461">
                  <c:v>32941</c:v>
                </c:pt>
                <c:pt idx="48462">
                  <c:v>32941</c:v>
                </c:pt>
                <c:pt idx="48463">
                  <c:v>32941</c:v>
                </c:pt>
                <c:pt idx="48464">
                  <c:v>32941</c:v>
                </c:pt>
                <c:pt idx="48465">
                  <c:v>32941</c:v>
                </c:pt>
                <c:pt idx="48466">
                  <c:v>32940</c:v>
                </c:pt>
                <c:pt idx="48467">
                  <c:v>32940</c:v>
                </c:pt>
                <c:pt idx="48468">
                  <c:v>32940</c:v>
                </c:pt>
                <c:pt idx="48469">
                  <c:v>32940</c:v>
                </c:pt>
                <c:pt idx="48470">
                  <c:v>32940</c:v>
                </c:pt>
                <c:pt idx="48471">
                  <c:v>32940</c:v>
                </c:pt>
                <c:pt idx="48472">
                  <c:v>32939</c:v>
                </c:pt>
                <c:pt idx="48473">
                  <c:v>32939</c:v>
                </c:pt>
                <c:pt idx="48474">
                  <c:v>32939</c:v>
                </c:pt>
                <c:pt idx="48475">
                  <c:v>32939</c:v>
                </c:pt>
                <c:pt idx="48476">
                  <c:v>32939</c:v>
                </c:pt>
                <c:pt idx="48477">
                  <c:v>32939</c:v>
                </c:pt>
                <c:pt idx="48478">
                  <c:v>32939</c:v>
                </c:pt>
                <c:pt idx="48479">
                  <c:v>32938</c:v>
                </c:pt>
                <c:pt idx="48480">
                  <c:v>32938</c:v>
                </c:pt>
                <c:pt idx="48481">
                  <c:v>32938</c:v>
                </c:pt>
                <c:pt idx="48482">
                  <c:v>32938</c:v>
                </c:pt>
                <c:pt idx="48483">
                  <c:v>32937</c:v>
                </c:pt>
                <c:pt idx="48484">
                  <c:v>32937</c:v>
                </c:pt>
                <c:pt idx="48485">
                  <c:v>32937</c:v>
                </c:pt>
                <c:pt idx="48486">
                  <c:v>32937</c:v>
                </c:pt>
                <c:pt idx="48487">
                  <c:v>32937</c:v>
                </c:pt>
                <c:pt idx="48488">
                  <c:v>32937</c:v>
                </c:pt>
                <c:pt idx="48489">
                  <c:v>32936</c:v>
                </c:pt>
                <c:pt idx="48490">
                  <c:v>32936</c:v>
                </c:pt>
                <c:pt idx="48491">
                  <c:v>32936</c:v>
                </c:pt>
                <c:pt idx="48492">
                  <c:v>32936</c:v>
                </c:pt>
                <c:pt idx="48493">
                  <c:v>32935</c:v>
                </c:pt>
                <c:pt idx="48494">
                  <c:v>32935</c:v>
                </c:pt>
                <c:pt idx="48495">
                  <c:v>32935</c:v>
                </c:pt>
                <c:pt idx="48496">
                  <c:v>32935</c:v>
                </c:pt>
                <c:pt idx="48497">
                  <c:v>32934</c:v>
                </c:pt>
                <c:pt idx="48498">
                  <c:v>32934</c:v>
                </c:pt>
                <c:pt idx="48499">
                  <c:v>32934</c:v>
                </c:pt>
                <c:pt idx="48500">
                  <c:v>32934</c:v>
                </c:pt>
                <c:pt idx="48501">
                  <c:v>32934</c:v>
                </c:pt>
                <c:pt idx="48502">
                  <c:v>32934</c:v>
                </c:pt>
                <c:pt idx="48503">
                  <c:v>32933</c:v>
                </c:pt>
                <c:pt idx="48504">
                  <c:v>32933</c:v>
                </c:pt>
                <c:pt idx="48505">
                  <c:v>32933</c:v>
                </c:pt>
                <c:pt idx="48506">
                  <c:v>32933</c:v>
                </c:pt>
                <c:pt idx="48507">
                  <c:v>32933</c:v>
                </c:pt>
                <c:pt idx="48508">
                  <c:v>32933</c:v>
                </c:pt>
                <c:pt idx="48509">
                  <c:v>32933</c:v>
                </c:pt>
                <c:pt idx="48510">
                  <c:v>32932</c:v>
                </c:pt>
                <c:pt idx="48511">
                  <c:v>32932</c:v>
                </c:pt>
                <c:pt idx="48512">
                  <c:v>32932</c:v>
                </c:pt>
                <c:pt idx="48513">
                  <c:v>32932</c:v>
                </c:pt>
                <c:pt idx="48514">
                  <c:v>32932</c:v>
                </c:pt>
                <c:pt idx="48515">
                  <c:v>32932</c:v>
                </c:pt>
                <c:pt idx="48516">
                  <c:v>32932</c:v>
                </c:pt>
                <c:pt idx="48517">
                  <c:v>32931</c:v>
                </c:pt>
                <c:pt idx="48518">
                  <c:v>32931</c:v>
                </c:pt>
                <c:pt idx="48519">
                  <c:v>32931</c:v>
                </c:pt>
                <c:pt idx="48520">
                  <c:v>32931</c:v>
                </c:pt>
                <c:pt idx="48521">
                  <c:v>32931</c:v>
                </c:pt>
                <c:pt idx="48522">
                  <c:v>32931</c:v>
                </c:pt>
                <c:pt idx="48523">
                  <c:v>32931</c:v>
                </c:pt>
                <c:pt idx="48524">
                  <c:v>32931</c:v>
                </c:pt>
                <c:pt idx="48525">
                  <c:v>32931</c:v>
                </c:pt>
                <c:pt idx="48526">
                  <c:v>32931</c:v>
                </c:pt>
                <c:pt idx="48527">
                  <c:v>32931</c:v>
                </c:pt>
                <c:pt idx="48528">
                  <c:v>32931</c:v>
                </c:pt>
                <c:pt idx="48529">
                  <c:v>32930</c:v>
                </c:pt>
                <c:pt idx="48530">
                  <c:v>32930</c:v>
                </c:pt>
                <c:pt idx="48531">
                  <c:v>32930</c:v>
                </c:pt>
                <c:pt idx="48532">
                  <c:v>32930</c:v>
                </c:pt>
                <c:pt idx="48533">
                  <c:v>32930</c:v>
                </c:pt>
                <c:pt idx="48534">
                  <c:v>32930</c:v>
                </c:pt>
                <c:pt idx="48535">
                  <c:v>32930</c:v>
                </c:pt>
                <c:pt idx="48536">
                  <c:v>32929</c:v>
                </c:pt>
                <c:pt idx="48537">
                  <c:v>32929</c:v>
                </c:pt>
                <c:pt idx="48538">
                  <c:v>32929</c:v>
                </c:pt>
                <c:pt idx="48539">
                  <c:v>32929</c:v>
                </c:pt>
                <c:pt idx="48540">
                  <c:v>32929</c:v>
                </c:pt>
                <c:pt idx="48541">
                  <c:v>32929</c:v>
                </c:pt>
                <c:pt idx="48542">
                  <c:v>32929</c:v>
                </c:pt>
                <c:pt idx="48543">
                  <c:v>32928</c:v>
                </c:pt>
                <c:pt idx="48544">
                  <c:v>32928</c:v>
                </c:pt>
                <c:pt idx="48545">
                  <c:v>32928</c:v>
                </c:pt>
                <c:pt idx="48546">
                  <c:v>32928</c:v>
                </c:pt>
                <c:pt idx="48547">
                  <c:v>32928</c:v>
                </c:pt>
                <c:pt idx="48548">
                  <c:v>32928</c:v>
                </c:pt>
                <c:pt idx="48549">
                  <c:v>32928</c:v>
                </c:pt>
                <c:pt idx="48550">
                  <c:v>32928</c:v>
                </c:pt>
                <c:pt idx="48551">
                  <c:v>32928</c:v>
                </c:pt>
                <c:pt idx="48552">
                  <c:v>32927</c:v>
                </c:pt>
                <c:pt idx="48553">
                  <c:v>32927</c:v>
                </c:pt>
                <c:pt idx="48554">
                  <c:v>32927</c:v>
                </c:pt>
                <c:pt idx="48555">
                  <c:v>32927</c:v>
                </c:pt>
                <c:pt idx="48556">
                  <c:v>32927</c:v>
                </c:pt>
                <c:pt idx="48557">
                  <c:v>32926</c:v>
                </c:pt>
                <c:pt idx="48558">
                  <c:v>32926</c:v>
                </c:pt>
                <c:pt idx="48559">
                  <c:v>32926</c:v>
                </c:pt>
                <c:pt idx="48560">
                  <c:v>32926</c:v>
                </c:pt>
                <c:pt idx="48561">
                  <c:v>32926</c:v>
                </c:pt>
                <c:pt idx="48562">
                  <c:v>32926</c:v>
                </c:pt>
                <c:pt idx="48563">
                  <c:v>32925</c:v>
                </c:pt>
                <c:pt idx="48564">
                  <c:v>32925</c:v>
                </c:pt>
                <c:pt idx="48565">
                  <c:v>32925</c:v>
                </c:pt>
                <c:pt idx="48566">
                  <c:v>32925</c:v>
                </c:pt>
                <c:pt idx="48567">
                  <c:v>32925</c:v>
                </c:pt>
                <c:pt idx="48568">
                  <c:v>32925</c:v>
                </c:pt>
                <c:pt idx="48569">
                  <c:v>32924</c:v>
                </c:pt>
                <c:pt idx="48570">
                  <c:v>32924</c:v>
                </c:pt>
                <c:pt idx="48571">
                  <c:v>32924</c:v>
                </c:pt>
                <c:pt idx="48572">
                  <c:v>32924</c:v>
                </c:pt>
                <c:pt idx="48573">
                  <c:v>32924</c:v>
                </c:pt>
                <c:pt idx="48574">
                  <c:v>32924</c:v>
                </c:pt>
                <c:pt idx="48575">
                  <c:v>32923</c:v>
                </c:pt>
                <c:pt idx="48576">
                  <c:v>32923</c:v>
                </c:pt>
                <c:pt idx="48577">
                  <c:v>32923</c:v>
                </c:pt>
                <c:pt idx="48578">
                  <c:v>32923</c:v>
                </c:pt>
                <c:pt idx="48579">
                  <c:v>32923</c:v>
                </c:pt>
                <c:pt idx="48580">
                  <c:v>32923</c:v>
                </c:pt>
                <c:pt idx="48581">
                  <c:v>32923</c:v>
                </c:pt>
                <c:pt idx="48582">
                  <c:v>32922</c:v>
                </c:pt>
                <c:pt idx="48583">
                  <c:v>32922</c:v>
                </c:pt>
                <c:pt idx="48584">
                  <c:v>32922</c:v>
                </c:pt>
                <c:pt idx="48585">
                  <c:v>32922</c:v>
                </c:pt>
                <c:pt idx="48586">
                  <c:v>32922</c:v>
                </c:pt>
                <c:pt idx="48587">
                  <c:v>32922</c:v>
                </c:pt>
                <c:pt idx="48588">
                  <c:v>32922</c:v>
                </c:pt>
                <c:pt idx="48589">
                  <c:v>32922</c:v>
                </c:pt>
                <c:pt idx="48590">
                  <c:v>32922</c:v>
                </c:pt>
                <c:pt idx="48591">
                  <c:v>32922</c:v>
                </c:pt>
                <c:pt idx="48592">
                  <c:v>32922</c:v>
                </c:pt>
                <c:pt idx="48593">
                  <c:v>32922</c:v>
                </c:pt>
                <c:pt idx="48594">
                  <c:v>32921</c:v>
                </c:pt>
                <c:pt idx="48595">
                  <c:v>32921</c:v>
                </c:pt>
                <c:pt idx="48596">
                  <c:v>32921</c:v>
                </c:pt>
                <c:pt idx="48597">
                  <c:v>32921</c:v>
                </c:pt>
                <c:pt idx="48598">
                  <c:v>32921</c:v>
                </c:pt>
                <c:pt idx="48599">
                  <c:v>32921</c:v>
                </c:pt>
                <c:pt idx="48600">
                  <c:v>32921</c:v>
                </c:pt>
                <c:pt idx="48601">
                  <c:v>32921</c:v>
                </c:pt>
                <c:pt idx="48602">
                  <c:v>32921</c:v>
                </c:pt>
                <c:pt idx="48603">
                  <c:v>32920</c:v>
                </c:pt>
                <c:pt idx="48604">
                  <c:v>32920</c:v>
                </c:pt>
                <c:pt idx="48605">
                  <c:v>32920</c:v>
                </c:pt>
                <c:pt idx="48606">
                  <c:v>32920</c:v>
                </c:pt>
                <c:pt idx="48607">
                  <c:v>32920</c:v>
                </c:pt>
                <c:pt idx="48608">
                  <c:v>32920</c:v>
                </c:pt>
                <c:pt idx="48609">
                  <c:v>32920</c:v>
                </c:pt>
                <c:pt idx="48610">
                  <c:v>32919</c:v>
                </c:pt>
                <c:pt idx="48611">
                  <c:v>32919</c:v>
                </c:pt>
                <c:pt idx="48612">
                  <c:v>32919</c:v>
                </c:pt>
                <c:pt idx="48613">
                  <c:v>32919</c:v>
                </c:pt>
                <c:pt idx="48614">
                  <c:v>32919</c:v>
                </c:pt>
                <c:pt idx="48615">
                  <c:v>32919</c:v>
                </c:pt>
                <c:pt idx="48616">
                  <c:v>32919</c:v>
                </c:pt>
                <c:pt idx="48617">
                  <c:v>32919</c:v>
                </c:pt>
                <c:pt idx="48618">
                  <c:v>32919</c:v>
                </c:pt>
                <c:pt idx="48619">
                  <c:v>32919</c:v>
                </c:pt>
                <c:pt idx="48620">
                  <c:v>32918</c:v>
                </c:pt>
                <c:pt idx="48621">
                  <c:v>32918</c:v>
                </c:pt>
                <c:pt idx="48622">
                  <c:v>32918</c:v>
                </c:pt>
                <c:pt idx="48623">
                  <c:v>32918</c:v>
                </c:pt>
                <c:pt idx="48624">
                  <c:v>32918</c:v>
                </c:pt>
                <c:pt idx="48625">
                  <c:v>32917</c:v>
                </c:pt>
                <c:pt idx="48626">
                  <c:v>32917</c:v>
                </c:pt>
                <c:pt idx="48627">
                  <c:v>32917</c:v>
                </c:pt>
                <c:pt idx="48628">
                  <c:v>32917</c:v>
                </c:pt>
                <c:pt idx="48629">
                  <c:v>32917</c:v>
                </c:pt>
                <c:pt idx="48630">
                  <c:v>32916</c:v>
                </c:pt>
                <c:pt idx="48631">
                  <c:v>32916</c:v>
                </c:pt>
                <c:pt idx="48632">
                  <c:v>32916</c:v>
                </c:pt>
                <c:pt idx="48633">
                  <c:v>32916</c:v>
                </c:pt>
                <c:pt idx="48634">
                  <c:v>32915</c:v>
                </c:pt>
                <c:pt idx="48635">
                  <c:v>32915</c:v>
                </c:pt>
                <c:pt idx="48636">
                  <c:v>32915</c:v>
                </c:pt>
                <c:pt idx="48637">
                  <c:v>32915</c:v>
                </c:pt>
                <c:pt idx="48638">
                  <c:v>32915</c:v>
                </c:pt>
                <c:pt idx="48639">
                  <c:v>32915</c:v>
                </c:pt>
                <c:pt idx="48640">
                  <c:v>32915</c:v>
                </c:pt>
                <c:pt idx="48641">
                  <c:v>32915</c:v>
                </c:pt>
                <c:pt idx="48642">
                  <c:v>32915</c:v>
                </c:pt>
                <c:pt idx="48643">
                  <c:v>32914</c:v>
                </c:pt>
                <c:pt idx="48644">
                  <c:v>32914</c:v>
                </c:pt>
                <c:pt idx="48645">
                  <c:v>32914</c:v>
                </c:pt>
                <c:pt idx="48646">
                  <c:v>32914</c:v>
                </c:pt>
                <c:pt idx="48647">
                  <c:v>32914</c:v>
                </c:pt>
                <c:pt idx="48648">
                  <c:v>32913</c:v>
                </c:pt>
                <c:pt idx="48649">
                  <c:v>32913</c:v>
                </c:pt>
                <c:pt idx="48650">
                  <c:v>32913</c:v>
                </c:pt>
                <c:pt idx="48651">
                  <c:v>32913</c:v>
                </c:pt>
                <c:pt idx="48652">
                  <c:v>32913</c:v>
                </c:pt>
                <c:pt idx="48653">
                  <c:v>32912</c:v>
                </c:pt>
                <c:pt idx="48654">
                  <c:v>32912</c:v>
                </c:pt>
                <c:pt idx="48655">
                  <c:v>32912</c:v>
                </c:pt>
                <c:pt idx="48656">
                  <c:v>32912</c:v>
                </c:pt>
                <c:pt idx="48657">
                  <c:v>32912</c:v>
                </c:pt>
                <c:pt idx="48658">
                  <c:v>32911</c:v>
                </c:pt>
                <c:pt idx="48659">
                  <c:v>32911</c:v>
                </c:pt>
                <c:pt idx="48660">
                  <c:v>32911</c:v>
                </c:pt>
                <c:pt idx="48661">
                  <c:v>32911</c:v>
                </c:pt>
                <c:pt idx="48662">
                  <c:v>32911</c:v>
                </c:pt>
                <c:pt idx="48663">
                  <c:v>32911</c:v>
                </c:pt>
                <c:pt idx="48664">
                  <c:v>32911</c:v>
                </c:pt>
                <c:pt idx="48665">
                  <c:v>32911</c:v>
                </c:pt>
                <c:pt idx="48666">
                  <c:v>32911</c:v>
                </c:pt>
                <c:pt idx="48667">
                  <c:v>32911</c:v>
                </c:pt>
                <c:pt idx="48668">
                  <c:v>32910</c:v>
                </c:pt>
                <c:pt idx="48669">
                  <c:v>32910</c:v>
                </c:pt>
                <c:pt idx="48670">
                  <c:v>32910</c:v>
                </c:pt>
                <c:pt idx="48671">
                  <c:v>32910</c:v>
                </c:pt>
                <c:pt idx="48672">
                  <c:v>32910</c:v>
                </c:pt>
                <c:pt idx="48673">
                  <c:v>32910</c:v>
                </c:pt>
                <c:pt idx="48674">
                  <c:v>32910</c:v>
                </c:pt>
                <c:pt idx="48675">
                  <c:v>32910</c:v>
                </c:pt>
                <c:pt idx="48676">
                  <c:v>32910</c:v>
                </c:pt>
                <c:pt idx="48677">
                  <c:v>32910</c:v>
                </c:pt>
                <c:pt idx="48678">
                  <c:v>32909</c:v>
                </c:pt>
                <c:pt idx="48679">
                  <c:v>32909</c:v>
                </c:pt>
                <c:pt idx="48680">
                  <c:v>32909</c:v>
                </c:pt>
                <c:pt idx="48681">
                  <c:v>32909</c:v>
                </c:pt>
                <c:pt idx="48682">
                  <c:v>32909</c:v>
                </c:pt>
                <c:pt idx="48683">
                  <c:v>32909</c:v>
                </c:pt>
                <c:pt idx="48684">
                  <c:v>32908</c:v>
                </c:pt>
                <c:pt idx="48685">
                  <c:v>32908</c:v>
                </c:pt>
                <c:pt idx="48686">
                  <c:v>32908</c:v>
                </c:pt>
                <c:pt idx="48687">
                  <c:v>32908</c:v>
                </c:pt>
                <c:pt idx="48688">
                  <c:v>32908</c:v>
                </c:pt>
                <c:pt idx="48689">
                  <c:v>32908</c:v>
                </c:pt>
                <c:pt idx="48690">
                  <c:v>32908</c:v>
                </c:pt>
                <c:pt idx="48691">
                  <c:v>32908</c:v>
                </c:pt>
                <c:pt idx="48692">
                  <c:v>32907</c:v>
                </c:pt>
                <c:pt idx="48693">
                  <c:v>32907</c:v>
                </c:pt>
                <c:pt idx="48694">
                  <c:v>32907</c:v>
                </c:pt>
                <c:pt idx="48695">
                  <c:v>32907</c:v>
                </c:pt>
                <c:pt idx="48696">
                  <c:v>32907</c:v>
                </c:pt>
                <c:pt idx="48697">
                  <c:v>32907</c:v>
                </c:pt>
                <c:pt idx="48698">
                  <c:v>32907</c:v>
                </c:pt>
                <c:pt idx="48699">
                  <c:v>32907</c:v>
                </c:pt>
                <c:pt idx="48700">
                  <c:v>32906</c:v>
                </c:pt>
                <c:pt idx="48701">
                  <c:v>32906</c:v>
                </c:pt>
                <c:pt idx="48702">
                  <c:v>32906</c:v>
                </c:pt>
                <c:pt idx="48703">
                  <c:v>32905</c:v>
                </c:pt>
                <c:pt idx="48704">
                  <c:v>32905</c:v>
                </c:pt>
                <c:pt idx="48705">
                  <c:v>32905</c:v>
                </c:pt>
                <c:pt idx="48706">
                  <c:v>32905</c:v>
                </c:pt>
                <c:pt idx="48707">
                  <c:v>32905</c:v>
                </c:pt>
                <c:pt idx="48708">
                  <c:v>32905</c:v>
                </c:pt>
                <c:pt idx="48709">
                  <c:v>32905</c:v>
                </c:pt>
                <c:pt idx="48710">
                  <c:v>32904</c:v>
                </c:pt>
                <c:pt idx="48711">
                  <c:v>32904</c:v>
                </c:pt>
                <c:pt idx="48712">
                  <c:v>32904</c:v>
                </c:pt>
                <c:pt idx="48713">
                  <c:v>32904</c:v>
                </c:pt>
                <c:pt idx="48714">
                  <c:v>32904</c:v>
                </c:pt>
                <c:pt idx="48715">
                  <c:v>32904</c:v>
                </c:pt>
                <c:pt idx="48716">
                  <c:v>32904</c:v>
                </c:pt>
                <c:pt idx="48717">
                  <c:v>32904</c:v>
                </c:pt>
                <c:pt idx="48718">
                  <c:v>32904</c:v>
                </c:pt>
                <c:pt idx="48719">
                  <c:v>32904</c:v>
                </c:pt>
                <c:pt idx="48720">
                  <c:v>32903</c:v>
                </c:pt>
                <c:pt idx="48721">
                  <c:v>32903</c:v>
                </c:pt>
                <c:pt idx="48722">
                  <c:v>32903</c:v>
                </c:pt>
                <c:pt idx="48723">
                  <c:v>32903</c:v>
                </c:pt>
                <c:pt idx="48724">
                  <c:v>32902</c:v>
                </c:pt>
                <c:pt idx="48725">
                  <c:v>32902</c:v>
                </c:pt>
                <c:pt idx="48726">
                  <c:v>32902</c:v>
                </c:pt>
                <c:pt idx="48727">
                  <c:v>32902</c:v>
                </c:pt>
                <c:pt idx="48728">
                  <c:v>32902</c:v>
                </c:pt>
                <c:pt idx="48729">
                  <c:v>32902</c:v>
                </c:pt>
                <c:pt idx="48730">
                  <c:v>32902</c:v>
                </c:pt>
                <c:pt idx="48731">
                  <c:v>32902</c:v>
                </c:pt>
                <c:pt idx="48732">
                  <c:v>32902</c:v>
                </c:pt>
                <c:pt idx="48733">
                  <c:v>32902</c:v>
                </c:pt>
                <c:pt idx="48734">
                  <c:v>32902</c:v>
                </c:pt>
                <c:pt idx="48735">
                  <c:v>32901</c:v>
                </c:pt>
                <c:pt idx="48736">
                  <c:v>32901</c:v>
                </c:pt>
                <c:pt idx="48737">
                  <c:v>32901</c:v>
                </c:pt>
                <c:pt idx="48738">
                  <c:v>32901</c:v>
                </c:pt>
                <c:pt idx="48739">
                  <c:v>32901</c:v>
                </c:pt>
                <c:pt idx="48740">
                  <c:v>32901</c:v>
                </c:pt>
                <c:pt idx="48741">
                  <c:v>32901</c:v>
                </c:pt>
                <c:pt idx="48742">
                  <c:v>32901</c:v>
                </c:pt>
                <c:pt idx="48743">
                  <c:v>32900</c:v>
                </c:pt>
                <c:pt idx="48744">
                  <c:v>32900</c:v>
                </c:pt>
                <c:pt idx="48745">
                  <c:v>32900</c:v>
                </c:pt>
                <c:pt idx="48746">
                  <c:v>32900</c:v>
                </c:pt>
                <c:pt idx="48747">
                  <c:v>32900</c:v>
                </c:pt>
                <c:pt idx="48748">
                  <c:v>32900</c:v>
                </c:pt>
                <c:pt idx="48749">
                  <c:v>32900</c:v>
                </c:pt>
                <c:pt idx="48750">
                  <c:v>32900</c:v>
                </c:pt>
                <c:pt idx="48751">
                  <c:v>32899</c:v>
                </c:pt>
                <c:pt idx="48752">
                  <c:v>32899</c:v>
                </c:pt>
                <c:pt idx="48753">
                  <c:v>32899</c:v>
                </c:pt>
                <c:pt idx="48754">
                  <c:v>32899</c:v>
                </c:pt>
                <c:pt idx="48755">
                  <c:v>32898</c:v>
                </c:pt>
                <c:pt idx="48756">
                  <c:v>32898</c:v>
                </c:pt>
                <c:pt idx="48757">
                  <c:v>32898</c:v>
                </c:pt>
                <c:pt idx="48758">
                  <c:v>32898</c:v>
                </c:pt>
                <c:pt idx="48759">
                  <c:v>32897</c:v>
                </c:pt>
                <c:pt idx="48760">
                  <c:v>32897</c:v>
                </c:pt>
                <c:pt idx="48761">
                  <c:v>32897</c:v>
                </c:pt>
                <c:pt idx="48762">
                  <c:v>32897</c:v>
                </c:pt>
                <c:pt idx="48763">
                  <c:v>32897</c:v>
                </c:pt>
                <c:pt idx="48764">
                  <c:v>32897</c:v>
                </c:pt>
                <c:pt idx="48765">
                  <c:v>32896</c:v>
                </c:pt>
                <c:pt idx="48766">
                  <c:v>32896</c:v>
                </c:pt>
                <c:pt idx="48767">
                  <c:v>32896</c:v>
                </c:pt>
                <c:pt idx="48768">
                  <c:v>32896</c:v>
                </c:pt>
                <c:pt idx="48769">
                  <c:v>32896</c:v>
                </c:pt>
                <c:pt idx="48770">
                  <c:v>32896</c:v>
                </c:pt>
                <c:pt idx="48771">
                  <c:v>32896</c:v>
                </c:pt>
                <c:pt idx="48772">
                  <c:v>32895</c:v>
                </c:pt>
                <c:pt idx="48773">
                  <c:v>32895</c:v>
                </c:pt>
                <c:pt idx="48774">
                  <c:v>32895</c:v>
                </c:pt>
                <c:pt idx="48775">
                  <c:v>32895</c:v>
                </c:pt>
                <c:pt idx="48776">
                  <c:v>32895</c:v>
                </c:pt>
                <c:pt idx="48777">
                  <c:v>32895</c:v>
                </c:pt>
                <c:pt idx="48778">
                  <c:v>32895</c:v>
                </c:pt>
                <c:pt idx="48779">
                  <c:v>32895</c:v>
                </c:pt>
                <c:pt idx="48780">
                  <c:v>32895</c:v>
                </c:pt>
                <c:pt idx="48781">
                  <c:v>32895</c:v>
                </c:pt>
                <c:pt idx="48782">
                  <c:v>32895</c:v>
                </c:pt>
                <c:pt idx="48783">
                  <c:v>32894</c:v>
                </c:pt>
                <c:pt idx="48784">
                  <c:v>32894</c:v>
                </c:pt>
                <c:pt idx="48785">
                  <c:v>32894</c:v>
                </c:pt>
                <c:pt idx="48786">
                  <c:v>32894</c:v>
                </c:pt>
                <c:pt idx="48787">
                  <c:v>32894</c:v>
                </c:pt>
                <c:pt idx="48788">
                  <c:v>32894</c:v>
                </c:pt>
                <c:pt idx="48789">
                  <c:v>32894</c:v>
                </c:pt>
                <c:pt idx="48790">
                  <c:v>32894</c:v>
                </c:pt>
                <c:pt idx="48791">
                  <c:v>32894</c:v>
                </c:pt>
                <c:pt idx="48792">
                  <c:v>32894</c:v>
                </c:pt>
                <c:pt idx="48793">
                  <c:v>32893</c:v>
                </c:pt>
                <c:pt idx="48794">
                  <c:v>32893</c:v>
                </c:pt>
                <c:pt idx="48795">
                  <c:v>32893</c:v>
                </c:pt>
                <c:pt idx="48796">
                  <c:v>32893</c:v>
                </c:pt>
                <c:pt idx="48797">
                  <c:v>32893</c:v>
                </c:pt>
                <c:pt idx="48798">
                  <c:v>32893</c:v>
                </c:pt>
                <c:pt idx="48799">
                  <c:v>32893</c:v>
                </c:pt>
                <c:pt idx="48800">
                  <c:v>32893</c:v>
                </c:pt>
                <c:pt idx="48801">
                  <c:v>32892</c:v>
                </c:pt>
                <c:pt idx="48802">
                  <c:v>32892</c:v>
                </c:pt>
                <c:pt idx="48803">
                  <c:v>32892</c:v>
                </c:pt>
                <c:pt idx="48804">
                  <c:v>32892</c:v>
                </c:pt>
                <c:pt idx="48805">
                  <c:v>32892</c:v>
                </c:pt>
                <c:pt idx="48806">
                  <c:v>32892</c:v>
                </c:pt>
                <c:pt idx="48807">
                  <c:v>32892</c:v>
                </c:pt>
                <c:pt idx="48808">
                  <c:v>32891</c:v>
                </c:pt>
                <c:pt idx="48809">
                  <c:v>32891</c:v>
                </c:pt>
                <c:pt idx="48810">
                  <c:v>32891</c:v>
                </c:pt>
                <c:pt idx="48811">
                  <c:v>32891</c:v>
                </c:pt>
                <c:pt idx="48812">
                  <c:v>32891</c:v>
                </c:pt>
                <c:pt idx="48813">
                  <c:v>32891</c:v>
                </c:pt>
                <c:pt idx="48814">
                  <c:v>32891</c:v>
                </c:pt>
                <c:pt idx="48815">
                  <c:v>32891</c:v>
                </c:pt>
                <c:pt idx="48816">
                  <c:v>32891</c:v>
                </c:pt>
                <c:pt idx="48817">
                  <c:v>32891</c:v>
                </c:pt>
                <c:pt idx="48818">
                  <c:v>32890</c:v>
                </c:pt>
                <c:pt idx="48819">
                  <c:v>32890</c:v>
                </c:pt>
                <c:pt idx="48820">
                  <c:v>32890</c:v>
                </c:pt>
                <c:pt idx="48821">
                  <c:v>32890</c:v>
                </c:pt>
                <c:pt idx="48822">
                  <c:v>32890</c:v>
                </c:pt>
                <c:pt idx="48823">
                  <c:v>32890</c:v>
                </c:pt>
                <c:pt idx="48824">
                  <c:v>32890</c:v>
                </c:pt>
                <c:pt idx="48825">
                  <c:v>32889</c:v>
                </c:pt>
                <c:pt idx="48826">
                  <c:v>32889</c:v>
                </c:pt>
                <c:pt idx="48827">
                  <c:v>32889</c:v>
                </c:pt>
                <c:pt idx="48828">
                  <c:v>32889</c:v>
                </c:pt>
                <c:pt idx="48829">
                  <c:v>32889</c:v>
                </c:pt>
                <c:pt idx="48830">
                  <c:v>32888</c:v>
                </c:pt>
                <c:pt idx="48831">
                  <c:v>32888</c:v>
                </c:pt>
                <c:pt idx="48832">
                  <c:v>32888</c:v>
                </c:pt>
                <c:pt idx="48833">
                  <c:v>32888</c:v>
                </c:pt>
                <c:pt idx="48834">
                  <c:v>32888</c:v>
                </c:pt>
                <c:pt idx="48835">
                  <c:v>32888</c:v>
                </c:pt>
                <c:pt idx="48836">
                  <c:v>32888</c:v>
                </c:pt>
                <c:pt idx="48837">
                  <c:v>32888</c:v>
                </c:pt>
                <c:pt idx="48838">
                  <c:v>32888</c:v>
                </c:pt>
                <c:pt idx="48839">
                  <c:v>32888</c:v>
                </c:pt>
                <c:pt idx="48840">
                  <c:v>32888</c:v>
                </c:pt>
                <c:pt idx="48841">
                  <c:v>32888</c:v>
                </c:pt>
                <c:pt idx="48842">
                  <c:v>32888</c:v>
                </c:pt>
                <c:pt idx="48843">
                  <c:v>32887</c:v>
                </c:pt>
                <c:pt idx="48844">
                  <c:v>32887</c:v>
                </c:pt>
                <c:pt idx="48845">
                  <c:v>32887</c:v>
                </c:pt>
                <c:pt idx="48846">
                  <c:v>32887</c:v>
                </c:pt>
                <c:pt idx="48847">
                  <c:v>32887</c:v>
                </c:pt>
                <c:pt idx="48848">
                  <c:v>32886</c:v>
                </c:pt>
                <c:pt idx="48849">
                  <c:v>32886</c:v>
                </c:pt>
                <c:pt idx="48850">
                  <c:v>32886</c:v>
                </c:pt>
                <c:pt idx="48851">
                  <c:v>32886</c:v>
                </c:pt>
                <c:pt idx="48852">
                  <c:v>32886</c:v>
                </c:pt>
                <c:pt idx="48853">
                  <c:v>32886</c:v>
                </c:pt>
                <c:pt idx="48854">
                  <c:v>32886</c:v>
                </c:pt>
                <c:pt idx="48855">
                  <c:v>32886</c:v>
                </c:pt>
                <c:pt idx="48856">
                  <c:v>32886</c:v>
                </c:pt>
                <c:pt idx="48857">
                  <c:v>32886</c:v>
                </c:pt>
                <c:pt idx="48858">
                  <c:v>32885</c:v>
                </c:pt>
                <c:pt idx="48859">
                  <c:v>32885</c:v>
                </c:pt>
                <c:pt idx="48860">
                  <c:v>32885</c:v>
                </c:pt>
                <c:pt idx="48861">
                  <c:v>32885</c:v>
                </c:pt>
                <c:pt idx="48862">
                  <c:v>32885</c:v>
                </c:pt>
                <c:pt idx="48863">
                  <c:v>32885</c:v>
                </c:pt>
                <c:pt idx="48864">
                  <c:v>32885</c:v>
                </c:pt>
                <c:pt idx="48865">
                  <c:v>32885</c:v>
                </c:pt>
                <c:pt idx="48866">
                  <c:v>32885</c:v>
                </c:pt>
                <c:pt idx="48867">
                  <c:v>32885</c:v>
                </c:pt>
                <c:pt idx="48868">
                  <c:v>32884</c:v>
                </c:pt>
                <c:pt idx="48869">
                  <c:v>32884</c:v>
                </c:pt>
                <c:pt idx="48870">
                  <c:v>32884</c:v>
                </c:pt>
                <c:pt idx="48871">
                  <c:v>32884</c:v>
                </c:pt>
                <c:pt idx="48872">
                  <c:v>32884</c:v>
                </c:pt>
                <c:pt idx="48873">
                  <c:v>32884</c:v>
                </c:pt>
                <c:pt idx="48874">
                  <c:v>32883</c:v>
                </c:pt>
                <c:pt idx="48875">
                  <c:v>32883</c:v>
                </c:pt>
                <c:pt idx="48876">
                  <c:v>32883</c:v>
                </c:pt>
                <c:pt idx="48877">
                  <c:v>32883</c:v>
                </c:pt>
                <c:pt idx="48878">
                  <c:v>32883</c:v>
                </c:pt>
                <c:pt idx="48879">
                  <c:v>32882</c:v>
                </c:pt>
                <c:pt idx="48880">
                  <c:v>32882</c:v>
                </c:pt>
                <c:pt idx="48881">
                  <c:v>32882</c:v>
                </c:pt>
                <c:pt idx="48882">
                  <c:v>32882</c:v>
                </c:pt>
                <c:pt idx="48883">
                  <c:v>32881</c:v>
                </c:pt>
                <c:pt idx="48884">
                  <c:v>32881</c:v>
                </c:pt>
                <c:pt idx="48885">
                  <c:v>32881</c:v>
                </c:pt>
                <c:pt idx="48886">
                  <c:v>32881</c:v>
                </c:pt>
                <c:pt idx="48887">
                  <c:v>32881</c:v>
                </c:pt>
                <c:pt idx="48888">
                  <c:v>32881</c:v>
                </c:pt>
                <c:pt idx="48889">
                  <c:v>32881</c:v>
                </c:pt>
                <c:pt idx="48890">
                  <c:v>32881</c:v>
                </c:pt>
                <c:pt idx="48891">
                  <c:v>32881</c:v>
                </c:pt>
                <c:pt idx="48892">
                  <c:v>32881</c:v>
                </c:pt>
                <c:pt idx="48893">
                  <c:v>32881</c:v>
                </c:pt>
                <c:pt idx="48894">
                  <c:v>32881</c:v>
                </c:pt>
                <c:pt idx="48895">
                  <c:v>32881</c:v>
                </c:pt>
                <c:pt idx="48896">
                  <c:v>32880</c:v>
                </c:pt>
                <c:pt idx="48897">
                  <c:v>32880</c:v>
                </c:pt>
                <c:pt idx="48898">
                  <c:v>32880</c:v>
                </c:pt>
                <c:pt idx="48899">
                  <c:v>32880</c:v>
                </c:pt>
                <c:pt idx="48900">
                  <c:v>32880</c:v>
                </c:pt>
                <c:pt idx="48901">
                  <c:v>32880</c:v>
                </c:pt>
                <c:pt idx="48902">
                  <c:v>32879</c:v>
                </c:pt>
                <c:pt idx="48903">
                  <c:v>32879</c:v>
                </c:pt>
                <c:pt idx="48904">
                  <c:v>32879</c:v>
                </c:pt>
                <c:pt idx="48905">
                  <c:v>32879</c:v>
                </c:pt>
                <c:pt idx="48906">
                  <c:v>32879</c:v>
                </c:pt>
                <c:pt idx="48907">
                  <c:v>32879</c:v>
                </c:pt>
                <c:pt idx="48908">
                  <c:v>32879</c:v>
                </c:pt>
                <c:pt idx="48909">
                  <c:v>32878</c:v>
                </c:pt>
                <c:pt idx="48910">
                  <c:v>32878</c:v>
                </c:pt>
                <c:pt idx="48911">
                  <c:v>32878</c:v>
                </c:pt>
                <c:pt idx="48912">
                  <c:v>32877</c:v>
                </c:pt>
                <c:pt idx="48913">
                  <c:v>32877</c:v>
                </c:pt>
                <c:pt idx="48914">
                  <c:v>32877</c:v>
                </c:pt>
                <c:pt idx="48915">
                  <c:v>32877</c:v>
                </c:pt>
                <c:pt idx="48916">
                  <c:v>32877</c:v>
                </c:pt>
                <c:pt idx="48917">
                  <c:v>32877</c:v>
                </c:pt>
                <c:pt idx="48918">
                  <c:v>32877</c:v>
                </c:pt>
                <c:pt idx="48919">
                  <c:v>32877</c:v>
                </c:pt>
                <c:pt idx="48920">
                  <c:v>32877</c:v>
                </c:pt>
                <c:pt idx="48921">
                  <c:v>32877</c:v>
                </c:pt>
                <c:pt idx="48922">
                  <c:v>32877</c:v>
                </c:pt>
                <c:pt idx="48923">
                  <c:v>32877</c:v>
                </c:pt>
                <c:pt idx="48924">
                  <c:v>32877</c:v>
                </c:pt>
                <c:pt idx="48925">
                  <c:v>32877</c:v>
                </c:pt>
                <c:pt idx="48926">
                  <c:v>32876</c:v>
                </c:pt>
                <c:pt idx="48927">
                  <c:v>32876</c:v>
                </c:pt>
                <c:pt idx="48928">
                  <c:v>32876</c:v>
                </c:pt>
                <c:pt idx="48929">
                  <c:v>32876</c:v>
                </c:pt>
                <c:pt idx="48930">
                  <c:v>32876</c:v>
                </c:pt>
                <c:pt idx="48931">
                  <c:v>32876</c:v>
                </c:pt>
                <c:pt idx="48932">
                  <c:v>32876</c:v>
                </c:pt>
                <c:pt idx="48933">
                  <c:v>32876</c:v>
                </c:pt>
                <c:pt idx="48934">
                  <c:v>32876</c:v>
                </c:pt>
                <c:pt idx="48935">
                  <c:v>32875</c:v>
                </c:pt>
                <c:pt idx="48936">
                  <c:v>32875</c:v>
                </c:pt>
                <c:pt idx="48937">
                  <c:v>32875</c:v>
                </c:pt>
                <c:pt idx="48938">
                  <c:v>32875</c:v>
                </c:pt>
                <c:pt idx="48939">
                  <c:v>32875</c:v>
                </c:pt>
                <c:pt idx="48940">
                  <c:v>32875</c:v>
                </c:pt>
                <c:pt idx="48941">
                  <c:v>32874</c:v>
                </c:pt>
                <c:pt idx="48942">
                  <c:v>32874</c:v>
                </c:pt>
                <c:pt idx="48943">
                  <c:v>32874</c:v>
                </c:pt>
                <c:pt idx="48944">
                  <c:v>32874</c:v>
                </c:pt>
                <c:pt idx="48945">
                  <c:v>32874</c:v>
                </c:pt>
                <c:pt idx="48946">
                  <c:v>32874</c:v>
                </c:pt>
                <c:pt idx="48947">
                  <c:v>32874</c:v>
                </c:pt>
                <c:pt idx="48948">
                  <c:v>32874</c:v>
                </c:pt>
                <c:pt idx="48949">
                  <c:v>32874</c:v>
                </c:pt>
                <c:pt idx="48950">
                  <c:v>32874</c:v>
                </c:pt>
                <c:pt idx="48951">
                  <c:v>32874</c:v>
                </c:pt>
                <c:pt idx="48952">
                  <c:v>32874</c:v>
                </c:pt>
                <c:pt idx="48953">
                  <c:v>32873</c:v>
                </c:pt>
                <c:pt idx="48954">
                  <c:v>32873</c:v>
                </c:pt>
                <c:pt idx="48955">
                  <c:v>32873</c:v>
                </c:pt>
                <c:pt idx="48956">
                  <c:v>32873</c:v>
                </c:pt>
                <c:pt idx="48957">
                  <c:v>32873</c:v>
                </c:pt>
                <c:pt idx="48958">
                  <c:v>32872</c:v>
                </c:pt>
                <c:pt idx="48959">
                  <c:v>32872</c:v>
                </c:pt>
                <c:pt idx="48960">
                  <c:v>32872</c:v>
                </c:pt>
                <c:pt idx="48961">
                  <c:v>32872</c:v>
                </c:pt>
                <c:pt idx="48962">
                  <c:v>32872</c:v>
                </c:pt>
                <c:pt idx="48963">
                  <c:v>32872</c:v>
                </c:pt>
                <c:pt idx="48964">
                  <c:v>32872</c:v>
                </c:pt>
                <c:pt idx="48965">
                  <c:v>32872</c:v>
                </c:pt>
                <c:pt idx="48966">
                  <c:v>32871</c:v>
                </c:pt>
                <c:pt idx="48967">
                  <c:v>32871</c:v>
                </c:pt>
                <c:pt idx="48968">
                  <c:v>32871</c:v>
                </c:pt>
                <c:pt idx="48969">
                  <c:v>32871</c:v>
                </c:pt>
                <c:pt idx="48970">
                  <c:v>32871</c:v>
                </c:pt>
                <c:pt idx="48971">
                  <c:v>32871</c:v>
                </c:pt>
                <c:pt idx="48972">
                  <c:v>32871</c:v>
                </c:pt>
                <c:pt idx="48973">
                  <c:v>32871</c:v>
                </c:pt>
                <c:pt idx="48974">
                  <c:v>32871</c:v>
                </c:pt>
                <c:pt idx="48975">
                  <c:v>32871</c:v>
                </c:pt>
                <c:pt idx="48976">
                  <c:v>32870</c:v>
                </c:pt>
                <c:pt idx="48977">
                  <c:v>32870</c:v>
                </c:pt>
                <c:pt idx="48978">
                  <c:v>32870</c:v>
                </c:pt>
                <c:pt idx="48979">
                  <c:v>32870</c:v>
                </c:pt>
                <c:pt idx="48980">
                  <c:v>32869</c:v>
                </c:pt>
                <c:pt idx="48981">
                  <c:v>32869</c:v>
                </c:pt>
                <c:pt idx="48982">
                  <c:v>32869</c:v>
                </c:pt>
                <c:pt idx="48983">
                  <c:v>32869</c:v>
                </c:pt>
                <c:pt idx="48984">
                  <c:v>32869</c:v>
                </c:pt>
                <c:pt idx="48985">
                  <c:v>32868</c:v>
                </c:pt>
                <c:pt idx="48986">
                  <c:v>32868</c:v>
                </c:pt>
                <c:pt idx="48987">
                  <c:v>32868</c:v>
                </c:pt>
                <c:pt idx="48988">
                  <c:v>32868</c:v>
                </c:pt>
                <c:pt idx="48989">
                  <c:v>32868</c:v>
                </c:pt>
                <c:pt idx="48990">
                  <c:v>32868</c:v>
                </c:pt>
                <c:pt idx="48991">
                  <c:v>32868</c:v>
                </c:pt>
                <c:pt idx="48992">
                  <c:v>32868</c:v>
                </c:pt>
                <c:pt idx="48993">
                  <c:v>32868</c:v>
                </c:pt>
                <c:pt idx="48994">
                  <c:v>32868</c:v>
                </c:pt>
                <c:pt idx="48995">
                  <c:v>32868</c:v>
                </c:pt>
                <c:pt idx="48996">
                  <c:v>32868</c:v>
                </c:pt>
                <c:pt idx="48997">
                  <c:v>32868</c:v>
                </c:pt>
                <c:pt idx="48998">
                  <c:v>32868</c:v>
                </c:pt>
                <c:pt idx="48999">
                  <c:v>32867</c:v>
                </c:pt>
                <c:pt idx="49000">
                  <c:v>32867</c:v>
                </c:pt>
                <c:pt idx="49001">
                  <c:v>32867</c:v>
                </c:pt>
                <c:pt idx="49002">
                  <c:v>32867</c:v>
                </c:pt>
                <c:pt idx="49003">
                  <c:v>32867</c:v>
                </c:pt>
                <c:pt idx="49004">
                  <c:v>32867</c:v>
                </c:pt>
                <c:pt idx="49005">
                  <c:v>32867</c:v>
                </c:pt>
                <c:pt idx="49006">
                  <c:v>32866</c:v>
                </c:pt>
                <c:pt idx="49007">
                  <c:v>32866</c:v>
                </c:pt>
                <c:pt idx="49008">
                  <c:v>32866</c:v>
                </c:pt>
                <c:pt idx="49009">
                  <c:v>32866</c:v>
                </c:pt>
                <c:pt idx="49010">
                  <c:v>32866</c:v>
                </c:pt>
                <c:pt idx="49011">
                  <c:v>32866</c:v>
                </c:pt>
                <c:pt idx="49012">
                  <c:v>32866</c:v>
                </c:pt>
                <c:pt idx="49013">
                  <c:v>32866</c:v>
                </c:pt>
                <c:pt idx="49014">
                  <c:v>32865</c:v>
                </c:pt>
                <c:pt idx="49015">
                  <c:v>32865</c:v>
                </c:pt>
                <c:pt idx="49016">
                  <c:v>32865</c:v>
                </c:pt>
                <c:pt idx="49017">
                  <c:v>32865</c:v>
                </c:pt>
                <c:pt idx="49018">
                  <c:v>32864</c:v>
                </c:pt>
                <c:pt idx="49019">
                  <c:v>32864</c:v>
                </c:pt>
                <c:pt idx="49020">
                  <c:v>32864</c:v>
                </c:pt>
                <c:pt idx="49021">
                  <c:v>32864</c:v>
                </c:pt>
                <c:pt idx="49022">
                  <c:v>32864</c:v>
                </c:pt>
                <c:pt idx="49023">
                  <c:v>32864</c:v>
                </c:pt>
                <c:pt idx="49024">
                  <c:v>32864</c:v>
                </c:pt>
                <c:pt idx="49025">
                  <c:v>32864</c:v>
                </c:pt>
                <c:pt idx="49026">
                  <c:v>32864</c:v>
                </c:pt>
                <c:pt idx="49027">
                  <c:v>32864</c:v>
                </c:pt>
                <c:pt idx="49028">
                  <c:v>32863</c:v>
                </c:pt>
                <c:pt idx="49029">
                  <c:v>32863</c:v>
                </c:pt>
                <c:pt idx="49030">
                  <c:v>32863</c:v>
                </c:pt>
                <c:pt idx="49031">
                  <c:v>32862</c:v>
                </c:pt>
                <c:pt idx="49032">
                  <c:v>32862</c:v>
                </c:pt>
                <c:pt idx="49033">
                  <c:v>32862</c:v>
                </c:pt>
                <c:pt idx="49034">
                  <c:v>32862</c:v>
                </c:pt>
                <c:pt idx="49035">
                  <c:v>32862</c:v>
                </c:pt>
                <c:pt idx="49036">
                  <c:v>32862</c:v>
                </c:pt>
                <c:pt idx="49037">
                  <c:v>32862</c:v>
                </c:pt>
                <c:pt idx="49038">
                  <c:v>32862</c:v>
                </c:pt>
                <c:pt idx="49039">
                  <c:v>32861</c:v>
                </c:pt>
                <c:pt idx="49040">
                  <c:v>32861</c:v>
                </c:pt>
                <c:pt idx="49041">
                  <c:v>32861</c:v>
                </c:pt>
                <c:pt idx="49042">
                  <c:v>32861</c:v>
                </c:pt>
                <c:pt idx="49043">
                  <c:v>32861</c:v>
                </c:pt>
                <c:pt idx="49044">
                  <c:v>32861</c:v>
                </c:pt>
                <c:pt idx="49045">
                  <c:v>32861</c:v>
                </c:pt>
                <c:pt idx="49046">
                  <c:v>32860</c:v>
                </c:pt>
                <c:pt idx="49047">
                  <c:v>32860</c:v>
                </c:pt>
                <c:pt idx="49048">
                  <c:v>32860</c:v>
                </c:pt>
                <c:pt idx="49049">
                  <c:v>32860</c:v>
                </c:pt>
                <c:pt idx="49050">
                  <c:v>32859</c:v>
                </c:pt>
                <c:pt idx="49051">
                  <c:v>32859</c:v>
                </c:pt>
                <c:pt idx="49052">
                  <c:v>32859</c:v>
                </c:pt>
                <c:pt idx="49053">
                  <c:v>32858</c:v>
                </c:pt>
                <c:pt idx="49054">
                  <c:v>32858</c:v>
                </c:pt>
                <c:pt idx="49055">
                  <c:v>32858</c:v>
                </c:pt>
                <c:pt idx="49056">
                  <c:v>32858</c:v>
                </c:pt>
                <c:pt idx="49057">
                  <c:v>32858</c:v>
                </c:pt>
                <c:pt idx="49058">
                  <c:v>32858</c:v>
                </c:pt>
                <c:pt idx="49059">
                  <c:v>32858</c:v>
                </c:pt>
                <c:pt idx="49060">
                  <c:v>32858</c:v>
                </c:pt>
                <c:pt idx="49061">
                  <c:v>32858</c:v>
                </c:pt>
                <c:pt idx="49062">
                  <c:v>32858</c:v>
                </c:pt>
                <c:pt idx="49063">
                  <c:v>32858</c:v>
                </c:pt>
                <c:pt idx="49064">
                  <c:v>32857</c:v>
                </c:pt>
                <c:pt idx="49065">
                  <c:v>32857</c:v>
                </c:pt>
                <c:pt idx="49066">
                  <c:v>32857</c:v>
                </c:pt>
                <c:pt idx="49067">
                  <c:v>32857</c:v>
                </c:pt>
                <c:pt idx="49068">
                  <c:v>32857</c:v>
                </c:pt>
                <c:pt idx="49069">
                  <c:v>32857</c:v>
                </c:pt>
                <c:pt idx="49070">
                  <c:v>32856</c:v>
                </c:pt>
                <c:pt idx="49071">
                  <c:v>32856</c:v>
                </c:pt>
                <c:pt idx="49072">
                  <c:v>32856</c:v>
                </c:pt>
                <c:pt idx="49073">
                  <c:v>32856</c:v>
                </c:pt>
                <c:pt idx="49074">
                  <c:v>32856</c:v>
                </c:pt>
                <c:pt idx="49075">
                  <c:v>32856</c:v>
                </c:pt>
                <c:pt idx="49076">
                  <c:v>32856</c:v>
                </c:pt>
                <c:pt idx="49077">
                  <c:v>32856</c:v>
                </c:pt>
                <c:pt idx="49078">
                  <c:v>32856</c:v>
                </c:pt>
                <c:pt idx="49079">
                  <c:v>32856</c:v>
                </c:pt>
                <c:pt idx="49080">
                  <c:v>32856</c:v>
                </c:pt>
                <c:pt idx="49081">
                  <c:v>32855</c:v>
                </c:pt>
                <c:pt idx="49082">
                  <c:v>32855</c:v>
                </c:pt>
                <c:pt idx="49083">
                  <c:v>32855</c:v>
                </c:pt>
                <c:pt idx="49084">
                  <c:v>32855</c:v>
                </c:pt>
                <c:pt idx="49085">
                  <c:v>32855</c:v>
                </c:pt>
                <c:pt idx="49086">
                  <c:v>32855</c:v>
                </c:pt>
                <c:pt idx="49087">
                  <c:v>32855</c:v>
                </c:pt>
                <c:pt idx="49088">
                  <c:v>32855</c:v>
                </c:pt>
                <c:pt idx="49089">
                  <c:v>32855</c:v>
                </c:pt>
                <c:pt idx="49090">
                  <c:v>32855</c:v>
                </c:pt>
                <c:pt idx="49091">
                  <c:v>32854</c:v>
                </c:pt>
                <c:pt idx="49092">
                  <c:v>32854</c:v>
                </c:pt>
                <c:pt idx="49093">
                  <c:v>32854</c:v>
                </c:pt>
                <c:pt idx="49094">
                  <c:v>32854</c:v>
                </c:pt>
                <c:pt idx="49095">
                  <c:v>32854</c:v>
                </c:pt>
                <c:pt idx="49096">
                  <c:v>32854</c:v>
                </c:pt>
                <c:pt idx="49097">
                  <c:v>32854</c:v>
                </c:pt>
                <c:pt idx="49098">
                  <c:v>32853</c:v>
                </c:pt>
                <c:pt idx="49099">
                  <c:v>32853</c:v>
                </c:pt>
                <c:pt idx="49100">
                  <c:v>32853</c:v>
                </c:pt>
                <c:pt idx="49101">
                  <c:v>32853</c:v>
                </c:pt>
                <c:pt idx="49102">
                  <c:v>32853</c:v>
                </c:pt>
                <c:pt idx="49103">
                  <c:v>32853</c:v>
                </c:pt>
                <c:pt idx="49104">
                  <c:v>32853</c:v>
                </c:pt>
                <c:pt idx="49105">
                  <c:v>32853</c:v>
                </c:pt>
                <c:pt idx="49106">
                  <c:v>32853</c:v>
                </c:pt>
                <c:pt idx="49107">
                  <c:v>32852</c:v>
                </c:pt>
                <c:pt idx="49108">
                  <c:v>32852</c:v>
                </c:pt>
                <c:pt idx="49109">
                  <c:v>32852</c:v>
                </c:pt>
                <c:pt idx="49110">
                  <c:v>32852</c:v>
                </c:pt>
                <c:pt idx="49111">
                  <c:v>32852</c:v>
                </c:pt>
                <c:pt idx="49112">
                  <c:v>32851</c:v>
                </c:pt>
                <c:pt idx="49113">
                  <c:v>32851</c:v>
                </c:pt>
                <c:pt idx="49114">
                  <c:v>32851</c:v>
                </c:pt>
                <c:pt idx="49115">
                  <c:v>32851</c:v>
                </c:pt>
                <c:pt idx="49116">
                  <c:v>32851</c:v>
                </c:pt>
                <c:pt idx="49117">
                  <c:v>32851</c:v>
                </c:pt>
                <c:pt idx="49118">
                  <c:v>32851</c:v>
                </c:pt>
                <c:pt idx="49119">
                  <c:v>32851</c:v>
                </c:pt>
                <c:pt idx="49120">
                  <c:v>32851</c:v>
                </c:pt>
                <c:pt idx="49121">
                  <c:v>32851</c:v>
                </c:pt>
                <c:pt idx="49122">
                  <c:v>32851</c:v>
                </c:pt>
                <c:pt idx="49123">
                  <c:v>32850</c:v>
                </c:pt>
                <c:pt idx="49124">
                  <c:v>32850</c:v>
                </c:pt>
                <c:pt idx="49125">
                  <c:v>32850</c:v>
                </c:pt>
                <c:pt idx="49126">
                  <c:v>32850</c:v>
                </c:pt>
                <c:pt idx="49127">
                  <c:v>32850</c:v>
                </c:pt>
                <c:pt idx="49128">
                  <c:v>32850</c:v>
                </c:pt>
                <c:pt idx="49129">
                  <c:v>32850</c:v>
                </c:pt>
                <c:pt idx="49130">
                  <c:v>32850</c:v>
                </c:pt>
                <c:pt idx="49131">
                  <c:v>32850</c:v>
                </c:pt>
                <c:pt idx="49132">
                  <c:v>32850</c:v>
                </c:pt>
                <c:pt idx="49133">
                  <c:v>32850</c:v>
                </c:pt>
                <c:pt idx="49134">
                  <c:v>32850</c:v>
                </c:pt>
                <c:pt idx="49135">
                  <c:v>32849</c:v>
                </c:pt>
                <c:pt idx="49136">
                  <c:v>32849</c:v>
                </c:pt>
                <c:pt idx="49137">
                  <c:v>32848</c:v>
                </c:pt>
                <c:pt idx="49138">
                  <c:v>32848</c:v>
                </c:pt>
                <c:pt idx="49139">
                  <c:v>32848</c:v>
                </c:pt>
                <c:pt idx="49140">
                  <c:v>32848</c:v>
                </c:pt>
                <c:pt idx="49141">
                  <c:v>32847</c:v>
                </c:pt>
                <c:pt idx="49142">
                  <c:v>32847</c:v>
                </c:pt>
                <c:pt idx="49143">
                  <c:v>32847</c:v>
                </c:pt>
                <c:pt idx="49144">
                  <c:v>32847</c:v>
                </c:pt>
                <c:pt idx="49145">
                  <c:v>32847</c:v>
                </c:pt>
                <c:pt idx="49146">
                  <c:v>32847</c:v>
                </c:pt>
                <c:pt idx="49147">
                  <c:v>32847</c:v>
                </c:pt>
                <c:pt idx="49148">
                  <c:v>32847</c:v>
                </c:pt>
                <c:pt idx="49149">
                  <c:v>32847</c:v>
                </c:pt>
                <c:pt idx="49150">
                  <c:v>32846</c:v>
                </c:pt>
                <c:pt idx="49151">
                  <c:v>32846</c:v>
                </c:pt>
                <c:pt idx="49152">
                  <c:v>32846</c:v>
                </c:pt>
                <c:pt idx="49153">
                  <c:v>32846</c:v>
                </c:pt>
                <c:pt idx="49154">
                  <c:v>32846</c:v>
                </c:pt>
                <c:pt idx="49155">
                  <c:v>32846</c:v>
                </c:pt>
                <c:pt idx="49156">
                  <c:v>32845</c:v>
                </c:pt>
                <c:pt idx="49157">
                  <c:v>32845</c:v>
                </c:pt>
                <c:pt idx="49158">
                  <c:v>32845</c:v>
                </c:pt>
                <c:pt idx="49159">
                  <c:v>32845</c:v>
                </c:pt>
                <c:pt idx="49160">
                  <c:v>32845</c:v>
                </c:pt>
                <c:pt idx="49161">
                  <c:v>32844</c:v>
                </c:pt>
                <c:pt idx="49162">
                  <c:v>32844</c:v>
                </c:pt>
                <c:pt idx="49163">
                  <c:v>32844</c:v>
                </c:pt>
                <c:pt idx="49164">
                  <c:v>32844</c:v>
                </c:pt>
                <c:pt idx="49165">
                  <c:v>32844</c:v>
                </c:pt>
                <c:pt idx="49166">
                  <c:v>32844</c:v>
                </c:pt>
                <c:pt idx="49167">
                  <c:v>32844</c:v>
                </c:pt>
                <c:pt idx="49168">
                  <c:v>32843</c:v>
                </c:pt>
                <c:pt idx="49169">
                  <c:v>32843</c:v>
                </c:pt>
                <c:pt idx="49170">
                  <c:v>32843</c:v>
                </c:pt>
                <c:pt idx="49171">
                  <c:v>32843</c:v>
                </c:pt>
                <c:pt idx="49172">
                  <c:v>32843</c:v>
                </c:pt>
                <c:pt idx="49173">
                  <c:v>32842</c:v>
                </c:pt>
                <c:pt idx="49174">
                  <c:v>32842</c:v>
                </c:pt>
                <c:pt idx="49175">
                  <c:v>32842</c:v>
                </c:pt>
                <c:pt idx="49176">
                  <c:v>32842</c:v>
                </c:pt>
                <c:pt idx="49177">
                  <c:v>32842</c:v>
                </c:pt>
                <c:pt idx="49178">
                  <c:v>32842</c:v>
                </c:pt>
                <c:pt idx="49179">
                  <c:v>32842</c:v>
                </c:pt>
                <c:pt idx="49180">
                  <c:v>32841</c:v>
                </c:pt>
                <c:pt idx="49181">
                  <c:v>32841</c:v>
                </c:pt>
                <c:pt idx="49182">
                  <c:v>32841</c:v>
                </c:pt>
                <c:pt idx="49183">
                  <c:v>32841</c:v>
                </c:pt>
                <c:pt idx="49184">
                  <c:v>32841</c:v>
                </c:pt>
                <c:pt idx="49185">
                  <c:v>32841</c:v>
                </c:pt>
                <c:pt idx="49186">
                  <c:v>32841</c:v>
                </c:pt>
                <c:pt idx="49187">
                  <c:v>32840</c:v>
                </c:pt>
                <c:pt idx="49188">
                  <c:v>32840</c:v>
                </c:pt>
                <c:pt idx="49189">
                  <c:v>32840</c:v>
                </c:pt>
                <c:pt idx="49190">
                  <c:v>32840</c:v>
                </c:pt>
                <c:pt idx="49191">
                  <c:v>32840</c:v>
                </c:pt>
                <c:pt idx="49192">
                  <c:v>32840</c:v>
                </c:pt>
                <c:pt idx="49193">
                  <c:v>32840</c:v>
                </c:pt>
                <c:pt idx="49194">
                  <c:v>32840</c:v>
                </c:pt>
                <c:pt idx="49195">
                  <c:v>32840</c:v>
                </c:pt>
                <c:pt idx="49196">
                  <c:v>32839</c:v>
                </c:pt>
                <c:pt idx="49197">
                  <c:v>32839</c:v>
                </c:pt>
                <c:pt idx="49198">
                  <c:v>32839</c:v>
                </c:pt>
                <c:pt idx="49199">
                  <c:v>32839</c:v>
                </c:pt>
                <c:pt idx="49200">
                  <c:v>32839</c:v>
                </c:pt>
                <c:pt idx="49201">
                  <c:v>32839</c:v>
                </c:pt>
                <c:pt idx="49202">
                  <c:v>32839</c:v>
                </c:pt>
                <c:pt idx="49203">
                  <c:v>32838</c:v>
                </c:pt>
                <c:pt idx="49204">
                  <c:v>32838</c:v>
                </c:pt>
                <c:pt idx="49205">
                  <c:v>32838</c:v>
                </c:pt>
                <c:pt idx="49206">
                  <c:v>32838</c:v>
                </c:pt>
                <c:pt idx="49207">
                  <c:v>32837</c:v>
                </c:pt>
                <c:pt idx="49208">
                  <c:v>32837</c:v>
                </c:pt>
                <c:pt idx="49209">
                  <c:v>32837</c:v>
                </c:pt>
                <c:pt idx="49210">
                  <c:v>32837</c:v>
                </c:pt>
                <c:pt idx="49211">
                  <c:v>32837</c:v>
                </c:pt>
                <c:pt idx="49212">
                  <c:v>32837</c:v>
                </c:pt>
                <c:pt idx="49213">
                  <c:v>32837</c:v>
                </c:pt>
                <c:pt idx="49214">
                  <c:v>32837</c:v>
                </c:pt>
                <c:pt idx="49215">
                  <c:v>32836</c:v>
                </c:pt>
                <c:pt idx="49216">
                  <c:v>32836</c:v>
                </c:pt>
                <c:pt idx="49217">
                  <c:v>32836</c:v>
                </c:pt>
                <c:pt idx="49218">
                  <c:v>32836</c:v>
                </c:pt>
                <c:pt idx="49219">
                  <c:v>32836</c:v>
                </c:pt>
                <c:pt idx="49220">
                  <c:v>32836</c:v>
                </c:pt>
                <c:pt idx="49221">
                  <c:v>32835</c:v>
                </c:pt>
                <c:pt idx="49222">
                  <c:v>32835</c:v>
                </c:pt>
                <c:pt idx="49223">
                  <c:v>32835</c:v>
                </c:pt>
                <c:pt idx="49224">
                  <c:v>32835</c:v>
                </c:pt>
                <c:pt idx="49225">
                  <c:v>32834</c:v>
                </c:pt>
                <c:pt idx="49226">
                  <c:v>32834</c:v>
                </c:pt>
                <c:pt idx="49227">
                  <c:v>32834</c:v>
                </c:pt>
                <c:pt idx="49228">
                  <c:v>32834</c:v>
                </c:pt>
                <c:pt idx="49229">
                  <c:v>32834</c:v>
                </c:pt>
                <c:pt idx="49230">
                  <c:v>32833</c:v>
                </c:pt>
                <c:pt idx="49231">
                  <c:v>32833</c:v>
                </c:pt>
                <c:pt idx="49232">
                  <c:v>32832</c:v>
                </c:pt>
                <c:pt idx="49233">
                  <c:v>32832</c:v>
                </c:pt>
                <c:pt idx="49234">
                  <c:v>32832</c:v>
                </c:pt>
                <c:pt idx="49235">
                  <c:v>32832</c:v>
                </c:pt>
                <c:pt idx="49236">
                  <c:v>32832</c:v>
                </c:pt>
                <c:pt idx="49237">
                  <c:v>32832</c:v>
                </c:pt>
                <c:pt idx="49238">
                  <c:v>32832</c:v>
                </c:pt>
                <c:pt idx="49239">
                  <c:v>32832</c:v>
                </c:pt>
                <c:pt idx="49240">
                  <c:v>32832</c:v>
                </c:pt>
                <c:pt idx="49241">
                  <c:v>32832</c:v>
                </c:pt>
                <c:pt idx="49242">
                  <c:v>32832</c:v>
                </c:pt>
                <c:pt idx="49243">
                  <c:v>32831</c:v>
                </c:pt>
                <c:pt idx="49244">
                  <c:v>32831</c:v>
                </c:pt>
                <c:pt idx="49245">
                  <c:v>32831</c:v>
                </c:pt>
                <c:pt idx="49246">
                  <c:v>32831</c:v>
                </c:pt>
                <c:pt idx="49247">
                  <c:v>32831</c:v>
                </c:pt>
                <c:pt idx="49248">
                  <c:v>32831</c:v>
                </c:pt>
                <c:pt idx="49249">
                  <c:v>32831</c:v>
                </c:pt>
                <c:pt idx="49250">
                  <c:v>32830</c:v>
                </c:pt>
                <c:pt idx="49251">
                  <c:v>32830</c:v>
                </c:pt>
                <c:pt idx="49252">
                  <c:v>32830</c:v>
                </c:pt>
                <c:pt idx="49253">
                  <c:v>32830</c:v>
                </c:pt>
                <c:pt idx="49254">
                  <c:v>32830</c:v>
                </c:pt>
                <c:pt idx="49255">
                  <c:v>32830</c:v>
                </c:pt>
                <c:pt idx="49256">
                  <c:v>32830</c:v>
                </c:pt>
                <c:pt idx="49257">
                  <c:v>32830</c:v>
                </c:pt>
                <c:pt idx="49258">
                  <c:v>32830</c:v>
                </c:pt>
                <c:pt idx="49259">
                  <c:v>32829</c:v>
                </c:pt>
                <c:pt idx="49260">
                  <c:v>32829</c:v>
                </c:pt>
                <c:pt idx="49261">
                  <c:v>32829</c:v>
                </c:pt>
                <c:pt idx="49262">
                  <c:v>32829</c:v>
                </c:pt>
                <c:pt idx="49263">
                  <c:v>32828</c:v>
                </c:pt>
                <c:pt idx="49264">
                  <c:v>32828</c:v>
                </c:pt>
                <c:pt idx="49265">
                  <c:v>32828</c:v>
                </c:pt>
                <c:pt idx="49266">
                  <c:v>32828</c:v>
                </c:pt>
                <c:pt idx="49267">
                  <c:v>32828</c:v>
                </c:pt>
                <c:pt idx="49268">
                  <c:v>32828</c:v>
                </c:pt>
                <c:pt idx="49269">
                  <c:v>32828</c:v>
                </c:pt>
                <c:pt idx="49270">
                  <c:v>32828</c:v>
                </c:pt>
                <c:pt idx="49271">
                  <c:v>32827</c:v>
                </c:pt>
                <c:pt idx="49272">
                  <c:v>32827</c:v>
                </c:pt>
                <c:pt idx="49273">
                  <c:v>32827</c:v>
                </c:pt>
                <c:pt idx="49274">
                  <c:v>32827</c:v>
                </c:pt>
                <c:pt idx="49275">
                  <c:v>32827</c:v>
                </c:pt>
                <c:pt idx="49276">
                  <c:v>32827</c:v>
                </c:pt>
                <c:pt idx="49277">
                  <c:v>32826</c:v>
                </c:pt>
                <c:pt idx="49278">
                  <c:v>32826</c:v>
                </c:pt>
                <c:pt idx="49279">
                  <c:v>32826</c:v>
                </c:pt>
                <c:pt idx="49280">
                  <c:v>32826</c:v>
                </c:pt>
                <c:pt idx="49281">
                  <c:v>32826</c:v>
                </c:pt>
                <c:pt idx="49282">
                  <c:v>32826</c:v>
                </c:pt>
                <c:pt idx="49283">
                  <c:v>32826</c:v>
                </c:pt>
                <c:pt idx="49284">
                  <c:v>32826</c:v>
                </c:pt>
                <c:pt idx="49285">
                  <c:v>32826</c:v>
                </c:pt>
                <c:pt idx="49286">
                  <c:v>32825</c:v>
                </c:pt>
                <c:pt idx="49287">
                  <c:v>32825</c:v>
                </c:pt>
                <c:pt idx="49288">
                  <c:v>32825</c:v>
                </c:pt>
                <c:pt idx="49289">
                  <c:v>32825</c:v>
                </c:pt>
                <c:pt idx="49290">
                  <c:v>32825</c:v>
                </c:pt>
                <c:pt idx="49291">
                  <c:v>32824</c:v>
                </c:pt>
                <c:pt idx="49292">
                  <c:v>32824</c:v>
                </c:pt>
                <c:pt idx="49293">
                  <c:v>32824</c:v>
                </c:pt>
                <c:pt idx="49294">
                  <c:v>32824</c:v>
                </c:pt>
                <c:pt idx="49295">
                  <c:v>32824</c:v>
                </c:pt>
                <c:pt idx="49296">
                  <c:v>32824</c:v>
                </c:pt>
                <c:pt idx="49297">
                  <c:v>32824</c:v>
                </c:pt>
                <c:pt idx="49298">
                  <c:v>32824</c:v>
                </c:pt>
                <c:pt idx="49299">
                  <c:v>32823</c:v>
                </c:pt>
                <c:pt idx="49300">
                  <c:v>32823</c:v>
                </c:pt>
                <c:pt idx="49301">
                  <c:v>32823</c:v>
                </c:pt>
                <c:pt idx="49302">
                  <c:v>32823</c:v>
                </c:pt>
                <c:pt idx="49303">
                  <c:v>32823</c:v>
                </c:pt>
                <c:pt idx="49304">
                  <c:v>32823</c:v>
                </c:pt>
                <c:pt idx="49305">
                  <c:v>32823</c:v>
                </c:pt>
                <c:pt idx="49306">
                  <c:v>32822</c:v>
                </c:pt>
                <c:pt idx="49307">
                  <c:v>32822</c:v>
                </c:pt>
                <c:pt idx="49308">
                  <c:v>32822</c:v>
                </c:pt>
                <c:pt idx="49309">
                  <c:v>32822</c:v>
                </c:pt>
                <c:pt idx="49310">
                  <c:v>32822</c:v>
                </c:pt>
                <c:pt idx="49311">
                  <c:v>32822</c:v>
                </c:pt>
                <c:pt idx="49312">
                  <c:v>32822</c:v>
                </c:pt>
                <c:pt idx="49313">
                  <c:v>32822</c:v>
                </c:pt>
                <c:pt idx="49314">
                  <c:v>32822</c:v>
                </c:pt>
                <c:pt idx="49315">
                  <c:v>32821</c:v>
                </c:pt>
                <c:pt idx="49316">
                  <c:v>32821</c:v>
                </c:pt>
                <c:pt idx="49317">
                  <c:v>32821</c:v>
                </c:pt>
                <c:pt idx="49318">
                  <c:v>32821</c:v>
                </c:pt>
                <c:pt idx="49319">
                  <c:v>32821</c:v>
                </c:pt>
                <c:pt idx="49320">
                  <c:v>32820</c:v>
                </c:pt>
                <c:pt idx="49321">
                  <c:v>32820</c:v>
                </c:pt>
                <c:pt idx="49322">
                  <c:v>32820</c:v>
                </c:pt>
                <c:pt idx="49323">
                  <c:v>32820</c:v>
                </c:pt>
                <c:pt idx="49324">
                  <c:v>32820</c:v>
                </c:pt>
                <c:pt idx="49325">
                  <c:v>32820</c:v>
                </c:pt>
                <c:pt idx="49326">
                  <c:v>32820</c:v>
                </c:pt>
                <c:pt idx="49327">
                  <c:v>32820</c:v>
                </c:pt>
                <c:pt idx="49328">
                  <c:v>32819</c:v>
                </c:pt>
                <c:pt idx="49329">
                  <c:v>32819</c:v>
                </c:pt>
                <c:pt idx="49330">
                  <c:v>32819</c:v>
                </c:pt>
                <c:pt idx="49331">
                  <c:v>32819</c:v>
                </c:pt>
                <c:pt idx="49332">
                  <c:v>32819</c:v>
                </c:pt>
                <c:pt idx="49333">
                  <c:v>32818</c:v>
                </c:pt>
                <c:pt idx="49334">
                  <c:v>32818</c:v>
                </c:pt>
                <c:pt idx="49335">
                  <c:v>32818</c:v>
                </c:pt>
                <c:pt idx="49336">
                  <c:v>32818</c:v>
                </c:pt>
                <c:pt idx="49337">
                  <c:v>32818</c:v>
                </c:pt>
                <c:pt idx="49338">
                  <c:v>32818</c:v>
                </c:pt>
                <c:pt idx="49339">
                  <c:v>32818</c:v>
                </c:pt>
                <c:pt idx="49340">
                  <c:v>32818</c:v>
                </c:pt>
                <c:pt idx="49341">
                  <c:v>32818</c:v>
                </c:pt>
                <c:pt idx="49342">
                  <c:v>32817</c:v>
                </c:pt>
                <c:pt idx="49343">
                  <c:v>32817</c:v>
                </c:pt>
                <c:pt idx="49344">
                  <c:v>32817</c:v>
                </c:pt>
                <c:pt idx="49345">
                  <c:v>32817</c:v>
                </c:pt>
                <c:pt idx="49346">
                  <c:v>32817</c:v>
                </c:pt>
                <c:pt idx="49347">
                  <c:v>32817</c:v>
                </c:pt>
                <c:pt idx="49348">
                  <c:v>32817</c:v>
                </c:pt>
                <c:pt idx="49349">
                  <c:v>32816</c:v>
                </c:pt>
                <c:pt idx="49350">
                  <c:v>32816</c:v>
                </c:pt>
                <c:pt idx="49351">
                  <c:v>32816</c:v>
                </c:pt>
                <c:pt idx="49352">
                  <c:v>32816</c:v>
                </c:pt>
                <c:pt idx="49353">
                  <c:v>32816</c:v>
                </c:pt>
                <c:pt idx="49354">
                  <c:v>32815</c:v>
                </c:pt>
                <c:pt idx="49355">
                  <c:v>32815</c:v>
                </c:pt>
                <c:pt idx="49356">
                  <c:v>32815</c:v>
                </c:pt>
                <c:pt idx="49357">
                  <c:v>32815</c:v>
                </c:pt>
                <c:pt idx="49358">
                  <c:v>32815</c:v>
                </c:pt>
                <c:pt idx="49359">
                  <c:v>32815</c:v>
                </c:pt>
                <c:pt idx="49360">
                  <c:v>32814</c:v>
                </c:pt>
                <c:pt idx="49361">
                  <c:v>32814</c:v>
                </c:pt>
                <c:pt idx="49362">
                  <c:v>32814</c:v>
                </c:pt>
                <c:pt idx="49363">
                  <c:v>32814</c:v>
                </c:pt>
                <c:pt idx="49364">
                  <c:v>32814</c:v>
                </c:pt>
                <c:pt idx="49365">
                  <c:v>32814</c:v>
                </c:pt>
                <c:pt idx="49366">
                  <c:v>32813</c:v>
                </c:pt>
                <c:pt idx="49367">
                  <c:v>32813</c:v>
                </c:pt>
                <c:pt idx="49368">
                  <c:v>32813</c:v>
                </c:pt>
                <c:pt idx="49369">
                  <c:v>32813</c:v>
                </c:pt>
                <c:pt idx="49370">
                  <c:v>32813</c:v>
                </c:pt>
                <c:pt idx="49371">
                  <c:v>32812</c:v>
                </c:pt>
                <c:pt idx="49372">
                  <c:v>32812</c:v>
                </c:pt>
                <c:pt idx="49373">
                  <c:v>32812</c:v>
                </c:pt>
                <c:pt idx="49374">
                  <c:v>32812</c:v>
                </c:pt>
                <c:pt idx="49375">
                  <c:v>32812</c:v>
                </c:pt>
                <c:pt idx="49376">
                  <c:v>32812</c:v>
                </c:pt>
                <c:pt idx="49377">
                  <c:v>32812</c:v>
                </c:pt>
                <c:pt idx="49378">
                  <c:v>32812</c:v>
                </c:pt>
                <c:pt idx="49379">
                  <c:v>32812</c:v>
                </c:pt>
                <c:pt idx="49380">
                  <c:v>32811</c:v>
                </c:pt>
                <c:pt idx="49381">
                  <c:v>32811</c:v>
                </c:pt>
                <c:pt idx="49382">
                  <c:v>32811</c:v>
                </c:pt>
                <c:pt idx="49383">
                  <c:v>32811</c:v>
                </c:pt>
                <c:pt idx="49384">
                  <c:v>32811</c:v>
                </c:pt>
                <c:pt idx="49385">
                  <c:v>32811</c:v>
                </c:pt>
                <c:pt idx="49386">
                  <c:v>32811</c:v>
                </c:pt>
                <c:pt idx="49387">
                  <c:v>32811</c:v>
                </c:pt>
                <c:pt idx="49388">
                  <c:v>32811</c:v>
                </c:pt>
                <c:pt idx="49389">
                  <c:v>32811</c:v>
                </c:pt>
                <c:pt idx="49390">
                  <c:v>32811</c:v>
                </c:pt>
                <c:pt idx="49391">
                  <c:v>32811</c:v>
                </c:pt>
                <c:pt idx="49392">
                  <c:v>32811</c:v>
                </c:pt>
                <c:pt idx="49393">
                  <c:v>32810</c:v>
                </c:pt>
                <c:pt idx="49394">
                  <c:v>32810</c:v>
                </c:pt>
                <c:pt idx="49395">
                  <c:v>32810</c:v>
                </c:pt>
                <c:pt idx="49396">
                  <c:v>32810</c:v>
                </c:pt>
                <c:pt idx="49397">
                  <c:v>32809</c:v>
                </c:pt>
                <c:pt idx="49398">
                  <c:v>32809</c:v>
                </c:pt>
                <c:pt idx="49399">
                  <c:v>32809</c:v>
                </c:pt>
                <c:pt idx="49400">
                  <c:v>32809</c:v>
                </c:pt>
                <c:pt idx="49401">
                  <c:v>32809</c:v>
                </c:pt>
                <c:pt idx="49402">
                  <c:v>32809</c:v>
                </c:pt>
                <c:pt idx="49403">
                  <c:v>32809</c:v>
                </c:pt>
                <c:pt idx="49404">
                  <c:v>32809</c:v>
                </c:pt>
                <c:pt idx="49405">
                  <c:v>32809</c:v>
                </c:pt>
                <c:pt idx="49406">
                  <c:v>32809</c:v>
                </c:pt>
                <c:pt idx="49407">
                  <c:v>32808</c:v>
                </c:pt>
                <c:pt idx="49408">
                  <c:v>32808</c:v>
                </c:pt>
                <c:pt idx="49409">
                  <c:v>32808</c:v>
                </c:pt>
                <c:pt idx="49410">
                  <c:v>32807</c:v>
                </c:pt>
                <c:pt idx="49411">
                  <c:v>32807</c:v>
                </c:pt>
                <c:pt idx="49412">
                  <c:v>32807</c:v>
                </c:pt>
                <c:pt idx="49413">
                  <c:v>32807</c:v>
                </c:pt>
                <c:pt idx="49414">
                  <c:v>32807</c:v>
                </c:pt>
                <c:pt idx="49415">
                  <c:v>32807</c:v>
                </c:pt>
                <c:pt idx="49416">
                  <c:v>32807</c:v>
                </c:pt>
                <c:pt idx="49417">
                  <c:v>32807</c:v>
                </c:pt>
                <c:pt idx="49418">
                  <c:v>32807</c:v>
                </c:pt>
                <c:pt idx="49419">
                  <c:v>32806</c:v>
                </c:pt>
                <c:pt idx="49420">
                  <c:v>32806</c:v>
                </c:pt>
                <c:pt idx="49421">
                  <c:v>32806</c:v>
                </c:pt>
                <c:pt idx="49422">
                  <c:v>32806</c:v>
                </c:pt>
                <c:pt idx="49423">
                  <c:v>32805</c:v>
                </c:pt>
                <c:pt idx="49424">
                  <c:v>32804</c:v>
                </c:pt>
                <c:pt idx="49425">
                  <c:v>32804</c:v>
                </c:pt>
                <c:pt idx="49426">
                  <c:v>32804</c:v>
                </c:pt>
                <c:pt idx="49427">
                  <c:v>32804</c:v>
                </c:pt>
                <c:pt idx="49428">
                  <c:v>32804</c:v>
                </c:pt>
                <c:pt idx="49429">
                  <c:v>32803</c:v>
                </c:pt>
                <c:pt idx="49430">
                  <c:v>32803</c:v>
                </c:pt>
                <c:pt idx="49431">
                  <c:v>32803</c:v>
                </c:pt>
                <c:pt idx="49432">
                  <c:v>32803</c:v>
                </c:pt>
                <c:pt idx="49433">
                  <c:v>32803</c:v>
                </c:pt>
                <c:pt idx="49434">
                  <c:v>32803</c:v>
                </c:pt>
                <c:pt idx="49435">
                  <c:v>32803</c:v>
                </c:pt>
                <c:pt idx="49436">
                  <c:v>32803</c:v>
                </c:pt>
                <c:pt idx="49437">
                  <c:v>32803</c:v>
                </c:pt>
                <c:pt idx="49438">
                  <c:v>32803</c:v>
                </c:pt>
                <c:pt idx="49439">
                  <c:v>32802</c:v>
                </c:pt>
                <c:pt idx="49440">
                  <c:v>32802</c:v>
                </c:pt>
                <c:pt idx="49441">
                  <c:v>32802</c:v>
                </c:pt>
                <c:pt idx="49442">
                  <c:v>32802</c:v>
                </c:pt>
                <c:pt idx="49443">
                  <c:v>32802</c:v>
                </c:pt>
                <c:pt idx="49444">
                  <c:v>32802</c:v>
                </c:pt>
                <c:pt idx="49445">
                  <c:v>32802</c:v>
                </c:pt>
                <c:pt idx="49446">
                  <c:v>32802</c:v>
                </c:pt>
                <c:pt idx="49447">
                  <c:v>32802</c:v>
                </c:pt>
                <c:pt idx="49448">
                  <c:v>32801</c:v>
                </c:pt>
                <c:pt idx="49449">
                  <c:v>32801</c:v>
                </c:pt>
                <c:pt idx="49450">
                  <c:v>32801</c:v>
                </c:pt>
                <c:pt idx="49451">
                  <c:v>32801</c:v>
                </c:pt>
                <c:pt idx="49452">
                  <c:v>32801</c:v>
                </c:pt>
                <c:pt idx="49453">
                  <c:v>32801</c:v>
                </c:pt>
                <c:pt idx="49454">
                  <c:v>32801</c:v>
                </c:pt>
                <c:pt idx="49455">
                  <c:v>32801</c:v>
                </c:pt>
                <c:pt idx="49456">
                  <c:v>32801</c:v>
                </c:pt>
                <c:pt idx="49457">
                  <c:v>32801</c:v>
                </c:pt>
                <c:pt idx="49458">
                  <c:v>32801</c:v>
                </c:pt>
                <c:pt idx="49459">
                  <c:v>32800</c:v>
                </c:pt>
                <c:pt idx="49460">
                  <c:v>32800</c:v>
                </c:pt>
                <c:pt idx="49461">
                  <c:v>32800</c:v>
                </c:pt>
                <c:pt idx="49462">
                  <c:v>32800</c:v>
                </c:pt>
                <c:pt idx="49463">
                  <c:v>32800</c:v>
                </c:pt>
                <c:pt idx="49464">
                  <c:v>32800</c:v>
                </c:pt>
                <c:pt idx="49465">
                  <c:v>32800</c:v>
                </c:pt>
                <c:pt idx="49466">
                  <c:v>32799</c:v>
                </c:pt>
                <c:pt idx="49467">
                  <c:v>32799</c:v>
                </c:pt>
                <c:pt idx="49468">
                  <c:v>32799</c:v>
                </c:pt>
                <c:pt idx="49469">
                  <c:v>32799</c:v>
                </c:pt>
                <c:pt idx="49470">
                  <c:v>32799</c:v>
                </c:pt>
                <c:pt idx="49471">
                  <c:v>32799</c:v>
                </c:pt>
                <c:pt idx="49472">
                  <c:v>32799</c:v>
                </c:pt>
                <c:pt idx="49473">
                  <c:v>32799</c:v>
                </c:pt>
                <c:pt idx="49474">
                  <c:v>32799</c:v>
                </c:pt>
                <c:pt idx="49475">
                  <c:v>32799</c:v>
                </c:pt>
                <c:pt idx="49476">
                  <c:v>32799</c:v>
                </c:pt>
                <c:pt idx="49477">
                  <c:v>32798</c:v>
                </c:pt>
                <c:pt idx="49478">
                  <c:v>32798</c:v>
                </c:pt>
                <c:pt idx="49479">
                  <c:v>32798</c:v>
                </c:pt>
                <c:pt idx="49480">
                  <c:v>32798</c:v>
                </c:pt>
                <c:pt idx="49481">
                  <c:v>32798</c:v>
                </c:pt>
                <c:pt idx="49482">
                  <c:v>32798</c:v>
                </c:pt>
                <c:pt idx="49483">
                  <c:v>32797</c:v>
                </c:pt>
                <c:pt idx="49484">
                  <c:v>32797</c:v>
                </c:pt>
                <c:pt idx="49485">
                  <c:v>32797</c:v>
                </c:pt>
                <c:pt idx="49486">
                  <c:v>32797</c:v>
                </c:pt>
                <c:pt idx="49487">
                  <c:v>32797</c:v>
                </c:pt>
                <c:pt idx="49488">
                  <c:v>32796</c:v>
                </c:pt>
                <c:pt idx="49489">
                  <c:v>32796</c:v>
                </c:pt>
                <c:pt idx="49490">
                  <c:v>32796</c:v>
                </c:pt>
                <c:pt idx="49491">
                  <c:v>32796</c:v>
                </c:pt>
                <c:pt idx="49492">
                  <c:v>32796</c:v>
                </c:pt>
                <c:pt idx="49493">
                  <c:v>32796</c:v>
                </c:pt>
                <c:pt idx="49494">
                  <c:v>32796</c:v>
                </c:pt>
                <c:pt idx="49495">
                  <c:v>32795</c:v>
                </c:pt>
                <c:pt idx="49496">
                  <c:v>32795</c:v>
                </c:pt>
                <c:pt idx="49497">
                  <c:v>32794</c:v>
                </c:pt>
                <c:pt idx="49498">
                  <c:v>32794</c:v>
                </c:pt>
                <c:pt idx="49499">
                  <c:v>32794</c:v>
                </c:pt>
                <c:pt idx="49500">
                  <c:v>32794</c:v>
                </c:pt>
                <c:pt idx="49501">
                  <c:v>32793</c:v>
                </c:pt>
                <c:pt idx="49502">
                  <c:v>32793</c:v>
                </c:pt>
                <c:pt idx="49503">
                  <c:v>32793</c:v>
                </c:pt>
                <c:pt idx="49504">
                  <c:v>32793</c:v>
                </c:pt>
                <c:pt idx="49505">
                  <c:v>32793</c:v>
                </c:pt>
                <c:pt idx="49506">
                  <c:v>32792</c:v>
                </c:pt>
                <c:pt idx="49507">
                  <c:v>32792</c:v>
                </c:pt>
                <c:pt idx="49508">
                  <c:v>32792</c:v>
                </c:pt>
                <c:pt idx="49509">
                  <c:v>32792</c:v>
                </c:pt>
                <c:pt idx="49510">
                  <c:v>32792</c:v>
                </c:pt>
                <c:pt idx="49511">
                  <c:v>32791</c:v>
                </c:pt>
                <c:pt idx="49512">
                  <c:v>32791</c:v>
                </c:pt>
                <c:pt idx="49513">
                  <c:v>32791</c:v>
                </c:pt>
                <c:pt idx="49514">
                  <c:v>32791</c:v>
                </c:pt>
                <c:pt idx="49515">
                  <c:v>32791</c:v>
                </c:pt>
                <c:pt idx="49516">
                  <c:v>32791</c:v>
                </c:pt>
                <c:pt idx="49517">
                  <c:v>32790</c:v>
                </c:pt>
                <c:pt idx="49518">
                  <c:v>32790</c:v>
                </c:pt>
                <c:pt idx="49519">
                  <c:v>32790</c:v>
                </c:pt>
                <c:pt idx="49520">
                  <c:v>32790</c:v>
                </c:pt>
                <c:pt idx="49521">
                  <c:v>32790</c:v>
                </c:pt>
                <c:pt idx="49522">
                  <c:v>32790</c:v>
                </c:pt>
                <c:pt idx="49523">
                  <c:v>32790</c:v>
                </c:pt>
                <c:pt idx="49524">
                  <c:v>32790</c:v>
                </c:pt>
                <c:pt idx="49525">
                  <c:v>32790</c:v>
                </c:pt>
                <c:pt idx="49526">
                  <c:v>32789</c:v>
                </c:pt>
                <c:pt idx="49527">
                  <c:v>32789</c:v>
                </c:pt>
                <c:pt idx="49528">
                  <c:v>32789</c:v>
                </c:pt>
                <c:pt idx="49529">
                  <c:v>32788</c:v>
                </c:pt>
                <c:pt idx="49530">
                  <c:v>32788</c:v>
                </c:pt>
                <c:pt idx="49531">
                  <c:v>32788</c:v>
                </c:pt>
                <c:pt idx="49532">
                  <c:v>32788</c:v>
                </c:pt>
                <c:pt idx="49533">
                  <c:v>32788</c:v>
                </c:pt>
                <c:pt idx="49534">
                  <c:v>32787</c:v>
                </c:pt>
                <c:pt idx="49535">
                  <c:v>32787</c:v>
                </c:pt>
                <c:pt idx="49536">
                  <c:v>32787</c:v>
                </c:pt>
                <c:pt idx="49537">
                  <c:v>32787</c:v>
                </c:pt>
                <c:pt idx="49538">
                  <c:v>32786</c:v>
                </c:pt>
                <c:pt idx="49539">
                  <c:v>32786</c:v>
                </c:pt>
                <c:pt idx="49540">
                  <c:v>32786</c:v>
                </c:pt>
                <c:pt idx="49541">
                  <c:v>32786</c:v>
                </c:pt>
                <c:pt idx="49542">
                  <c:v>32786</c:v>
                </c:pt>
                <c:pt idx="49543">
                  <c:v>32786</c:v>
                </c:pt>
                <c:pt idx="49544">
                  <c:v>32786</c:v>
                </c:pt>
                <c:pt idx="49545">
                  <c:v>32785</c:v>
                </c:pt>
                <c:pt idx="49546">
                  <c:v>32785</c:v>
                </c:pt>
                <c:pt idx="49547">
                  <c:v>32785</c:v>
                </c:pt>
                <c:pt idx="49548">
                  <c:v>32785</c:v>
                </c:pt>
                <c:pt idx="49549">
                  <c:v>32785</c:v>
                </c:pt>
                <c:pt idx="49550">
                  <c:v>32784</c:v>
                </c:pt>
                <c:pt idx="49551">
                  <c:v>32784</c:v>
                </c:pt>
                <c:pt idx="49552">
                  <c:v>32784</c:v>
                </c:pt>
                <c:pt idx="49553">
                  <c:v>32784</c:v>
                </c:pt>
                <c:pt idx="49554">
                  <c:v>32783</c:v>
                </c:pt>
                <c:pt idx="49555">
                  <c:v>32783</c:v>
                </c:pt>
                <c:pt idx="49556">
                  <c:v>32783</c:v>
                </c:pt>
                <c:pt idx="49557">
                  <c:v>32783</c:v>
                </c:pt>
                <c:pt idx="49558">
                  <c:v>32783</c:v>
                </c:pt>
                <c:pt idx="49559">
                  <c:v>32783</c:v>
                </c:pt>
                <c:pt idx="49560">
                  <c:v>32782</c:v>
                </c:pt>
                <c:pt idx="49561">
                  <c:v>32782</c:v>
                </c:pt>
                <c:pt idx="49562">
                  <c:v>32782</c:v>
                </c:pt>
                <c:pt idx="49563">
                  <c:v>32782</c:v>
                </c:pt>
                <c:pt idx="49564">
                  <c:v>32782</c:v>
                </c:pt>
                <c:pt idx="49565">
                  <c:v>32782</c:v>
                </c:pt>
                <c:pt idx="49566">
                  <c:v>32782</c:v>
                </c:pt>
                <c:pt idx="49567">
                  <c:v>32781</c:v>
                </c:pt>
                <c:pt idx="49568">
                  <c:v>32781</c:v>
                </c:pt>
                <c:pt idx="49569">
                  <c:v>32781</c:v>
                </c:pt>
                <c:pt idx="49570">
                  <c:v>32781</c:v>
                </c:pt>
                <c:pt idx="49571">
                  <c:v>32781</c:v>
                </c:pt>
                <c:pt idx="49572">
                  <c:v>32781</c:v>
                </c:pt>
                <c:pt idx="49573">
                  <c:v>32781</c:v>
                </c:pt>
                <c:pt idx="49574">
                  <c:v>32781</c:v>
                </c:pt>
                <c:pt idx="49575">
                  <c:v>32781</c:v>
                </c:pt>
                <c:pt idx="49576">
                  <c:v>32781</c:v>
                </c:pt>
                <c:pt idx="49577">
                  <c:v>32781</c:v>
                </c:pt>
                <c:pt idx="49578">
                  <c:v>32780</c:v>
                </c:pt>
                <c:pt idx="49579">
                  <c:v>32780</c:v>
                </c:pt>
                <c:pt idx="49580">
                  <c:v>32780</c:v>
                </c:pt>
                <c:pt idx="49581">
                  <c:v>32780</c:v>
                </c:pt>
                <c:pt idx="49582">
                  <c:v>32780</c:v>
                </c:pt>
                <c:pt idx="49583">
                  <c:v>32780</c:v>
                </c:pt>
                <c:pt idx="49584">
                  <c:v>32780</c:v>
                </c:pt>
                <c:pt idx="49585">
                  <c:v>32780</c:v>
                </c:pt>
                <c:pt idx="49586">
                  <c:v>32780</c:v>
                </c:pt>
                <c:pt idx="49587">
                  <c:v>32780</c:v>
                </c:pt>
                <c:pt idx="49588">
                  <c:v>32779</c:v>
                </c:pt>
                <c:pt idx="49589">
                  <c:v>32779</c:v>
                </c:pt>
                <c:pt idx="49590">
                  <c:v>32779</c:v>
                </c:pt>
                <c:pt idx="49591">
                  <c:v>32778</c:v>
                </c:pt>
                <c:pt idx="49592">
                  <c:v>32778</c:v>
                </c:pt>
                <c:pt idx="49593">
                  <c:v>32778</c:v>
                </c:pt>
                <c:pt idx="49594">
                  <c:v>32778</c:v>
                </c:pt>
                <c:pt idx="49595">
                  <c:v>32778</c:v>
                </c:pt>
                <c:pt idx="49596">
                  <c:v>32778</c:v>
                </c:pt>
                <c:pt idx="49597">
                  <c:v>32778</c:v>
                </c:pt>
                <c:pt idx="49598">
                  <c:v>32777</c:v>
                </c:pt>
                <c:pt idx="49599">
                  <c:v>32777</c:v>
                </c:pt>
                <c:pt idx="49600">
                  <c:v>32777</c:v>
                </c:pt>
                <c:pt idx="49601">
                  <c:v>32776</c:v>
                </c:pt>
                <c:pt idx="49602">
                  <c:v>32776</c:v>
                </c:pt>
                <c:pt idx="49603">
                  <c:v>32776</c:v>
                </c:pt>
                <c:pt idx="49604">
                  <c:v>32776</c:v>
                </c:pt>
                <c:pt idx="49605">
                  <c:v>32776</c:v>
                </c:pt>
                <c:pt idx="49606">
                  <c:v>32776</c:v>
                </c:pt>
                <c:pt idx="49607">
                  <c:v>32776</c:v>
                </c:pt>
                <c:pt idx="49608">
                  <c:v>32776</c:v>
                </c:pt>
                <c:pt idx="49609">
                  <c:v>32776</c:v>
                </c:pt>
                <c:pt idx="49610">
                  <c:v>32776</c:v>
                </c:pt>
                <c:pt idx="49611">
                  <c:v>32775</c:v>
                </c:pt>
                <c:pt idx="49612">
                  <c:v>32775</c:v>
                </c:pt>
                <c:pt idx="49613">
                  <c:v>32775</c:v>
                </c:pt>
                <c:pt idx="49614">
                  <c:v>32775</c:v>
                </c:pt>
                <c:pt idx="49615">
                  <c:v>32775</c:v>
                </c:pt>
                <c:pt idx="49616">
                  <c:v>32775</c:v>
                </c:pt>
                <c:pt idx="49617">
                  <c:v>32775</c:v>
                </c:pt>
                <c:pt idx="49618">
                  <c:v>32775</c:v>
                </c:pt>
                <c:pt idx="49619">
                  <c:v>32775</c:v>
                </c:pt>
                <c:pt idx="49620">
                  <c:v>32775</c:v>
                </c:pt>
                <c:pt idx="49621">
                  <c:v>32775</c:v>
                </c:pt>
                <c:pt idx="49622">
                  <c:v>32774</c:v>
                </c:pt>
                <c:pt idx="49623">
                  <c:v>32774</c:v>
                </c:pt>
                <c:pt idx="49624">
                  <c:v>32774</c:v>
                </c:pt>
                <c:pt idx="49625">
                  <c:v>32774</c:v>
                </c:pt>
                <c:pt idx="49626">
                  <c:v>32774</c:v>
                </c:pt>
                <c:pt idx="49627">
                  <c:v>32774</c:v>
                </c:pt>
                <c:pt idx="49628">
                  <c:v>32774</c:v>
                </c:pt>
                <c:pt idx="49629">
                  <c:v>32774</c:v>
                </c:pt>
                <c:pt idx="49630">
                  <c:v>32773</c:v>
                </c:pt>
                <c:pt idx="49631">
                  <c:v>32773</c:v>
                </c:pt>
                <c:pt idx="49632">
                  <c:v>32773</c:v>
                </c:pt>
                <c:pt idx="49633">
                  <c:v>32773</c:v>
                </c:pt>
                <c:pt idx="49634">
                  <c:v>32773</c:v>
                </c:pt>
                <c:pt idx="49635">
                  <c:v>32772</c:v>
                </c:pt>
                <c:pt idx="49636">
                  <c:v>32772</c:v>
                </c:pt>
                <c:pt idx="49637">
                  <c:v>32772</c:v>
                </c:pt>
                <c:pt idx="49638">
                  <c:v>32772</c:v>
                </c:pt>
                <c:pt idx="49639">
                  <c:v>32772</c:v>
                </c:pt>
                <c:pt idx="49640">
                  <c:v>32772</c:v>
                </c:pt>
                <c:pt idx="49641">
                  <c:v>32772</c:v>
                </c:pt>
                <c:pt idx="49642">
                  <c:v>32771</c:v>
                </c:pt>
                <c:pt idx="49643">
                  <c:v>32771</c:v>
                </c:pt>
                <c:pt idx="49644">
                  <c:v>32771</c:v>
                </c:pt>
                <c:pt idx="49645">
                  <c:v>32771</c:v>
                </c:pt>
                <c:pt idx="49646">
                  <c:v>32771</c:v>
                </c:pt>
                <c:pt idx="49647">
                  <c:v>32770</c:v>
                </c:pt>
                <c:pt idx="49648">
                  <c:v>32770</c:v>
                </c:pt>
                <c:pt idx="49649">
                  <c:v>32770</c:v>
                </c:pt>
                <c:pt idx="49650">
                  <c:v>32770</c:v>
                </c:pt>
                <c:pt idx="49651">
                  <c:v>32770</c:v>
                </c:pt>
                <c:pt idx="49652">
                  <c:v>32770</c:v>
                </c:pt>
                <c:pt idx="49653">
                  <c:v>32769</c:v>
                </c:pt>
                <c:pt idx="49654">
                  <c:v>32769</c:v>
                </c:pt>
                <c:pt idx="49655">
                  <c:v>32769</c:v>
                </c:pt>
                <c:pt idx="49656">
                  <c:v>32769</c:v>
                </c:pt>
                <c:pt idx="49657">
                  <c:v>32768</c:v>
                </c:pt>
                <c:pt idx="49658">
                  <c:v>32768</c:v>
                </c:pt>
                <c:pt idx="49659">
                  <c:v>32768</c:v>
                </c:pt>
                <c:pt idx="49660">
                  <c:v>32768</c:v>
                </c:pt>
                <c:pt idx="49661">
                  <c:v>32768</c:v>
                </c:pt>
                <c:pt idx="49662">
                  <c:v>32768</c:v>
                </c:pt>
                <c:pt idx="49663">
                  <c:v>32767</c:v>
                </c:pt>
                <c:pt idx="49664">
                  <c:v>32767</c:v>
                </c:pt>
                <c:pt idx="49665">
                  <c:v>32767</c:v>
                </c:pt>
                <c:pt idx="49666">
                  <c:v>32767</c:v>
                </c:pt>
                <c:pt idx="49667">
                  <c:v>32767</c:v>
                </c:pt>
                <c:pt idx="49668">
                  <c:v>32766</c:v>
                </c:pt>
                <c:pt idx="49669">
                  <c:v>32766</c:v>
                </c:pt>
                <c:pt idx="49670">
                  <c:v>32766</c:v>
                </c:pt>
                <c:pt idx="49671">
                  <c:v>32766</c:v>
                </c:pt>
                <c:pt idx="49672">
                  <c:v>32765</c:v>
                </c:pt>
                <c:pt idx="49673">
                  <c:v>32765</c:v>
                </c:pt>
                <c:pt idx="49674">
                  <c:v>32765</c:v>
                </c:pt>
                <c:pt idx="49675">
                  <c:v>32765</c:v>
                </c:pt>
                <c:pt idx="49676">
                  <c:v>32765</c:v>
                </c:pt>
                <c:pt idx="49677">
                  <c:v>32765</c:v>
                </c:pt>
                <c:pt idx="49678">
                  <c:v>32765</c:v>
                </c:pt>
                <c:pt idx="49679">
                  <c:v>32764</c:v>
                </c:pt>
                <c:pt idx="49680">
                  <c:v>32764</c:v>
                </c:pt>
                <c:pt idx="49681">
                  <c:v>32764</c:v>
                </c:pt>
                <c:pt idx="49682">
                  <c:v>32763</c:v>
                </c:pt>
                <c:pt idx="49683">
                  <c:v>32763</c:v>
                </c:pt>
                <c:pt idx="49684">
                  <c:v>32763</c:v>
                </c:pt>
                <c:pt idx="49685">
                  <c:v>32763</c:v>
                </c:pt>
                <c:pt idx="49686">
                  <c:v>32762</c:v>
                </c:pt>
                <c:pt idx="49687">
                  <c:v>32762</c:v>
                </c:pt>
                <c:pt idx="49688">
                  <c:v>32762</c:v>
                </c:pt>
                <c:pt idx="49689">
                  <c:v>32762</c:v>
                </c:pt>
                <c:pt idx="49690">
                  <c:v>32762</c:v>
                </c:pt>
                <c:pt idx="49691">
                  <c:v>32762</c:v>
                </c:pt>
                <c:pt idx="49692">
                  <c:v>32761</c:v>
                </c:pt>
                <c:pt idx="49693">
                  <c:v>32761</c:v>
                </c:pt>
                <c:pt idx="49694">
                  <c:v>32761</c:v>
                </c:pt>
                <c:pt idx="49695">
                  <c:v>32761</c:v>
                </c:pt>
                <c:pt idx="49696">
                  <c:v>32760</c:v>
                </c:pt>
                <c:pt idx="49697">
                  <c:v>32760</c:v>
                </c:pt>
                <c:pt idx="49698">
                  <c:v>32760</c:v>
                </c:pt>
                <c:pt idx="49699">
                  <c:v>32760</c:v>
                </c:pt>
                <c:pt idx="49700">
                  <c:v>32760</c:v>
                </c:pt>
                <c:pt idx="49701">
                  <c:v>32760</c:v>
                </c:pt>
                <c:pt idx="49702">
                  <c:v>32760</c:v>
                </c:pt>
                <c:pt idx="49703">
                  <c:v>32760</c:v>
                </c:pt>
                <c:pt idx="49704">
                  <c:v>32760</c:v>
                </c:pt>
                <c:pt idx="49705">
                  <c:v>32759</c:v>
                </c:pt>
                <c:pt idx="49706">
                  <c:v>32759</c:v>
                </c:pt>
                <c:pt idx="49707">
                  <c:v>32759</c:v>
                </c:pt>
                <c:pt idx="49708">
                  <c:v>32759</c:v>
                </c:pt>
                <c:pt idx="49709">
                  <c:v>32759</c:v>
                </c:pt>
                <c:pt idx="49710">
                  <c:v>32759</c:v>
                </c:pt>
                <c:pt idx="49711">
                  <c:v>32759</c:v>
                </c:pt>
                <c:pt idx="49712">
                  <c:v>32758</c:v>
                </c:pt>
                <c:pt idx="49713">
                  <c:v>32758</c:v>
                </c:pt>
                <c:pt idx="49714">
                  <c:v>32758</c:v>
                </c:pt>
                <c:pt idx="49715">
                  <c:v>32758</c:v>
                </c:pt>
                <c:pt idx="49716">
                  <c:v>32758</c:v>
                </c:pt>
                <c:pt idx="49717">
                  <c:v>32758</c:v>
                </c:pt>
                <c:pt idx="49718">
                  <c:v>32758</c:v>
                </c:pt>
                <c:pt idx="49719">
                  <c:v>32758</c:v>
                </c:pt>
                <c:pt idx="49720">
                  <c:v>32758</c:v>
                </c:pt>
                <c:pt idx="49721">
                  <c:v>32758</c:v>
                </c:pt>
                <c:pt idx="49722">
                  <c:v>32758</c:v>
                </c:pt>
                <c:pt idx="49723">
                  <c:v>32758</c:v>
                </c:pt>
                <c:pt idx="49724">
                  <c:v>32757</c:v>
                </c:pt>
                <c:pt idx="49725">
                  <c:v>32757</c:v>
                </c:pt>
                <c:pt idx="49726">
                  <c:v>32757</c:v>
                </c:pt>
                <c:pt idx="49727">
                  <c:v>32757</c:v>
                </c:pt>
                <c:pt idx="49728">
                  <c:v>32757</c:v>
                </c:pt>
                <c:pt idx="49729">
                  <c:v>32757</c:v>
                </c:pt>
                <c:pt idx="49730">
                  <c:v>32757</c:v>
                </c:pt>
                <c:pt idx="49731">
                  <c:v>32757</c:v>
                </c:pt>
                <c:pt idx="49732">
                  <c:v>32757</c:v>
                </c:pt>
                <c:pt idx="49733">
                  <c:v>32756</c:v>
                </c:pt>
                <c:pt idx="49734">
                  <c:v>32756</c:v>
                </c:pt>
                <c:pt idx="49735">
                  <c:v>32756</c:v>
                </c:pt>
                <c:pt idx="49736">
                  <c:v>32756</c:v>
                </c:pt>
                <c:pt idx="49737">
                  <c:v>32756</c:v>
                </c:pt>
                <c:pt idx="49738">
                  <c:v>32756</c:v>
                </c:pt>
                <c:pt idx="49739">
                  <c:v>32756</c:v>
                </c:pt>
                <c:pt idx="49740">
                  <c:v>32756</c:v>
                </c:pt>
                <c:pt idx="49741">
                  <c:v>32756</c:v>
                </c:pt>
                <c:pt idx="49742">
                  <c:v>32756</c:v>
                </c:pt>
                <c:pt idx="49743">
                  <c:v>32755</c:v>
                </c:pt>
                <c:pt idx="49744">
                  <c:v>32755</c:v>
                </c:pt>
                <c:pt idx="49745">
                  <c:v>32754</c:v>
                </c:pt>
                <c:pt idx="49746">
                  <c:v>32754</c:v>
                </c:pt>
                <c:pt idx="49747">
                  <c:v>32754</c:v>
                </c:pt>
                <c:pt idx="49748">
                  <c:v>32754</c:v>
                </c:pt>
                <c:pt idx="49749">
                  <c:v>32754</c:v>
                </c:pt>
                <c:pt idx="49750">
                  <c:v>32754</c:v>
                </c:pt>
                <c:pt idx="49751">
                  <c:v>32754</c:v>
                </c:pt>
                <c:pt idx="49752">
                  <c:v>32754</c:v>
                </c:pt>
                <c:pt idx="49753">
                  <c:v>32754</c:v>
                </c:pt>
                <c:pt idx="49754">
                  <c:v>32753</c:v>
                </c:pt>
                <c:pt idx="49755">
                  <c:v>32753</c:v>
                </c:pt>
                <c:pt idx="49756">
                  <c:v>32753</c:v>
                </c:pt>
                <c:pt idx="49757">
                  <c:v>32753</c:v>
                </c:pt>
                <c:pt idx="49758">
                  <c:v>32753</c:v>
                </c:pt>
                <c:pt idx="49759">
                  <c:v>32753</c:v>
                </c:pt>
                <c:pt idx="49760">
                  <c:v>32753</c:v>
                </c:pt>
                <c:pt idx="49761">
                  <c:v>32753</c:v>
                </c:pt>
                <c:pt idx="49762">
                  <c:v>32752</c:v>
                </c:pt>
                <c:pt idx="49763">
                  <c:v>32752</c:v>
                </c:pt>
                <c:pt idx="49764">
                  <c:v>32752</c:v>
                </c:pt>
                <c:pt idx="49765">
                  <c:v>32752</c:v>
                </c:pt>
                <c:pt idx="49766">
                  <c:v>32752</c:v>
                </c:pt>
                <c:pt idx="49767">
                  <c:v>32752</c:v>
                </c:pt>
                <c:pt idx="49768">
                  <c:v>32751</c:v>
                </c:pt>
                <c:pt idx="49769">
                  <c:v>32751</c:v>
                </c:pt>
                <c:pt idx="49770">
                  <c:v>32750</c:v>
                </c:pt>
                <c:pt idx="49771">
                  <c:v>32750</c:v>
                </c:pt>
                <c:pt idx="49772">
                  <c:v>32750</c:v>
                </c:pt>
                <c:pt idx="49773">
                  <c:v>32750</c:v>
                </c:pt>
                <c:pt idx="49774">
                  <c:v>32750</c:v>
                </c:pt>
                <c:pt idx="49775">
                  <c:v>32750</c:v>
                </c:pt>
                <c:pt idx="49776">
                  <c:v>32750</c:v>
                </c:pt>
                <c:pt idx="49777">
                  <c:v>32750</c:v>
                </c:pt>
                <c:pt idx="49778">
                  <c:v>32749</c:v>
                </c:pt>
                <c:pt idx="49779">
                  <c:v>32749</c:v>
                </c:pt>
                <c:pt idx="49780">
                  <c:v>32749</c:v>
                </c:pt>
                <c:pt idx="49781">
                  <c:v>32749</c:v>
                </c:pt>
                <c:pt idx="49782">
                  <c:v>32749</c:v>
                </c:pt>
                <c:pt idx="49783">
                  <c:v>32749</c:v>
                </c:pt>
                <c:pt idx="49784">
                  <c:v>32749</c:v>
                </c:pt>
                <c:pt idx="49785">
                  <c:v>32749</c:v>
                </c:pt>
                <c:pt idx="49786">
                  <c:v>32749</c:v>
                </c:pt>
                <c:pt idx="49787">
                  <c:v>32749</c:v>
                </c:pt>
                <c:pt idx="49788">
                  <c:v>32748</c:v>
                </c:pt>
                <c:pt idx="49789">
                  <c:v>32748</c:v>
                </c:pt>
                <c:pt idx="49790">
                  <c:v>32748</c:v>
                </c:pt>
                <c:pt idx="49791">
                  <c:v>32748</c:v>
                </c:pt>
                <c:pt idx="49792">
                  <c:v>32748</c:v>
                </c:pt>
                <c:pt idx="49793">
                  <c:v>32748</c:v>
                </c:pt>
                <c:pt idx="49794">
                  <c:v>32748</c:v>
                </c:pt>
                <c:pt idx="49795">
                  <c:v>32747</c:v>
                </c:pt>
                <c:pt idx="49796">
                  <c:v>32747</c:v>
                </c:pt>
                <c:pt idx="49797">
                  <c:v>32747</c:v>
                </c:pt>
                <c:pt idx="49798">
                  <c:v>32747</c:v>
                </c:pt>
                <c:pt idx="49799">
                  <c:v>32747</c:v>
                </c:pt>
                <c:pt idx="49800">
                  <c:v>32747</c:v>
                </c:pt>
                <c:pt idx="49801">
                  <c:v>32747</c:v>
                </c:pt>
                <c:pt idx="49802">
                  <c:v>32747</c:v>
                </c:pt>
                <c:pt idx="49803">
                  <c:v>32747</c:v>
                </c:pt>
                <c:pt idx="49804">
                  <c:v>32747</c:v>
                </c:pt>
                <c:pt idx="49805">
                  <c:v>32747</c:v>
                </c:pt>
                <c:pt idx="49806">
                  <c:v>32747</c:v>
                </c:pt>
                <c:pt idx="49807">
                  <c:v>32747</c:v>
                </c:pt>
                <c:pt idx="49808">
                  <c:v>32746</c:v>
                </c:pt>
                <c:pt idx="49809">
                  <c:v>32746</c:v>
                </c:pt>
                <c:pt idx="49810">
                  <c:v>32745</c:v>
                </c:pt>
                <c:pt idx="49811">
                  <c:v>32745</c:v>
                </c:pt>
                <c:pt idx="49812">
                  <c:v>32745</c:v>
                </c:pt>
                <c:pt idx="49813">
                  <c:v>32745</c:v>
                </c:pt>
                <c:pt idx="49814">
                  <c:v>32745</c:v>
                </c:pt>
                <c:pt idx="49815">
                  <c:v>32745</c:v>
                </c:pt>
                <c:pt idx="49816">
                  <c:v>32745</c:v>
                </c:pt>
                <c:pt idx="49817">
                  <c:v>32745</c:v>
                </c:pt>
                <c:pt idx="49818">
                  <c:v>32744</c:v>
                </c:pt>
                <c:pt idx="49819">
                  <c:v>32744</c:v>
                </c:pt>
                <c:pt idx="49820">
                  <c:v>32744</c:v>
                </c:pt>
                <c:pt idx="49821">
                  <c:v>32744</c:v>
                </c:pt>
                <c:pt idx="49822">
                  <c:v>32744</c:v>
                </c:pt>
                <c:pt idx="49823">
                  <c:v>32744</c:v>
                </c:pt>
                <c:pt idx="49824">
                  <c:v>32744</c:v>
                </c:pt>
                <c:pt idx="49825">
                  <c:v>32744</c:v>
                </c:pt>
                <c:pt idx="49826">
                  <c:v>32743</c:v>
                </c:pt>
                <c:pt idx="49827">
                  <c:v>32743</c:v>
                </c:pt>
                <c:pt idx="49828">
                  <c:v>32743</c:v>
                </c:pt>
                <c:pt idx="49829">
                  <c:v>32743</c:v>
                </c:pt>
                <c:pt idx="49830">
                  <c:v>32742</c:v>
                </c:pt>
                <c:pt idx="49831">
                  <c:v>32742</c:v>
                </c:pt>
                <c:pt idx="49832">
                  <c:v>32742</c:v>
                </c:pt>
                <c:pt idx="49833">
                  <c:v>32742</c:v>
                </c:pt>
                <c:pt idx="49834">
                  <c:v>32742</c:v>
                </c:pt>
                <c:pt idx="49835">
                  <c:v>32742</c:v>
                </c:pt>
                <c:pt idx="49836">
                  <c:v>32742</c:v>
                </c:pt>
                <c:pt idx="49837">
                  <c:v>32741</c:v>
                </c:pt>
                <c:pt idx="49838">
                  <c:v>32741</c:v>
                </c:pt>
                <c:pt idx="49839">
                  <c:v>32741</c:v>
                </c:pt>
                <c:pt idx="49840">
                  <c:v>32741</c:v>
                </c:pt>
                <c:pt idx="49841">
                  <c:v>32741</c:v>
                </c:pt>
                <c:pt idx="49842">
                  <c:v>32741</c:v>
                </c:pt>
                <c:pt idx="49843">
                  <c:v>32740</c:v>
                </c:pt>
                <c:pt idx="49844">
                  <c:v>32740</c:v>
                </c:pt>
                <c:pt idx="49845">
                  <c:v>32740</c:v>
                </c:pt>
                <c:pt idx="49846">
                  <c:v>32740</c:v>
                </c:pt>
                <c:pt idx="49847">
                  <c:v>32740</c:v>
                </c:pt>
                <c:pt idx="49848">
                  <c:v>32740</c:v>
                </c:pt>
                <c:pt idx="49849">
                  <c:v>32740</c:v>
                </c:pt>
                <c:pt idx="49850">
                  <c:v>32739</c:v>
                </c:pt>
                <c:pt idx="49851">
                  <c:v>32739</c:v>
                </c:pt>
                <c:pt idx="49852">
                  <c:v>32738</c:v>
                </c:pt>
                <c:pt idx="49853">
                  <c:v>32738</c:v>
                </c:pt>
                <c:pt idx="49854">
                  <c:v>32738</c:v>
                </c:pt>
                <c:pt idx="49855">
                  <c:v>32738</c:v>
                </c:pt>
                <c:pt idx="49856">
                  <c:v>32737</c:v>
                </c:pt>
                <c:pt idx="49857">
                  <c:v>32737</c:v>
                </c:pt>
                <c:pt idx="49858">
                  <c:v>32737</c:v>
                </c:pt>
                <c:pt idx="49859">
                  <c:v>32737</c:v>
                </c:pt>
                <c:pt idx="49860">
                  <c:v>32737</c:v>
                </c:pt>
                <c:pt idx="49861">
                  <c:v>32737</c:v>
                </c:pt>
                <c:pt idx="49862">
                  <c:v>32737</c:v>
                </c:pt>
                <c:pt idx="49863">
                  <c:v>32737</c:v>
                </c:pt>
                <c:pt idx="49864">
                  <c:v>32737</c:v>
                </c:pt>
                <c:pt idx="49865">
                  <c:v>32737</c:v>
                </c:pt>
                <c:pt idx="49866">
                  <c:v>32737</c:v>
                </c:pt>
                <c:pt idx="49867">
                  <c:v>32737</c:v>
                </c:pt>
                <c:pt idx="49868">
                  <c:v>32736</c:v>
                </c:pt>
                <c:pt idx="49869">
                  <c:v>32736</c:v>
                </c:pt>
                <c:pt idx="49870">
                  <c:v>32736</c:v>
                </c:pt>
                <c:pt idx="49871">
                  <c:v>32736</c:v>
                </c:pt>
                <c:pt idx="49872">
                  <c:v>32736</c:v>
                </c:pt>
                <c:pt idx="49873">
                  <c:v>32735</c:v>
                </c:pt>
                <c:pt idx="49874">
                  <c:v>32735</c:v>
                </c:pt>
                <c:pt idx="49875">
                  <c:v>32735</c:v>
                </c:pt>
                <c:pt idx="49876">
                  <c:v>32735</c:v>
                </c:pt>
                <c:pt idx="49877">
                  <c:v>32735</c:v>
                </c:pt>
                <c:pt idx="49878">
                  <c:v>32735</c:v>
                </c:pt>
                <c:pt idx="49879">
                  <c:v>32735</c:v>
                </c:pt>
                <c:pt idx="49880">
                  <c:v>32735</c:v>
                </c:pt>
                <c:pt idx="49881">
                  <c:v>32734</c:v>
                </c:pt>
                <c:pt idx="49882">
                  <c:v>32734</c:v>
                </c:pt>
                <c:pt idx="49883">
                  <c:v>32734</c:v>
                </c:pt>
                <c:pt idx="49884">
                  <c:v>32734</c:v>
                </c:pt>
                <c:pt idx="49885">
                  <c:v>32734</c:v>
                </c:pt>
                <c:pt idx="49886">
                  <c:v>32733</c:v>
                </c:pt>
                <c:pt idx="49887">
                  <c:v>32733</c:v>
                </c:pt>
                <c:pt idx="49888">
                  <c:v>32733</c:v>
                </c:pt>
                <c:pt idx="49889">
                  <c:v>32733</c:v>
                </c:pt>
                <c:pt idx="49890">
                  <c:v>32733</c:v>
                </c:pt>
                <c:pt idx="49891">
                  <c:v>32733</c:v>
                </c:pt>
                <c:pt idx="49892">
                  <c:v>32733</c:v>
                </c:pt>
                <c:pt idx="49893">
                  <c:v>32732</c:v>
                </c:pt>
                <c:pt idx="49894">
                  <c:v>32732</c:v>
                </c:pt>
                <c:pt idx="49895">
                  <c:v>32732</c:v>
                </c:pt>
                <c:pt idx="49896">
                  <c:v>32732</c:v>
                </c:pt>
                <c:pt idx="49897">
                  <c:v>32732</c:v>
                </c:pt>
                <c:pt idx="49898">
                  <c:v>32731</c:v>
                </c:pt>
                <c:pt idx="49899">
                  <c:v>32731</c:v>
                </c:pt>
                <c:pt idx="49900">
                  <c:v>32731</c:v>
                </c:pt>
                <c:pt idx="49901">
                  <c:v>32731</c:v>
                </c:pt>
                <c:pt idx="49902">
                  <c:v>32731</c:v>
                </c:pt>
                <c:pt idx="49903">
                  <c:v>32731</c:v>
                </c:pt>
                <c:pt idx="49904">
                  <c:v>32731</c:v>
                </c:pt>
                <c:pt idx="49905">
                  <c:v>32731</c:v>
                </c:pt>
                <c:pt idx="49906">
                  <c:v>32731</c:v>
                </c:pt>
                <c:pt idx="49907">
                  <c:v>32730</c:v>
                </c:pt>
                <c:pt idx="49908">
                  <c:v>32730</c:v>
                </c:pt>
                <c:pt idx="49909">
                  <c:v>32730</c:v>
                </c:pt>
                <c:pt idx="49910">
                  <c:v>32730</c:v>
                </c:pt>
                <c:pt idx="49911">
                  <c:v>32730</c:v>
                </c:pt>
                <c:pt idx="49912">
                  <c:v>32730</c:v>
                </c:pt>
                <c:pt idx="49913">
                  <c:v>32730</c:v>
                </c:pt>
                <c:pt idx="49914">
                  <c:v>32729</c:v>
                </c:pt>
                <c:pt idx="49915">
                  <c:v>32729</c:v>
                </c:pt>
                <c:pt idx="49916">
                  <c:v>32729</c:v>
                </c:pt>
                <c:pt idx="49917">
                  <c:v>32729</c:v>
                </c:pt>
                <c:pt idx="49918">
                  <c:v>32729</c:v>
                </c:pt>
                <c:pt idx="49919">
                  <c:v>32729</c:v>
                </c:pt>
                <c:pt idx="49920">
                  <c:v>32729</c:v>
                </c:pt>
                <c:pt idx="49921">
                  <c:v>32728</c:v>
                </c:pt>
                <c:pt idx="49922">
                  <c:v>32728</c:v>
                </c:pt>
                <c:pt idx="49923">
                  <c:v>32728</c:v>
                </c:pt>
                <c:pt idx="49924">
                  <c:v>32728</c:v>
                </c:pt>
                <c:pt idx="49925">
                  <c:v>32728</c:v>
                </c:pt>
                <c:pt idx="49926">
                  <c:v>32727</c:v>
                </c:pt>
                <c:pt idx="49927">
                  <c:v>32727</c:v>
                </c:pt>
                <c:pt idx="49928">
                  <c:v>32727</c:v>
                </c:pt>
                <c:pt idx="49929">
                  <c:v>32727</c:v>
                </c:pt>
                <c:pt idx="49930">
                  <c:v>32727</c:v>
                </c:pt>
                <c:pt idx="49931">
                  <c:v>32727</c:v>
                </c:pt>
                <c:pt idx="49932">
                  <c:v>32726</c:v>
                </c:pt>
                <c:pt idx="49933">
                  <c:v>32726</c:v>
                </c:pt>
                <c:pt idx="49934">
                  <c:v>32726</c:v>
                </c:pt>
                <c:pt idx="49935">
                  <c:v>32726</c:v>
                </c:pt>
                <c:pt idx="49936">
                  <c:v>32726</c:v>
                </c:pt>
                <c:pt idx="49937">
                  <c:v>32726</c:v>
                </c:pt>
                <c:pt idx="49938">
                  <c:v>32725</c:v>
                </c:pt>
                <c:pt idx="49939">
                  <c:v>32724</c:v>
                </c:pt>
                <c:pt idx="49940">
                  <c:v>32724</c:v>
                </c:pt>
                <c:pt idx="49941">
                  <c:v>32724</c:v>
                </c:pt>
                <c:pt idx="49942">
                  <c:v>32724</c:v>
                </c:pt>
                <c:pt idx="49943">
                  <c:v>32724</c:v>
                </c:pt>
                <c:pt idx="49944">
                  <c:v>32724</c:v>
                </c:pt>
                <c:pt idx="49945">
                  <c:v>32724</c:v>
                </c:pt>
                <c:pt idx="49946">
                  <c:v>32724</c:v>
                </c:pt>
                <c:pt idx="49947">
                  <c:v>32724</c:v>
                </c:pt>
                <c:pt idx="49948">
                  <c:v>32724</c:v>
                </c:pt>
                <c:pt idx="49949">
                  <c:v>32724</c:v>
                </c:pt>
                <c:pt idx="49950">
                  <c:v>32724</c:v>
                </c:pt>
                <c:pt idx="49951">
                  <c:v>32724</c:v>
                </c:pt>
                <c:pt idx="49952">
                  <c:v>32724</c:v>
                </c:pt>
                <c:pt idx="49953">
                  <c:v>32724</c:v>
                </c:pt>
                <c:pt idx="49954">
                  <c:v>32723</c:v>
                </c:pt>
                <c:pt idx="49955">
                  <c:v>32723</c:v>
                </c:pt>
                <c:pt idx="49956">
                  <c:v>32723</c:v>
                </c:pt>
                <c:pt idx="49957">
                  <c:v>32723</c:v>
                </c:pt>
                <c:pt idx="49958">
                  <c:v>32723</c:v>
                </c:pt>
                <c:pt idx="49959">
                  <c:v>32723</c:v>
                </c:pt>
                <c:pt idx="49960">
                  <c:v>32723</c:v>
                </c:pt>
                <c:pt idx="49961">
                  <c:v>32723</c:v>
                </c:pt>
                <c:pt idx="49962">
                  <c:v>32723</c:v>
                </c:pt>
                <c:pt idx="49963">
                  <c:v>32722</c:v>
                </c:pt>
                <c:pt idx="49964">
                  <c:v>32722</c:v>
                </c:pt>
                <c:pt idx="49965">
                  <c:v>32722</c:v>
                </c:pt>
                <c:pt idx="49966">
                  <c:v>32722</c:v>
                </c:pt>
                <c:pt idx="49967">
                  <c:v>32722</c:v>
                </c:pt>
                <c:pt idx="49968">
                  <c:v>32722</c:v>
                </c:pt>
                <c:pt idx="49969">
                  <c:v>32721</c:v>
                </c:pt>
                <c:pt idx="49970">
                  <c:v>32721</c:v>
                </c:pt>
                <c:pt idx="49971">
                  <c:v>32721</c:v>
                </c:pt>
                <c:pt idx="49972">
                  <c:v>32721</c:v>
                </c:pt>
                <c:pt idx="49973">
                  <c:v>32721</c:v>
                </c:pt>
                <c:pt idx="49974">
                  <c:v>32720</c:v>
                </c:pt>
                <c:pt idx="49975">
                  <c:v>32720</c:v>
                </c:pt>
                <c:pt idx="49976">
                  <c:v>32720</c:v>
                </c:pt>
                <c:pt idx="49977">
                  <c:v>32720</c:v>
                </c:pt>
                <c:pt idx="49978">
                  <c:v>32720</c:v>
                </c:pt>
                <c:pt idx="49979">
                  <c:v>32720</c:v>
                </c:pt>
                <c:pt idx="49980">
                  <c:v>32719</c:v>
                </c:pt>
                <c:pt idx="49981">
                  <c:v>32719</c:v>
                </c:pt>
                <c:pt idx="49982">
                  <c:v>32719</c:v>
                </c:pt>
                <c:pt idx="49983">
                  <c:v>32719</c:v>
                </c:pt>
                <c:pt idx="49984">
                  <c:v>32718</c:v>
                </c:pt>
                <c:pt idx="49985">
                  <c:v>32718</c:v>
                </c:pt>
                <c:pt idx="49986">
                  <c:v>32718</c:v>
                </c:pt>
                <c:pt idx="49987">
                  <c:v>32718</c:v>
                </c:pt>
                <c:pt idx="49988">
                  <c:v>32718</c:v>
                </c:pt>
                <c:pt idx="49989">
                  <c:v>32718</c:v>
                </c:pt>
                <c:pt idx="49990">
                  <c:v>32718</c:v>
                </c:pt>
                <c:pt idx="49991">
                  <c:v>32717</c:v>
                </c:pt>
                <c:pt idx="49992">
                  <c:v>32717</c:v>
                </c:pt>
                <c:pt idx="49993">
                  <c:v>32717</c:v>
                </c:pt>
                <c:pt idx="49994">
                  <c:v>32717</c:v>
                </c:pt>
                <c:pt idx="49995">
                  <c:v>32717</c:v>
                </c:pt>
                <c:pt idx="49996">
                  <c:v>32717</c:v>
                </c:pt>
                <c:pt idx="49997">
                  <c:v>32717</c:v>
                </c:pt>
                <c:pt idx="49998">
                  <c:v>32717</c:v>
                </c:pt>
                <c:pt idx="49999">
                  <c:v>32717</c:v>
                </c:pt>
                <c:pt idx="50000">
                  <c:v>32716</c:v>
                </c:pt>
                <c:pt idx="50001">
                  <c:v>32716</c:v>
                </c:pt>
                <c:pt idx="50002">
                  <c:v>32716</c:v>
                </c:pt>
                <c:pt idx="50003">
                  <c:v>32716</c:v>
                </c:pt>
                <c:pt idx="50004">
                  <c:v>32716</c:v>
                </c:pt>
                <c:pt idx="50005">
                  <c:v>32716</c:v>
                </c:pt>
                <c:pt idx="50006">
                  <c:v>32715</c:v>
                </c:pt>
                <c:pt idx="50007">
                  <c:v>32715</c:v>
                </c:pt>
                <c:pt idx="50008">
                  <c:v>32715</c:v>
                </c:pt>
                <c:pt idx="50009">
                  <c:v>32715</c:v>
                </c:pt>
                <c:pt idx="50010">
                  <c:v>32715</c:v>
                </c:pt>
                <c:pt idx="50011">
                  <c:v>32714</c:v>
                </c:pt>
                <c:pt idx="50012">
                  <c:v>32714</c:v>
                </c:pt>
                <c:pt idx="50013">
                  <c:v>32714</c:v>
                </c:pt>
                <c:pt idx="50014">
                  <c:v>32714</c:v>
                </c:pt>
                <c:pt idx="50015">
                  <c:v>32714</c:v>
                </c:pt>
                <c:pt idx="50016">
                  <c:v>32714</c:v>
                </c:pt>
                <c:pt idx="50017">
                  <c:v>32714</c:v>
                </c:pt>
                <c:pt idx="50018">
                  <c:v>32713</c:v>
                </c:pt>
                <c:pt idx="50019">
                  <c:v>32713</c:v>
                </c:pt>
                <c:pt idx="50020">
                  <c:v>32713</c:v>
                </c:pt>
                <c:pt idx="50021">
                  <c:v>32713</c:v>
                </c:pt>
                <c:pt idx="50022">
                  <c:v>32713</c:v>
                </c:pt>
                <c:pt idx="50023">
                  <c:v>32713</c:v>
                </c:pt>
                <c:pt idx="50024">
                  <c:v>32712</c:v>
                </c:pt>
                <c:pt idx="50025">
                  <c:v>32712</c:v>
                </c:pt>
                <c:pt idx="50026">
                  <c:v>32712</c:v>
                </c:pt>
                <c:pt idx="50027">
                  <c:v>32712</c:v>
                </c:pt>
                <c:pt idx="50028">
                  <c:v>32712</c:v>
                </c:pt>
                <c:pt idx="50029">
                  <c:v>32712</c:v>
                </c:pt>
                <c:pt idx="50030">
                  <c:v>32712</c:v>
                </c:pt>
                <c:pt idx="50031">
                  <c:v>32712</c:v>
                </c:pt>
                <c:pt idx="50032">
                  <c:v>32711</c:v>
                </c:pt>
                <c:pt idx="50033">
                  <c:v>32711</c:v>
                </c:pt>
                <c:pt idx="50034">
                  <c:v>32711</c:v>
                </c:pt>
                <c:pt idx="50035">
                  <c:v>32711</c:v>
                </c:pt>
                <c:pt idx="50036">
                  <c:v>32710</c:v>
                </c:pt>
                <c:pt idx="50037">
                  <c:v>32710</c:v>
                </c:pt>
                <c:pt idx="50038">
                  <c:v>32710</c:v>
                </c:pt>
                <c:pt idx="50039">
                  <c:v>32710</c:v>
                </c:pt>
                <c:pt idx="50040">
                  <c:v>32710</c:v>
                </c:pt>
                <c:pt idx="50041">
                  <c:v>32710</c:v>
                </c:pt>
                <c:pt idx="50042">
                  <c:v>32710</c:v>
                </c:pt>
                <c:pt idx="50043">
                  <c:v>32709</c:v>
                </c:pt>
                <c:pt idx="50044">
                  <c:v>32709</c:v>
                </c:pt>
                <c:pt idx="50045">
                  <c:v>32709</c:v>
                </c:pt>
                <c:pt idx="50046">
                  <c:v>32709</c:v>
                </c:pt>
                <c:pt idx="50047">
                  <c:v>32709</c:v>
                </c:pt>
                <c:pt idx="50048">
                  <c:v>32709</c:v>
                </c:pt>
                <c:pt idx="50049">
                  <c:v>32709</c:v>
                </c:pt>
                <c:pt idx="50050">
                  <c:v>32709</c:v>
                </c:pt>
                <c:pt idx="50051">
                  <c:v>32709</c:v>
                </c:pt>
                <c:pt idx="50052">
                  <c:v>32708</c:v>
                </c:pt>
                <c:pt idx="50053">
                  <c:v>32708</c:v>
                </c:pt>
                <c:pt idx="50054">
                  <c:v>32707</c:v>
                </c:pt>
                <c:pt idx="50055">
                  <c:v>32707</c:v>
                </c:pt>
                <c:pt idx="50056">
                  <c:v>32707</c:v>
                </c:pt>
                <c:pt idx="50057">
                  <c:v>32707</c:v>
                </c:pt>
                <c:pt idx="50058">
                  <c:v>32707</c:v>
                </c:pt>
                <c:pt idx="50059">
                  <c:v>32707</c:v>
                </c:pt>
                <c:pt idx="50060">
                  <c:v>32707</c:v>
                </c:pt>
                <c:pt idx="50061">
                  <c:v>32707</c:v>
                </c:pt>
                <c:pt idx="50062">
                  <c:v>32706</c:v>
                </c:pt>
                <c:pt idx="50063">
                  <c:v>32706</c:v>
                </c:pt>
                <c:pt idx="50064">
                  <c:v>32706</c:v>
                </c:pt>
                <c:pt idx="50065">
                  <c:v>32705</c:v>
                </c:pt>
                <c:pt idx="50066">
                  <c:v>32705</c:v>
                </c:pt>
                <c:pt idx="50067">
                  <c:v>32705</c:v>
                </c:pt>
                <c:pt idx="50068">
                  <c:v>32705</c:v>
                </c:pt>
                <c:pt idx="50069">
                  <c:v>32705</c:v>
                </c:pt>
                <c:pt idx="50070">
                  <c:v>32705</c:v>
                </c:pt>
                <c:pt idx="50071">
                  <c:v>32704</c:v>
                </c:pt>
                <c:pt idx="50072">
                  <c:v>32704</c:v>
                </c:pt>
                <c:pt idx="50073">
                  <c:v>32704</c:v>
                </c:pt>
                <c:pt idx="50074">
                  <c:v>32704</c:v>
                </c:pt>
                <c:pt idx="50075">
                  <c:v>32704</c:v>
                </c:pt>
                <c:pt idx="50076">
                  <c:v>32703</c:v>
                </c:pt>
                <c:pt idx="50077">
                  <c:v>32703</c:v>
                </c:pt>
                <c:pt idx="50078">
                  <c:v>32703</c:v>
                </c:pt>
                <c:pt idx="50079">
                  <c:v>32703</c:v>
                </c:pt>
                <c:pt idx="50080">
                  <c:v>32703</c:v>
                </c:pt>
                <c:pt idx="50081">
                  <c:v>32703</c:v>
                </c:pt>
                <c:pt idx="50082">
                  <c:v>32703</c:v>
                </c:pt>
                <c:pt idx="50083">
                  <c:v>32703</c:v>
                </c:pt>
                <c:pt idx="50084">
                  <c:v>32702</c:v>
                </c:pt>
                <c:pt idx="50085">
                  <c:v>32702</c:v>
                </c:pt>
                <c:pt idx="50086">
                  <c:v>32701</c:v>
                </c:pt>
                <c:pt idx="50087">
                  <c:v>32701</c:v>
                </c:pt>
                <c:pt idx="50088">
                  <c:v>32701</c:v>
                </c:pt>
                <c:pt idx="50089">
                  <c:v>32701</c:v>
                </c:pt>
                <c:pt idx="50090">
                  <c:v>32701</c:v>
                </c:pt>
                <c:pt idx="50091">
                  <c:v>32701</c:v>
                </c:pt>
                <c:pt idx="50092">
                  <c:v>32701</c:v>
                </c:pt>
                <c:pt idx="50093">
                  <c:v>32701</c:v>
                </c:pt>
                <c:pt idx="50094">
                  <c:v>32700</c:v>
                </c:pt>
                <c:pt idx="50095">
                  <c:v>32700</c:v>
                </c:pt>
                <c:pt idx="50096">
                  <c:v>32700</c:v>
                </c:pt>
                <c:pt idx="50097">
                  <c:v>32700</c:v>
                </c:pt>
                <c:pt idx="50098">
                  <c:v>32700</c:v>
                </c:pt>
                <c:pt idx="50099">
                  <c:v>32700</c:v>
                </c:pt>
                <c:pt idx="50100">
                  <c:v>32700</c:v>
                </c:pt>
                <c:pt idx="50101">
                  <c:v>32699</c:v>
                </c:pt>
                <c:pt idx="50102">
                  <c:v>32699</c:v>
                </c:pt>
                <c:pt idx="50103">
                  <c:v>32699</c:v>
                </c:pt>
                <c:pt idx="50104">
                  <c:v>32699</c:v>
                </c:pt>
                <c:pt idx="50105">
                  <c:v>32699</c:v>
                </c:pt>
                <c:pt idx="50106">
                  <c:v>32699</c:v>
                </c:pt>
                <c:pt idx="50107">
                  <c:v>32699</c:v>
                </c:pt>
                <c:pt idx="50108">
                  <c:v>32699</c:v>
                </c:pt>
                <c:pt idx="50109">
                  <c:v>32699</c:v>
                </c:pt>
                <c:pt idx="50110">
                  <c:v>32698</c:v>
                </c:pt>
                <c:pt idx="50111">
                  <c:v>32698</c:v>
                </c:pt>
                <c:pt idx="50112">
                  <c:v>32698</c:v>
                </c:pt>
                <c:pt idx="50113">
                  <c:v>32698</c:v>
                </c:pt>
                <c:pt idx="50114">
                  <c:v>32698</c:v>
                </c:pt>
                <c:pt idx="50115">
                  <c:v>32698</c:v>
                </c:pt>
                <c:pt idx="50116">
                  <c:v>32698</c:v>
                </c:pt>
                <c:pt idx="50117">
                  <c:v>32698</c:v>
                </c:pt>
                <c:pt idx="50118">
                  <c:v>32698</c:v>
                </c:pt>
                <c:pt idx="50119">
                  <c:v>32698</c:v>
                </c:pt>
                <c:pt idx="50120">
                  <c:v>32698</c:v>
                </c:pt>
                <c:pt idx="50121">
                  <c:v>32697</c:v>
                </c:pt>
                <c:pt idx="50122">
                  <c:v>32697</c:v>
                </c:pt>
                <c:pt idx="50123">
                  <c:v>32697</c:v>
                </c:pt>
                <c:pt idx="50124">
                  <c:v>32697</c:v>
                </c:pt>
                <c:pt idx="50125">
                  <c:v>32697</c:v>
                </c:pt>
                <c:pt idx="50126">
                  <c:v>32697</c:v>
                </c:pt>
                <c:pt idx="50127">
                  <c:v>32697</c:v>
                </c:pt>
                <c:pt idx="50128">
                  <c:v>32697</c:v>
                </c:pt>
                <c:pt idx="50129">
                  <c:v>32697</c:v>
                </c:pt>
                <c:pt idx="50130">
                  <c:v>32697</c:v>
                </c:pt>
                <c:pt idx="50131">
                  <c:v>32697</c:v>
                </c:pt>
                <c:pt idx="50132">
                  <c:v>32696</c:v>
                </c:pt>
                <c:pt idx="50133">
                  <c:v>32696</c:v>
                </c:pt>
                <c:pt idx="50134">
                  <c:v>32696</c:v>
                </c:pt>
                <c:pt idx="50135">
                  <c:v>32696</c:v>
                </c:pt>
                <c:pt idx="50136">
                  <c:v>32696</c:v>
                </c:pt>
                <c:pt idx="50137">
                  <c:v>32696</c:v>
                </c:pt>
                <c:pt idx="50138">
                  <c:v>32696</c:v>
                </c:pt>
                <c:pt idx="50139">
                  <c:v>32696</c:v>
                </c:pt>
                <c:pt idx="50140">
                  <c:v>32695</c:v>
                </c:pt>
                <c:pt idx="50141">
                  <c:v>32695</c:v>
                </c:pt>
                <c:pt idx="50142">
                  <c:v>32695</c:v>
                </c:pt>
                <c:pt idx="50143">
                  <c:v>32694</c:v>
                </c:pt>
                <c:pt idx="50144">
                  <c:v>32694</c:v>
                </c:pt>
                <c:pt idx="50145">
                  <c:v>32694</c:v>
                </c:pt>
                <c:pt idx="50146">
                  <c:v>32694</c:v>
                </c:pt>
                <c:pt idx="50147">
                  <c:v>32694</c:v>
                </c:pt>
                <c:pt idx="50148">
                  <c:v>32694</c:v>
                </c:pt>
                <c:pt idx="50149">
                  <c:v>32694</c:v>
                </c:pt>
                <c:pt idx="50150">
                  <c:v>32694</c:v>
                </c:pt>
                <c:pt idx="50151">
                  <c:v>32693</c:v>
                </c:pt>
                <c:pt idx="50152">
                  <c:v>32693</c:v>
                </c:pt>
                <c:pt idx="50153">
                  <c:v>32693</c:v>
                </c:pt>
                <c:pt idx="50154">
                  <c:v>32693</c:v>
                </c:pt>
                <c:pt idx="50155">
                  <c:v>32693</c:v>
                </c:pt>
                <c:pt idx="50156">
                  <c:v>32692</c:v>
                </c:pt>
                <c:pt idx="50157">
                  <c:v>32692</c:v>
                </c:pt>
                <c:pt idx="50158">
                  <c:v>32692</c:v>
                </c:pt>
                <c:pt idx="50159">
                  <c:v>32692</c:v>
                </c:pt>
                <c:pt idx="50160">
                  <c:v>32692</c:v>
                </c:pt>
                <c:pt idx="50161">
                  <c:v>32692</c:v>
                </c:pt>
                <c:pt idx="50162">
                  <c:v>32692</c:v>
                </c:pt>
                <c:pt idx="50163">
                  <c:v>32692</c:v>
                </c:pt>
                <c:pt idx="50164">
                  <c:v>32692</c:v>
                </c:pt>
                <c:pt idx="50165">
                  <c:v>32692</c:v>
                </c:pt>
                <c:pt idx="50166">
                  <c:v>32692</c:v>
                </c:pt>
                <c:pt idx="50167">
                  <c:v>32691</c:v>
                </c:pt>
                <c:pt idx="50168">
                  <c:v>32691</c:v>
                </c:pt>
                <c:pt idx="50169">
                  <c:v>32691</c:v>
                </c:pt>
                <c:pt idx="50170">
                  <c:v>32691</c:v>
                </c:pt>
                <c:pt idx="50171">
                  <c:v>32691</c:v>
                </c:pt>
                <c:pt idx="50172">
                  <c:v>32691</c:v>
                </c:pt>
                <c:pt idx="50173">
                  <c:v>32691</c:v>
                </c:pt>
                <c:pt idx="50174">
                  <c:v>32691</c:v>
                </c:pt>
                <c:pt idx="50175">
                  <c:v>32690</c:v>
                </c:pt>
                <c:pt idx="50176">
                  <c:v>32690</c:v>
                </c:pt>
                <c:pt idx="50177">
                  <c:v>32690</c:v>
                </c:pt>
                <c:pt idx="50178">
                  <c:v>32690</c:v>
                </c:pt>
                <c:pt idx="50179">
                  <c:v>32690</c:v>
                </c:pt>
                <c:pt idx="50180">
                  <c:v>32690</c:v>
                </c:pt>
                <c:pt idx="50181">
                  <c:v>32690</c:v>
                </c:pt>
                <c:pt idx="50182">
                  <c:v>32690</c:v>
                </c:pt>
                <c:pt idx="50183">
                  <c:v>32690</c:v>
                </c:pt>
                <c:pt idx="50184">
                  <c:v>32689</c:v>
                </c:pt>
                <c:pt idx="50185">
                  <c:v>32689</c:v>
                </c:pt>
                <c:pt idx="50186">
                  <c:v>32689</c:v>
                </c:pt>
                <c:pt idx="50187">
                  <c:v>32689</c:v>
                </c:pt>
                <c:pt idx="50188">
                  <c:v>32689</c:v>
                </c:pt>
                <c:pt idx="50189">
                  <c:v>32688</c:v>
                </c:pt>
                <c:pt idx="50190">
                  <c:v>32688</c:v>
                </c:pt>
                <c:pt idx="50191">
                  <c:v>32688</c:v>
                </c:pt>
                <c:pt idx="50192">
                  <c:v>32688</c:v>
                </c:pt>
                <c:pt idx="50193">
                  <c:v>32688</c:v>
                </c:pt>
                <c:pt idx="50194">
                  <c:v>32688</c:v>
                </c:pt>
                <c:pt idx="50195">
                  <c:v>32688</c:v>
                </c:pt>
                <c:pt idx="50196">
                  <c:v>32688</c:v>
                </c:pt>
                <c:pt idx="50197">
                  <c:v>32688</c:v>
                </c:pt>
                <c:pt idx="50198">
                  <c:v>32687</c:v>
                </c:pt>
                <c:pt idx="50199">
                  <c:v>32687</c:v>
                </c:pt>
                <c:pt idx="50200">
                  <c:v>32687</c:v>
                </c:pt>
                <c:pt idx="50201">
                  <c:v>32687</c:v>
                </c:pt>
                <c:pt idx="50202">
                  <c:v>32687</c:v>
                </c:pt>
                <c:pt idx="50203">
                  <c:v>32687</c:v>
                </c:pt>
                <c:pt idx="50204">
                  <c:v>32687</c:v>
                </c:pt>
                <c:pt idx="50205">
                  <c:v>32686</c:v>
                </c:pt>
                <c:pt idx="50206">
                  <c:v>32686</c:v>
                </c:pt>
                <c:pt idx="50207">
                  <c:v>32686</c:v>
                </c:pt>
                <c:pt idx="50208">
                  <c:v>32686</c:v>
                </c:pt>
                <c:pt idx="50209">
                  <c:v>32686</c:v>
                </c:pt>
                <c:pt idx="50210">
                  <c:v>32686</c:v>
                </c:pt>
                <c:pt idx="50211">
                  <c:v>32686</c:v>
                </c:pt>
                <c:pt idx="50212">
                  <c:v>32686</c:v>
                </c:pt>
                <c:pt idx="50213">
                  <c:v>32686</c:v>
                </c:pt>
                <c:pt idx="50214">
                  <c:v>32685</c:v>
                </c:pt>
                <c:pt idx="50215">
                  <c:v>32685</c:v>
                </c:pt>
                <c:pt idx="50216">
                  <c:v>32685</c:v>
                </c:pt>
                <c:pt idx="50217">
                  <c:v>32685</c:v>
                </c:pt>
                <c:pt idx="50218">
                  <c:v>32685</c:v>
                </c:pt>
                <c:pt idx="50219">
                  <c:v>32685</c:v>
                </c:pt>
                <c:pt idx="50220">
                  <c:v>32685</c:v>
                </c:pt>
                <c:pt idx="50221">
                  <c:v>32685</c:v>
                </c:pt>
                <c:pt idx="50222">
                  <c:v>32685</c:v>
                </c:pt>
                <c:pt idx="50223">
                  <c:v>32684</c:v>
                </c:pt>
                <c:pt idx="50224">
                  <c:v>32684</c:v>
                </c:pt>
                <c:pt idx="50225">
                  <c:v>32684</c:v>
                </c:pt>
                <c:pt idx="50226">
                  <c:v>32684</c:v>
                </c:pt>
                <c:pt idx="50227">
                  <c:v>32684</c:v>
                </c:pt>
                <c:pt idx="50228">
                  <c:v>32684</c:v>
                </c:pt>
                <c:pt idx="50229">
                  <c:v>32684</c:v>
                </c:pt>
                <c:pt idx="50230">
                  <c:v>32684</c:v>
                </c:pt>
                <c:pt idx="50231">
                  <c:v>32684</c:v>
                </c:pt>
                <c:pt idx="50232">
                  <c:v>32684</c:v>
                </c:pt>
                <c:pt idx="50233">
                  <c:v>32684</c:v>
                </c:pt>
                <c:pt idx="50234">
                  <c:v>32684</c:v>
                </c:pt>
                <c:pt idx="50235">
                  <c:v>32684</c:v>
                </c:pt>
                <c:pt idx="50236">
                  <c:v>32683</c:v>
                </c:pt>
                <c:pt idx="50237">
                  <c:v>32683</c:v>
                </c:pt>
                <c:pt idx="50238">
                  <c:v>32683</c:v>
                </c:pt>
                <c:pt idx="50239">
                  <c:v>32683</c:v>
                </c:pt>
                <c:pt idx="50240">
                  <c:v>32683</c:v>
                </c:pt>
                <c:pt idx="50241">
                  <c:v>32683</c:v>
                </c:pt>
                <c:pt idx="50242">
                  <c:v>32683</c:v>
                </c:pt>
                <c:pt idx="50243">
                  <c:v>32683</c:v>
                </c:pt>
                <c:pt idx="50244">
                  <c:v>32683</c:v>
                </c:pt>
                <c:pt idx="50245">
                  <c:v>32683</c:v>
                </c:pt>
                <c:pt idx="50246">
                  <c:v>32683</c:v>
                </c:pt>
                <c:pt idx="50247">
                  <c:v>32683</c:v>
                </c:pt>
                <c:pt idx="50248">
                  <c:v>32683</c:v>
                </c:pt>
                <c:pt idx="50249">
                  <c:v>32683</c:v>
                </c:pt>
                <c:pt idx="50250">
                  <c:v>32682</c:v>
                </c:pt>
                <c:pt idx="50251">
                  <c:v>32682</c:v>
                </c:pt>
                <c:pt idx="50252">
                  <c:v>32682</c:v>
                </c:pt>
                <c:pt idx="50253">
                  <c:v>32682</c:v>
                </c:pt>
                <c:pt idx="50254">
                  <c:v>32682</c:v>
                </c:pt>
                <c:pt idx="50255">
                  <c:v>32682</c:v>
                </c:pt>
                <c:pt idx="50256">
                  <c:v>32682</c:v>
                </c:pt>
                <c:pt idx="50257">
                  <c:v>32682</c:v>
                </c:pt>
                <c:pt idx="50258">
                  <c:v>32682</c:v>
                </c:pt>
                <c:pt idx="50259">
                  <c:v>32682</c:v>
                </c:pt>
                <c:pt idx="50260">
                  <c:v>32682</c:v>
                </c:pt>
                <c:pt idx="50261">
                  <c:v>32682</c:v>
                </c:pt>
                <c:pt idx="50262">
                  <c:v>32682</c:v>
                </c:pt>
                <c:pt idx="50263">
                  <c:v>32682</c:v>
                </c:pt>
                <c:pt idx="50264">
                  <c:v>32681</c:v>
                </c:pt>
                <c:pt idx="50265">
                  <c:v>32681</c:v>
                </c:pt>
                <c:pt idx="50266">
                  <c:v>32681</c:v>
                </c:pt>
                <c:pt idx="50267">
                  <c:v>32681</c:v>
                </c:pt>
                <c:pt idx="50268">
                  <c:v>32681</c:v>
                </c:pt>
                <c:pt idx="50269">
                  <c:v>32681</c:v>
                </c:pt>
                <c:pt idx="50270">
                  <c:v>32681</c:v>
                </c:pt>
                <c:pt idx="50271">
                  <c:v>32680</c:v>
                </c:pt>
                <c:pt idx="50272">
                  <c:v>32680</c:v>
                </c:pt>
                <c:pt idx="50273">
                  <c:v>32680</c:v>
                </c:pt>
                <c:pt idx="50274">
                  <c:v>32680</c:v>
                </c:pt>
                <c:pt idx="50275">
                  <c:v>32680</c:v>
                </c:pt>
                <c:pt idx="50276">
                  <c:v>32680</c:v>
                </c:pt>
                <c:pt idx="50277">
                  <c:v>32680</c:v>
                </c:pt>
                <c:pt idx="50278">
                  <c:v>32680</c:v>
                </c:pt>
                <c:pt idx="50279">
                  <c:v>32680</c:v>
                </c:pt>
                <c:pt idx="50280">
                  <c:v>32680</c:v>
                </c:pt>
                <c:pt idx="50281">
                  <c:v>32680</c:v>
                </c:pt>
                <c:pt idx="50282">
                  <c:v>32679</c:v>
                </c:pt>
                <c:pt idx="50283">
                  <c:v>32679</c:v>
                </c:pt>
                <c:pt idx="50284">
                  <c:v>32679</c:v>
                </c:pt>
                <c:pt idx="50285">
                  <c:v>32679</c:v>
                </c:pt>
                <c:pt idx="50286">
                  <c:v>32679</c:v>
                </c:pt>
                <c:pt idx="50287">
                  <c:v>32679</c:v>
                </c:pt>
                <c:pt idx="50288">
                  <c:v>32679</c:v>
                </c:pt>
                <c:pt idx="50289">
                  <c:v>32679</c:v>
                </c:pt>
                <c:pt idx="50290">
                  <c:v>32679</c:v>
                </c:pt>
                <c:pt idx="50291">
                  <c:v>32678</c:v>
                </c:pt>
                <c:pt idx="50292">
                  <c:v>32678</c:v>
                </c:pt>
                <c:pt idx="50293">
                  <c:v>32678</c:v>
                </c:pt>
                <c:pt idx="50294">
                  <c:v>32678</c:v>
                </c:pt>
                <c:pt idx="50295">
                  <c:v>32678</c:v>
                </c:pt>
                <c:pt idx="50296">
                  <c:v>32678</c:v>
                </c:pt>
                <c:pt idx="50297">
                  <c:v>32678</c:v>
                </c:pt>
                <c:pt idx="50298">
                  <c:v>32678</c:v>
                </c:pt>
                <c:pt idx="50299">
                  <c:v>32678</c:v>
                </c:pt>
                <c:pt idx="50300">
                  <c:v>32678</c:v>
                </c:pt>
                <c:pt idx="50301">
                  <c:v>32678</c:v>
                </c:pt>
                <c:pt idx="50302">
                  <c:v>32677</c:v>
                </c:pt>
                <c:pt idx="50303">
                  <c:v>32677</c:v>
                </c:pt>
                <c:pt idx="50304">
                  <c:v>32677</c:v>
                </c:pt>
                <c:pt idx="50305">
                  <c:v>32677</c:v>
                </c:pt>
                <c:pt idx="50306">
                  <c:v>32677</c:v>
                </c:pt>
                <c:pt idx="50307">
                  <c:v>32677</c:v>
                </c:pt>
                <c:pt idx="50308">
                  <c:v>32677</c:v>
                </c:pt>
                <c:pt idx="50309">
                  <c:v>32676</c:v>
                </c:pt>
                <c:pt idx="50310">
                  <c:v>32675</c:v>
                </c:pt>
                <c:pt idx="50311">
                  <c:v>32675</c:v>
                </c:pt>
                <c:pt idx="50312">
                  <c:v>32675</c:v>
                </c:pt>
                <c:pt idx="50313">
                  <c:v>32675</c:v>
                </c:pt>
                <c:pt idx="50314">
                  <c:v>32675</c:v>
                </c:pt>
                <c:pt idx="50315">
                  <c:v>32675</c:v>
                </c:pt>
                <c:pt idx="50316">
                  <c:v>32675</c:v>
                </c:pt>
                <c:pt idx="50317">
                  <c:v>32674</c:v>
                </c:pt>
                <c:pt idx="50318">
                  <c:v>32674</c:v>
                </c:pt>
                <c:pt idx="50319">
                  <c:v>32674</c:v>
                </c:pt>
                <c:pt idx="50320">
                  <c:v>32674</c:v>
                </c:pt>
                <c:pt idx="50321">
                  <c:v>32674</c:v>
                </c:pt>
                <c:pt idx="50322">
                  <c:v>32674</c:v>
                </c:pt>
                <c:pt idx="50323">
                  <c:v>32674</c:v>
                </c:pt>
                <c:pt idx="50324">
                  <c:v>32673</c:v>
                </c:pt>
                <c:pt idx="50325">
                  <c:v>32673</c:v>
                </c:pt>
                <c:pt idx="50326">
                  <c:v>32673</c:v>
                </c:pt>
                <c:pt idx="50327">
                  <c:v>32673</c:v>
                </c:pt>
                <c:pt idx="50328">
                  <c:v>32673</c:v>
                </c:pt>
                <c:pt idx="50329">
                  <c:v>32673</c:v>
                </c:pt>
                <c:pt idx="50330">
                  <c:v>32673</c:v>
                </c:pt>
                <c:pt idx="50331">
                  <c:v>32673</c:v>
                </c:pt>
                <c:pt idx="50332">
                  <c:v>32672</c:v>
                </c:pt>
                <c:pt idx="50333">
                  <c:v>32672</c:v>
                </c:pt>
                <c:pt idx="50334">
                  <c:v>32672</c:v>
                </c:pt>
                <c:pt idx="50335">
                  <c:v>32672</c:v>
                </c:pt>
                <c:pt idx="50336">
                  <c:v>32672</c:v>
                </c:pt>
                <c:pt idx="50337">
                  <c:v>32672</c:v>
                </c:pt>
                <c:pt idx="50338">
                  <c:v>32672</c:v>
                </c:pt>
                <c:pt idx="50339">
                  <c:v>32672</c:v>
                </c:pt>
                <c:pt idx="50340">
                  <c:v>32671</c:v>
                </c:pt>
                <c:pt idx="50341">
                  <c:v>32671</c:v>
                </c:pt>
                <c:pt idx="50342">
                  <c:v>32671</c:v>
                </c:pt>
                <c:pt idx="50343">
                  <c:v>32671</c:v>
                </c:pt>
                <c:pt idx="50344">
                  <c:v>32671</c:v>
                </c:pt>
                <c:pt idx="50345">
                  <c:v>32671</c:v>
                </c:pt>
                <c:pt idx="50346">
                  <c:v>32671</c:v>
                </c:pt>
                <c:pt idx="50347">
                  <c:v>32670</c:v>
                </c:pt>
                <c:pt idx="50348">
                  <c:v>32670</c:v>
                </c:pt>
                <c:pt idx="50349">
                  <c:v>32670</c:v>
                </c:pt>
                <c:pt idx="50350">
                  <c:v>32670</c:v>
                </c:pt>
                <c:pt idx="50351">
                  <c:v>32670</c:v>
                </c:pt>
                <c:pt idx="50352">
                  <c:v>32670</c:v>
                </c:pt>
                <c:pt idx="50353">
                  <c:v>32670</c:v>
                </c:pt>
                <c:pt idx="50354">
                  <c:v>32669</c:v>
                </c:pt>
                <c:pt idx="50355">
                  <c:v>32669</c:v>
                </c:pt>
                <c:pt idx="50356">
                  <c:v>32669</c:v>
                </c:pt>
                <c:pt idx="50357">
                  <c:v>32669</c:v>
                </c:pt>
                <c:pt idx="50358">
                  <c:v>32669</c:v>
                </c:pt>
                <c:pt idx="50359">
                  <c:v>32669</c:v>
                </c:pt>
                <c:pt idx="50360">
                  <c:v>32669</c:v>
                </c:pt>
                <c:pt idx="50361">
                  <c:v>32669</c:v>
                </c:pt>
                <c:pt idx="50362">
                  <c:v>32669</c:v>
                </c:pt>
                <c:pt idx="50363">
                  <c:v>32669</c:v>
                </c:pt>
                <c:pt idx="50364">
                  <c:v>32669</c:v>
                </c:pt>
                <c:pt idx="50365">
                  <c:v>32669</c:v>
                </c:pt>
                <c:pt idx="50366">
                  <c:v>32668</c:v>
                </c:pt>
                <c:pt idx="50367">
                  <c:v>32668</c:v>
                </c:pt>
                <c:pt idx="50368">
                  <c:v>32668</c:v>
                </c:pt>
                <c:pt idx="50369">
                  <c:v>32668</c:v>
                </c:pt>
                <c:pt idx="50370">
                  <c:v>32668</c:v>
                </c:pt>
                <c:pt idx="50371">
                  <c:v>32668</c:v>
                </c:pt>
                <c:pt idx="50372">
                  <c:v>32668</c:v>
                </c:pt>
                <c:pt idx="50373">
                  <c:v>32667</c:v>
                </c:pt>
                <c:pt idx="50374">
                  <c:v>32667</c:v>
                </c:pt>
                <c:pt idx="50375">
                  <c:v>32667</c:v>
                </c:pt>
                <c:pt idx="50376">
                  <c:v>32667</c:v>
                </c:pt>
                <c:pt idx="50377">
                  <c:v>32667</c:v>
                </c:pt>
                <c:pt idx="50378">
                  <c:v>32667</c:v>
                </c:pt>
                <c:pt idx="50379">
                  <c:v>32666</c:v>
                </c:pt>
                <c:pt idx="50380">
                  <c:v>32666</c:v>
                </c:pt>
                <c:pt idx="50381">
                  <c:v>32666</c:v>
                </c:pt>
                <c:pt idx="50382">
                  <c:v>32666</c:v>
                </c:pt>
                <c:pt idx="50383">
                  <c:v>32666</c:v>
                </c:pt>
                <c:pt idx="50384">
                  <c:v>32666</c:v>
                </c:pt>
                <c:pt idx="50385">
                  <c:v>32666</c:v>
                </c:pt>
                <c:pt idx="50386">
                  <c:v>32666</c:v>
                </c:pt>
                <c:pt idx="50387">
                  <c:v>32665</c:v>
                </c:pt>
                <c:pt idx="50388">
                  <c:v>32665</c:v>
                </c:pt>
                <c:pt idx="50389">
                  <c:v>32665</c:v>
                </c:pt>
                <c:pt idx="50390">
                  <c:v>32665</c:v>
                </c:pt>
                <c:pt idx="50391">
                  <c:v>32665</c:v>
                </c:pt>
                <c:pt idx="50392">
                  <c:v>32665</c:v>
                </c:pt>
                <c:pt idx="50393">
                  <c:v>32665</c:v>
                </c:pt>
                <c:pt idx="50394">
                  <c:v>32664</c:v>
                </c:pt>
                <c:pt idx="50395">
                  <c:v>32664</c:v>
                </c:pt>
                <c:pt idx="50396">
                  <c:v>32664</c:v>
                </c:pt>
                <c:pt idx="50397">
                  <c:v>32664</c:v>
                </c:pt>
                <c:pt idx="50398">
                  <c:v>32664</c:v>
                </c:pt>
                <c:pt idx="50399">
                  <c:v>32664</c:v>
                </c:pt>
                <c:pt idx="50400">
                  <c:v>32664</c:v>
                </c:pt>
                <c:pt idx="50401">
                  <c:v>32664</c:v>
                </c:pt>
                <c:pt idx="50402">
                  <c:v>32663</c:v>
                </c:pt>
                <c:pt idx="50403">
                  <c:v>32663</c:v>
                </c:pt>
                <c:pt idx="50404">
                  <c:v>32663</c:v>
                </c:pt>
                <c:pt idx="50405">
                  <c:v>32663</c:v>
                </c:pt>
                <c:pt idx="50406">
                  <c:v>32663</c:v>
                </c:pt>
                <c:pt idx="50407">
                  <c:v>32663</c:v>
                </c:pt>
                <c:pt idx="50408">
                  <c:v>32663</c:v>
                </c:pt>
                <c:pt idx="50409">
                  <c:v>32663</c:v>
                </c:pt>
                <c:pt idx="50410">
                  <c:v>32663</c:v>
                </c:pt>
                <c:pt idx="50411">
                  <c:v>32663</c:v>
                </c:pt>
                <c:pt idx="50412">
                  <c:v>32663</c:v>
                </c:pt>
                <c:pt idx="50413">
                  <c:v>32663</c:v>
                </c:pt>
                <c:pt idx="50414">
                  <c:v>32663</c:v>
                </c:pt>
                <c:pt idx="50415">
                  <c:v>32663</c:v>
                </c:pt>
                <c:pt idx="50416">
                  <c:v>32663</c:v>
                </c:pt>
                <c:pt idx="50417">
                  <c:v>32663</c:v>
                </c:pt>
                <c:pt idx="50418">
                  <c:v>32662</c:v>
                </c:pt>
                <c:pt idx="50419">
                  <c:v>32662</c:v>
                </c:pt>
                <c:pt idx="50420">
                  <c:v>32662</c:v>
                </c:pt>
                <c:pt idx="50421">
                  <c:v>32662</c:v>
                </c:pt>
                <c:pt idx="50422">
                  <c:v>32662</c:v>
                </c:pt>
                <c:pt idx="50423">
                  <c:v>32662</c:v>
                </c:pt>
                <c:pt idx="50424">
                  <c:v>32661</c:v>
                </c:pt>
                <c:pt idx="50425">
                  <c:v>32661</c:v>
                </c:pt>
                <c:pt idx="50426">
                  <c:v>32661</c:v>
                </c:pt>
                <c:pt idx="50427">
                  <c:v>32661</c:v>
                </c:pt>
                <c:pt idx="50428">
                  <c:v>32661</c:v>
                </c:pt>
                <c:pt idx="50429">
                  <c:v>32661</c:v>
                </c:pt>
                <c:pt idx="50430">
                  <c:v>32661</c:v>
                </c:pt>
                <c:pt idx="50431">
                  <c:v>32661</c:v>
                </c:pt>
                <c:pt idx="50432">
                  <c:v>32660</c:v>
                </c:pt>
                <c:pt idx="50433">
                  <c:v>32660</c:v>
                </c:pt>
                <c:pt idx="50434">
                  <c:v>32660</c:v>
                </c:pt>
                <c:pt idx="50435">
                  <c:v>32660</c:v>
                </c:pt>
                <c:pt idx="50436">
                  <c:v>32660</c:v>
                </c:pt>
                <c:pt idx="50437">
                  <c:v>32660</c:v>
                </c:pt>
                <c:pt idx="50438">
                  <c:v>32660</c:v>
                </c:pt>
                <c:pt idx="50439">
                  <c:v>32659</c:v>
                </c:pt>
                <c:pt idx="50440">
                  <c:v>32659</c:v>
                </c:pt>
                <c:pt idx="50441">
                  <c:v>32659</c:v>
                </c:pt>
                <c:pt idx="50442">
                  <c:v>32659</c:v>
                </c:pt>
                <c:pt idx="50443">
                  <c:v>32659</c:v>
                </c:pt>
                <c:pt idx="50444">
                  <c:v>32659</c:v>
                </c:pt>
                <c:pt idx="50445">
                  <c:v>32659</c:v>
                </c:pt>
                <c:pt idx="50446">
                  <c:v>32659</c:v>
                </c:pt>
                <c:pt idx="50447">
                  <c:v>32659</c:v>
                </c:pt>
                <c:pt idx="50448">
                  <c:v>32659</c:v>
                </c:pt>
                <c:pt idx="50449">
                  <c:v>32658</c:v>
                </c:pt>
                <c:pt idx="50450">
                  <c:v>32658</c:v>
                </c:pt>
                <c:pt idx="50451">
                  <c:v>32658</c:v>
                </c:pt>
                <c:pt idx="50452">
                  <c:v>32658</c:v>
                </c:pt>
                <c:pt idx="50453">
                  <c:v>32658</c:v>
                </c:pt>
                <c:pt idx="50454">
                  <c:v>32658</c:v>
                </c:pt>
                <c:pt idx="50455">
                  <c:v>32658</c:v>
                </c:pt>
                <c:pt idx="50456">
                  <c:v>32658</c:v>
                </c:pt>
                <c:pt idx="50457">
                  <c:v>32657</c:v>
                </c:pt>
                <c:pt idx="50458">
                  <c:v>32657</c:v>
                </c:pt>
                <c:pt idx="50459">
                  <c:v>32657</c:v>
                </c:pt>
                <c:pt idx="50460">
                  <c:v>32657</c:v>
                </c:pt>
                <c:pt idx="50461">
                  <c:v>32657</c:v>
                </c:pt>
                <c:pt idx="50462">
                  <c:v>32657</c:v>
                </c:pt>
                <c:pt idx="50463">
                  <c:v>32657</c:v>
                </c:pt>
                <c:pt idx="50464">
                  <c:v>32657</c:v>
                </c:pt>
                <c:pt idx="50465">
                  <c:v>32657</c:v>
                </c:pt>
                <c:pt idx="50466">
                  <c:v>32657</c:v>
                </c:pt>
                <c:pt idx="50467">
                  <c:v>32656</c:v>
                </c:pt>
                <c:pt idx="50468">
                  <c:v>32655</c:v>
                </c:pt>
                <c:pt idx="50469">
                  <c:v>32655</c:v>
                </c:pt>
                <c:pt idx="50470">
                  <c:v>32654</c:v>
                </c:pt>
                <c:pt idx="50471">
                  <c:v>32654</c:v>
                </c:pt>
                <c:pt idx="50472">
                  <c:v>32654</c:v>
                </c:pt>
                <c:pt idx="50473">
                  <c:v>32653</c:v>
                </c:pt>
                <c:pt idx="50474">
                  <c:v>32653</c:v>
                </c:pt>
                <c:pt idx="50475">
                  <c:v>32653</c:v>
                </c:pt>
                <c:pt idx="50476">
                  <c:v>32653</c:v>
                </c:pt>
                <c:pt idx="50477">
                  <c:v>32653</c:v>
                </c:pt>
                <c:pt idx="50478">
                  <c:v>32653</c:v>
                </c:pt>
                <c:pt idx="50479">
                  <c:v>32652</c:v>
                </c:pt>
                <c:pt idx="50480">
                  <c:v>32652</c:v>
                </c:pt>
                <c:pt idx="50481">
                  <c:v>32652</c:v>
                </c:pt>
                <c:pt idx="50482">
                  <c:v>32652</c:v>
                </c:pt>
                <c:pt idx="50483">
                  <c:v>32652</c:v>
                </c:pt>
                <c:pt idx="50484">
                  <c:v>32651</c:v>
                </c:pt>
                <c:pt idx="50485">
                  <c:v>32651</c:v>
                </c:pt>
                <c:pt idx="50486">
                  <c:v>32651</c:v>
                </c:pt>
                <c:pt idx="50487">
                  <c:v>32651</c:v>
                </c:pt>
                <c:pt idx="50488">
                  <c:v>32651</c:v>
                </c:pt>
                <c:pt idx="50489">
                  <c:v>32651</c:v>
                </c:pt>
                <c:pt idx="50490">
                  <c:v>32651</c:v>
                </c:pt>
                <c:pt idx="50491">
                  <c:v>32651</c:v>
                </c:pt>
                <c:pt idx="50492">
                  <c:v>32650</c:v>
                </c:pt>
                <c:pt idx="50493">
                  <c:v>32650</c:v>
                </c:pt>
                <c:pt idx="50494">
                  <c:v>32650</c:v>
                </c:pt>
                <c:pt idx="50495">
                  <c:v>32650</c:v>
                </c:pt>
                <c:pt idx="50496">
                  <c:v>32650</c:v>
                </c:pt>
                <c:pt idx="50497">
                  <c:v>32650</c:v>
                </c:pt>
                <c:pt idx="50498">
                  <c:v>32650</c:v>
                </c:pt>
                <c:pt idx="50499">
                  <c:v>32650</c:v>
                </c:pt>
                <c:pt idx="50500">
                  <c:v>32649</c:v>
                </c:pt>
                <c:pt idx="50501">
                  <c:v>32649</c:v>
                </c:pt>
                <c:pt idx="50502">
                  <c:v>32649</c:v>
                </c:pt>
                <c:pt idx="50503">
                  <c:v>32649</c:v>
                </c:pt>
                <c:pt idx="50504">
                  <c:v>32649</c:v>
                </c:pt>
                <c:pt idx="50505">
                  <c:v>32648</c:v>
                </c:pt>
                <c:pt idx="50506">
                  <c:v>32648</c:v>
                </c:pt>
                <c:pt idx="50507">
                  <c:v>32648</c:v>
                </c:pt>
                <c:pt idx="50508">
                  <c:v>32648</c:v>
                </c:pt>
                <c:pt idx="50509">
                  <c:v>32648</c:v>
                </c:pt>
                <c:pt idx="50510">
                  <c:v>32648</c:v>
                </c:pt>
                <c:pt idx="50511">
                  <c:v>32648</c:v>
                </c:pt>
                <c:pt idx="50512">
                  <c:v>32648</c:v>
                </c:pt>
                <c:pt idx="50513">
                  <c:v>32648</c:v>
                </c:pt>
                <c:pt idx="50514">
                  <c:v>32647</c:v>
                </c:pt>
                <c:pt idx="50515">
                  <c:v>32647</c:v>
                </c:pt>
                <c:pt idx="50516">
                  <c:v>32647</c:v>
                </c:pt>
                <c:pt idx="50517">
                  <c:v>32647</c:v>
                </c:pt>
                <c:pt idx="50518">
                  <c:v>32647</c:v>
                </c:pt>
                <c:pt idx="50519">
                  <c:v>32647</c:v>
                </c:pt>
                <c:pt idx="50520">
                  <c:v>32646</c:v>
                </c:pt>
                <c:pt idx="50521">
                  <c:v>32646</c:v>
                </c:pt>
                <c:pt idx="50522">
                  <c:v>32646</c:v>
                </c:pt>
                <c:pt idx="50523">
                  <c:v>32646</c:v>
                </c:pt>
                <c:pt idx="50524">
                  <c:v>32646</c:v>
                </c:pt>
                <c:pt idx="50525">
                  <c:v>32646</c:v>
                </c:pt>
                <c:pt idx="50526">
                  <c:v>32646</c:v>
                </c:pt>
                <c:pt idx="50527">
                  <c:v>32646</c:v>
                </c:pt>
                <c:pt idx="50528">
                  <c:v>32645</c:v>
                </c:pt>
                <c:pt idx="50529">
                  <c:v>32645</c:v>
                </c:pt>
                <c:pt idx="50530">
                  <c:v>32645</c:v>
                </c:pt>
                <c:pt idx="50531">
                  <c:v>32645</c:v>
                </c:pt>
                <c:pt idx="50532">
                  <c:v>32645</c:v>
                </c:pt>
                <c:pt idx="50533">
                  <c:v>32645</c:v>
                </c:pt>
                <c:pt idx="50534">
                  <c:v>32645</c:v>
                </c:pt>
                <c:pt idx="50535">
                  <c:v>32645</c:v>
                </c:pt>
                <c:pt idx="50536">
                  <c:v>32644</c:v>
                </c:pt>
                <c:pt idx="50537">
                  <c:v>32644</c:v>
                </c:pt>
                <c:pt idx="50538">
                  <c:v>32644</c:v>
                </c:pt>
                <c:pt idx="50539">
                  <c:v>32644</c:v>
                </c:pt>
                <c:pt idx="50540">
                  <c:v>32644</c:v>
                </c:pt>
                <c:pt idx="50541">
                  <c:v>32644</c:v>
                </c:pt>
                <c:pt idx="50542">
                  <c:v>32643</c:v>
                </c:pt>
                <c:pt idx="50543">
                  <c:v>32643</c:v>
                </c:pt>
                <c:pt idx="50544">
                  <c:v>32643</c:v>
                </c:pt>
                <c:pt idx="50545">
                  <c:v>32643</c:v>
                </c:pt>
                <c:pt idx="50546">
                  <c:v>32643</c:v>
                </c:pt>
                <c:pt idx="50547">
                  <c:v>32643</c:v>
                </c:pt>
                <c:pt idx="50548">
                  <c:v>32643</c:v>
                </c:pt>
                <c:pt idx="50549">
                  <c:v>32642</c:v>
                </c:pt>
                <c:pt idx="50550">
                  <c:v>32642</c:v>
                </c:pt>
                <c:pt idx="50551">
                  <c:v>32642</c:v>
                </c:pt>
                <c:pt idx="50552">
                  <c:v>32642</c:v>
                </c:pt>
                <c:pt idx="50553">
                  <c:v>32642</c:v>
                </c:pt>
                <c:pt idx="50554">
                  <c:v>32642</c:v>
                </c:pt>
                <c:pt idx="50555">
                  <c:v>32641</c:v>
                </c:pt>
                <c:pt idx="50556">
                  <c:v>32641</c:v>
                </c:pt>
                <c:pt idx="50557">
                  <c:v>32641</c:v>
                </c:pt>
                <c:pt idx="50558">
                  <c:v>32641</c:v>
                </c:pt>
                <c:pt idx="50559">
                  <c:v>32641</c:v>
                </c:pt>
                <c:pt idx="50560">
                  <c:v>32641</c:v>
                </c:pt>
                <c:pt idx="50561">
                  <c:v>32641</c:v>
                </c:pt>
                <c:pt idx="50562">
                  <c:v>32640</c:v>
                </c:pt>
                <c:pt idx="50563">
                  <c:v>32640</c:v>
                </c:pt>
                <c:pt idx="50564">
                  <c:v>32640</c:v>
                </c:pt>
                <c:pt idx="50565">
                  <c:v>32640</c:v>
                </c:pt>
                <c:pt idx="50566">
                  <c:v>32640</c:v>
                </c:pt>
                <c:pt idx="50567">
                  <c:v>32640</c:v>
                </c:pt>
                <c:pt idx="50568">
                  <c:v>32640</c:v>
                </c:pt>
                <c:pt idx="50569">
                  <c:v>32640</c:v>
                </c:pt>
                <c:pt idx="50570">
                  <c:v>32639</c:v>
                </c:pt>
                <c:pt idx="50571">
                  <c:v>32639</c:v>
                </c:pt>
                <c:pt idx="50572">
                  <c:v>32639</c:v>
                </c:pt>
                <c:pt idx="50573">
                  <c:v>32639</c:v>
                </c:pt>
                <c:pt idx="50574">
                  <c:v>32639</c:v>
                </c:pt>
                <c:pt idx="50575">
                  <c:v>32639</c:v>
                </c:pt>
                <c:pt idx="50576">
                  <c:v>32639</c:v>
                </c:pt>
                <c:pt idx="50577">
                  <c:v>32639</c:v>
                </c:pt>
                <c:pt idx="50578">
                  <c:v>32639</c:v>
                </c:pt>
                <c:pt idx="50579">
                  <c:v>32639</c:v>
                </c:pt>
                <c:pt idx="50580">
                  <c:v>32639</c:v>
                </c:pt>
                <c:pt idx="50581">
                  <c:v>32639</c:v>
                </c:pt>
                <c:pt idx="50582">
                  <c:v>32639</c:v>
                </c:pt>
                <c:pt idx="50583">
                  <c:v>32638</c:v>
                </c:pt>
                <c:pt idx="50584">
                  <c:v>32638</c:v>
                </c:pt>
                <c:pt idx="50585">
                  <c:v>32638</c:v>
                </c:pt>
                <c:pt idx="50586">
                  <c:v>32638</c:v>
                </c:pt>
                <c:pt idx="50587">
                  <c:v>32638</c:v>
                </c:pt>
                <c:pt idx="50588">
                  <c:v>32638</c:v>
                </c:pt>
                <c:pt idx="50589">
                  <c:v>32637</c:v>
                </c:pt>
                <c:pt idx="50590">
                  <c:v>32637</c:v>
                </c:pt>
                <c:pt idx="50591">
                  <c:v>32637</c:v>
                </c:pt>
                <c:pt idx="50592">
                  <c:v>32637</c:v>
                </c:pt>
                <c:pt idx="50593">
                  <c:v>32637</c:v>
                </c:pt>
                <c:pt idx="50594">
                  <c:v>32637</c:v>
                </c:pt>
                <c:pt idx="50595">
                  <c:v>32637</c:v>
                </c:pt>
                <c:pt idx="50596">
                  <c:v>32637</c:v>
                </c:pt>
                <c:pt idx="50597">
                  <c:v>32637</c:v>
                </c:pt>
                <c:pt idx="50598">
                  <c:v>32637</c:v>
                </c:pt>
                <c:pt idx="50599">
                  <c:v>32636</c:v>
                </c:pt>
                <c:pt idx="50600">
                  <c:v>32636</c:v>
                </c:pt>
                <c:pt idx="50601">
                  <c:v>32636</c:v>
                </c:pt>
                <c:pt idx="50602">
                  <c:v>32636</c:v>
                </c:pt>
                <c:pt idx="50603">
                  <c:v>32636</c:v>
                </c:pt>
                <c:pt idx="50604">
                  <c:v>32636</c:v>
                </c:pt>
                <c:pt idx="50605">
                  <c:v>32635</c:v>
                </c:pt>
                <c:pt idx="50606">
                  <c:v>32635</c:v>
                </c:pt>
                <c:pt idx="50607">
                  <c:v>32635</c:v>
                </c:pt>
                <c:pt idx="50608">
                  <c:v>32635</c:v>
                </c:pt>
                <c:pt idx="50609">
                  <c:v>32635</c:v>
                </c:pt>
                <c:pt idx="50610">
                  <c:v>32634</c:v>
                </c:pt>
                <c:pt idx="50611">
                  <c:v>32633</c:v>
                </c:pt>
                <c:pt idx="50612">
                  <c:v>32633</c:v>
                </c:pt>
                <c:pt idx="50613">
                  <c:v>32633</c:v>
                </c:pt>
                <c:pt idx="50614">
                  <c:v>32633</c:v>
                </c:pt>
                <c:pt idx="50615">
                  <c:v>32633</c:v>
                </c:pt>
                <c:pt idx="50616">
                  <c:v>32633</c:v>
                </c:pt>
                <c:pt idx="50617">
                  <c:v>32633</c:v>
                </c:pt>
                <c:pt idx="50618">
                  <c:v>32633</c:v>
                </c:pt>
                <c:pt idx="50619">
                  <c:v>32633</c:v>
                </c:pt>
                <c:pt idx="50620">
                  <c:v>32632</c:v>
                </c:pt>
                <c:pt idx="50621">
                  <c:v>32632</c:v>
                </c:pt>
                <c:pt idx="50622">
                  <c:v>32632</c:v>
                </c:pt>
                <c:pt idx="50623">
                  <c:v>32632</c:v>
                </c:pt>
                <c:pt idx="50624">
                  <c:v>32632</c:v>
                </c:pt>
                <c:pt idx="50625">
                  <c:v>32632</c:v>
                </c:pt>
                <c:pt idx="50626">
                  <c:v>32631</c:v>
                </c:pt>
                <c:pt idx="50627">
                  <c:v>32631</c:v>
                </c:pt>
                <c:pt idx="50628">
                  <c:v>32631</c:v>
                </c:pt>
                <c:pt idx="50629">
                  <c:v>32631</c:v>
                </c:pt>
                <c:pt idx="50630">
                  <c:v>32631</c:v>
                </c:pt>
                <c:pt idx="50631">
                  <c:v>32631</c:v>
                </c:pt>
                <c:pt idx="50632">
                  <c:v>32630</c:v>
                </c:pt>
                <c:pt idx="50633">
                  <c:v>32630</c:v>
                </c:pt>
                <c:pt idx="50634">
                  <c:v>32630</c:v>
                </c:pt>
                <c:pt idx="50635">
                  <c:v>32630</c:v>
                </c:pt>
                <c:pt idx="50636">
                  <c:v>32630</c:v>
                </c:pt>
                <c:pt idx="50637">
                  <c:v>32629</c:v>
                </c:pt>
                <c:pt idx="50638">
                  <c:v>32629</c:v>
                </c:pt>
                <c:pt idx="50639">
                  <c:v>32629</c:v>
                </c:pt>
                <c:pt idx="50640">
                  <c:v>32629</c:v>
                </c:pt>
                <c:pt idx="50641">
                  <c:v>32629</c:v>
                </c:pt>
                <c:pt idx="50642">
                  <c:v>32629</c:v>
                </c:pt>
                <c:pt idx="50643">
                  <c:v>32629</c:v>
                </c:pt>
                <c:pt idx="50644">
                  <c:v>32629</c:v>
                </c:pt>
                <c:pt idx="50645">
                  <c:v>32629</c:v>
                </c:pt>
                <c:pt idx="50646">
                  <c:v>32629</c:v>
                </c:pt>
                <c:pt idx="50647">
                  <c:v>32628</c:v>
                </c:pt>
                <c:pt idx="50648">
                  <c:v>32628</c:v>
                </c:pt>
                <c:pt idx="50649">
                  <c:v>32628</c:v>
                </c:pt>
                <c:pt idx="50650">
                  <c:v>32628</c:v>
                </c:pt>
                <c:pt idx="50651">
                  <c:v>32628</c:v>
                </c:pt>
                <c:pt idx="50652">
                  <c:v>32628</c:v>
                </c:pt>
                <c:pt idx="50653">
                  <c:v>32627</c:v>
                </c:pt>
                <c:pt idx="50654">
                  <c:v>32627</c:v>
                </c:pt>
                <c:pt idx="50655">
                  <c:v>32627</c:v>
                </c:pt>
                <c:pt idx="50656">
                  <c:v>32627</c:v>
                </c:pt>
                <c:pt idx="50657">
                  <c:v>32627</c:v>
                </c:pt>
                <c:pt idx="50658">
                  <c:v>32627</c:v>
                </c:pt>
                <c:pt idx="50659">
                  <c:v>32627</c:v>
                </c:pt>
                <c:pt idx="50660">
                  <c:v>32627</c:v>
                </c:pt>
                <c:pt idx="50661">
                  <c:v>32626</c:v>
                </c:pt>
                <c:pt idx="50662">
                  <c:v>32626</c:v>
                </c:pt>
                <c:pt idx="50663">
                  <c:v>32626</c:v>
                </c:pt>
                <c:pt idx="50664">
                  <c:v>32626</c:v>
                </c:pt>
                <c:pt idx="50665">
                  <c:v>32626</c:v>
                </c:pt>
                <c:pt idx="50666">
                  <c:v>32626</c:v>
                </c:pt>
                <c:pt idx="50667">
                  <c:v>32625</c:v>
                </c:pt>
                <c:pt idx="50668">
                  <c:v>32625</c:v>
                </c:pt>
                <c:pt idx="50669">
                  <c:v>32625</c:v>
                </c:pt>
                <c:pt idx="50670">
                  <c:v>32625</c:v>
                </c:pt>
                <c:pt idx="50671">
                  <c:v>32625</c:v>
                </c:pt>
                <c:pt idx="50672">
                  <c:v>32625</c:v>
                </c:pt>
                <c:pt idx="50673">
                  <c:v>32624</c:v>
                </c:pt>
                <c:pt idx="50674">
                  <c:v>32624</c:v>
                </c:pt>
                <c:pt idx="50675">
                  <c:v>32624</c:v>
                </c:pt>
                <c:pt idx="50676">
                  <c:v>32624</c:v>
                </c:pt>
                <c:pt idx="50677">
                  <c:v>32624</c:v>
                </c:pt>
                <c:pt idx="50678">
                  <c:v>32624</c:v>
                </c:pt>
                <c:pt idx="50679">
                  <c:v>32624</c:v>
                </c:pt>
                <c:pt idx="50680">
                  <c:v>32624</c:v>
                </c:pt>
                <c:pt idx="50681">
                  <c:v>32624</c:v>
                </c:pt>
                <c:pt idx="50682">
                  <c:v>32624</c:v>
                </c:pt>
                <c:pt idx="50683">
                  <c:v>32623</c:v>
                </c:pt>
                <c:pt idx="50684">
                  <c:v>32623</c:v>
                </c:pt>
                <c:pt idx="50685">
                  <c:v>32623</c:v>
                </c:pt>
                <c:pt idx="50686">
                  <c:v>32623</c:v>
                </c:pt>
                <c:pt idx="50687">
                  <c:v>32623</c:v>
                </c:pt>
                <c:pt idx="50688">
                  <c:v>32623</c:v>
                </c:pt>
                <c:pt idx="50689">
                  <c:v>32623</c:v>
                </c:pt>
                <c:pt idx="50690">
                  <c:v>32623</c:v>
                </c:pt>
                <c:pt idx="50691">
                  <c:v>32623</c:v>
                </c:pt>
                <c:pt idx="50692">
                  <c:v>32623</c:v>
                </c:pt>
                <c:pt idx="50693">
                  <c:v>32622</c:v>
                </c:pt>
                <c:pt idx="50694">
                  <c:v>32622</c:v>
                </c:pt>
                <c:pt idx="50695">
                  <c:v>32622</c:v>
                </c:pt>
                <c:pt idx="50696">
                  <c:v>32622</c:v>
                </c:pt>
                <c:pt idx="50697">
                  <c:v>32622</c:v>
                </c:pt>
                <c:pt idx="50698">
                  <c:v>32621</c:v>
                </c:pt>
                <c:pt idx="50699">
                  <c:v>32621</c:v>
                </c:pt>
                <c:pt idx="50700">
                  <c:v>32621</c:v>
                </c:pt>
                <c:pt idx="50701">
                  <c:v>32621</c:v>
                </c:pt>
                <c:pt idx="50702">
                  <c:v>32621</c:v>
                </c:pt>
                <c:pt idx="50703">
                  <c:v>32621</c:v>
                </c:pt>
                <c:pt idx="50704">
                  <c:v>32621</c:v>
                </c:pt>
                <c:pt idx="50705">
                  <c:v>32620</c:v>
                </c:pt>
                <c:pt idx="50706">
                  <c:v>32620</c:v>
                </c:pt>
                <c:pt idx="50707">
                  <c:v>32620</c:v>
                </c:pt>
                <c:pt idx="50708">
                  <c:v>32620</c:v>
                </c:pt>
                <c:pt idx="50709">
                  <c:v>32620</c:v>
                </c:pt>
                <c:pt idx="50710">
                  <c:v>32620</c:v>
                </c:pt>
                <c:pt idx="50711">
                  <c:v>32620</c:v>
                </c:pt>
                <c:pt idx="50712">
                  <c:v>32619</c:v>
                </c:pt>
                <c:pt idx="50713">
                  <c:v>32619</c:v>
                </c:pt>
                <c:pt idx="50714">
                  <c:v>32619</c:v>
                </c:pt>
                <c:pt idx="50715">
                  <c:v>32619</c:v>
                </c:pt>
                <c:pt idx="50716">
                  <c:v>32619</c:v>
                </c:pt>
                <c:pt idx="50717">
                  <c:v>32618</c:v>
                </c:pt>
                <c:pt idx="50718">
                  <c:v>32618</c:v>
                </c:pt>
                <c:pt idx="50719">
                  <c:v>32618</c:v>
                </c:pt>
                <c:pt idx="50720">
                  <c:v>32618</c:v>
                </c:pt>
                <c:pt idx="50721">
                  <c:v>32618</c:v>
                </c:pt>
                <c:pt idx="50722">
                  <c:v>32618</c:v>
                </c:pt>
                <c:pt idx="50723">
                  <c:v>32618</c:v>
                </c:pt>
                <c:pt idx="50724">
                  <c:v>32617</c:v>
                </c:pt>
                <c:pt idx="50725">
                  <c:v>32617</c:v>
                </c:pt>
                <c:pt idx="50726">
                  <c:v>32617</c:v>
                </c:pt>
                <c:pt idx="50727">
                  <c:v>32617</c:v>
                </c:pt>
                <c:pt idx="50728">
                  <c:v>32617</c:v>
                </c:pt>
                <c:pt idx="50729">
                  <c:v>32617</c:v>
                </c:pt>
                <c:pt idx="50730">
                  <c:v>32617</c:v>
                </c:pt>
                <c:pt idx="50731">
                  <c:v>32616</c:v>
                </c:pt>
                <c:pt idx="50732">
                  <c:v>32616</c:v>
                </c:pt>
                <c:pt idx="50733">
                  <c:v>32616</c:v>
                </c:pt>
                <c:pt idx="50734">
                  <c:v>32616</c:v>
                </c:pt>
                <c:pt idx="50735">
                  <c:v>32616</c:v>
                </c:pt>
                <c:pt idx="50736">
                  <c:v>32616</c:v>
                </c:pt>
                <c:pt idx="50737">
                  <c:v>32615</c:v>
                </c:pt>
                <c:pt idx="50738">
                  <c:v>32615</c:v>
                </c:pt>
                <c:pt idx="50739">
                  <c:v>32615</c:v>
                </c:pt>
                <c:pt idx="50740">
                  <c:v>32615</c:v>
                </c:pt>
                <c:pt idx="50741">
                  <c:v>32615</c:v>
                </c:pt>
                <c:pt idx="50742">
                  <c:v>32615</c:v>
                </c:pt>
                <c:pt idx="50743">
                  <c:v>32615</c:v>
                </c:pt>
                <c:pt idx="50744">
                  <c:v>32614</c:v>
                </c:pt>
                <c:pt idx="50745">
                  <c:v>32614</c:v>
                </c:pt>
                <c:pt idx="50746">
                  <c:v>32614</c:v>
                </c:pt>
                <c:pt idx="50747">
                  <c:v>32614</c:v>
                </c:pt>
                <c:pt idx="50748">
                  <c:v>32614</c:v>
                </c:pt>
                <c:pt idx="50749">
                  <c:v>32614</c:v>
                </c:pt>
                <c:pt idx="50750">
                  <c:v>32614</c:v>
                </c:pt>
                <c:pt idx="50751">
                  <c:v>32613</c:v>
                </c:pt>
                <c:pt idx="50752">
                  <c:v>32613</c:v>
                </c:pt>
                <c:pt idx="50753">
                  <c:v>32613</c:v>
                </c:pt>
                <c:pt idx="50754">
                  <c:v>32613</c:v>
                </c:pt>
                <c:pt idx="50755">
                  <c:v>32613</c:v>
                </c:pt>
                <c:pt idx="50756">
                  <c:v>32613</c:v>
                </c:pt>
                <c:pt idx="50757">
                  <c:v>32612</c:v>
                </c:pt>
                <c:pt idx="50758">
                  <c:v>32612</c:v>
                </c:pt>
                <c:pt idx="50759">
                  <c:v>32612</c:v>
                </c:pt>
                <c:pt idx="50760">
                  <c:v>32612</c:v>
                </c:pt>
                <c:pt idx="50761">
                  <c:v>32612</c:v>
                </c:pt>
                <c:pt idx="50762">
                  <c:v>32612</c:v>
                </c:pt>
                <c:pt idx="50763">
                  <c:v>32612</c:v>
                </c:pt>
                <c:pt idx="50764">
                  <c:v>32611</c:v>
                </c:pt>
                <c:pt idx="50765">
                  <c:v>32611</c:v>
                </c:pt>
                <c:pt idx="50766">
                  <c:v>32611</c:v>
                </c:pt>
                <c:pt idx="50767">
                  <c:v>32611</c:v>
                </c:pt>
                <c:pt idx="50768">
                  <c:v>32611</c:v>
                </c:pt>
                <c:pt idx="50769">
                  <c:v>32610</c:v>
                </c:pt>
                <c:pt idx="50770">
                  <c:v>32610</c:v>
                </c:pt>
                <c:pt idx="50771">
                  <c:v>32610</c:v>
                </c:pt>
                <c:pt idx="50772">
                  <c:v>32610</c:v>
                </c:pt>
                <c:pt idx="50773">
                  <c:v>32610</c:v>
                </c:pt>
                <c:pt idx="50774">
                  <c:v>32610</c:v>
                </c:pt>
                <c:pt idx="50775">
                  <c:v>32610</c:v>
                </c:pt>
                <c:pt idx="50776">
                  <c:v>32609</c:v>
                </c:pt>
                <c:pt idx="50777">
                  <c:v>32609</c:v>
                </c:pt>
                <c:pt idx="50778">
                  <c:v>32609</c:v>
                </c:pt>
                <c:pt idx="50779">
                  <c:v>32609</c:v>
                </c:pt>
                <c:pt idx="50780">
                  <c:v>32609</c:v>
                </c:pt>
                <c:pt idx="50781">
                  <c:v>32609</c:v>
                </c:pt>
                <c:pt idx="50782">
                  <c:v>32609</c:v>
                </c:pt>
                <c:pt idx="50783">
                  <c:v>32609</c:v>
                </c:pt>
                <c:pt idx="50784">
                  <c:v>32609</c:v>
                </c:pt>
                <c:pt idx="50785">
                  <c:v>32609</c:v>
                </c:pt>
                <c:pt idx="50786">
                  <c:v>32608</c:v>
                </c:pt>
                <c:pt idx="50787">
                  <c:v>32608</c:v>
                </c:pt>
                <c:pt idx="50788">
                  <c:v>32608</c:v>
                </c:pt>
                <c:pt idx="50789">
                  <c:v>32608</c:v>
                </c:pt>
                <c:pt idx="50790">
                  <c:v>32608</c:v>
                </c:pt>
                <c:pt idx="50791">
                  <c:v>32608</c:v>
                </c:pt>
                <c:pt idx="50792">
                  <c:v>32608</c:v>
                </c:pt>
                <c:pt idx="50793">
                  <c:v>32608</c:v>
                </c:pt>
                <c:pt idx="50794">
                  <c:v>32608</c:v>
                </c:pt>
                <c:pt idx="50795">
                  <c:v>32607</c:v>
                </c:pt>
                <c:pt idx="50796">
                  <c:v>32607</c:v>
                </c:pt>
                <c:pt idx="50797">
                  <c:v>32607</c:v>
                </c:pt>
                <c:pt idx="50798">
                  <c:v>32607</c:v>
                </c:pt>
                <c:pt idx="50799">
                  <c:v>32607</c:v>
                </c:pt>
                <c:pt idx="50800">
                  <c:v>32607</c:v>
                </c:pt>
                <c:pt idx="50801">
                  <c:v>32607</c:v>
                </c:pt>
                <c:pt idx="50802">
                  <c:v>32607</c:v>
                </c:pt>
                <c:pt idx="50803">
                  <c:v>32607</c:v>
                </c:pt>
                <c:pt idx="50804">
                  <c:v>32606</c:v>
                </c:pt>
                <c:pt idx="50805">
                  <c:v>32606</c:v>
                </c:pt>
                <c:pt idx="50806">
                  <c:v>32606</c:v>
                </c:pt>
                <c:pt idx="50807">
                  <c:v>32606</c:v>
                </c:pt>
                <c:pt idx="50808">
                  <c:v>32606</c:v>
                </c:pt>
                <c:pt idx="50809">
                  <c:v>32606</c:v>
                </c:pt>
                <c:pt idx="50810">
                  <c:v>32606</c:v>
                </c:pt>
                <c:pt idx="50811">
                  <c:v>32606</c:v>
                </c:pt>
                <c:pt idx="50812">
                  <c:v>32605</c:v>
                </c:pt>
                <c:pt idx="50813">
                  <c:v>32605</c:v>
                </c:pt>
                <c:pt idx="50814">
                  <c:v>32605</c:v>
                </c:pt>
                <c:pt idx="50815">
                  <c:v>32605</c:v>
                </c:pt>
                <c:pt idx="50816">
                  <c:v>32605</c:v>
                </c:pt>
                <c:pt idx="50817">
                  <c:v>32605</c:v>
                </c:pt>
                <c:pt idx="50818">
                  <c:v>32605</c:v>
                </c:pt>
                <c:pt idx="50819">
                  <c:v>32605</c:v>
                </c:pt>
                <c:pt idx="50820">
                  <c:v>32605</c:v>
                </c:pt>
                <c:pt idx="50821">
                  <c:v>32605</c:v>
                </c:pt>
                <c:pt idx="50822">
                  <c:v>32605</c:v>
                </c:pt>
                <c:pt idx="50823">
                  <c:v>32605</c:v>
                </c:pt>
                <c:pt idx="50824">
                  <c:v>32604</c:v>
                </c:pt>
                <c:pt idx="50825">
                  <c:v>32604</c:v>
                </c:pt>
                <c:pt idx="50826">
                  <c:v>32604</c:v>
                </c:pt>
                <c:pt idx="50827">
                  <c:v>32604</c:v>
                </c:pt>
                <c:pt idx="50828">
                  <c:v>32604</c:v>
                </c:pt>
                <c:pt idx="50829">
                  <c:v>32604</c:v>
                </c:pt>
                <c:pt idx="50830">
                  <c:v>32603</c:v>
                </c:pt>
                <c:pt idx="50831">
                  <c:v>32603</c:v>
                </c:pt>
                <c:pt idx="50832">
                  <c:v>32603</c:v>
                </c:pt>
                <c:pt idx="50833">
                  <c:v>32603</c:v>
                </c:pt>
                <c:pt idx="50834">
                  <c:v>32603</c:v>
                </c:pt>
                <c:pt idx="50835">
                  <c:v>32603</c:v>
                </c:pt>
                <c:pt idx="50836">
                  <c:v>32603</c:v>
                </c:pt>
                <c:pt idx="50837">
                  <c:v>32603</c:v>
                </c:pt>
                <c:pt idx="50838">
                  <c:v>32603</c:v>
                </c:pt>
                <c:pt idx="50839">
                  <c:v>32602</c:v>
                </c:pt>
                <c:pt idx="50840">
                  <c:v>32602</c:v>
                </c:pt>
                <c:pt idx="50841">
                  <c:v>32602</c:v>
                </c:pt>
                <c:pt idx="50842">
                  <c:v>32602</c:v>
                </c:pt>
                <c:pt idx="50843">
                  <c:v>32601</c:v>
                </c:pt>
                <c:pt idx="50844">
                  <c:v>32601</c:v>
                </c:pt>
                <c:pt idx="50845">
                  <c:v>32601</c:v>
                </c:pt>
                <c:pt idx="50846">
                  <c:v>32600</c:v>
                </c:pt>
                <c:pt idx="50847">
                  <c:v>32600</c:v>
                </c:pt>
                <c:pt idx="50848">
                  <c:v>32600</c:v>
                </c:pt>
                <c:pt idx="50849">
                  <c:v>32600</c:v>
                </c:pt>
                <c:pt idx="50850">
                  <c:v>32600</c:v>
                </c:pt>
                <c:pt idx="50851">
                  <c:v>32600</c:v>
                </c:pt>
                <c:pt idx="50852">
                  <c:v>32600</c:v>
                </c:pt>
                <c:pt idx="50853">
                  <c:v>32599</c:v>
                </c:pt>
                <c:pt idx="50854">
                  <c:v>32599</c:v>
                </c:pt>
                <c:pt idx="50855">
                  <c:v>32599</c:v>
                </c:pt>
                <c:pt idx="50856">
                  <c:v>32599</c:v>
                </c:pt>
                <c:pt idx="50857">
                  <c:v>32599</c:v>
                </c:pt>
                <c:pt idx="50858">
                  <c:v>32599</c:v>
                </c:pt>
                <c:pt idx="50859">
                  <c:v>32599</c:v>
                </c:pt>
                <c:pt idx="50860">
                  <c:v>32598</c:v>
                </c:pt>
                <c:pt idx="50861">
                  <c:v>32598</c:v>
                </c:pt>
                <c:pt idx="50862">
                  <c:v>32598</c:v>
                </c:pt>
                <c:pt idx="50863">
                  <c:v>32598</c:v>
                </c:pt>
                <c:pt idx="50864">
                  <c:v>32598</c:v>
                </c:pt>
                <c:pt idx="50865">
                  <c:v>32598</c:v>
                </c:pt>
                <c:pt idx="50866">
                  <c:v>32598</c:v>
                </c:pt>
                <c:pt idx="50867">
                  <c:v>32597</c:v>
                </c:pt>
                <c:pt idx="50868">
                  <c:v>32597</c:v>
                </c:pt>
                <c:pt idx="50869">
                  <c:v>32597</c:v>
                </c:pt>
                <c:pt idx="50870">
                  <c:v>32597</c:v>
                </c:pt>
                <c:pt idx="50871">
                  <c:v>32597</c:v>
                </c:pt>
                <c:pt idx="50872">
                  <c:v>32597</c:v>
                </c:pt>
                <c:pt idx="50873">
                  <c:v>32596</c:v>
                </c:pt>
                <c:pt idx="50874">
                  <c:v>32596</c:v>
                </c:pt>
                <c:pt idx="50875">
                  <c:v>32596</c:v>
                </c:pt>
                <c:pt idx="50876">
                  <c:v>32596</c:v>
                </c:pt>
                <c:pt idx="50877">
                  <c:v>32596</c:v>
                </c:pt>
                <c:pt idx="50878">
                  <c:v>32595</c:v>
                </c:pt>
                <c:pt idx="50879">
                  <c:v>32595</c:v>
                </c:pt>
                <c:pt idx="50880">
                  <c:v>32595</c:v>
                </c:pt>
                <c:pt idx="50881">
                  <c:v>32595</c:v>
                </c:pt>
                <c:pt idx="50882">
                  <c:v>32595</c:v>
                </c:pt>
                <c:pt idx="50883">
                  <c:v>32595</c:v>
                </c:pt>
                <c:pt idx="50884">
                  <c:v>32595</c:v>
                </c:pt>
                <c:pt idx="50885">
                  <c:v>32595</c:v>
                </c:pt>
                <c:pt idx="50886">
                  <c:v>32595</c:v>
                </c:pt>
                <c:pt idx="50887">
                  <c:v>32594</c:v>
                </c:pt>
                <c:pt idx="50888">
                  <c:v>32594</c:v>
                </c:pt>
                <c:pt idx="50889">
                  <c:v>32594</c:v>
                </c:pt>
                <c:pt idx="50890">
                  <c:v>32594</c:v>
                </c:pt>
                <c:pt idx="50891">
                  <c:v>32594</c:v>
                </c:pt>
                <c:pt idx="50892">
                  <c:v>32594</c:v>
                </c:pt>
                <c:pt idx="50893">
                  <c:v>32594</c:v>
                </c:pt>
                <c:pt idx="50894">
                  <c:v>32594</c:v>
                </c:pt>
                <c:pt idx="50895">
                  <c:v>32593</c:v>
                </c:pt>
                <c:pt idx="50896">
                  <c:v>32593</c:v>
                </c:pt>
                <c:pt idx="50897">
                  <c:v>32593</c:v>
                </c:pt>
                <c:pt idx="50898">
                  <c:v>32592</c:v>
                </c:pt>
                <c:pt idx="50899">
                  <c:v>32592</c:v>
                </c:pt>
                <c:pt idx="50900">
                  <c:v>32592</c:v>
                </c:pt>
                <c:pt idx="50901">
                  <c:v>32592</c:v>
                </c:pt>
                <c:pt idx="50902">
                  <c:v>32592</c:v>
                </c:pt>
                <c:pt idx="50903">
                  <c:v>32591</c:v>
                </c:pt>
                <c:pt idx="50904">
                  <c:v>32591</c:v>
                </c:pt>
                <c:pt idx="50905">
                  <c:v>32591</c:v>
                </c:pt>
                <c:pt idx="50906">
                  <c:v>32591</c:v>
                </c:pt>
                <c:pt idx="50907">
                  <c:v>32591</c:v>
                </c:pt>
                <c:pt idx="50908">
                  <c:v>32591</c:v>
                </c:pt>
                <c:pt idx="50909">
                  <c:v>32591</c:v>
                </c:pt>
                <c:pt idx="50910">
                  <c:v>32590</c:v>
                </c:pt>
                <c:pt idx="50911">
                  <c:v>32590</c:v>
                </c:pt>
                <c:pt idx="50912">
                  <c:v>32590</c:v>
                </c:pt>
                <c:pt idx="50913">
                  <c:v>32590</c:v>
                </c:pt>
                <c:pt idx="50914">
                  <c:v>32590</c:v>
                </c:pt>
                <c:pt idx="50915">
                  <c:v>32590</c:v>
                </c:pt>
                <c:pt idx="50916">
                  <c:v>32589</c:v>
                </c:pt>
                <c:pt idx="50917">
                  <c:v>32589</c:v>
                </c:pt>
                <c:pt idx="50918">
                  <c:v>32589</c:v>
                </c:pt>
                <c:pt idx="50919">
                  <c:v>32589</c:v>
                </c:pt>
                <c:pt idx="50920">
                  <c:v>32589</c:v>
                </c:pt>
                <c:pt idx="50921">
                  <c:v>32588</c:v>
                </c:pt>
                <c:pt idx="50922">
                  <c:v>32588</c:v>
                </c:pt>
                <c:pt idx="50923">
                  <c:v>32588</c:v>
                </c:pt>
                <c:pt idx="50924">
                  <c:v>32588</c:v>
                </c:pt>
                <c:pt idx="50925">
                  <c:v>32588</c:v>
                </c:pt>
                <c:pt idx="50926">
                  <c:v>32588</c:v>
                </c:pt>
                <c:pt idx="50927">
                  <c:v>32587</c:v>
                </c:pt>
                <c:pt idx="50928">
                  <c:v>32587</c:v>
                </c:pt>
                <c:pt idx="50929">
                  <c:v>32587</c:v>
                </c:pt>
                <c:pt idx="50930">
                  <c:v>32587</c:v>
                </c:pt>
                <c:pt idx="50931">
                  <c:v>32587</c:v>
                </c:pt>
                <c:pt idx="50932">
                  <c:v>32587</c:v>
                </c:pt>
                <c:pt idx="50933">
                  <c:v>32587</c:v>
                </c:pt>
                <c:pt idx="50934">
                  <c:v>32587</c:v>
                </c:pt>
                <c:pt idx="50935">
                  <c:v>32586</c:v>
                </c:pt>
                <c:pt idx="50936">
                  <c:v>32586</c:v>
                </c:pt>
                <c:pt idx="50937">
                  <c:v>32586</c:v>
                </c:pt>
                <c:pt idx="50938">
                  <c:v>32586</c:v>
                </c:pt>
                <c:pt idx="50939">
                  <c:v>32586</c:v>
                </c:pt>
                <c:pt idx="50940">
                  <c:v>32585</c:v>
                </c:pt>
                <c:pt idx="50941">
                  <c:v>32585</c:v>
                </c:pt>
                <c:pt idx="50942">
                  <c:v>32585</c:v>
                </c:pt>
                <c:pt idx="50943">
                  <c:v>32585</c:v>
                </c:pt>
                <c:pt idx="50944">
                  <c:v>32585</c:v>
                </c:pt>
                <c:pt idx="50945">
                  <c:v>32585</c:v>
                </c:pt>
                <c:pt idx="50946">
                  <c:v>32585</c:v>
                </c:pt>
                <c:pt idx="50947">
                  <c:v>32584</c:v>
                </c:pt>
                <c:pt idx="50948">
                  <c:v>32584</c:v>
                </c:pt>
                <c:pt idx="50949">
                  <c:v>32584</c:v>
                </c:pt>
                <c:pt idx="50950">
                  <c:v>32584</c:v>
                </c:pt>
                <c:pt idx="50951">
                  <c:v>32583</c:v>
                </c:pt>
                <c:pt idx="50952">
                  <c:v>32583</c:v>
                </c:pt>
                <c:pt idx="50953">
                  <c:v>32583</c:v>
                </c:pt>
                <c:pt idx="50954">
                  <c:v>32583</c:v>
                </c:pt>
                <c:pt idx="50955">
                  <c:v>32582</c:v>
                </c:pt>
                <c:pt idx="50956">
                  <c:v>32582</c:v>
                </c:pt>
                <c:pt idx="50957">
                  <c:v>32582</c:v>
                </c:pt>
                <c:pt idx="50958">
                  <c:v>32582</c:v>
                </c:pt>
                <c:pt idx="50959">
                  <c:v>32582</c:v>
                </c:pt>
                <c:pt idx="50960">
                  <c:v>32582</c:v>
                </c:pt>
                <c:pt idx="50961">
                  <c:v>32582</c:v>
                </c:pt>
                <c:pt idx="50962">
                  <c:v>32582</c:v>
                </c:pt>
                <c:pt idx="50963">
                  <c:v>32582</c:v>
                </c:pt>
                <c:pt idx="50964">
                  <c:v>32581</c:v>
                </c:pt>
                <c:pt idx="50965">
                  <c:v>32581</c:v>
                </c:pt>
                <c:pt idx="50966">
                  <c:v>32580</c:v>
                </c:pt>
                <c:pt idx="50967">
                  <c:v>32580</c:v>
                </c:pt>
                <c:pt idx="50968">
                  <c:v>32580</c:v>
                </c:pt>
                <c:pt idx="50969">
                  <c:v>32580</c:v>
                </c:pt>
                <c:pt idx="50970">
                  <c:v>32580</c:v>
                </c:pt>
                <c:pt idx="50971">
                  <c:v>32580</c:v>
                </c:pt>
                <c:pt idx="50972">
                  <c:v>32580</c:v>
                </c:pt>
                <c:pt idx="50973">
                  <c:v>32580</c:v>
                </c:pt>
                <c:pt idx="50974">
                  <c:v>32580</c:v>
                </c:pt>
                <c:pt idx="50975">
                  <c:v>32579</c:v>
                </c:pt>
                <c:pt idx="50976">
                  <c:v>32579</c:v>
                </c:pt>
                <c:pt idx="50977">
                  <c:v>32579</c:v>
                </c:pt>
                <c:pt idx="50978">
                  <c:v>32579</c:v>
                </c:pt>
                <c:pt idx="50979">
                  <c:v>32579</c:v>
                </c:pt>
                <c:pt idx="50980">
                  <c:v>32578</c:v>
                </c:pt>
                <c:pt idx="50981">
                  <c:v>32578</c:v>
                </c:pt>
                <c:pt idx="50982">
                  <c:v>32578</c:v>
                </c:pt>
                <c:pt idx="50983">
                  <c:v>32578</c:v>
                </c:pt>
                <c:pt idx="50984">
                  <c:v>32578</c:v>
                </c:pt>
                <c:pt idx="50985">
                  <c:v>32578</c:v>
                </c:pt>
                <c:pt idx="50986">
                  <c:v>32578</c:v>
                </c:pt>
                <c:pt idx="50987">
                  <c:v>32578</c:v>
                </c:pt>
                <c:pt idx="50988">
                  <c:v>32578</c:v>
                </c:pt>
                <c:pt idx="50989">
                  <c:v>32577</c:v>
                </c:pt>
                <c:pt idx="50990">
                  <c:v>32577</c:v>
                </c:pt>
                <c:pt idx="50991">
                  <c:v>32577</c:v>
                </c:pt>
                <c:pt idx="50992">
                  <c:v>32577</c:v>
                </c:pt>
                <c:pt idx="50993">
                  <c:v>32577</c:v>
                </c:pt>
                <c:pt idx="50994">
                  <c:v>32577</c:v>
                </c:pt>
                <c:pt idx="50995">
                  <c:v>32577</c:v>
                </c:pt>
                <c:pt idx="50996">
                  <c:v>32577</c:v>
                </c:pt>
                <c:pt idx="50997">
                  <c:v>32577</c:v>
                </c:pt>
                <c:pt idx="50998">
                  <c:v>32576</c:v>
                </c:pt>
                <c:pt idx="50999">
                  <c:v>32576</c:v>
                </c:pt>
                <c:pt idx="51000">
                  <c:v>32576</c:v>
                </c:pt>
                <c:pt idx="51001">
                  <c:v>32576</c:v>
                </c:pt>
                <c:pt idx="51002">
                  <c:v>32576</c:v>
                </c:pt>
                <c:pt idx="51003">
                  <c:v>32576</c:v>
                </c:pt>
                <c:pt idx="51004">
                  <c:v>32576</c:v>
                </c:pt>
                <c:pt idx="51005">
                  <c:v>32576</c:v>
                </c:pt>
                <c:pt idx="51006">
                  <c:v>32576</c:v>
                </c:pt>
                <c:pt idx="51007">
                  <c:v>32575</c:v>
                </c:pt>
                <c:pt idx="51008">
                  <c:v>32575</c:v>
                </c:pt>
                <c:pt idx="51009">
                  <c:v>32575</c:v>
                </c:pt>
                <c:pt idx="51010">
                  <c:v>32575</c:v>
                </c:pt>
                <c:pt idx="51011">
                  <c:v>32575</c:v>
                </c:pt>
                <c:pt idx="51012">
                  <c:v>32575</c:v>
                </c:pt>
                <c:pt idx="51013">
                  <c:v>32575</c:v>
                </c:pt>
                <c:pt idx="51014">
                  <c:v>32575</c:v>
                </c:pt>
                <c:pt idx="51015">
                  <c:v>32574</c:v>
                </c:pt>
                <c:pt idx="51016">
                  <c:v>32574</c:v>
                </c:pt>
                <c:pt idx="51017">
                  <c:v>32574</c:v>
                </c:pt>
                <c:pt idx="51018">
                  <c:v>32574</c:v>
                </c:pt>
                <c:pt idx="51019">
                  <c:v>32574</c:v>
                </c:pt>
                <c:pt idx="51020">
                  <c:v>32574</c:v>
                </c:pt>
                <c:pt idx="51021">
                  <c:v>32574</c:v>
                </c:pt>
                <c:pt idx="51022">
                  <c:v>32573</c:v>
                </c:pt>
                <c:pt idx="51023">
                  <c:v>32573</c:v>
                </c:pt>
                <c:pt idx="51024">
                  <c:v>32573</c:v>
                </c:pt>
                <c:pt idx="51025">
                  <c:v>32573</c:v>
                </c:pt>
                <c:pt idx="51026">
                  <c:v>32573</c:v>
                </c:pt>
                <c:pt idx="51027">
                  <c:v>32573</c:v>
                </c:pt>
                <c:pt idx="51028">
                  <c:v>32573</c:v>
                </c:pt>
                <c:pt idx="51029">
                  <c:v>32573</c:v>
                </c:pt>
                <c:pt idx="51030">
                  <c:v>32573</c:v>
                </c:pt>
                <c:pt idx="51031">
                  <c:v>32572</c:v>
                </c:pt>
                <c:pt idx="51032">
                  <c:v>32572</c:v>
                </c:pt>
                <c:pt idx="51033">
                  <c:v>32572</c:v>
                </c:pt>
                <c:pt idx="51034">
                  <c:v>32572</c:v>
                </c:pt>
                <c:pt idx="51035">
                  <c:v>32572</c:v>
                </c:pt>
                <c:pt idx="51036">
                  <c:v>32572</c:v>
                </c:pt>
                <c:pt idx="51037">
                  <c:v>32572</c:v>
                </c:pt>
                <c:pt idx="51038">
                  <c:v>32572</c:v>
                </c:pt>
                <c:pt idx="51039">
                  <c:v>32572</c:v>
                </c:pt>
                <c:pt idx="51040">
                  <c:v>32572</c:v>
                </c:pt>
                <c:pt idx="51041">
                  <c:v>32572</c:v>
                </c:pt>
                <c:pt idx="51042">
                  <c:v>32571</c:v>
                </c:pt>
                <c:pt idx="51043">
                  <c:v>32571</c:v>
                </c:pt>
                <c:pt idx="51044">
                  <c:v>32571</c:v>
                </c:pt>
                <c:pt idx="51045">
                  <c:v>32571</c:v>
                </c:pt>
                <c:pt idx="51046">
                  <c:v>32571</c:v>
                </c:pt>
                <c:pt idx="51047">
                  <c:v>32571</c:v>
                </c:pt>
                <c:pt idx="51048">
                  <c:v>32571</c:v>
                </c:pt>
                <c:pt idx="51049">
                  <c:v>32571</c:v>
                </c:pt>
                <c:pt idx="51050">
                  <c:v>32571</c:v>
                </c:pt>
                <c:pt idx="51051">
                  <c:v>32570</c:v>
                </c:pt>
                <c:pt idx="51052">
                  <c:v>32570</c:v>
                </c:pt>
                <c:pt idx="51053">
                  <c:v>32570</c:v>
                </c:pt>
                <c:pt idx="51054">
                  <c:v>32570</c:v>
                </c:pt>
                <c:pt idx="51055">
                  <c:v>32570</c:v>
                </c:pt>
                <c:pt idx="51056">
                  <c:v>32570</c:v>
                </c:pt>
                <c:pt idx="51057">
                  <c:v>32570</c:v>
                </c:pt>
                <c:pt idx="51058">
                  <c:v>32570</c:v>
                </c:pt>
                <c:pt idx="51059">
                  <c:v>32569</c:v>
                </c:pt>
                <c:pt idx="51060">
                  <c:v>32569</c:v>
                </c:pt>
                <c:pt idx="51061">
                  <c:v>32569</c:v>
                </c:pt>
                <c:pt idx="51062">
                  <c:v>32568</c:v>
                </c:pt>
                <c:pt idx="51063">
                  <c:v>32568</c:v>
                </c:pt>
                <c:pt idx="51064">
                  <c:v>32567</c:v>
                </c:pt>
                <c:pt idx="51065">
                  <c:v>32567</c:v>
                </c:pt>
                <c:pt idx="51066">
                  <c:v>32567</c:v>
                </c:pt>
                <c:pt idx="51067">
                  <c:v>32567</c:v>
                </c:pt>
                <c:pt idx="51068">
                  <c:v>32567</c:v>
                </c:pt>
                <c:pt idx="51069">
                  <c:v>32567</c:v>
                </c:pt>
                <c:pt idx="51070">
                  <c:v>32567</c:v>
                </c:pt>
                <c:pt idx="51071">
                  <c:v>32567</c:v>
                </c:pt>
                <c:pt idx="51072">
                  <c:v>32567</c:v>
                </c:pt>
                <c:pt idx="51073">
                  <c:v>32566</c:v>
                </c:pt>
                <c:pt idx="51074">
                  <c:v>32566</c:v>
                </c:pt>
                <c:pt idx="51075">
                  <c:v>32566</c:v>
                </c:pt>
                <c:pt idx="51076">
                  <c:v>32566</c:v>
                </c:pt>
                <c:pt idx="51077">
                  <c:v>32566</c:v>
                </c:pt>
                <c:pt idx="51078">
                  <c:v>32566</c:v>
                </c:pt>
                <c:pt idx="51079">
                  <c:v>32566</c:v>
                </c:pt>
                <c:pt idx="51080">
                  <c:v>32566</c:v>
                </c:pt>
                <c:pt idx="51081">
                  <c:v>32566</c:v>
                </c:pt>
                <c:pt idx="51082">
                  <c:v>32566</c:v>
                </c:pt>
                <c:pt idx="51083">
                  <c:v>32565</c:v>
                </c:pt>
                <c:pt idx="51084">
                  <c:v>32565</c:v>
                </c:pt>
                <c:pt idx="51085">
                  <c:v>32565</c:v>
                </c:pt>
                <c:pt idx="51086">
                  <c:v>32565</c:v>
                </c:pt>
                <c:pt idx="51087">
                  <c:v>32565</c:v>
                </c:pt>
                <c:pt idx="51088">
                  <c:v>32565</c:v>
                </c:pt>
                <c:pt idx="51089">
                  <c:v>32565</c:v>
                </c:pt>
                <c:pt idx="51090">
                  <c:v>32565</c:v>
                </c:pt>
                <c:pt idx="51091">
                  <c:v>32565</c:v>
                </c:pt>
                <c:pt idx="51092">
                  <c:v>32565</c:v>
                </c:pt>
                <c:pt idx="51093">
                  <c:v>32564</c:v>
                </c:pt>
                <c:pt idx="51094">
                  <c:v>32564</c:v>
                </c:pt>
                <c:pt idx="51095">
                  <c:v>32564</c:v>
                </c:pt>
                <c:pt idx="51096">
                  <c:v>32564</c:v>
                </c:pt>
                <c:pt idx="51097">
                  <c:v>32564</c:v>
                </c:pt>
                <c:pt idx="51098">
                  <c:v>32563</c:v>
                </c:pt>
                <c:pt idx="51099">
                  <c:v>32563</c:v>
                </c:pt>
                <c:pt idx="51100">
                  <c:v>32563</c:v>
                </c:pt>
                <c:pt idx="51101">
                  <c:v>32563</c:v>
                </c:pt>
                <c:pt idx="51102">
                  <c:v>32563</c:v>
                </c:pt>
                <c:pt idx="51103">
                  <c:v>32563</c:v>
                </c:pt>
                <c:pt idx="51104">
                  <c:v>32563</c:v>
                </c:pt>
                <c:pt idx="51105">
                  <c:v>32562</c:v>
                </c:pt>
                <c:pt idx="51106">
                  <c:v>32562</c:v>
                </c:pt>
                <c:pt idx="51107">
                  <c:v>32562</c:v>
                </c:pt>
                <c:pt idx="51108">
                  <c:v>32562</c:v>
                </c:pt>
                <c:pt idx="51109">
                  <c:v>32562</c:v>
                </c:pt>
                <c:pt idx="51110">
                  <c:v>32562</c:v>
                </c:pt>
                <c:pt idx="51111">
                  <c:v>32562</c:v>
                </c:pt>
                <c:pt idx="51112">
                  <c:v>32562</c:v>
                </c:pt>
                <c:pt idx="51113">
                  <c:v>32562</c:v>
                </c:pt>
                <c:pt idx="51114">
                  <c:v>32562</c:v>
                </c:pt>
                <c:pt idx="51115">
                  <c:v>32562</c:v>
                </c:pt>
                <c:pt idx="51116">
                  <c:v>32561</c:v>
                </c:pt>
                <c:pt idx="51117">
                  <c:v>32561</c:v>
                </c:pt>
                <c:pt idx="51118">
                  <c:v>32561</c:v>
                </c:pt>
                <c:pt idx="51119">
                  <c:v>32561</c:v>
                </c:pt>
                <c:pt idx="51120">
                  <c:v>32561</c:v>
                </c:pt>
                <c:pt idx="51121">
                  <c:v>32561</c:v>
                </c:pt>
                <c:pt idx="51122">
                  <c:v>32561</c:v>
                </c:pt>
                <c:pt idx="51123">
                  <c:v>32561</c:v>
                </c:pt>
                <c:pt idx="51124">
                  <c:v>32560</c:v>
                </c:pt>
                <c:pt idx="51125">
                  <c:v>32560</c:v>
                </c:pt>
                <c:pt idx="51126">
                  <c:v>32560</c:v>
                </c:pt>
                <c:pt idx="51127">
                  <c:v>32560</c:v>
                </c:pt>
                <c:pt idx="51128">
                  <c:v>32560</c:v>
                </c:pt>
                <c:pt idx="51129">
                  <c:v>32560</c:v>
                </c:pt>
                <c:pt idx="51130">
                  <c:v>32560</c:v>
                </c:pt>
                <c:pt idx="51131">
                  <c:v>32559</c:v>
                </c:pt>
                <c:pt idx="51132">
                  <c:v>32559</c:v>
                </c:pt>
                <c:pt idx="51133">
                  <c:v>32559</c:v>
                </c:pt>
                <c:pt idx="51134">
                  <c:v>32559</c:v>
                </c:pt>
                <c:pt idx="51135">
                  <c:v>32559</c:v>
                </c:pt>
                <c:pt idx="51136">
                  <c:v>32559</c:v>
                </c:pt>
                <c:pt idx="51137">
                  <c:v>32559</c:v>
                </c:pt>
                <c:pt idx="51138">
                  <c:v>32559</c:v>
                </c:pt>
                <c:pt idx="51139">
                  <c:v>32559</c:v>
                </c:pt>
                <c:pt idx="51140">
                  <c:v>32559</c:v>
                </c:pt>
                <c:pt idx="51141">
                  <c:v>32558</c:v>
                </c:pt>
                <c:pt idx="51142">
                  <c:v>32558</c:v>
                </c:pt>
                <c:pt idx="51143">
                  <c:v>32558</c:v>
                </c:pt>
                <c:pt idx="51144">
                  <c:v>32558</c:v>
                </c:pt>
                <c:pt idx="51145">
                  <c:v>32558</c:v>
                </c:pt>
                <c:pt idx="51146">
                  <c:v>32557</c:v>
                </c:pt>
                <c:pt idx="51147">
                  <c:v>32557</c:v>
                </c:pt>
                <c:pt idx="51148">
                  <c:v>32557</c:v>
                </c:pt>
                <c:pt idx="51149">
                  <c:v>32557</c:v>
                </c:pt>
                <c:pt idx="51150">
                  <c:v>32557</c:v>
                </c:pt>
                <c:pt idx="51151">
                  <c:v>32556</c:v>
                </c:pt>
                <c:pt idx="51152">
                  <c:v>32556</c:v>
                </c:pt>
                <c:pt idx="51153">
                  <c:v>32556</c:v>
                </c:pt>
                <c:pt idx="51154">
                  <c:v>32556</c:v>
                </c:pt>
                <c:pt idx="51155">
                  <c:v>32556</c:v>
                </c:pt>
                <c:pt idx="51156">
                  <c:v>32556</c:v>
                </c:pt>
                <c:pt idx="51157">
                  <c:v>32555</c:v>
                </c:pt>
                <c:pt idx="51158">
                  <c:v>32555</c:v>
                </c:pt>
                <c:pt idx="51159">
                  <c:v>32555</c:v>
                </c:pt>
                <c:pt idx="51160">
                  <c:v>32555</c:v>
                </c:pt>
                <c:pt idx="51161">
                  <c:v>32555</c:v>
                </c:pt>
                <c:pt idx="51162">
                  <c:v>32555</c:v>
                </c:pt>
                <c:pt idx="51163">
                  <c:v>32555</c:v>
                </c:pt>
                <c:pt idx="51164">
                  <c:v>32555</c:v>
                </c:pt>
                <c:pt idx="51165">
                  <c:v>32555</c:v>
                </c:pt>
                <c:pt idx="51166">
                  <c:v>32555</c:v>
                </c:pt>
                <c:pt idx="51167">
                  <c:v>32555</c:v>
                </c:pt>
                <c:pt idx="51168">
                  <c:v>32555</c:v>
                </c:pt>
                <c:pt idx="51169">
                  <c:v>32555</c:v>
                </c:pt>
                <c:pt idx="51170">
                  <c:v>32555</c:v>
                </c:pt>
                <c:pt idx="51171">
                  <c:v>32555</c:v>
                </c:pt>
                <c:pt idx="51172">
                  <c:v>32554</c:v>
                </c:pt>
                <c:pt idx="51173">
                  <c:v>32554</c:v>
                </c:pt>
                <c:pt idx="51174">
                  <c:v>32554</c:v>
                </c:pt>
                <c:pt idx="51175">
                  <c:v>32554</c:v>
                </c:pt>
                <c:pt idx="51176">
                  <c:v>32554</c:v>
                </c:pt>
                <c:pt idx="51177">
                  <c:v>32554</c:v>
                </c:pt>
                <c:pt idx="51178">
                  <c:v>32554</c:v>
                </c:pt>
                <c:pt idx="51179">
                  <c:v>32554</c:v>
                </c:pt>
                <c:pt idx="51180">
                  <c:v>32554</c:v>
                </c:pt>
                <c:pt idx="51181">
                  <c:v>32554</c:v>
                </c:pt>
                <c:pt idx="51182">
                  <c:v>32553</c:v>
                </c:pt>
                <c:pt idx="51183">
                  <c:v>32553</c:v>
                </c:pt>
                <c:pt idx="51184">
                  <c:v>32553</c:v>
                </c:pt>
                <c:pt idx="51185">
                  <c:v>32553</c:v>
                </c:pt>
                <c:pt idx="51186">
                  <c:v>32552</c:v>
                </c:pt>
                <c:pt idx="51187">
                  <c:v>32552</c:v>
                </c:pt>
                <c:pt idx="51188">
                  <c:v>32552</c:v>
                </c:pt>
                <c:pt idx="51189">
                  <c:v>32552</c:v>
                </c:pt>
                <c:pt idx="51190">
                  <c:v>32552</c:v>
                </c:pt>
                <c:pt idx="51191">
                  <c:v>32552</c:v>
                </c:pt>
                <c:pt idx="51192">
                  <c:v>32552</c:v>
                </c:pt>
                <c:pt idx="51193">
                  <c:v>32552</c:v>
                </c:pt>
                <c:pt idx="51194">
                  <c:v>32551</c:v>
                </c:pt>
                <c:pt idx="51195">
                  <c:v>32551</c:v>
                </c:pt>
                <c:pt idx="51196">
                  <c:v>32551</c:v>
                </c:pt>
                <c:pt idx="51197">
                  <c:v>32551</c:v>
                </c:pt>
                <c:pt idx="51198">
                  <c:v>32551</c:v>
                </c:pt>
                <c:pt idx="51199">
                  <c:v>32551</c:v>
                </c:pt>
                <c:pt idx="51200">
                  <c:v>32551</c:v>
                </c:pt>
                <c:pt idx="51201">
                  <c:v>32551</c:v>
                </c:pt>
                <c:pt idx="51202">
                  <c:v>32551</c:v>
                </c:pt>
                <c:pt idx="51203">
                  <c:v>32550</c:v>
                </c:pt>
                <c:pt idx="51204">
                  <c:v>32550</c:v>
                </c:pt>
                <c:pt idx="51205">
                  <c:v>32550</c:v>
                </c:pt>
                <c:pt idx="51206">
                  <c:v>32550</c:v>
                </c:pt>
                <c:pt idx="51207">
                  <c:v>32550</c:v>
                </c:pt>
                <c:pt idx="51208">
                  <c:v>32550</c:v>
                </c:pt>
                <c:pt idx="51209">
                  <c:v>32550</c:v>
                </c:pt>
                <c:pt idx="51210">
                  <c:v>32550</c:v>
                </c:pt>
                <c:pt idx="51211">
                  <c:v>32549</c:v>
                </c:pt>
                <c:pt idx="51212">
                  <c:v>32549</c:v>
                </c:pt>
                <c:pt idx="51213">
                  <c:v>32549</c:v>
                </c:pt>
                <c:pt idx="51214">
                  <c:v>32549</c:v>
                </c:pt>
                <c:pt idx="51215">
                  <c:v>32549</c:v>
                </c:pt>
                <c:pt idx="51216">
                  <c:v>32549</c:v>
                </c:pt>
                <c:pt idx="51217">
                  <c:v>32549</c:v>
                </c:pt>
                <c:pt idx="51218">
                  <c:v>32549</c:v>
                </c:pt>
                <c:pt idx="51219">
                  <c:v>32549</c:v>
                </c:pt>
                <c:pt idx="51220">
                  <c:v>32549</c:v>
                </c:pt>
                <c:pt idx="51221">
                  <c:v>32548</c:v>
                </c:pt>
                <c:pt idx="51222">
                  <c:v>32548</c:v>
                </c:pt>
                <c:pt idx="51223">
                  <c:v>32548</c:v>
                </c:pt>
                <c:pt idx="51224">
                  <c:v>32548</c:v>
                </c:pt>
                <c:pt idx="51225">
                  <c:v>32548</c:v>
                </c:pt>
                <c:pt idx="51226">
                  <c:v>32548</c:v>
                </c:pt>
                <c:pt idx="51227">
                  <c:v>32548</c:v>
                </c:pt>
                <c:pt idx="51228">
                  <c:v>32548</c:v>
                </c:pt>
                <c:pt idx="51229">
                  <c:v>32548</c:v>
                </c:pt>
                <c:pt idx="51230">
                  <c:v>32548</c:v>
                </c:pt>
                <c:pt idx="51231">
                  <c:v>32548</c:v>
                </c:pt>
                <c:pt idx="51232">
                  <c:v>32547</c:v>
                </c:pt>
                <c:pt idx="51233">
                  <c:v>32547</c:v>
                </c:pt>
                <c:pt idx="51234">
                  <c:v>32547</c:v>
                </c:pt>
                <c:pt idx="51235">
                  <c:v>32547</c:v>
                </c:pt>
                <c:pt idx="51236">
                  <c:v>32547</c:v>
                </c:pt>
                <c:pt idx="51237">
                  <c:v>32547</c:v>
                </c:pt>
                <c:pt idx="51238">
                  <c:v>32547</c:v>
                </c:pt>
                <c:pt idx="51239">
                  <c:v>32547</c:v>
                </c:pt>
                <c:pt idx="51240">
                  <c:v>32546</c:v>
                </c:pt>
                <c:pt idx="51241">
                  <c:v>32546</c:v>
                </c:pt>
                <c:pt idx="51242">
                  <c:v>32546</c:v>
                </c:pt>
                <c:pt idx="51243">
                  <c:v>32545</c:v>
                </c:pt>
                <c:pt idx="51244">
                  <c:v>32545</c:v>
                </c:pt>
                <c:pt idx="51245">
                  <c:v>32545</c:v>
                </c:pt>
                <c:pt idx="51246">
                  <c:v>32544</c:v>
                </c:pt>
                <c:pt idx="51247">
                  <c:v>32544</c:v>
                </c:pt>
                <c:pt idx="51248">
                  <c:v>32544</c:v>
                </c:pt>
                <c:pt idx="51249">
                  <c:v>32544</c:v>
                </c:pt>
                <c:pt idx="51250">
                  <c:v>32544</c:v>
                </c:pt>
                <c:pt idx="51251">
                  <c:v>32544</c:v>
                </c:pt>
                <c:pt idx="51252">
                  <c:v>32544</c:v>
                </c:pt>
                <c:pt idx="51253">
                  <c:v>32544</c:v>
                </c:pt>
                <c:pt idx="51254">
                  <c:v>32544</c:v>
                </c:pt>
                <c:pt idx="51255">
                  <c:v>32543</c:v>
                </c:pt>
                <c:pt idx="51256">
                  <c:v>32543</c:v>
                </c:pt>
                <c:pt idx="51257">
                  <c:v>32543</c:v>
                </c:pt>
                <c:pt idx="51258">
                  <c:v>32543</c:v>
                </c:pt>
                <c:pt idx="51259">
                  <c:v>32543</c:v>
                </c:pt>
                <c:pt idx="51260">
                  <c:v>32543</c:v>
                </c:pt>
                <c:pt idx="51261">
                  <c:v>32543</c:v>
                </c:pt>
                <c:pt idx="51262">
                  <c:v>32542</c:v>
                </c:pt>
                <c:pt idx="51263">
                  <c:v>32542</c:v>
                </c:pt>
                <c:pt idx="51264">
                  <c:v>32542</c:v>
                </c:pt>
                <c:pt idx="51265">
                  <c:v>32542</c:v>
                </c:pt>
                <c:pt idx="51266">
                  <c:v>32542</c:v>
                </c:pt>
                <c:pt idx="51267">
                  <c:v>32541</c:v>
                </c:pt>
                <c:pt idx="51268">
                  <c:v>32541</c:v>
                </c:pt>
                <c:pt idx="51269">
                  <c:v>32541</c:v>
                </c:pt>
                <c:pt idx="51270">
                  <c:v>32541</c:v>
                </c:pt>
                <c:pt idx="51271">
                  <c:v>32541</c:v>
                </c:pt>
                <c:pt idx="51272">
                  <c:v>32541</c:v>
                </c:pt>
                <c:pt idx="51273">
                  <c:v>32540</c:v>
                </c:pt>
                <c:pt idx="51274">
                  <c:v>32540</c:v>
                </c:pt>
                <c:pt idx="51275">
                  <c:v>32540</c:v>
                </c:pt>
                <c:pt idx="51276">
                  <c:v>32540</c:v>
                </c:pt>
                <c:pt idx="51277">
                  <c:v>32540</c:v>
                </c:pt>
                <c:pt idx="51278">
                  <c:v>32540</c:v>
                </c:pt>
                <c:pt idx="51279">
                  <c:v>32540</c:v>
                </c:pt>
                <c:pt idx="51280">
                  <c:v>32540</c:v>
                </c:pt>
                <c:pt idx="51281">
                  <c:v>32540</c:v>
                </c:pt>
                <c:pt idx="51282">
                  <c:v>32540</c:v>
                </c:pt>
                <c:pt idx="51283">
                  <c:v>32540</c:v>
                </c:pt>
                <c:pt idx="51284">
                  <c:v>32539</c:v>
                </c:pt>
                <c:pt idx="51285">
                  <c:v>32539</c:v>
                </c:pt>
                <c:pt idx="51286">
                  <c:v>32539</c:v>
                </c:pt>
                <c:pt idx="51287">
                  <c:v>32539</c:v>
                </c:pt>
                <c:pt idx="51288">
                  <c:v>32539</c:v>
                </c:pt>
                <c:pt idx="51289">
                  <c:v>32539</c:v>
                </c:pt>
                <c:pt idx="51290">
                  <c:v>32539</c:v>
                </c:pt>
                <c:pt idx="51291">
                  <c:v>32538</c:v>
                </c:pt>
                <c:pt idx="51292">
                  <c:v>32538</c:v>
                </c:pt>
                <c:pt idx="51293">
                  <c:v>32538</c:v>
                </c:pt>
                <c:pt idx="51294">
                  <c:v>32538</c:v>
                </c:pt>
                <c:pt idx="51295">
                  <c:v>32537</c:v>
                </c:pt>
                <c:pt idx="51296">
                  <c:v>32537</c:v>
                </c:pt>
                <c:pt idx="51297">
                  <c:v>32537</c:v>
                </c:pt>
                <c:pt idx="51298">
                  <c:v>32537</c:v>
                </c:pt>
                <c:pt idx="51299">
                  <c:v>32537</c:v>
                </c:pt>
                <c:pt idx="51300">
                  <c:v>32536</c:v>
                </c:pt>
                <c:pt idx="51301">
                  <c:v>32536</c:v>
                </c:pt>
                <c:pt idx="51302">
                  <c:v>32536</c:v>
                </c:pt>
                <c:pt idx="51303">
                  <c:v>32536</c:v>
                </c:pt>
                <c:pt idx="51304">
                  <c:v>32536</c:v>
                </c:pt>
                <c:pt idx="51305">
                  <c:v>32536</c:v>
                </c:pt>
                <c:pt idx="51306">
                  <c:v>32536</c:v>
                </c:pt>
                <c:pt idx="51307">
                  <c:v>32536</c:v>
                </c:pt>
                <c:pt idx="51308">
                  <c:v>32536</c:v>
                </c:pt>
                <c:pt idx="51309">
                  <c:v>32535</c:v>
                </c:pt>
                <c:pt idx="51310">
                  <c:v>32535</c:v>
                </c:pt>
                <c:pt idx="51311">
                  <c:v>32535</c:v>
                </c:pt>
                <c:pt idx="51312">
                  <c:v>32535</c:v>
                </c:pt>
                <c:pt idx="51313">
                  <c:v>32534</c:v>
                </c:pt>
                <c:pt idx="51314">
                  <c:v>32534</c:v>
                </c:pt>
                <c:pt idx="51315">
                  <c:v>32534</c:v>
                </c:pt>
                <c:pt idx="51316">
                  <c:v>32534</c:v>
                </c:pt>
                <c:pt idx="51317">
                  <c:v>32534</c:v>
                </c:pt>
                <c:pt idx="51318">
                  <c:v>32534</c:v>
                </c:pt>
                <c:pt idx="51319">
                  <c:v>32534</c:v>
                </c:pt>
                <c:pt idx="51320">
                  <c:v>32534</c:v>
                </c:pt>
                <c:pt idx="51321">
                  <c:v>32534</c:v>
                </c:pt>
                <c:pt idx="51322">
                  <c:v>32533</c:v>
                </c:pt>
                <c:pt idx="51323">
                  <c:v>32533</c:v>
                </c:pt>
                <c:pt idx="51324">
                  <c:v>32533</c:v>
                </c:pt>
                <c:pt idx="51325">
                  <c:v>32533</c:v>
                </c:pt>
                <c:pt idx="51326">
                  <c:v>32533</c:v>
                </c:pt>
                <c:pt idx="51327">
                  <c:v>32533</c:v>
                </c:pt>
                <c:pt idx="51328">
                  <c:v>32532</c:v>
                </c:pt>
                <c:pt idx="51329">
                  <c:v>32532</c:v>
                </c:pt>
                <c:pt idx="51330">
                  <c:v>32532</c:v>
                </c:pt>
                <c:pt idx="51331">
                  <c:v>32531</c:v>
                </c:pt>
                <c:pt idx="51332">
                  <c:v>32531</c:v>
                </c:pt>
                <c:pt idx="51333">
                  <c:v>32531</c:v>
                </c:pt>
                <c:pt idx="51334">
                  <c:v>32531</c:v>
                </c:pt>
                <c:pt idx="51335">
                  <c:v>32531</c:v>
                </c:pt>
                <c:pt idx="51336">
                  <c:v>32531</c:v>
                </c:pt>
                <c:pt idx="51337">
                  <c:v>32531</c:v>
                </c:pt>
                <c:pt idx="51338">
                  <c:v>32530</c:v>
                </c:pt>
                <c:pt idx="51339">
                  <c:v>32530</c:v>
                </c:pt>
                <c:pt idx="51340">
                  <c:v>32530</c:v>
                </c:pt>
                <c:pt idx="51341">
                  <c:v>32530</c:v>
                </c:pt>
                <c:pt idx="51342">
                  <c:v>32530</c:v>
                </c:pt>
                <c:pt idx="51343">
                  <c:v>32530</c:v>
                </c:pt>
                <c:pt idx="51344">
                  <c:v>32530</c:v>
                </c:pt>
                <c:pt idx="51345">
                  <c:v>32529</c:v>
                </c:pt>
                <c:pt idx="51346">
                  <c:v>32529</c:v>
                </c:pt>
                <c:pt idx="51347">
                  <c:v>32529</c:v>
                </c:pt>
                <c:pt idx="51348">
                  <c:v>32529</c:v>
                </c:pt>
                <c:pt idx="51349">
                  <c:v>32529</c:v>
                </c:pt>
                <c:pt idx="51350">
                  <c:v>32529</c:v>
                </c:pt>
                <c:pt idx="51351">
                  <c:v>32529</c:v>
                </c:pt>
                <c:pt idx="51352">
                  <c:v>32529</c:v>
                </c:pt>
                <c:pt idx="51353">
                  <c:v>32529</c:v>
                </c:pt>
                <c:pt idx="51354">
                  <c:v>32529</c:v>
                </c:pt>
                <c:pt idx="51355">
                  <c:v>32528</c:v>
                </c:pt>
                <c:pt idx="51356">
                  <c:v>32528</c:v>
                </c:pt>
                <c:pt idx="51357">
                  <c:v>32528</c:v>
                </c:pt>
                <c:pt idx="51358">
                  <c:v>32528</c:v>
                </c:pt>
                <c:pt idx="51359">
                  <c:v>32528</c:v>
                </c:pt>
                <c:pt idx="51360">
                  <c:v>32527</c:v>
                </c:pt>
                <c:pt idx="51361">
                  <c:v>32527</c:v>
                </c:pt>
                <c:pt idx="51362">
                  <c:v>32527</c:v>
                </c:pt>
                <c:pt idx="51363">
                  <c:v>32526</c:v>
                </c:pt>
                <c:pt idx="51364">
                  <c:v>32526</c:v>
                </c:pt>
                <c:pt idx="51365">
                  <c:v>32526</c:v>
                </c:pt>
                <c:pt idx="51366">
                  <c:v>32526</c:v>
                </c:pt>
                <c:pt idx="51367">
                  <c:v>32526</c:v>
                </c:pt>
                <c:pt idx="51368">
                  <c:v>32526</c:v>
                </c:pt>
                <c:pt idx="51369">
                  <c:v>32526</c:v>
                </c:pt>
                <c:pt idx="51370">
                  <c:v>32526</c:v>
                </c:pt>
                <c:pt idx="51371">
                  <c:v>32526</c:v>
                </c:pt>
                <c:pt idx="51372">
                  <c:v>32525</c:v>
                </c:pt>
                <c:pt idx="51373">
                  <c:v>32525</c:v>
                </c:pt>
                <c:pt idx="51374">
                  <c:v>32524</c:v>
                </c:pt>
                <c:pt idx="51375">
                  <c:v>32524</c:v>
                </c:pt>
                <c:pt idx="51376">
                  <c:v>32524</c:v>
                </c:pt>
                <c:pt idx="51377">
                  <c:v>32524</c:v>
                </c:pt>
                <c:pt idx="51378">
                  <c:v>32523</c:v>
                </c:pt>
                <c:pt idx="51379">
                  <c:v>32523</c:v>
                </c:pt>
                <c:pt idx="51380">
                  <c:v>32523</c:v>
                </c:pt>
                <c:pt idx="51381">
                  <c:v>32523</c:v>
                </c:pt>
                <c:pt idx="51382">
                  <c:v>32523</c:v>
                </c:pt>
                <c:pt idx="51383">
                  <c:v>32523</c:v>
                </c:pt>
                <c:pt idx="51384">
                  <c:v>32523</c:v>
                </c:pt>
                <c:pt idx="51385">
                  <c:v>32523</c:v>
                </c:pt>
                <c:pt idx="51386">
                  <c:v>32523</c:v>
                </c:pt>
                <c:pt idx="51387">
                  <c:v>32523</c:v>
                </c:pt>
                <c:pt idx="51388">
                  <c:v>32523</c:v>
                </c:pt>
                <c:pt idx="51389">
                  <c:v>32522</c:v>
                </c:pt>
                <c:pt idx="51390">
                  <c:v>32522</c:v>
                </c:pt>
                <c:pt idx="51391">
                  <c:v>32522</c:v>
                </c:pt>
                <c:pt idx="51392">
                  <c:v>32522</c:v>
                </c:pt>
                <c:pt idx="51393">
                  <c:v>32522</c:v>
                </c:pt>
                <c:pt idx="51394">
                  <c:v>32522</c:v>
                </c:pt>
                <c:pt idx="51395">
                  <c:v>32522</c:v>
                </c:pt>
                <c:pt idx="51396">
                  <c:v>32521</c:v>
                </c:pt>
                <c:pt idx="51397">
                  <c:v>32521</c:v>
                </c:pt>
                <c:pt idx="51398">
                  <c:v>32521</c:v>
                </c:pt>
                <c:pt idx="51399">
                  <c:v>32520</c:v>
                </c:pt>
                <c:pt idx="51400">
                  <c:v>32520</c:v>
                </c:pt>
                <c:pt idx="51401">
                  <c:v>32520</c:v>
                </c:pt>
                <c:pt idx="51402">
                  <c:v>32520</c:v>
                </c:pt>
                <c:pt idx="51403">
                  <c:v>32520</c:v>
                </c:pt>
                <c:pt idx="51404">
                  <c:v>32519</c:v>
                </c:pt>
                <c:pt idx="51405">
                  <c:v>32519</c:v>
                </c:pt>
                <c:pt idx="51406">
                  <c:v>32519</c:v>
                </c:pt>
                <c:pt idx="51407">
                  <c:v>32519</c:v>
                </c:pt>
                <c:pt idx="51408">
                  <c:v>32519</c:v>
                </c:pt>
                <c:pt idx="51409">
                  <c:v>32519</c:v>
                </c:pt>
                <c:pt idx="51410">
                  <c:v>32518</c:v>
                </c:pt>
                <c:pt idx="51411">
                  <c:v>32518</c:v>
                </c:pt>
                <c:pt idx="51412">
                  <c:v>32518</c:v>
                </c:pt>
                <c:pt idx="51413">
                  <c:v>32518</c:v>
                </c:pt>
                <c:pt idx="51414">
                  <c:v>32518</c:v>
                </c:pt>
                <c:pt idx="51415">
                  <c:v>32518</c:v>
                </c:pt>
                <c:pt idx="51416">
                  <c:v>32518</c:v>
                </c:pt>
                <c:pt idx="51417">
                  <c:v>32518</c:v>
                </c:pt>
                <c:pt idx="51418">
                  <c:v>32518</c:v>
                </c:pt>
                <c:pt idx="51419">
                  <c:v>32517</c:v>
                </c:pt>
                <c:pt idx="51420">
                  <c:v>32517</c:v>
                </c:pt>
                <c:pt idx="51421">
                  <c:v>32517</c:v>
                </c:pt>
                <c:pt idx="51422">
                  <c:v>32517</c:v>
                </c:pt>
                <c:pt idx="51423">
                  <c:v>32517</c:v>
                </c:pt>
                <c:pt idx="51424">
                  <c:v>32517</c:v>
                </c:pt>
                <c:pt idx="51425">
                  <c:v>32517</c:v>
                </c:pt>
                <c:pt idx="51426">
                  <c:v>32517</c:v>
                </c:pt>
                <c:pt idx="51427">
                  <c:v>32517</c:v>
                </c:pt>
                <c:pt idx="51428">
                  <c:v>32516</c:v>
                </c:pt>
                <c:pt idx="51429">
                  <c:v>32516</c:v>
                </c:pt>
                <c:pt idx="51430">
                  <c:v>32516</c:v>
                </c:pt>
                <c:pt idx="51431">
                  <c:v>32516</c:v>
                </c:pt>
                <c:pt idx="51432">
                  <c:v>32516</c:v>
                </c:pt>
                <c:pt idx="51433">
                  <c:v>32516</c:v>
                </c:pt>
                <c:pt idx="51434">
                  <c:v>32516</c:v>
                </c:pt>
                <c:pt idx="51435">
                  <c:v>32516</c:v>
                </c:pt>
                <c:pt idx="51436">
                  <c:v>32516</c:v>
                </c:pt>
                <c:pt idx="51437">
                  <c:v>32516</c:v>
                </c:pt>
                <c:pt idx="51438">
                  <c:v>32515</c:v>
                </c:pt>
                <c:pt idx="51439">
                  <c:v>32515</c:v>
                </c:pt>
                <c:pt idx="51440">
                  <c:v>32515</c:v>
                </c:pt>
                <c:pt idx="51441">
                  <c:v>32515</c:v>
                </c:pt>
                <c:pt idx="51442">
                  <c:v>32515</c:v>
                </c:pt>
                <c:pt idx="51443">
                  <c:v>32515</c:v>
                </c:pt>
                <c:pt idx="51444">
                  <c:v>32515</c:v>
                </c:pt>
                <c:pt idx="51445">
                  <c:v>32515</c:v>
                </c:pt>
                <c:pt idx="51446">
                  <c:v>32515</c:v>
                </c:pt>
                <c:pt idx="51447">
                  <c:v>32514</c:v>
                </c:pt>
                <c:pt idx="51448">
                  <c:v>32514</c:v>
                </c:pt>
                <c:pt idx="51449">
                  <c:v>32514</c:v>
                </c:pt>
                <c:pt idx="51450">
                  <c:v>32514</c:v>
                </c:pt>
                <c:pt idx="51451">
                  <c:v>32514</c:v>
                </c:pt>
                <c:pt idx="51452">
                  <c:v>32514</c:v>
                </c:pt>
                <c:pt idx="51453">
                  <c:v>32514</c:v>
                </c:pt>
                <c:pt idx="51454">
                  <c:v>32514</c:v>
                </c:pt>
                <c:pt idx="51455">
                  <c:v>32514</c:v>
                </c:pt>
                <c:pt idx="51456">
                  <c:v>32513</c:v>
                </c:pt>
                <c:pt idx="51457">
                  <c:v>32513</c:v>
                </c:pt>
                <c:pt idx="51458">
                  <c:v>32513</c:v>
                </c:pt>
                <c:pt idx="51459">
                  <c:v>32513</c:v>
                </c:pt>
                <c:pt idx="51460">
                  <c:v>32513</c:v>
                </c:pt>
                <c:pt idx="51461">
                  <c:v>32513</c:v>
                </c:pt>
                <c:pt idx="51462">
                  <c:v>32513</c:v>
                </c:pt>
                <c:pt idx="51463">
                  <c:v>32513</c:v>
                </c:pt>
                <c:pt idx="51464">
                  <c:v>32513</c:v>
                </c:pt>
                <c:pt idx="51465">
                  <c:v>32513</c:v>
                </c:pt>
                <c:pt idx="51466">
                  <c:v>32512</c:v>
                </c:pt>
                <c:pt idx="51467">
                  <c:v>32512</c:v>
                </c:pt>
                <c:pt idx="51468">
                  <c:v>32512</c:v>
                </c:pt>
                <c:pt idx="51469">
                  <c:v>32512</c:v>
                </c:pt>
                <c:pt idx="51470">
                  <c:v>32512</c:v>
                </c:pt>
                <c:pt idx="51471">
                  <c:v>32512</c:v>
                </c:pt>
                <c:pt idx="51472">
                  <c:v>32511</c:v>
                </c:pt>
                <c:pt idx="51473">
                  <c:v>32511</c:v>
                </c:pt>
                <c:pt idx="51474">
                  <c:v>32511</c:v>
                </c:pt>
                <c:pt idx="51475">
                  <c:v>32511</c:v>
                </c:pt>
                <c:pt idx="51476">
                  <c:v>32511</c:v>
                </c:pt>
                <c:pt idx="51477">
                  <c:v>32510</c:v>
                </c:pt>
                <c:pt idx="51478">
                  <c:v>32510</c:v>
                </c:pt>
                <c:pt idx="51479">
                  <c:v>32510</c:v>
                </c:pt>
                <c:pt idx="51480">
                  <c:v>32510</c:v>
                </c:pt>
                <c:pt idx="51481">
                  <c:v>32510</c:v>
                </c:pt>
                <c:pt idx="51482">
                  <c:v>32510</c:v>
                </c:pt>
                <c:pt idx="51483">
                  <c:v>32509</c:v>
                </c:pt>
                <c:pt idx="51484">
                  <c:v>32509</c:v>
                </c:pt>
                <c:pt idx="51485">
                  <c:v>32509</c:v>
                </c:pt>
                <c:pt idx="51486">
                  <c:v>32509</c:v>
                </c:pt>
                <c:pt idx="51487">
                  <c:v>32509</c:v>
                </c:pt>
                <c:pt idx="51488">
                  <c:v>32509</c:v>
                </c:pt>
                <c:pt idx="51489">
                  <c:v>32509</c:v>
                </c:pt>
                <c:pt idx="51490">
                  <c:v>32509</c:v>
                </c:pt>
                <c:pt idx="51491">
                  <c:v>32509</c:v>
                </c:pt>
                <c:pt idx="51492">
                  <c:v>32509</c:v>
                </c:pt>
                <c:pt idx="51493">
                  <c:v>32508</c:v>
                </c:pt>
                <c:pt idx="51494">
                  <c:v>32508</c:v>
                </c:pt>
                <c:pt idx="51495">
                  <c:v>32508</c:v>
                </c:pt>
                <c:pt idx="51496">
                  <c:v>32508</c:v>
                </c:pt>
                <c:pt idx="51497">
                  <c:v>32508</c:v>
                </c:pt>
                <c:pt idx="51498">
                  <c:v>32508</c:v>
                </c:pt>
                <c:pt idx="51499">
                  <c:v>32508</c:v>
                </c:pt>
                <c:pt idx="51500">
                  <c:v>32508</c:v>
                </c:pt>
                <c:pt idx="51501">
                  <c:v>32507</c:v>
                </c:pt>
                <c:pt idx="51502">
                  <c:v>32507</c:v>
                </c:pt>
                <c:pt idx="51503">
                  <c:v>32507</c:v>
                </c:pt>
                <c:pt idx="51504">
                  <c:v>32507</c:v>
                </c:pt>
                <c:pt idx="51505">
                  <c:v>32507</c:v>
                </c:pt>
                <c:pt idx="51506">
                  <c:v>32507</c:v>
                </c:pt>
                <c:pt idx="51507">
                  <c:v>32507</c:v>
                </c:pt>
                <c:pt idx="51508">
                  <c:v>32507</c:v>
                </c:pt>
                <c:pt idx="51509">
                  <c:v>32507</c:v>
                </c:pt>
                <c:pt idx="51510">
                  <c:v>32506</c:v>
                </c:pt>
                <c:pt idx="51511">
                  <c:v>32506</c:v>
                </c:pt>
                <c:pt idx="51512">
                  <c:v>32506</c:v>
                </c:pt>
                <c:pt idx="51513">
                  <c:v>32506</c:v>
                </c:pt>
                <c:pt idx="51514">
                  <c:v>32506</c:v>
                </c:pt>
                <c:pt idx="51515">
                  <c:v>32506</c:v>
                </c:pt>
                <c:pt idx="51516">
                  <c:v>32505</c:v>
                </c:pt>
                <c:pt idx="51517">
                  <c:v>32505</c:v>
                </c:pt>
                <c:pt idx="51518">
                  <c:v>32505</c:v>
                </c:pt>
                <c:pt idx="51519">
                  <c:v>32505</c:v>
                </c:pt>
                <c:pt idx="51520">
                  <c:v>32505</c:v>
                </c:pt>
                <c:pt idx="51521">
                  <c:v>32505</c:v>
                </c:pt>
                <c:pt idx="51522">
                  <c:v>32505</c:v>
                </c:pt>
                <c:pt idx="51523">
                  <c:v>32505</c:v>
                </c:pt>
                <c:pt idx="51524">
                  <c:v>32505</c:v>
                </c:pt>
                <c:pt idx="51525">
                  <c:v>32505</c:v>
                </c:pt>
                <c:pt idx="51526">
                  <c:v>32505</c:v>
                </c:pt>
                <c:pt idx="51527">
                  <c:v>32504</c:v>
                </c:pt>
                <c:pt idx="51528">
                  <c:v>32504</c:v>
                </c:pt>
                <c:pt idx="51529">
                  <c:v>32504</c:v>
                </c:pt>
                <c:pt idx="51530">
                  <c:v>32504</c:v>
                </c:pt>
                <c:pt idx="51531">
                  <c:v>32504</c:v>
                </c:pt>
                <c:pt idx="51532">
                  <c:v>32504</c:v>
                </c:pt>
                <c:pt idx="51533">
                  <c:v>32504</c:v>
                </c:pt>
                <c:pt idx="51534">
                  <c:v>32504</c:v>
                </c:pt>
                <c:pt idx="51535">
                  <c:v>32503</c:v>
                </c:pt>
                <c:pt idx="51536">
                  <c:v>32503</c:v>
                </c:pt>
                <c:pt idx="51537">
                  <c:v>32503</c:v>
                </c:pt>
                <c:pt idx="51538">
                  <c:v>32503</c:v>
                </c:pt>
                <c:pt idx="51539">
                  <c:v>32503</c:v>
                </c:pt>
                <c:pt idx="51540">
                  <c:v>32502</c:v>
                </c:pt>
                <c:pt idx="51541">
                  <c:v>32502</c:v>
                </c:pt>
                <c:pt idx="51542">
                  <c:v>32502</c:v>
                </c:pt>
                <c:pt idx="51543">
                  <c:v>32502</c:v>
                </c:pt>
                <c:pt idx="51544">
                  <c:v>32502</c:v>
                </c:pt>
                <c:pt idx="51545">
                  <c:v>32502</c:v>
                </c:pt>
                <c:pt idx="51546">
                  <c:v>32502</c:v>
                </c:pt>
                <c:pt idx="51547">
                  <c:v>32502</c:v>
                </c:pt>
                <c:pt idx="51548">
                  <c:v>32502</c:v>
                </c:pt>
                <c:pt idx="51549">
                  <c:v>32501</c:v>
                </c:pt>
                <c:pt idx="51550">
                  <c:v>32501</c:v>
                </c:pt>
                <c:pt idx="51551">
                  <c:v>32501</c:v>
                </c:pt>
                <c:pt idx="51552">
                  <c:v>32501</c:v>
                </c:pt>
                <c:pt idx="51553">
                  <c:v>32501</c:v>
                </c:pt>
                <c:pt idx="51554">
                  <c:v>32501</c:v>
                </c:pt>
                <c:pt idx="51555">
                  <c:v>32501</c:v>
                </c:pt>
                <c:pt idx="51556">
                  <c:v>32500</c:v>
                </c:pt>
                <c:pt idx="51557">
                  <c:v>32500</c:v>
                </c:pt>
                <c:pt idx="51558">
                  <c:v>32500</c:v>
                </c:pt>
                <c:pt idx="51559">
                  <c:v>32500</c:v>
                </c:pt>
                <c:pt idx="51560">
                  <c:v>32500</c:v>
                </c:pt>
                <c:pt idx="51561">
                  <c:v>32500</c:v>
                </c:pt>
                <c:pt idx="51562">
                  <c:v>32500</c:v>
                </c:pt>
                <c:pt idx="51563">
                  <c:v>32500</c:v>
                </c:pt>
                <c:pt idx="51564">
                  <c:v>32500</c:v>
                </c:pt>
                <c:pt idx="51565">
                  <c:v>32499</c:v>
                </c:pt>
                <c:pt idx="51566">
                  <c:v>32499</c:v>
                </c:pt>
                <c:pt idx="51567">
                  <c:v>32499</c:v>
                </c:pt>
                <c:pt idx="51568">
                  <c:v>32499</c:v>
                </c:pt>
                <c:pt idx="51569">
                  <c:v>32499</c:v>
                </c:pt>
                <c:pt idx="51570">
                  <c:v>32499</c:v>
                </c:pt>
                <c:pt idx="51571">
                  <c:v>32499</c:v>
                </c:pt>
                <c:pt idx="51572">
                  <c:v>32499</c:v>
                </c:pt>
                <c:pt idx="51573">
                  <c:v>32498</c:v>
                </c:pt>
                <c:pt idx="51574">
                  <c:v>32498</c:v>
                </c:pt>
                <c:pt idx="51575">
                  <c:v>32498</c:v>
                </c:pt>
                <c:pt idx="51576">
                  <c:v>32498</c:v>
                </c:pt>
                <c:pt idx="51577">
                  <c:v>32498</c:v>
                </c:pt>
                <c:pt idx="51578">
                  <c:v>32498</c:v>
                </c:pt>
                <c:pt idx="51579">
                  <c:v>32498</c:v>
                </c:pt>
                <c:pt idx="51580">
                  <c:v>32498</c:v>
                </c:pt>
                <c:pt idx="51581">
                  <c:v>32498</c:v>
                </c:pt>
                <c:pt idx="51582">
                  <c:v>32498</c:v>
                </c:pt>
                <c:pt idx="51583">
                  <c:v>32498</c:v>
                </c:pt>
                <c:pt idx="51584">
                  <c:v>32498</c:v>
                </c:pt>
                <c:pt idx="51585">
                  <c:v>32497</c:v>
                </c:pt>
                <c:pt idx="51586">
                  <c:v>32497</c:v>
                </c:pt>
                <c:pt idx="51587">
                  <c:v>32497</c:v>
                </c:pt>
                <c:pt idx="51588">
                  <c:v>32497</c:v>
                </c:pt>
                <c:pt idx="51589">
                  <c:v>32497</c:v>
                </c:pt>
                <c:pt idx="51590">
                  <c:v>32496</c:v>
                </c:pt>
                <c:pt idx="51591">
                  <c:v>32496</c:v>
                </c:pt>
                <c:pt idx="51592">
                  <c:v>32496</c:v>
                </c:pt>
                <c:pt idx="51593">
                  <c:v>32496</c:v>
                </c:pt>
                <c:pt idx="51594">
                  <c:v>32496</c:v>
                </c:pt>
                <c:pt idx="51595">
                  <c:v>32496</c:v>
                </c:pt>
                <c:pt idx="51596">
                  <c:v>32495</c:v>
                </c:pt>
                <c:pt idx="51597">
                  <c:v>32495</c:v>
                </c:pt>
                <c:pt idx="51598">
                  <c:v>32495</c:v>
                </c:pt>
                <c:pt idx="51599">
                  <c:v>32495</c:v>
                </c:pt>
                <c:pt idx="51600">
                  <c:v>32495</c:v>
                </c:pt>
                <c:pt idx="51601">
                  <c:v>32495</c:v>
                </c:pt>
                <c:pt idx="51602">
                  <c:v>32495</c:v>
                </c:pt>
                <c:pt idx="51603">
                  <c:v>32494</c:v>
                </c:pt>
                <c:pt idx="51604">
                  <c:v>32494</c:v>
                </c:pt>
                <c:pt idx="51605">
                  <c:v>32494</c:v>
                </c:pt>
                <c:pt idx="51606">
                  <c:v>32494</c:v>
                </c:pt>
                <c:pt idx="51607">
                  <c:v>32493</c:v>
                </c:pt>
                <c:pt idx="51608">
                  <c:v>32493</c:v>
                </c:pt>
                <c:pt idx="51609">
                  <c:v>32493</c:v>
                </c:pt>
                <c:pt idx="51610">
                  <c:v>32493</c:v>
                </c:pt>
                <c:pt idx="51611">
                  <c:v>32493</c:v>
                </c:pt>
                <c:pt idx="51612">
                  <c:v>32493</c:v>
                </c:pt>
                <c:pt idx="51613">
                  <c:v>32493</c:v>
                </c:pt>
                <c:pt idx="51614">
                  <c:v>32492</c:v>
                </c:pt>
                <c:pt idx="51615">
                  <c:v>32492</c:v>
                </c:pt>
                <c:pt idx="51616">
                  <c:v>32492</c:v>
                </c:pt>
                <c:pt idx="51617">
                  <c:v>32491</c:v>
                </c:pt>
                <c:pt idx="51618">
                  <c:v>32491</c:v>
                </c:pt>
                <c:pt idx="51619">
                  <c:v>32491</c:v>
                </c:pt>
                <c:pt idx="51620">
                  <c:v>32491</c:v>
                </c:pt>
                <c:pt idx="51621">
                  <c:v>32491</c:v>
                </c:pt>
                <c:pt idx="51622">
                  <c:v>32491</c:v>
                </c:pt>
                <c:pt idx="51623">
                  <c:v>32491</c:v>
                </c:pt>
                <c:pt idx="51624">
                  <c:v>32491</c:v>
                </c:pt>
                <c:pt idx="51625">
                  <c:v>32491</c:v>
                </c:pt>
                <c:pt idx="51626">
                  <c:v>32491</c:v>
                </c:pt>
                <c:pt idx="51627">
                  <c:v>32491</c:v>
                </c:pt>
                <c:pt idx="51628">
                  <c:v>32491</c:v>
                </c:pt>
                <c:pt idx="51629">
                  <c:v>32491</c:v>
                </c:pt>
                <c:pt idx="51630">
                  <c:v>32490</c:v>
                </c:pt>
                <c:pt idx="51631">
                  <c:v>32490</c:v>
                </c:pt>
                <c:pt idx="51632">
                  <c:v>32490</c:v>
                </c:pt>
                <c:pt idx="51633">
                  <c:v>32490</c:v>
                </c:pt>
                <c:pt idx="51634">
                  <c:v>32490</c:v>
                </c:pt>
                <c:pt idx="51635">
                  <c:v>32490</c:v>
                </c:pt>
                <c:pt idx="51636">
                  <c:v>32490</c:v>
                </c:pt>
                <c:pt idx="51637">
                  <c:v>32490</c:v>
                </c:pt>
                <c:pt idx="51638">
                  <c:v>32489</c:v>
                </c:pt>
                <c:pt idx="51639">
                  <c:v>32489</c:v>
                </c:pt>
                <c:pt idx="51640">
                  <c:v>32489</c:v>
                </c:pt>
                <c:pt idx="51641">
                  <c:v>32489</c:v>
                </c:pt>
                <c:pt idx="51642">
                  <c:v>32489</c:v>
                </c:pt>
                <c:pt idx="51643">
                  <c:v>32489</c:v>
                </c:pt>
                <c:pt idx="51644">
                  <c:v>32489</c:v>
                </c:pt>
                <c:pt idx="51645">
                  <c:v>32488</c:v>
                </c:pt>
                <c:pt idx="51646">
                  <c:v>32488</c:v>
                </c:pt>
                <c:pt idx="51647">
                  <c:v>32488</c:v>
                </c:pt>
                <c:pt idx="51648">
                  <c:v>32488</c:v>
                </c:pt>
                <c:pt idx="51649">
                  <c:v>32488</c:v>
                </c:pt>
                <c:pt idx="51650">
                  <c:v>32488</c:v>
                </c:pt>
                <c:pt idx="51651">
                  <c:v>32488</c:v>
                </c:pt>
                <c:pt idx="51652">
                  <c:v>32488</c:v>
                </c:pt>
                <c:pt idx="51653">
                  <c:v>32488</c:v>
                </c:pt>
                <c:pt idx="51654">
                  <c:v>32488</c:v>
                </c:pt>
                <c:pt idx="51655">
                  <c:v>32488</c:v>
                </c:pt>
                <c:pt idx="51656">
                  <c:v>32488</c:v>
                </c:pt>
                <c:pt idx="51657">
                  <c:v>32488</c:v>
                </c:pt>
                <c:pt idx="51658">
                  <c:v>32488</c:v>
                </c:pt>
                <c:pt idx="51659">
                  <c:v>32487</c:v>
                </c:pt>
                <c:pt idx="51660">
                  <c:v>32487</c:v>
                </c:pt>
                <c:pt idx="51661">
                  <c:v>32487</c:v>
                </c:pt>
                <c:pt idx="51662">
                  <c:v>32487</c:v>
                </c:pt>
                <c:pt idx="51663">
                  <c:v>32487</c:v>
                </c:pt>
                <c:pt idx="51664">
                  <c:v>32487</c:v>
                </c:pt>
                <c:pt idx="51665">
                  <c:v>32487</c:v>
                </c:pt>
                <c:pt idx="51666">
                  <c:v>32487</c:v>
                </c:pt>
                <c:pt idx="51667">
                  <c:v>32487</c:v>
                </c:pt>
                <c:pt idx="51668">
                  <c:v>32487</c:v>
                </c:pt>
                <c:pt idx="51669">
                  <c:v>32487</c:v>
                </c:pt>
                <c:pt idx="51670">
                  <c:v>32486</c:v>
                </c:pt>
                <c:pt idx="51671">
                  <c:v>32486</c:v>
                </c:pt>
                <c:pt idx="51672">
                  <c:v>32486</c:v>
                </c:pt>
                <c:pt idx="51673">
                  <c:v>32486</c:v>
                </c:pt>
                <c:pt idx="51674">
                  <c:v>32486</c:v>
                </c:pt>
                <c:pt idx="51675">
                  <c:v>32486</c:v>
                </c:pt>
                <c:pt idx="51676">
                  <c:v>32486</c:v>
                </c:pt>
                <c:pt idx="51677">
                  <c:v>32486</c:v>
                </c:pt>
                <c:pt idx="51678">
                  <c:v>32486</c:v>
                </c:pt>
                <c:pt idx="51679">
                  <c:v>32486</c:v>
                </c:pt>
                <c:pt idx="51680">
                  <c:v>32485</c:v>
                </c:pt>
                <c:pt idx="51681">
                  <c:v>32485</c:v>
                </c:pt>
                <c:pt idx="51682">
                  <c:v>32485</c:v>
                </c:pt>
                <c:pt idx="51683">
                  <c:v>32485</c:v>
                </c:pt>
                <c:pt idx="51684">
                  <c:v>32485</c:v>
                </c:pt>
                <c:pt idx="51685">
                  <c:v>32485</c:v>
                </c:pt>
                <c:pt idx="51686">
                  <c:v>32485</c:v>
                </c:pt>
                <c:pt idx="51687">
                  <c:v>32485</c:v>
                </c:pt>
                <c:pt idx="51688">
                  <c:v>32485</c:v>
                </c:pt>
                <c:pt idx="51689">
                  <c:v>32485</c:v>
                </c:pt>
                <c:pt idx="51690">
                  <c:v>32485</c:v>
                </c:pt>
                <c:pt idx="51691">
                  <c:v>32484</c:v>
                </c:pt>
                <c:pt idx="51692">
                  <c:v>32484</c:v>
                </c:pt>
                <c:pt idx="51693">
                  <c:v>32484</c:v>
                </c:pt>
                <c:pt idx="51694">
                  <c:v>32484</c:v>
                </c:pt>
                <c:pt idx="51695">
                  <c:v>32483</c:v>
                </c:pt>
                <c:pt idx="51696">
                  <c:v>32483</c:v>
                </c:pt>
                <c:pt idx="51697">
                  <c:v>32483</c:v>
                </c:pt>
                <c:pt idx="51698">
                  <c:v>32483</c:v>
                </c:pt>
                <c:pt idx="51699">
                  <c:v>32483</c:v>
                </c:pt>
                <c:pt idx="51700">
                  <c:v>32483</c:v>
                </c:pt>
                <c:pt idx="51701">
                  <c:v>32483</c:v>
                </c:pt>
                <c:pt idx="51702">
                  <c:v>32483</c:v>
                </c:pt>
                <c:pt idx="51703">
                  <c:v>32482</c:v>
                </c:pt>
                <c:pt idx="51704">
                  <c:v>32482</c:v>
                </c:pt>
                <c:pt idx="51705">
                  <c:v>32482</c:v>
                </c:pt>
                <c:pt idx="51706">
                  <c:v>32482</c:v>
                </c:pt>
                <c:pt idx="51707">
                  <c:v>32482</c:v>
                </c:pt>
                <c:pt idx="51708">
                  <c:v>32482</c:v>
                </c:pt>
                <c:pt idx="51709">
                  <c:v>32482</c:v>
                </c:pt>
                <c:pt idx="51710">
                  <c:v>32482</c:v>
                </c:pt>
                <c:pt idx="51711">
                  <c:v>32482</c:v>
                </c:pt>
                <c:pt idx="51712">
                  <c:v>32481</c:v>
                </c:pt>
                <c:pt idx="51713">
                  <c:v>32481</c:v>
                </c:pt>
                <c:pt idx="51714">
                  <c:v>32481</c:v>
                </c:pt>
                <c:pt idx="51715">
                  <c:v>32481</c:v>
                </c:pt>
                <c:pt idx="51716">
                  <c:v>32481</c:v>
                </c:pt>
                <c:pt idx="51717">
                  <c:v>32481</c:v>
                </c:pt>
                <c:pt idx="51718">
                  <c:v>32480</c:v>
                </c:pt>
                <c:pt idx="51719">
                  <c:v>32480</c:v>
                </c:pt>
                <c:pt idx="51720">
                  <c:v>32480</c:v>
                </c:pt>
                <c:pt idx="51721">
                  <c:v>32480</c:v>
                </c:pt>
                <c:pt idx="51722">
                  <c:v>32480</c:v>
                </c:pt>
                <c:pt idx="51723">
                  <c:v>32479</c:v>
                </c:pt>
                <c:pt idx="51724">
                  <c:v>32479</c:v>
                </c:pt>
                <c:pt idx="51725">
                  <c:v>32479</c:v>
                </c:pt>
                <c:pt idx="51726">
                  <c:v>32479</c:v>
                </c:pt>
                <c:pt idx="51727">
                  <c:v>32479</c:v>
                </c:pt>
                <c:pt idx="51728">
                  <c:v>32479</c:v>
                </c:pt>
                <c:pt idx="51729">
                  <c:v>32479</c:v>
                </c:pt>
                <c:pt idx="51730">
                  <c:v>32479</c:v>
                </c:pt>
                <c:pt idx="51731">
                  <c:v>32479</c:v>
                </c:pt>
                <c:pt idx="51732">
                  <c:v>32479</c:v>
                </c:pt>
                <c:pt idx="51733">
                  <c:v>32479</c:v>
                </c:pt>
                <c:pt idx="51734">
                  <c:v>32479</c:v>
                </c:pt>
                <c:pt idx="51735">
                  <c:v>32479</c:v>
                </c:pt>
                <c:pt idx="51736">
                  <c:v>32478</c:v>
                </c:pt>
                <c:pt idx="51737">
                  <c:v>32478</c:v>
                </c:pt>
                <c:pt idx="51738">
                  <c:v>32478</c:v>
                </c:pt>
                <c:pt idx="51739">
                  <c:v>32478</c:v>
                </c:pt>
                <c:pt idx="51740">
                  <c:v>32478</c:v>
                </c:pt>
                <c:pt idx="51741">
                  <c:v>32478</c:v>
                </c:pt>
                <c:pt idx="51742">
                  <c:v>32478</c:v>
                </c:pt>
                <c:pt idx="51743">
                  <c:v>32478</c:v>
                </c:pt>
                <c:pt idx="51744">
                  <c:v>32478</c:v>
                </c:pt>
                <c:pt idx="51745">
                  <c:v>32478</c:v>
                </c:pt>
                <c:pt idx="51746">
                  <c:v>32477</c:v>
                </c:pt>
                <c:pt idx="51747">
                  <c:v>32477</c:v>
                </c:pt>
                <c:pt idx="51748">
                  <c:v>32477</c:v>
                </c:pt>
                <c:pt idx="51749">
                  <c:v>32477</c:v>
                </c:pt>
                <c:pt idx="51750">
                  <c:v>32477</c:v>
                </c:pt>
                <c:pt idx="51751">
                  <c:v>32477</c:v>
                </c:pt>
                <c:pt idx="51752">
                  <c:v>32477</c:v>
                </c:pt>
                <c:pt idx="51753">
                  <c:v>32477</c:v>
                </c:pt>
                <c:pt idx="51754">
                  <c:v>32477</c:v>
                </c:pt>
                <c:pt idx="51755">
                  <c:v>32476</c:v>
                </c:pt>
                <c:pt idx="51756">
                  <c:v>32476</c:v>
                </c:pt>
                <c:pt idx="51757">
                  <c:v>32476</c:v>
                </c:pt>
                <c:pt idx="51758">
                  <c:v>32476</c:v>
                </c:pt>
                <c:pt idx="51759">
                  <c:v>32476</c:v>
                </c:pt>
                <c:pt idx="51760">
                  <c:v>32476</c:v>
                </c:pt>
                <c:pt idx="51761">
                  <c:v>32475</c:v>
                </c:pt>
                <c:pt idx="51762">
                  <c:v>32475</c:v>
                </c:pt>
                <c:pt idx="51763">
                  <c:v>32475</c:v>
                </c:pt>
                <c:pt idx="51764">
                  <c:v>32475</c:v>
                </c:pt>
                <c:pt idx="51765">
                  <c:v>32475</c:v>
                </c:pt>
                <c:pt idx="51766">
                  <c:v>32475</c:v>
                </c:pt>
                <c:pt idx="51767">
                  <c:v>32475</c:v>
                </c:pt>
                <c:pt idx="51768">
                  <c:v>32475</c:v>
                </c:pt>
                <c:pt idx="51769">
                  <c:v>32474</c:v>
                </c:pt>
                <c:pt idx="51770">
                  <c:v>32474</c:v>
                </c:pt>
                <c:pt idx="51771">
                  <c:v>32474</c:v>
                </c:pt>
                <c:pt idx="51772">
                  <c:v>32474</c:v>
                </c:pt>
                <c:pt idx="51773">
                  <c:v>32474</c:v>
                </c:pt>
                <c:pt idx="51774">
                  <c:v>32474</c:v>
                </c:pt>
                <c:pt idx="51775">
                  <c:v>32474</c:v>
                </c:pt>
                <c:pt idx="51776">
                  <c:v>32473</c:v>
                </c:pt>
                <c:pt idx="51777">
                  <c:v>32473</c:v>
                </c:pt>
                <c:pt idx="51778">
                  <c:v>32473</c:v>
                </c:pt>
                <c:pt idx="51779">
                  <c:v>32473</c:v>
                </c:pt>
                <c:pt idx="51780">
                  <c:v>32473</c:v>
                </c:pt>
                <c:pt idx="51781">
                  <c:v>32472</c:v>
                </c:pt>
                <c:pt idx="51782">
                  <c:v>32472</c:v>
                </c:pt>
                <c:pt idx="51783">
                  <c:v>32472</c:v>
                </c:pt>
                <c:pt idx="51784">
                  <c:v>32472</c:v>
                </c:pt>
                <c:pt idx="51785">
                  <c:v>32472</c:v>
                </c:pt>
                <c:pt idx="51786">
                  <c:v>32472</c:v>
                </c:pt>
                <c:pt idx="51787">
                  <c:v>32472</c:v>
                </c:pt>
                <c:pt idx="51788">
                  <c:v>32472</c:v>
                </c:pt>
                <c:pt idx="51789">
                  <c:v>32472</c:v>
                </c:pt>
                <c:pt idx="51790">
                  <c:v>32472</c:v>
                </c:pt>
                <c:pt idx="51791">
                  <c:v>32471</c:v>
                </c:pt>
                <c:pt idx="51792">
                  <c:v>32471</c:v>
                </c:pt>
                <c:pt idx="51793">
                  <c:v>32470</c:v>
                </c:pt>
                <c:pt idx="51794">
                  <c:v>32470</c:v>
                </c:pt>
                <c:pt idx="51795">
                  <c:v>32470</c:v>
                </c:pt>
                <c:pt idx="51796">
                  <c:v>32470</c:v>
                </c:pt>
                <c:pt idx="51797">
                  <c:v>32470</c:v>
                </c:pt>
                <c:pt idx="51798">
                  <c:v>32470</c:v>
                </c:pt>
                <c:pt idx="51799">
                  <c:v>32469</c:v>
                </c:pt>
                <c:pt idx="51800">
                  <c:v>32469</c:v>
                </c:pt>
                <c:pt idx="51801">
                  <c:v>32469</c:v>
                </c:pt>
                <c:pt idx="51802">
                  <c:v>32469</c:v>
                </c:pt>
                <c:pt idx="51803">
                  <c:v>32469</c:v>
                </c:pt>
                <c:pt idx="51804">
                  <c:v>32469</c:v>
                </c:pt>
                <c:pt idx="51805">
                  <c:v>32469</c:v>
                </c:pt>
                <c:pt idx="51806">
                  <c:v>32469</c:v>
                </c:pt>
                <c:pt idx="51807">
                  <c:v>32469</c:v>
                </c:pt>
                <c:pt idx="51808">
                  <c:v>32469</c:v>
                </c:pt>
                <c:pt idx="51809">
                  <c:v>32469</c:v>
                </c:pt>
                <c:pt idx="51810">
                  <c:v>32469</c:v>
                </c:pt>
                <c:pt idx="51811">
                  <c:v>32469</c:v>
                </c:pt>
                <c:pt idx="51812">
                  <c:v>32468</c:v>
                </c:pt>
                <c:pt idx="51813">
                  <c:v>32468</c:v>
                </c:pt>
                <c:pt idx="51814">
                  <c:v>32468</c:v>
                </c:pt>
                <c:pt idx="51815">
                  <c:v>32468</c:v>
                </c:pt>
                <c:pt idx="51816">
                  <c:v>32468</c:v>
                </c:pt>
                <c:pt idx="51817">
                  <c:v>32468</c:v>
                </c:pt>
                <c:pt idx="51818">
                  <c:v>32468</c:v>
                </c:pt>
                <c:pt idx="51819">
                  <c:v>32468</c:v>
                </c:pt>
                <c:pt idx="51820">
                  <c:v>32468</c:v>
                </c:pt>
                <c:pt idx="51821">
                  <c:v>32467</c:v>
                </c:pt>
                <c:pt idx="51822">
                  <c:v>32467</c:v>
                </c:pt>
                <c:pt idx="51823">
                  <c:v>32467</c:v>
                </c:pt>
                <c:pt idx="51824">
                  <c:v>32467</c:v>
                </c:pt>
                <c:pt idx="51825">
                  <c:v>32467</c:v>
                </c:pt>
                <c:pt idx="51826">
                  <c:v>32467</c:v>
                </c:pt>
                <c:pt idx="51827">
                  <c:v>32467</c:v>
                </c:pt>
                <c:pt idx="51828">
                  <c:v>32466</c:v>
                </c:pt>
                <c:pt idx="51829">
                  <c:v>32466</c:v>
                </c:pt>
                <c:pt idx="51830">
                  <c:v>32466</c:v>
                </c:pt>
                <c:pt idx="51831">
                  <c:v>32465</c:v>
                </c:pt>
                <c:pt idx="51832">
                  <c:v>32465</c:v>
                </c:pt>
                <c:pt idx="51833">
                  <c:v>32465</c:v>
                </c:pt>
                <c:pt idx="51834">
                  <c:v>32465</c:v>
                </c:pt>
                <c:pt idx="51835">
                  <c:v>32465</c:v>
                </c:pt>
                <c:pt idx="51836">
                  <c:v>32465</c:v>
                </c:pt>
                <c:pt idx="51837">
                  <c:v>32465</c:v>
                </c:pt>
                <c:pt idx="51838">
                  <c:v>32465</c:v>
                </c:pt>
                <c:pt idx="51839">
                  <c:v>32465</c:v>
                </c:pt>
                <c:pt idx="51840">
                  <c:v>32465</c:v>
                </c:pt>
                <c:pt idx="51841">
                  <c:v>32465</c:v>
                </c:pt>
                <c:pt idx="51842">
                  <c:v>32464</c:v>
                </c:pt>
                <c:pt idx="51843">
                  <c:v>32464</c:v>
                </c:pt>
                <c:pt idx="51844">
                  <c:v>32464</c:v>
                </c:pt>
                <c:pt idx="51845">
                  <c:v>32464</c:v>
                </c:pt>
                <c:pt idx="51846">
                  <c:v>32464</c:v>
                </c:pt>
                <c:pt idx="51847">
                  <c:v>32464</c:v>
                </c:pt>
                <c:pt idx="51848">
                  <c:v>32464</c:v>
                </c:pt>
                <c:pt idx="51849">
                  <c:v>32464</c:v>
                </c:pt>
                <c:pt idx="51850">
                  <c:v>32463</c:v>
                </c:pt>
                <c:pt idx="51851">
                  <c:v>32463</c:v>
                </c:pt>
                <c:pt idx="51852">
                  <c:v>32463</c:v>
                </c:pt>
                <c:pt idx="51853">
                  <c:v>32462</c:v>
                </c:pt>
                <c:pt idx="51854">
                  <c:v>32462</c:v>
                </c:pt>
                <c:pt idx="51855">
                  <c:v>32462</c:v>
                </c:pt>
                <c:pt idx="51856">
                  <c:v>32461</c:v>
                </c:pt>
                <c:pt idx="51857">
                  <c:v>32461</c:v>
                </c:pt>
                <c:pt idx="51858">
                  <c:v>32461</c:v>
                </c:pt>
                <c:pt idx="51859">
                  <c:v>32461</c:v>
                </c:pt>
                <c:pt idx="51860">
                  <c:v>32461</c:v>
                </c:pt>
                <c:pt idx="51861">
                  <c:v>32460</c:v>
                </c:pt>
                <c:pt idx="51862">
                  <c:v>32460</c:v>
                </c:pt>
                <c:pt idx="51863">
                  <c:v>32460</c:v>
                </c:pt>
                <c:pt idx="51864">
                  <c:v>32460</c:v>
                </c:pt>
                <c:pt idx="51865">
                  <c:v>32460</c:v>
                </c:pt>
                <c:pt idx="51866">
                  <c:v>32459</c:v>
                </c:pt>
                <c:pt idx="51867">
                  <c:v>32459</c:v>
                </c:pt>
                <c:pt idx="51868">
                  <c:v>32459</c:v>
                </c:pt>
                <c:pt idx="51869">
                  <c:v>32459</c:v>
                </c:pt>
                <c:pt idx="51870">
                  <c:v>32459</c:v>
                </c:pt>
                <c:pt idx="51871">
                  <c:v>32459</c:v>
                </c:pt>
                <c:pt idx="51872">
                  <c:v>32459</c:v>
                </c:pt>
                <c:pt idx="51873">
                  <c:v>32458</c:v>
                </c:pt>
                <c:pt idx="51874">
                  <c:v>32458</c:v>
                </c:pt>
                <c:pt idx="51875">
                  <c:v>32458</c:v>
                </c:pt>
                <c:pt idx="51876">
                  <c:v>32458</c:v>
                </c:pt>
                <c:pt idx="51877">
                  <c:v>32458</c:v>
                </c:pt>
                <c:pt idx="51878">
                  <c:v>32458</c:v>
                </c:pt>
                <c:pt idx="51879">
                  <c:v>32457</c:v>
                </c:pt>
                <c:pt idx="51880">
                  <c:v>32457</c:v>
                </c:pt>
                <c:pt idx="51881">
                  <c:v>32457</c:v>
                </c:pt>
                <c:pt idx="51882">
                  <c:v>32457</c:v>
                </c:pt>
                <c:pt idx="51883">
                  <c:v>32457</c:v>
                </c:pt>
                <c:pt idx="51884">
                  <c:v>32457</c:v>
                </c:pt>
                <c:pt idx="51885">
                  <c:v>32457</c:v>
                </c:pt>
                <c:pt idx="51886">
                  <c:v>32457</c:v>
                </c:pt>
                <c:pt idx="51887">
                  <c:v>32456</c:v>
                </c:pt>
                <c:pt idx="51888">
                  <c:v>32456</c:v>
                </c:pt>
                <c:pt idx="51889">
                  <c:v>32456</c:v>
                </c:pt>
                <c:pt idx="51890">
                  <c:v>32455</c:v>
                </c:pt>
                <c:pt idx="51891">
                  <c:v>32455</c:v>
                </c:pt>
                <c:pt idx="51892">
                  <c:v>32455</c:v>
                </c:pt>
                <c:pt idx="51893">
                  <c:v>32455</c:v>
                </c:pt>
                <c:pt idx="51894">
                  <c:v>32455</c:v>
                </c:pt>
                <c:pt idx="51895">
                  <c:v>32455</c:v>
                </c:pt>
                <c:pt idx="51896">
                  <c:v>32455</c:v>
                </c:pt>
                <c:pt idx="51897">
                  <c:v>32455</c:v>
                </c:pt>
                <c:pt idx="51898">
                  <c:v>32454</c:v>
                </c:pt>
                <c:pt idx="51899">
                  <c:v>32454</c:v>
                </c:pt>
                <c:pt idx="51900">
                  <c:v>32454</c:v>
                </c:pt>
                <c:pt idx="51901">
                  <c:v>32454</c:v>
                </c:pt>
                <c:pt idx="51902">
                  <c:v>32453</c:v>
                </c:pt>
                <c:pt idx="51903">
                  <c:v>32453</c:v>
                </c:pt>
                <c:pt idx="51904">
                  <c:v>32453</c:v>
                </c:pt>
                <c:pt idx="51905">
                  <c:v>32453</c:v>
                </c:pt>
                <c:pt idx="51906">
                  <c:v>32452</c:v>
                </c:pt>
                <c:pt idx="51907">
                  <c:v>32452</c:v>
                </c:pt>
                <c:pt idx="51908">
                  <c:v>32452</c:v>
                </c:pt>
                <c:pt idx="51909">
                  <c:v>32452</c:v>
                </c:pt>
                <c:pt idx="51910">
                  <c:v>32452</c:v>
                </c:pt>
                <c:pt idx="51911">
                  <c:v>32452</c:v>
                </c:pt>
                <c:pt idx="51912">
                  <c:v>32452</c:v>
                </c:pt>
                <c:pt idx="51913">
                  <c:v>32452</c:v>
                </c:pt>
                <c:pt idx="51914">
                  <c:v>32452</c:v>
                </c:pt>
                <c:pt idx="51915">
                  <c:v>32452</c:v>
                </c:pt>
                <c:pt idx="51916">
                  <c:v>32452</c:v>
                </c:pt>
                <c:pt idx="51917">
                  <c:v>32452</c:v>
                </c:pt>
                <c:pt idx="51918">
                  <c:v>32451</c:v>
                </c:pt>
                <c:pt idx="51919">
                  <c:v>32451</c:v>
                </c:pt>
                <c:pt idx="51920">
                  <c:v>32451</c:v>
                </c:pt>
                <c:pt idx="51921">
                  <c:v>32451</c:v>
                </c:pt>
                <c:pt idx="51922">
                  <c:v>32451</c:v>
                </c:pt>
                <c:pt idx="51923">
                  <c:v>32451</c:v>
                </c:pt>
                <c:pt idx="51924">
                  <c:v>32451</c:v>
                </c:pt>
                <c:pt idx="51925">
                  <c:v>32451</c:v>
                </c:pt>
                <c:pt idx="51926">
                  <c:v>32451</c:v>
                </c:pt>
                <c:pt idx="51927">
                  <c:v>32450</c:v>
                </c:pt>
                <c:pt idx="51928">
                  <c:v>32450</c:v>
                </c:pt>
                <c:pt idx="51929">
                  <c:v>32450</c:v>
                </c:pt>
                <c:pt idx="51930">
                  <c:v>32450</c:v>
                </c:pt>
                <c:pt idx="51931">
                  <c:v>32450</c:v>
                </c:pt>
                <c:pt idx="51932">
                  <c:v>32450</c:v>
                </c:pt>
                <c:pt idx="51933">
                  <c:v>32449</c:v>
                </c:pt>
                <c:pt idx="51934">
                  <c:v>32449</c:v>
                </c:pt>
                <c:pt idx="51935">
                  <c:v>32449</c:v>
                </c:pt>
                <c:pt idx="51936">
                  <c:v>32449</c:v>
                </c:pt>
                <c:pt idx="51937">
                  <c:v>32449</c:v>
                </c:pt>
                <c:pt idx="51938">
                  <c:v>32449</c:v>
                </c:pt>
                <c:pt idx="51939">
                  <c:v>32449</c:v>
                </c:pt>
                <c:pt idx="51940">
                  <c:v>32449</c:v>
                </c:pt>
                <c:pt idx="51941">
                  <c:v>32448</c:v>
                </c:pt>
                <c:pt idx="51942">
                  <c:v>32448</c:v>
                </c:pt>
                <c:pt idx="51943">
                  <c:v>32448</c:v>
                </c:pt>
                <c:pt idx="51944">
                  <c:v>32448</c:v>
                </c:pt>
                <c:pt idx="51945">
                  <c:v>32448</c:v>
                </c:pt>
                <c:pt idx="51946">
                  <c:v>32448</c:v>
                </c:pt>
                <c:pt idx="51947">
                  <c:v>32447</c:v>
                </c:pt>
                <c:pt idx="51948">
                  <c:v>32447</c:v>
                </c:pt>
                <c:pt idx="51949">
                  <c:v>32447</c:v>
                </c:pt>
                <c:pt idx="51950">
                  <c:v>32447</c:v>
                </c:pt>
                <c:pt idx="51951">
                  <c:v>32447</c:v>
                </c:pt>
                <c:pt idx="51952">
                  <c:v>32447</c:v>
                </c:pt>
                <c:pt idx="51953">
                  <c:v>32447</c:v>
                </c:pt>
                <c:pt idx="51954">
                  <c:v>32447</c:v>
                </c:pt>
                <c:pt idx="51955">
                  <c:v>32447</c:v>
                </c:pt>
                <c:pt idx="51956">
                  <c:v>32446</c:v>
                </c:pt>
                <c:pt idx="51957">
                  <c:v>32446</c:v>
                </c:pt>
                <c:pt idx="51958">
                  <c:v>32446</c:v>
                </c:pt>
                <c:pt idx="51959">
                  <c:v>32446</c:v>
                </c:pt>
                <c:pt idx="51960">
                  <c:v>32446</c:v>
                </c:pt>
                <c:pt idx="51961">
                  <c:v>32446</c:v>
                </c:pt>
                <c:pt idx="51962">
                  <c:v>32446</c:v>
                </c:pt>
                <c:pt idx="51963">
                  <c:v>32446</c:v>
                </c:pt>
                <c:pt idx="51964">
                  <c:v>32446</c:v>
                </c:pt>
                <c:pt idx="51965">
                  <c:v>32445</c:v>
                </c:pt>
                <c:pt idx="51966">
                  <c:v>32445</c:v>
                </c:pt>
                <c:pt idx="51967">
                  <c:v>32445</c:v>
                </c:pt>
                <c:pt idx="51968">
                  <c:v>32445</c:v>
                </c:pt>
                <c:pt idx="51969">
                  <c:v>32444</c:v>
                </c:pt>
                <c:pt idx="51970">
                  <c:v>32444</c:v>
                </c:pt>
                <c:pt idx="51971">
                  <c:v>32444</c:v>
                </c:pt>
                <c:pt idx="51972">
                  <c:v>32444</c:v>
                </c:pt>
                <c:pt idx="51973">
                  <c:v>32444</c:v>
                </c:pt>
                <c:pt idx="51974">
                  <c:v>32444</c:v>
                </c:pt>
                <c:pt idx="51975">
                  <c:v>32444</c:v>
                </c:pt>
                <c:pt idx="51976">
                  <c:v>32444</c:v>
                </c:pt>
                <c:pt idx="51977">
                  <c:v>32443</c:v>
                </c:pt>
                <c:pt idx="51978">
                  <c:v>32443</c:v>
                </c:pt>
                <c:pt idx="51979">
                  <c:v>32443</c:v>
                </c:pt>
                <c:pt idx="51980">
                  <c:v>32443</c:v>
                </c:pt>
                <c:pt idx="51981">
                  <c:v>32443</c:v>
                </c:pt>
                <c:pt idx="51982">
                  <c:v>32443</c:v>
                </c:pt>
                <c:pt idx="51983">
                  <c:v>32443</c:v>
                </c:pt>
                <c:pt idx="51984">
                  <c:v>32443</c:v>
                </c:pt>
                <c:pt idx="51985">
                  <c:v>32442</c:v>
                </c:pt>
                <c:pt idx="51986">
                  <c:v>32442</c:v>
                </c:pt>
                <c:pt idx="51987">
                  <c:v>32442</c:v>
                </c:pt>
                <c:pt idx="51988">
                  <c:v>32442</c:v>
                </c:pt>
                <c:pt idx="51989">
                  <c:v>32442</c:v>
                </c:pt>
                <c:pt idx="51990">
                  <c:v>32442</c:v>
                </c:pt>
                <c:pt idx="51991">
                  <c:v>32442</c:v>
                </c:pt>
                <c:pt idx="51992">
                  <c:v>32442</c:v>
                </c:pt>
                <c:pt idx="51993">
                  <c:v>32441</c:v>
                </c:pt>
                <c:pt idx="51994">
                  <c:v>32441</c:v>
                </c:pt>
                <c:pt idx="51995">
                  <c:v>32441</c:v>
                </c:pt>
                <c:pt idx="51996">
                  <c:v>32441</c:v>
                </c:pt>
                <c:pt idx="51997">
                  <c:v>32441</c:v>
                </c:pt>
                <c:pt idx="51998">
                  <c:v>32441</c:v>
                </c:pt>
                <c:pt idx="51999">
                  <c:v>32441</c:v>
                </c:pt>
                <c:pt idx="52000">
                  <c:v>32441</c:v>
                </c:pt>
                <c:pt idx="52001">
                  <c:v>32441</c:v>
                </c:pt>
                <c:pt idx="52002">
                  <c:v>32441</c:v>
                </c:pt>
                <c:pt idx="52003">
                  <c:v>32441</c:v>
                </c:pt>
                <c:pt idx="52004">
                  <c:v>32440</c:v>
                </c:pt>
                <c:pt idx="52005">
                  <c:v>32440</c:v>
                </c:pt>
                <c:pt idx="52006">
                  <c:v>32440</c:v>
                </c:pt>
                <c:pt idx="52007">
                  <c:v>32440</c:v>
                </c:pt>
                <c:pt idx="52008">
                  <c:v>32440</c:v>
                </c:pt>
                <c:pt idx="52009">
                  <c:v>32439</c:v>
                </c:pt>
                <c:pt idx="52010">
                  <c:v>32439</c:v>
                </c:pt>
                <c:pt idx="52011">
                  <c:v>32439</c:v>
                </c:pt>
                <c:pt idx="52012">
                  <c:v>32439</c:v>
                </c:pt>
                <c:pt idx="52013">
                  <c:v>32439</c:v>
                </c:pt>
                <c:pt idx="52014">
                  <c:v>32439</c:v>
                </c:pt>
                <c:pt idx="52015">
                  <c:v>32438</c:v>
                </c:pt>
                <c:pt idx="52016">
                  <c:v>32438</c:v>
                </c:pt>
                <c:pt idx="52017">
                  <c:v>32438</c:v>
                </c:pt>
                <c:pt idx="52018">
                  <c:v>32438</c:v>
                </c:pt>
                <c:pt idx="52019">
                  <c:v>32438</c:v>
                </c:pt>
                <c:pt idx="52020">
                  <c:v>32438</c:v>
                </c:pt>
                <c:pt idx="52021">
                  <c:v>32438</c:v>
                </c:pt>
                <c:pt idx="52022">
                  <c:v>32437</c:v>
                </c:pt>
                <c:pt idx="52023">
                  <c:v>32437</c:v>
                </c:pt>
                <c:pt idx="52024">
                  <c:v>32437</c:v>
                </c:pt>
                <c:pt idx="52025">
                  <c:v>32437</c:v>
                </c:pt>
                <c:pt idx="52026">
                  <c:v>32437</c:v>
                </c:pt>
                <c:pt idx="52027">
                  <c:v>32437</c:v>
                </c:pt>
                <c:pt idx="52028">
                  <c:v>32437</c:v>
                </c:pt>
                <c:pt idx="52029">
                  <c:v>32437</c:v>
                </c:pt>
                <c:pt idx="52030">
                  <c:v>32437</c:v>
                </c:pt>
                <c:pt idx="52031">
                  <c:v>32436</c:v>
                </c:pt>
                <c:pt idx="52032">
                  <c:v>32436</c:v>
                </c:pt>
                <c:pt idx="52033">
                  <c:v>32436</c:v>
                </c:pt>
                <c:pt idx="52034">
                  <c:v>32436</c:v>
                </c:pt>
                <c:pt idx="52035">
                  <c:v>32436</c:v>
                </c:pt>
                <c:pt idx="52036">
                  <c:v>32436</c:v>
                </c:pt>
                <c:pt idx="52037">
                  <c:v>32435</c:v>
                </c:pt>
                <c:pt idx="52038">
                  <c:v>32435</c:v>
                </c:pt>
                <c:pt idx="52039">
                  <c:v>32435</c:v>
                </c:pt>
                <c:pt idx="52040">
                  <c:v>32435</c:v>
                </c:pt>
                <c:pt idx="52041">
                  <c:v>32435</c:v>
                </c:pt>
                <c:pt idx="52042">
                  <c:v>32435</c:v>
                </c:pt>
                <c:pt idx="52043">
                  <c:v>32435</c:v>
                </c:pt>
                <c:pt idx="52044">
                  <c:v>32435</c:v>
                </c:pt>
                <c:pt idx="52045">
                  <c:v>32435</c:v>
                </c:pt>
                <c:pt idx="52046">
                  <c:v>32435</c:v>
                </c:pt>
                <c:pt idx="52047">
                  <c:v>32434</c:v>
                </c:pt>
                <c:pt idx="52048">
                  <c:v>32434</c:v>
                </c:pt>
                <c:pt idx="52049">
                  <c:v>32434</c:v>
                </c:pt>
                <c:pt idx="52050">
                  <c:v>32434</c:v>
                </c:pt>
                <c:pt idx="52051">
                  <c:v>32434</c:v>
                </c:pt>
                <c:pt idx="52052">
                  <c:v>32434</c:v>
                </c:pt>
                <c:pt idx="52053">
                  <c:v>32434</c:v>
                </c:pt>
                <c:pt idx="52054">
                  <c:v>32434</c:v>
                </c:pt>
                <c:pt idx="52055">
                  <c:v>32433</c:v>
                </c:pt>
                <c:pt idx="52056">
                  <c:v>32433</c:v>
                </c:pt>
                <c:pt idx="52057">
                  <c:v>32433</c:v>
                </c:pt>
                <c:pt idx="52058">
                  <c:v>32433</c:v>
                </c:pt>
                <c:pt idx="52059">
                  <c:v>32433</c:v>
                </c:pt>
                <c:pt idx="52060">
                  <c:v>32433</c:v>
                </c:pt>
                <c:pt idx="52061">
                  <c:v>32433</c:v>
                </c:pt>
                <c:pt idx="52062">
                  <c:v>32433</c:v>
                </c:pt>
                <c:pt idx="52063">
                  <c:v>32433</c:v>
                </c:pt>
                <c:pt idx="52064">
                  <c:v>32433</c:v>
                </c:pt>
                <c:pt idx="52065">
                  <c:v>32432</c:v>
                </c:pt>
                <c:pt idx="52066">
                  <c:v>32432</c:v>
                </c:pt>
                <c:pt idx="52067">
                  <c:v>32432</c:v>
                </c:pt>
                <c:pt idx="52068">
                  <c:v>32432</c:v>
                </c:pt>
                <c:pt idx="52069">
                  <c:v>32432</c:v>
                </c:pt>
                <c:pt idx="52070">
                  <c:v>32432</c:v>
                </c:pt>
                <c:pt idx="52071">
                  <c:v>32432</c:v>
                </c:pt>
                <c:pt idx="52072">
                  <c:v>32432</c:v>
                </c:pt>
                <c:pt idx="52073">
                  <c:v>32431</c:v>
                </c:pt>
                <c:pt idx="52074">
                  <c:v>32431</c:v>
                </c:pt>
                <c:pt idx="52075">
                  <c:v>32431</c:v>
                </c:pt>
                <c:pt idx="52076">
                  <c:v>32431</c:v>
                </c:pt>
                <c:pt idx="52077">
                  <c:v>32431</c:v>
                </c:pt>
                <c:pt idx="52078">
                  <c:v>32431</c:v>
                </c:pt>
                <c:pt idx="52079">
                  <c:v>32431</c:v>
                </c:pt>
                <c:pt idx="52080">
                  <c:v>32431</c:v>
                </c:pt>
                <c:pt idx="52081">
                  <c:v>32431</c:v>
                </c:pt>
                <c:pt idx="52082">
                  <c:v>32430</c:v>
                </c:pt>
                <c:pt idx="52083">
                  <c:v>32430</c:v>
                </c:pt>
                <c:pt idx="52084">
                  <c:v>32429</c:v>
                </c:pt>
                <c:pt idx="52085">
                  <c:v>32429</c:v>
                </c:pt>
                <c:pt idx="52086">
                  <c:v>32429</c:v>
                </c:pt>
                <c:pt idx="52087">
                  <c:v>32429</c:v>
                </c:pt>
                <c:pt idx="52088">
                  <c:v>32429</c:v>
                </c:pt>
                <c:pt idx="52089">
                  <c:v>32429</c:v>
                </c:pt>
                <c:pt idx="52090">
                  <c:v>32429</c:v>
                </c:pt>
                <c:pt idx="52091">
                  <c:v>32429</c:v>
                </c:pt>
                <c:pt idx="52092">
                  <c:v>32429</c:v>
                </c:pt>
                <c:pt idx="52093">
                  <c:v>32429</c:v>
                </c:pt>
                <c:pt idx="52094">
                  <c:v>32428</c:v>
                </c:pt>
                <c:pt idx="52095">
                  <c:v>32428</c:v>
                </c:pt>
                <c:pt idx="52096">
                  <c:v>32428</c:v>
                </c:pt>
                <c:pt idx="52097">
                  <c:v>32428</c:v>
                </c:pt>
                <c:pt idx="52098">
                  <c:v>32428</c:v>
                </c:pt>
                <c:pt idx="52099">
                  <c:v>32428</c:v>
                </c:pt>
                <c:pt idx="52100">
                  <c:v>32427</c:v>
                </c:pt>
                <c:pt idx="52101">
                  <c:v>32427</c:v>
                </c:pt>
                <c:pt idx="52102">
                  <c:v>32427</c:v>
                </c:pt>
                <c:pt idx="52103">
                  <c:v>32427</c:v>
                </c:pt>
                <c:pt idx="52104">
                  <c:v>32427</c:v>
                </c:pt>
                <c:pt idx="52105">
                  <c:v>32427</c:v>
                </c:pt>
                <c:pt idx="52106">
                  <c:v>32426</c:v>
                </c:pt>
                <c:pt idx="52107">
                  <c:v>32426</c:v>
                </c:pt>
                <c:pt idx="52108">
                  <c:v>32426</c:v>
                </c:pt>
                <c:pt idx="52109">
                  <c:v>32426</c:v>
                </c:pt>
                <c:pt idx="52110">
                  <c:v>32426</c:v>
                </c:pt>
                <c:pt idx="52111">
                  <c:v>32426</c:v>
                </c:pt>
                <c:pt idx="52112">
                  <c:v>32426</c:v>
                </c:pt>
                <c:pt idx="52113">
                  <c:v>32426</c:v>
                </c:pt>
                <c:pt idx="52114">
                  <c:v>32426</c:v>
                </c:pt>
                <c:pt idx="52115">
                  <c:v>32425</c:v>
                </c:pt>
                <c:pt idx="52116">
                  <c:v>32425</c:v>
                </c:pt>
                <c:pt idx="52117">
                  <c:v>32425</c:v>
                </c:pt>
                <c:pt idx="52118">
                  <c:v>32425</c:v>
                </c:pt>
                <c:pt idx="52119">
                  <c:v>32425</c:v>
                </c:pt>
                <c:pt idx="52120">
                  <c:v>32425</c:v>
                </c:pt>
                <c:pt idx="52121">
                  <c:v>32425</c:v>
                </c:pt>
                <c:pt idx="52122">
                  <c:v>32425</c:v>
                </c:pt>
                <c:pt idx="52123">
                  <c:v>32425</c:v>
                </c:pt>
                <c:pt idx="52124">
                  <c:v>32425</c:v>
                </c:pt>
                <c:pt idx="52125">
                  <c:v>32424</c:v>
                </c:pt>
                <c:pt idx="52126">
                  <c:v>32424</c:v>
                </c:pt>
                <c:pt idx="52127">
                  <c:v>32423</c:v>
                </c:pt>
                <c:pt idx="52128">
                  <c:v>32423</c:v>
                </c:pt>
                <c:pt idx="52129">
                  <c:v>32423</c:v>
                </c:pt>
                <c:pt idx="52130">
                  <c:v>32423</c:v>
                </c:pt>
                <c:pt idx="52131">
                  <c:v>32422</c:v>
                </c:pt>
                <c:pt idx="52132">
                  <c:v>32422</c:v>
                </c:pt>
                <c:pt idx="52133">
                  <c:v>32422</c:v>
                </c:pt>
                <c:pt idx="52134">
                  <c:v>32422</c:v>
                </c:pt>
                <c:pt idx="52135">
                  <c:v>32422</c:v>
                </c:pt>
                <c:pt idx="52136">
                  <c:v>32421</c:v>
                </c:pt>
                <c:pt idx="52137">
                  <c:v>32421</c:v>
                </c:pt>
                <c:pt idx="52138">
                  <c:v>32421</c:v>
                </c:pt>
                <c:pt idx="52139">
                  <c:v>32421</c:v>
                </c:pt>
                <c:pt idx="52140">
                  <c:v>32421</c:v>
                </c:pt>
                <c:pt idx="52141">
                  <c:v>32421</c:v>
                </c:pt>
                <c:pt idx="52142">
                  <c:v>32421</c:v>
                </c:pt>
                <c:pt idx="52143">
                  <c:v>32421</c:v>
                </c:pt>
                <c:pt idx="52144">
                  <c:v>32420</c:v>
                </c:pt>
                <c:pt idx="52145">
                  <c:v>32420</c:v>
                </c:pt>
                <c:pt idx="52146">
                  <c:v>32420</c:v>
                </c:pt>
                <c:pt idx="52147">
                  <c:v>32420</c:v>
                </c:pt>
                <c:pt idx="52148">
                  <c:v>32420</c:v>
                </c:pt>
                <c:pt idx="52149">
                  <c:v>32420</c:v>
                </c:pt>
                <c:pt idx="52150">
                  <c:v>32420</c:v>
                </c:pt>
                <c:pt idx="52151">
                  <c:v>32420</c:v>
                </c:pt>
                <c:pt idx="52152">
                  <c:v>32419</c:v>
                </c:pt>
                <c:pt idx="52153">
                  <c:v>32419</c:v>
                </c:pt>
                <c:pt idx="52154">
                  <c:v>32419</c:v>
                </c:pt>
                <c:pt idx="52155">
                  <c:v>32419</c:v>
                </c:pt>
                <c:pt idx="52156">
                  <c:v>32419</c:v>
                </c:pt>
                <c:pt idx="52157">
                  <c:v>32419</c:v>
                </c:pt>
                <c:pt idx="52158">
                  <c:v>32419</c:v>
                </c:pt>
                <c:pt idx="52159">
                  <c:v>32419</c:v>
                </c:pt>
                <c:pt idx="52160">
                  <c:v>32419</c:v>
                </c:pt>
                <c:pt idx="52161">
                  <c:v>32419</c:v>
                </c:pt>
                <c:pt idx="52162">
                  <c:v>32418</c:v>
                </c:pt>
                <c:pt idx="52163">
                  <c:v>32418</c:v>
                </c:pt>
                <c:pt idx="52164">
                  <c:v>32418</c:v>
                </c:pt>
                <c:pt idx="52165">
                  <c:v>32418</c:v>
                </c:pt>
                <c:pt idx="52166">
                  <c:v>32418</c:v>
                </c:pt>
                <c:pt idx="52167">
                  <c:v>32418</c:v>
                </c:pt>
                <c:pt idx="52168">
                  <c:v>32418</c:v>
                </c:pt>
                <c:pt idx="52169">
                  <c:v>32418</c:v>
                </c:pt>
                <c:pt idx="52170">
                  <c:v>32418</c:v>
                </c:pt>
                <c:pt idx="52171">
                  <c:v>32418</c:v>
                </c:pt>
                <c:pt idx="52172">
                  <c:v>32417</c:v>
                </c:pt>
                <c:pt idx="52173">
                  <c:v>32417</c:v>
                </c:pt>
                <c:pt idx="52174">
                  <c:v>32417</c:v>
                </c:pt>
                <c:pt idx="52175">
                  <c:v>32417</c:v>
                </c:pt>
                <c:pt idx="52176">
                  <c:v>32417</c:v>
                </c:pt>
                <c:pt idx="52177">
                  <c:v>32417</c:v>
                </c:pt>
                <c:pt idx="52178">
                  <c:v>32417</c:v>
                </c:pt>
                <c:pt idx="52179">
                  <c:v>32417</c:v>
                </c:pt>
                <c:pt idx="52180">
                  <c:v>32417</c:v>
                </c:pt>
                <c:pt idx="52181">
                  <c:v>32416</c:v>
                </c:pt>
                <c:pt idx="52182">
                  <c:v>32416</c:v>
                </c:pt>
                <c:pt idx="52183">
                  <c:v>32416</c:v>
                </c:pt>
                <c:pt idx="52184">
                  <c:v>32416</c:v>
                </c:pt>
                <c:pt idx="52185">
                  <c:v>32416</c:v>
                </c:pt>
                <c:pt idx="52186">
                  <c:v>32416</c:v>
                </c:pt>
                <c:pt idx="52187">
                  <c:v>32416</c:v>
                </c:pt>
                <c:pt idx="52188">
                  <c:v>32416</c:v>
                </c:pt>
                <c:pt idx="52189">
                  <c:v>32416</c:v>
                </c:pt>
                <c:pt idx="52190">
                  <c:v>32416</c:v>
                </c:pt>
                <c:pt idx="52191">
                  <c:v>32416</c:v>
                </c:pt>
                <c:pt idx="52192">
                  <c:v>32416</c:v>
                </c:pt>
                <c:pt idx="52193">
                  <c:v>32415</c:v>
                </c:pt>
                <c:pt idx="52194">
                  <c:v>32415</c:v>
                </c:pt>
                <c:pt idx="52195">
                  <c:v>32415</c:v>
                </c:pt>
                <c:pt idx="52196">
                  <c:v>32415</c:v>
                </c:pt>
                <c:pt idx="52197">
                  <c:v>32415</c:v>
                </c:pt>
                <c:pt idx="52198">
                  <c:v>32414</c:v>
                </c:pt>
                <c:pt idx="52199">
                  <c:v>32414</c:v>
                </c:pt>
                <c:pt idx="52200">
                  <c:v>32414</c:v>
                </c:pt>
                <c:pt idx="52201">
                  <c:v>32414</c:v>
                </c:pt>
                <c:pt idx="52202">
                  <c:v>32413</c:v>
                </c:pt>
                <c:pt idx="52203">
                  <c:v>32413</c:v>
                </c:pt>
                <c:pt idx="52204">
                  <c:v>32413</c:v>
                </c:pt>
                <c:pt idx="52205">
                  <c:v>32413</c:v>
                </c:pt>
                <c:pt idx="52206">
                  <c:v>32413</c:v>
                </c:pt>
                <c:pt idx="52207">
                  <c:v>32413</c:v>
                </c:pt>
                <c:pt idx="52208">
                  <c:v>32413</c:v>
                </c:pt>
                <c:pt idx="52209">
                  <c:v>32412</c:v>
                </c:pt>
                <c:pt idx="52210">
                  <c:v>32412</c:v>
                </c:pt>
                <c:pt idx="52211">
                  <c:v>32412</c:v>
                </c:pt>
                <c:pt idx="52212">
                  <c:v>32412</c:v>
                </c:pt>
                <c:pt idx="52213">
                  <c:v>32412</c:v>
                </c:pt>
                <c:pt idx="52214">
                  <c:v>32412</c:v>
                </c:pt>
                <c:pt idx="52215">
                  <c:v>32412</c:v>
                </c:pt>
                <c:pt idx="52216">
                  <c:v>32412</c:v>
                </c:pt>
                <c:pt idx="52217">
                  <c:v>32411</c:v>
                </c:pt>
                <c:pt idx="52218">
                  <c:v>32411</c:v>
                </c:pt>
                <c:pt idx="52219">
                  <c:v>32411</c:v>
                </c:pt>
                <c:pt idx="52220">
                  <c:v>32411</c:v>
                </c:pt>
                <c:pt idx="52221">
                  <c:v>32411</c:v>
                </c:pt>
                <c:pt idx="52222">
                  <c:v>32411</c:v>
                </c:pt>
                <c:pt idx="52223">
                  <c:v>32410</c:v>
                </c:pt>
                <c:pt idx="52224">
                  <c:v>32410</c:v>
                </c:pt>
                <c:pt idx="52225">
                  <c:v>32410</c:v>
                </c:pt>
                <c:pt idx="52226">
                  <c:v>32410</c:v>
                </c:pt>
                <c:pt idx="52227">
                  <c:v>32410</c:v>
                </c:pt>
                <c:pt idx="52228">
                  <c:v>32409</c:v>
                </c:pt>
                <c:pt idx="52229">
                  <c:v>32409</c:v>
                </c:pt>
                <c:pt idx="52230">
                  <c:v>32409</c:v>
                </c:pt>
                <c:pt idx="52231">
                  <c:v>32409</c:v>
                </c:pt>
                <c:pt idx="52232">
                  <c:v>32409</c:v>
                </c:pt>
                <c:pt idx="52233">
                  <c:v>32409</c:v>
                </c:pt>
                <c:pt idx="52234">
                  <c:v>32408</c:v>
                </c:pt>
                <c:pt idx="52235">
                  <c:v>32408</c:v>
                </c:pt>
                <c:pt idx="52236">
                  <c:v>32408</c:v>
                </c:pt>
                <c:pt idx="52237">
                  <c:v>32408</c:v>
                </c:pt>
                <c:pt idx="52238">
                  <c:v>32408</c:v>
                </c:pt>
                <c:pt idx="52239">
                  <c:v>32408</c:v>
                </c:pt>
                <c:pt idx="52240">
                  <c:v>32408</c:v>
                </c:pt>
                <c:pt idx="52241">
                  <c:v>32408</c:v>
                </c:pt>
                <c:pt idx="52242">
                  <c:v>32408</c:v>
                </c:pt>
                <c:pt idx="52243">
                  <c:v>32408</c:v>
                </c:pt>
                <c:pt idx="52244">
                  <c:v>32408</c:v>
                </c:pt>
                <c:pt idx="52245">
                  <c:v>32408</c:v>
                </c:pt>
                <c:pt idx="52246">
                  <c:v>32407</c:v>
                </c:pt>
                <c:pt idx="52247">
                  <c:v>32407</c:v>
                </c:pt>
                <c:pt idx="52248">
                  <c:v>32407</c:v>
                </c:pt>
                <c:pt idx="52249">
                  <c:v>32407</c:v>
                </c:pt>
                <c:pt idx="52250">
                  <c:v>32407</c:v>
                </c:pt>
                <c:pt idx="52251">
                  <c:v>32407</c:v>
                </c:pt>
                <c:pt idx="52252">
                  <c:v>32407</c:v>
                </c:pt>
                <c:pt idx="52253">
                  <c:v>32407</c:v>
                </c:pt>
                <c:pt idx="52254">
                  <c:v>32407</c:v>
                </c:pt>
                <c:pt idx="52255">
                  <c:v>32407</c:v>
                </c:pt>
                <c:pt idx="52256">
                  <c:v>32407</c:v>
                </c:pt>
                <c:pt idx="52257">
                  <c:v>32407</c:v>
                </c:pt>
                <c:pt idx="52258">
                  <c:v>32407</c:v>
                </c:pt>
                <c:pt idx="52259">
                  <c:v>32406</c:v>
                </c:pt>
                <c:pt idx="52260">
                  <c:v>32406</c:v>
                </c:pt>
                <c:pt idx="52261">
                  <c:v>32406</c:v>
                </c:pt>
                <c:pt idx="52262">
                  <c:v>32406</c:v>
                </c:pt>
                <c:pt idx="52263">
                  <c:v>32406</c:v>
                </c:pt>
                <c:pt idx="52264">
                  <c:v>32406</c:v>
                </c:pt>
                <c:pt idx="52265">
                  <c:v>32405</c:v>
                </c:pt>
                <c:pt idx="52266">
                  <c:v>32405</c:v>
                </c:pt>
                <c:pt idx="52267">
                  <c:v>32405</c:v>
                </c:pt>
                <c:pt idx="52268">
                  <c:v>32405</c:v>
                </c:pt>
                <c:pt idx="52269">
                  <c:v>32404</c:v>
                </c:pt>
                <c:pt idx="52270">
                  <c:v>32404</c:v>
                </c:pt>
                <c:pt idx="52271">
                  <c:v>32404</c:v>
                </c:pt>
                <c:pt idx="52272">
                  <c:v>32404</c:v>
                </c:pt>
                <c:pt idx="52273">
                  <c:v>32404</c:v>
                </c:pt>
                <c:pt idx="52274">
                  <c:v>32404</c:v>
                </c:pt>
                <c:pt idx="52275">
                  <c:v>32404</c:v>
                </c:pt>
                <c:pt idx="52276">
                  <c:v>32403</c:v>
                </c:pt>
                <c:pt idx="52277">
                  <c:v>32403</c:v>
                </c:pt>
                <c:pt idx="52278">
                  <c:v>32403</c:v>
                </c:pt>
                <c:pt idx="52279">
                  <c:v>32403</c:v>
                </c:pt>
                <c:pt idx="52280">
                  <c:v>32403</c:v>
                </c:pt>
                <c:pt idx="52281">
                  <c:v>32403</c:v>
                </c:pt>
                <c:pt idx="52282">
                  <c:v>32403</c:v>
                </c:pt>
                <c:pt idx="52283">
                  <c:v>32403</c:v>
                </c:pt>
                <c:pt idx="52284">
                  <c:v>32403</c:v>
                </c:pt>
                <c:pt idx="52285">
                  <c:v>32403</c:v>
                </c:pt>
                <c:pt idx="52286">
                  <c:v>32403</c:v>
                </c:pt>
                <c:pt idx="52287">
                  <c:v>32403</c:v>
                </c:pt>
                <c:pt idx="52288">
                  <c:v>32403</c:v>
                </c:pt>
                <c:pt idx="52289">
                  <c:v>32403</c:v>
                </c:pt>
                <c:pt idx="52290">
                  <c:v>32403</c:v>
                </c:pt>
                <c:pt idx="52291">
                  <c:v>32402</c:v>
                </c:pt>
                <c:pt idx="52292">
                  <c:v>32402</c:v>
                </c:pt>
                <c:pt idx="52293">
                  <c:v>32402</c:v>
                </c:pt>
                <c:pt idx="52294">
                  <c:v>32402</c:v>
                </c:pt>
                <c:pt idx="52295">
                  <c:v>32402</c:v>
                </c:pt>
                <c:pt idx="52296">
                  <c:v>32401</c:v>
                </c:pt>
                <c:pt idx="52297">
                  <c:v>32401</c:v>
                </c:pt>
                <c:pt idx="52298">
                  <c:v>32401</c:v>
                </c:pt>
                <c:pt idx="52299">
                  <c:v>32401</c:v>
                </c:pt>
                <c:pt idx="52300">
                  <c:v>32401</c:v>
                </c:pt>
                <c:pt idx="52301">
                  <c:v>32400</c:v>
                </c:pt>
                <c:pt idx="52302">
                  <c:v>32400</c:v>
                </c:pt>
                <c:pt idx="52303">
                  <c:v>32400</c:v>
                </c:pt>
                <c:pt idx="52304">
                  <c:v>32400</c:v>
                </c:pt>
                <c:pt idx="52305">
                  <c:v>32400</c:v>
                </c:pt>
                <c:pt idx="52306">
                  <c:v>32400</c:v>
                </c:pt>
                <c:pt idx="52307">
                  <c:v>32400</c:v>
                </c:pt>
                <c:pt idx="52308">
                  <c:v>32400</c:v>
                </c:pt>
                <c:pt idx="52309">
                  <c:v>32399</c:v>
                </c:pt>
                <c:pt idx="52310">
                  <c:v>32399</c:v>
                </c:pt>
                <c:pt idx="52311">
                  <c:v>32399</c:v>
                </c:pt>
                <c:pt idx="52312">
                  <c:v>32399</c:v>
                </c:pt>
                <c:pt idx="52313">
                  <c:v>32398</c:v>
                </c:pt>
                <c:pt idx="52314">
                  <c:v>32398</c:v>
                </c:pt>
                <c:pt idx="52315">
                  <c:v>32398</c:v>
                </c:pt>
                <c:pt idx="52316">
                  <c:v>32398</c:v>
                </c:pt>
                <c:pt idx="52317">
                  <c:v>32398</c:v>
                </c:pt>
                <c:pt idx="52318">
                  <c:v>32398</c:v>
                </c:pt>
                <c:pt idx="52319">
                  <c:v>32398</c:v>
                </c:pt>
                <c:pt idx="52320">
                  <c:v>32398</c:v>
                </c:pt>
                <c:pt idx="52321">
                  <c:v>32398</c:v>
                </c:pt>
                <c:pt idx="52322">
                  <c:v>32397</c:v>
                </c:pt>
                <c:pt idx="52323">
                  <c:v>32397</c:v>
                </c:pt>
                <c:pt idx="52324">
                  <c:v>32397</c:v>
                </c:pt>
                <c:pt idx="52325">
                  <c:v>32397</c:v>
                </c:pt>
                <c:pt idx="52326">
                  <c:v>32396</c:v>
                </c:pt>
                <c:pt idx="52327">
                  <c:v>32396</c:v>
                </c:pt>
                <c:pt idx="52328">
                  <c:v>32396</c:v>
                </c:pt>
                <c:pt idx="52329">
                  <c:v>32396</c:v>
                </c:pt>
                <c:pt idx="52330">
                  <c:v>32396</c:v>
                </c:pt>
                <c:pt idx="52331">
                  <c:v>32395</c:v>
                </c:pt>
                <c:pt idx="52332">
                  <c:v>32395</c:v>
                </c:pt>
                <c:pt idx="52333">
                  <c:v>32395</c:v>
                </c:pt>
                <c:pt idx="52334">
                  <c:v>32395</c:v>
                </c:pt>
                <c:pt idx="52335">
                  <c:v>32394</c:v>
                </c:pt>
                <c:pt idx="52336">
                  <c:v>32394</c:v>
                </c:pt>
                <c:pt idx="52337">
                  <c:v>32394</c:v>
                </c:pt>
                <c:pt idx="52338">
                  <c:v>32394</c:v>
                </c:pt>
                <c:pt idx="52339">
                  <c:v>32394</c:v>
                </c:pt>
                <c:pt idx="52340">
                  <c:v>32394</c:v>
                </c:pt>
                <c:pt idx="52341">
                  <c:v>32394</c:v>
                </c:pt>
                <c:pt idx="52342">
                  <c:v>32394</c:v>
                </c:pt>
                <c:pt idx="52343">
                  <c:v>32394</c:v>
                </c:pt>
                <c:pt idx="52344">
                  <c:v>32394</c:v>
                </c:pt>
                <c:pt idx="52345">
                  <c:v>32394</c:v>
                </c:pt>
                <c:pt idx="52346">
                  <c:v>32393</c:v>
                </c:pt>
                <c:pt idx="52347">
                  <c:v>32393</c:v>
                </c:pt>
                <c:pt idx="52348">
                  <c:v>32393</c:v>
                </c:pt>
                <c:pt idx="52349">
                  <c:v>32393</c:v>
                </c:pt>
                <c:pt idx="52350">
                  <c:v>32393</c:v>
                </c:pt>
                <c:pt idx="52351">
                  <c:v>32392</c:v>
                </c:pt>
                <c:pt idx="52352">
                  <c:v>32392</c:v>
                </c:pt>
                <c:pt idx="52353">
                  <c:v>32392</c:v>
                </c:pt>
                <c:pt idx="52354">
                  <c:v>32391</c:v>
                </c:pt>
                <c:pt idx="52355">
                  <c:v>32391</c:v>
                </c:pt>
                <c:pt idx="52356">
                  <c:v>32391</c:v>
                </c:pt>
                <c:pt idx="52357">
                  <c:v>32391</c:v>
                </c:pt>
                <c:pt idx="52358">
                  <c:v>32391</c:v>
                </c:pt>
                <c:pt idx="52359">
                  <c:v>32391</c:v>
                </c:pt>
                <c:pt idx="52360">
                  <c:v>32391</c:v>
                </c:pt>
                <c:pt idx="52361">
                  <c:v>32390</c:v>
                </c:pt>
                <c:pt idx="52362">
                  <c:v>32390</c:v>
                </c:pt>
                <c:pt idx="52363">
                  <c:v>32390</c:v>
                </c:pt>
                <c:pt idx="52364">
                  <c:v>32390</c:v>
                </c:pt>
                <c:pt idx="52365">
                  <c:v>32390</c:v>
                </c:pt>
                <c:pt idx="52366">
                  <c:v>32390</c:v>
                </c:pt>
                <c:pt idx="52367">
                  <c:v>32390</c:v>
                </c:pt>
                <c:pt idx="52368">
                  <c:v>32389</c:v>
                </c:pt>
                <c:pt idx="52369">
                  <c:v>32389</c:v>
                </c:pt>
                <c:pt idx="52370">
                  <c:v>32389</c:v>
                </c:pt>
                <c:pt idx="52371">
                  <c:v>32389</c:v>
                </c:pt>
                <c:pt idx="52372">
                  <c:v>32389</c:v>
                </c:pt>
                <c:pt idx="52373">
                  <c:v>32389</c:v>
                </c:pt>
                <c:pt idx="52374">
                  <c:v>32388</c:v>
                </c:pt>
                <c:pt idx="52375">
                  <c:v>32388</c:v>
                </c:pt>
                <c:pt idx="52376">
                  <c:v>32388</c:v>
                </c:pt>
                <c:pt idx="52377">
                  <c:v>32388</c:v>
                </c:pt>
                <c:pt idx="52378">
                  <c:v>32388</c:v>
                </c:pt>
                <c:pt idx="52379">
                  <c:v>32388</c:v>
                </c:pt>
                <c:pt idx="52380">
                  <c:v>32387</c:v>
                </c:pt>
                <c:pt idx="52381">
                  <c:v>32387</c:v>
                </c:pt>
                <c:pt idx="52382">
                  <c:v>32387</c:v>
                </c:pt>
                <c:pt idx="52383">
                  <c:v>32387</c:v>
                </c:pt>
                <c:pt idx="52384">
                  <c:v>32386</c:v>
                </c:pt>
                <c:pt idx="52385">
                  <c:v>32386</c:v>
                </c:pt>
                <c:pt idx="52386">
                  <c:v>32386</c:v>
                </c:pt>
                <c:pt idx="52387">
                  <c:v>32386</c:v>
                </c:pt>
                <c:pt idx="52388">
                  <c:v>32386</c:v>
                </c:pt>
                <c:pt idx="52389">
                  <c:v>32386</c:v>
                </c:pt>
                <c:pt idx="52390">
                  <c:v>32386</c:v>
                </c:pt>
                <c:pt idx="52391">
                  <c:v>32386</c:v>
                </c:pt>
                <c:pt idx="52392">
                  <c:v>32386</c:v>
                </c:pt>
                <c:pt idx="52393">
                  <c:v>32386</c:v>
                </c:pt>
                <c:pt idx="52394">
                  <c:v>32385</c:v>
                </c:pt>
                <c:pt idx="52395">
                  <c:v>32385</c:v>
                </c:pt>
                <c:pt idx="52396">
                  <c:v>32385</c:v>
                </c:pt>
                <c:pt idx="52397">
                  <c:v>32385</c:v>
                </c:pt>
                <c:pt idx="52398">
                  <c:v>32385</c:v>
                </c:pt>
                <c:pt idx="52399">
                  <c:v>32384</c:v>
                </c:pt>
                <c:pt idx="52400">
                  <c:v>32384</c:v>
                </c:pt>
                <c:pt idx="52401">
                  <c:v>32384</c:v>
                </c:pt>
                <c:pt idx="52402">
                  <c:v>32384</c:v>
                </c:pt>
                <c:pt idx="52403">
                  <c:v>32384</c:v>
                </c:pt>
                <c:pt idx="52404">
                  <c:v>32384</c:v>
                </c:pt>
                <c:pt idx="52405">
                  <c:v>32384</c:v>
                </c:pt>
                <c:pt idx="52406">
                  <c:v>32384</c:v>
                </c:pt>
                <c:pt idx="52407">
                  <c:v>32383</c:v>
                </c:pt>
                <c:pt idx="52408">
                  <c:v>32383</c:v>
                </c:pt>
                <c:pt idx="52409">
                  <c:v>32383</c:v>
                </c:pt>
                <c:pt idx="52410">
                  <c:v>32383</c:v>
                </c:pt>
                <c:pt idx="52411">
                  <c:v>32383</c:v>
                </c:pt>
                <c:pt idx="52412">
                  <c:v>32383</c:v>
                </c:pt>
                <c:pt idx="52413">
                  <c:v>32383</c:v>
                </c:pt>
                <c:pt idx="52414">
                  <c:v>32383</c:v>
                </c:pt>
                <c:pt idx="52415">
                  <c:v>32382</c:v>
                </c:pt>
                <c:pt idx="52416">
                  <c:v>32382</c:v>
                </c:pt>
                <c:pt idx="52417">
                  <c:v>32382</c:v>
                </c:pt>
                <c:pt idx="52418">
                  <c:v>32382</c:v>
                </c:pt>
                <c:pt idx="52419">
                  <c:v>32382</c:v>
                </c:pt>
                <c:pt idx="52420">
                  <c:v>32382</c:v>
                </c:pt>
                <c:pt idx="52421">
                  <c:v>32382</c:v>
                </c:pt>
                <c:pt idx="52422">
                  <c:v>32382</c:v>
                </c:pt>
                <c:pt idx="52423">
                  <c:v>32382</c:v>
                </c:pt>
                <c:pt idx="52424">
                  <c:v>32382</c:v>
                </c:pt>
                <c:pt idx="52425">
                  <c:v>32382</c:v>
                </c:pt>
                <c:pt idx="52426">
                  <c:v>32381</c:v>
                </c:pt>
                <c:pt idx="52427">
                  <c:v>32381</c:v>
                </c:pt>
                <c:pt idx="52428">
                  <c:v>32381</c:v>
                </c:pt>
                <c:pt idx="52429">
                  <c:v>32381</c:v>
                </c:pt>
                <c:pt idx="52430">
                  <c:v>32381</c:v>
                </c:pt>
                <c:pt idx="52431">
                  <c:v>32381</c:v>
                </c:pt>
                <c:pt idx="52432">
                  <c:v>32381</c:v>
                </c:pt>
                <c:pt idx="52433">
                  <c:v>32381</c:v>
                </c:pt>
                <c:pt idx="52434">
                  <c:v>32381</c:v>
                </c:pt>
                <c:pt idx="52435">
                  <c:v>32381</c:v>
                </c:pt>
                <c:pt idx="52436">
                  <c:v>32381</c:v>
                </c:pt>
                <c:pt idx="52437">
                  <c:v>32380</c:v>
                </c:pt>
                <c:pt idx="52438">
                  <c:v>32380</c:v>
                </c:pt>
                <c:pt idx="52439">
                  <c:v>32380</c:v>
                </c:pt>
                <c:pt idx="52440">
                  <c:v>32380</c:v>
                </c:pt>
                <c:pt idx="52441">
                  <c:v>32380</c:v>
                </c:pt>
                <c:pt idx="52442">
                  <c:v>32379</c:v>
                </c:pt>
                <c:pt idx="52443">
                  <c:v>32379</c:v>
                </c:pt>
                <c:pt idx="52444">
                  <c:v>32379</c:v>
                </c:pt>
                <c:pt idx="52445">
                  <c:v>32379</c:v>
                </c:pt>
                <c:pt idx="52446">
                  <c:v>32379</c:v>
                </c:pt>
                <c:pt idx="52447">
                  <c:v>32379</c:v>
                </c:pt>
                <c:pt idx="52448">
                  <c:v>32379</c:v>
                </c:pt>
                <c:pt idx="52449">
                  <c:v>32379</c:v>
                </c:pt>
                <c:pt idx="52450">
                  <c:v>32378</c:v>
                </c:pt>
                <c:pt idx="52451">
                  <c:v>32378</c:v>
                </c:pt>
                <c:pt idx="52452">
                  <c:v>32378</c:v>
                </c:pt>
                <c:pt idx="52453">
                  <c:v>32378</c:v>
                </c:pt>
                <c:pt idx="52454">
                  <c:v>32378</c:v>
                </c:pt>
                <c:pt idx="52455">
                  <c:v>32377</c:v>
                </c:pt>
                <c:pt idx="52456">
                  <c:v>32377</c:v>
                </c:pt>
                <c:pt idx="52457">
                  <c:v>32377</c:v>
                </c:pt>
                <c:pt idx="52458">
                  <c:v>32377</c:v>
                </c:pt>
                <c:pt idx="52459">
                  <c:v>32377</c:v>
                </c:pt>
                <c:pt idx="52460">
                  <c:v>32377</c:v>
                </c:pt>
                <c:pt idx="52461">
                  <c:v>32377</c:v>
                </c:pt>
                <c:pt idx="52462">
                  <c:v>32377</c:v>
                </c:pt>
                <c:pt idx="52463">
                  <c:v>32377</c:v>
                </c:pt>
                <c:pt idx="52464">
                  <c:v>32376</c:v>
                </c:pt>
                <c:pt idx="52465">
                  <c:v>32376</c:v>
                </c:pt>
                <c:pt idx="52466">
                  <c:v>32376</c:v>
                </c:pt>
                <c:pt idx="52467">
                  <c:v>32376</c:v>
                </c:pt>
                <c:pt idx="52468">
                  <c:v>32376</c:v>
                </c:pt>
                <c:pt idx="52469">
                  <c:v>32376</c:v>
                </c:pt>
                <c:pt idx="52470">
                  <c:v>32376</c:v>
                </c:pt>
                <c:pt idx="52471">
                  <c:v>32375</c:v>
                </c:pt>
                <c:pt idx="52472">
                  <c:v>32375</c:v>
                </c:pt>
                <c:pt idx="52473">
                  <c:v>32375</c:v>
                </c:pt>
                <c:pt idx="52474">
                  <c:v>32375</c:v>
                </c:pt>
                <c:pt idx="52475">
                  <c:v>32375</c:v>
                </c:pt>
                <c:pt idx="52476">
                  <c:v>32374</c:v>
                </c:pt>
                <c:pt idx="52477">
                  <c:v>32374</c:v>
                </c:pt>
                <c:pt idx="52478">
                  <c:v>32374</c:v>
                </c:pt>
                <c:pt idx="52479">
                  <c:v>32374</c:v>
                </c:pt>
                <c:pt idx="52480">
                  <c:v>32374</c:v>
                </c:pt>
                <c:pt idx="52481">
                  <c:v>32374</c:v>
                </c:pt>
                <c:pt idx="52482">
                  <c:v>32373</c:v>
                </c:pt>
                <c:pt idx="52483">
                  <c:v>32373</c:v>
                </c:pt>
                <c:pt idx="52484">
                  <c:v>32373</c:v>
                </c:pt>
                <c:pt idx="52485">
                  <c:v>32373</c:v>
                </c:pt>
                <c:pt idx="52486">
                  <c:v>32373</c:v>
                </c:pt>
                <c:pt idx="52487">
                  <c:v>32373</c:v>
                </c:pt>
                <c:pt idx="52488">
                  <c:v>32373</c:v>
                </c:pt>
                <c:pt idx="52489">
                  <c:v>32373</c:v>
                </c:pt>
                <c:pt idx="52490">
                  <c:v>32372</c:v>
                </c:pt>
                <c:pt idx="52491">
                  <c:v>32372</c:v>
                </c:pt>
                <c:pt idx="52492">
                  <c:v>32372</c:v>
                </c:pt>
                <c:pt idx="52493">
                  <c:v>32371</c:v>
                </c:pt>
                <c:pt idx="52494">
                  <c:v>32371</c:v>
                </c:pt>
                <c:pt idx="52495">
                  <c:v>32371</c:v>
                </c:pt>
                <c:pt idx="52496">
                  <c:v>32371</c:v>
                </c:pt>
                <c:pt idx="52497">
                  <c:v>32371</c:v>
                </c:pt>
                <c:pt idx="52498">
                  <c:v>32371</c:v>
                </c:pt>
                <c:pt idx="52499">
                  <c:v>32371</c:v>
                </c:pt>
                <c:pt idx="52500">
                  <c:v>32370</c:v>
                </c:pt>
                <c:pt idx="52501">
                  <c:v>32370</c:v>
                </c:pt>
                <c:pt idx="52502">
                  <c:v>32370</c:v>
                </c:pt>
                <c:pt idx="52503">
                  <c:v>32370</c:v>
                </c:pt>
                <c:pt idx="52504">
                  <c:v>32370</c:v>
                </c:pt>
                <c:pt idx="52505">
                  <c:v>32369</c:v>
                </c:pt>
                <c:pt idx="52506">
                  <c:v>32369</c:v>
                </c:pt>
                <c:pt idx="52507">
                  <c:v>32369</c:v>
                </c:pt>
                <c:pt idx="52508">
                  <c:v>32369</c:v>
                </c:pt>
                <c:pt idx="52509">
                  <c:v>32369</c:v>
                </c:pt>
                <c:pt idx="52510">
                  <c:v>32369</c:v>
                </c:pt>
                <c:pt idx="52511">
                  <c:v>32369</c:v>
                </c:pt>
                <c:pt idx="52512">
                  <c:v>32369</c:v>
                </c:pt>
                <c:pt idx="52513">
                  <c:v>32369</c:v>
                </c:pt>
                <c:pt idx="52514">
                  <c:v>32368</c:v>
                </c:pt>
                <c:pt idx="52515">
                  <c:v>32368</c:v>
                </c:pt>
                <c:pt idx="52516">
                  <c:v>32368</c:v>
                </c:pt>
                <c:pt idx="52517">
                  <c:v>32368</c:v>
                </c:pt>
                <c:pt idx="52518">
                  <c:v>32368</c:v>
                </c:pt>
                <c:pt idx="52519">
                  <c:v>32368</c:v>
                </c:pt>
                <c:pt idx="52520">
                  <c:v>32367</c:v>
                </c:pt>
                <c:pt idx="52521">
                  <c:v>32367</c:v>
                </c:pt>
                <c:pt idx="52522">
                  <c:v>32367</c:v>
                </c:pt>
                <c:pt idx="52523">
                  <c:v>32367</c:v>
                </c:pt>
                <c:pt idx="52524">
                  <c:v>32367</c:v>
                </c:pt>
                <c:pt idx="52525">
                  <c:v>32367</c:v>
                </c:pt>
                <c:pt idx="52526">
                  <c:v>32367</c:v>
                </c:pt>
                <c:pt idx="52527">
                  <c:v>32367</c:v>
                </c:pt>
                <c:pt idx="52528">
                  <c:v>32367</c:v>
                </c:pt>
                <c:pt idx="52529">
                  <c:v>32367</c:v>
                </c:pt>
                <c:pt idx="52530">
                  <c:v>32367</c:v>
                </c:pt>
                <c:pt idx="52531">
                  <c:v>32366</c:v>
                </c:pt>
                <c:pt idx="52532">
                  <c:v>32366</c:v>
                </c:pt>
                <c:pt idx="52533">
                  <c:v>32366</c:v>
                </c:pt>
                <c:pt idx="52534">
                  <c:v>32366</c:v>
                </c:pt>
                <c:pt idx="52535">
                  <c:v>32366</c:v>
                </c:pt>
                <c:pt idx="52536">
                  <c:v>32365</c:v>
                </c:pt>
                <c:pt idx="52537">
                  <c:v>32365</c:v>
                </c:pt>
                <c:pt idx="52538">
                  <c:v>32365</c:v>
                </c:pt>
                <c:pt idx="52539">
                  <c:v>32365</c:v>
                </c:pt>
                <c:pt idx="52540">
                  <c:v>32365</c:v>
                </c:pt>
                <c:pt idx="52541">
                  <c:v>32364</c:v>
                </c:pt>
                <c:pt idx="52542">
                  <c:v>32364</c:v>
                </c:pt>
                <c:pt idx="52543">
                  <c:v>32364</c:v>
                </c:pt>
                <c:pt idx="52544">
                  <c:v>32364</c:v>
                </c:pt>
                <c:pt idx="52545">
                  <c:v>32364</c:v>
                </c:pt>
                <c:pt idx="52546">
                  <c:v>32364</c:v>
                </c:pt>
                <c:pt idx="52547">
                  <c:v>32364</c:v>
                </c:pt>
                <c:pt idx="52548">
                  <c:v>32363</c:v>
                </c:pt>
                <c:pt idx="52549">
                  <c:v>32363</c:v>
                </c:pt>
                <c:pt idx="52550">
                  <c:v>32363</c:v>
                </c:pt>
                <c:pt idx="52551">
                  <c:v>32363</c:v>
                </c:pt>
                <c:pt idx="52552">
                  <c:v>32363</c:v>
                </c:pt>
                <c:pt idx="52553">
                  <c:v>32363</c:v>
                </c:pt>
                <c:pt idx="52554">
                  <c:v>32363</c:v>
                </c:pt>
                <c:pt idx="52555">
                  <c:v>32363</c:v>
                </c:pt>
                <c:pt idx="52556">
                  <c:v>32363</c:v>
                </c:pt>
                <c:pt idx="52557">
                  <c:v>32363</c:v>
                </c:pt>
                <c:pt idx="52558">
                  <c:v>32363</c:v>
                </c:pt>
                <c:pt idx="52559">
                  <c:v>32362</c:v>
                </c:pt>
                <c:pt idx="52560">
                  <c:v>32362</c:v>
                </c:pt>
                <c:pt idx="52561">
                  <c:v>32362</c:v>
                </c:pt>
                <c:pt idx="52562">
                  <c:v>32361</c:v>
                </c:pt>
                <c:pt idx="52563">
                  <c:v>32361</c:v>
                </c:pt>
                <c:pt idx="52564">
                  <c:v>32361</c:v>
                </c:pt>
                <c:pt idx="52565">
                  <c:v>32361</c:v>
                </c:pt>
                <c:pt idx="52566">
                  <c:v>32361</c:v>
                </c:pt>
                <c:pt idx="52567">
                  <c:v>32361</c:v>
                </c:pt>
                <c:pt idx="52568">
                  <c:v>32361</c:v>
                </c:pt>
                <c:pt idx="52569">
                  <c:v>32360</c:v>
                </c:pt>
                <c:pt idx="52570">
                  <c:v>32360</c:v>
                </c:pt>
                <c:pt idx="52571">
                  <c:v>32360</c:v>
                </c:pt>
                <c:pt idx="52572">
                  <c:v>32360</c:v>
                </c:pt>
                <c:pt idx="52573">
                  <c:v>32360</c:v>
                </c:pt>
                <c:pt idx="52574">
                  <c:v>32359</c:v>
                </c:pt>
                <c:pt idx="52575">
                  <c:v>32359</c:v>
                </c:pt>
                <c:pt idx="52576">
                  <c:v>32359</c:v>
                </c:pt>
                <c:pt idx="52577">
                  <c:v>32359</c:v>
                </c:pt>
                <c:pt idx="52578">
                  <c:v>32359</c:v>
                </c:pt>
                <c:pt idx="52579">
                  <c:v>32359</c:v>
                </c:pt>
                <c:pt idx="52580">
                  <c:v>32359</c:v>
                </c:pt>
                <c:pt idx="52581">
                  <c:v>32359</c:v>
                </c:pt>
                <c:pt idx="52582">
                  <c:v>32359</c:v>
                </c:pt>
                <c:pt idx="52583">
                  <c:v>32358</c:v>
                </c:pt>
                <c:pt idx="52584">
                  <c:v>32358</c:v>
                </c:pt>
                <c:pt idx="52585">
                  <c:v>32358</c:v>
                </c:pt>
                <c:pt idx="52586">
                  <c:v>32358</c:v>
                </c:pt>
                <c:pt idx="52587">
                  <c:v>32358</c:v>
                </c:pt>
                <c:pt idx="52588">
                  <c:v>32358</c:v>
                </c:pt>
                <c:pt idx="52589">
                  <c:v>32358</c:v>
                </c:pt>
                <c:pt idx="52590">
                  <c:v>32357</c:v>
                </c:pt>
                <c:pt idx="52591">
                  <c:v>32357</c:v>
                </c:pt>
                <c:pt idx="52592">
                  <c:v>32357</c:v>
                </c:pt>
                <c:pt idx="52593">
                  <c:v>32357</c:v>
                </c:pt>
                <c:pt idx="52594">
                  <c:v>32357</c:v>
                </c:pt>
                <c:pt idx="52595">
                  <c:v>32357</c:v>
                </c:pt>
                <c:pt idx="52596">
                  <c:v>32357</c:v>
                </c:pt>
                <c:pt idx="52597">
                  <c:v>32357</c:v>
                </c:pt>
                <c:pt idx="52598">
                  <c:v>32357</c:v>
                </c:pt>
                <c:pt idx="52599">
                  <c:v>32357</c:v>
                </c:pt>
                <c:pt idx="52600">
                  <c:v>32356</c:v>
                </c:pt>
                <c:pt idx="52601">
                  <c:v>32356</c:v>
                </c:pt>
                <c:pt idx="52602">
                  <c:v>32356</c:v>
                </c:pt>
                <c:pt idx="52603">
                  <c:v>32356</c:v>
                </c:pt>
                <c:pt idx="52604">
                  <c:v>32355</c:v>
                </c:pt>
                <c:pt idx="52605">
                  <c:v>32355</c:v>
                </c:pt>
                <c:pt idx="52606">
                  <c:v>32355</c:v>
                </c:pt>
                <c:pt idx="52607">
                  <c:v>32355</c:v>
                </c:pt>
                <c:pt idx="52608">
                  <c:v>32355</c:v>
                </c:pt>
                <c:pt idx="52609">
                  <c:v>32355</c:v>
                </c:pt>
                <c:pt idx="52610">
                  <c:v>32355</c:v>
                </c:pt>
                <c:pt idx="52611">
                  <c:v>32355</c:v>
                </c:pt>
                <c:pt idx="52612">
                  <c:v>32355</c:v>
                </c:pt>
                <c:pt idx="52613">
                  <c:v>32354</c:v>
                </c:pt>
                <c:pt idx="52614">
                  <c:v>32354</c:v>
                </c:pt>
                <c:pt idx="52615">
                  <c:v>32354</c:v>
                </c:pt>
                <c:pt idx="52616">
                  <c:v>32354</c:v>
                </c:pt>
                <c:pt idx="52617">
                  <c:v>32354</c:v>
                </c:pt>
                <c:pt idx="52618">
                  <c:v>32354</c:v>
                </c:pt>
                <c:pt idx="52619">
                  <c:v>32354</c:v>
                </c:pt>
                <c:pt idx="52620">
                  <c:v>32354</c:v>
                </c:pt>
                <c:pt idx="52621">
                  <c:v>32354</c:v>
                </c:pt>
                <c:pt idx="52622">
                  <c:v>32354</c:v>
                </c:pt>
                <c:pt idx="52623">
                  <c:v>32353</c:v>
                </c:pt>
                <c:pt idx="52624">
                  <c:v>32353</c:v>
                </c:pt>
                <c:pt idx="52625">
                  <c:v>32353</c:v>
                </c:pt>
                <c:pt idx="52626">
                  <c:v>32353</c:v>
                </c:pt>
                <c:pt idx="52627">
                  <c:v>32353</c:v>
                </c:pt>
                <c:pt idx="52628">
                  <c:v>32352</c:v>
                </c:pt>
                <c:pt idx="52629">
                  <c:v>32352</c:v>
                </c:pt>
                <c:pt idx="52630">
                  <c:v>32352</c:v>
                </c:pt>
                <c:pt idx="52631">
                  <c:v>32352</c:v>
                </c:pt>
                <c:pt idx="52632">
                  <c:v>32352</c:v>
                </c:pt>
                <c:pt idx="52633">
                  <c:v>32351</c:v>
                </c:pt>
                <c:pt idx="52634">
                  <c:v>32351</c:v>
                </c:pt>
                <c:pt idx="52635">
                  <c:v>32351</c:v>
                </c:pt>
                <c:pt idx="52636">
                  <c:v>32351</c:v>
                </c:pt>
                <c:pt idx="52637">
                  <c:v>32351</c:v>
                </c:pt>
                <c:pt idx="52638">
                  <c:v>32351</c:v>
                </c:pt>
                <c:pt idx="52639">
                  <c:v>32351</c:v>
                </c:pt>
                <c:pt idx="52640">
                  <c:v>32351</c:v>
                </c:pt>
                <c:pt idx="52641">
                  <c:v>32351</c:v>
                </c:pt>
                <c:pt idx="52642">
                  <c:v>32351</c:v>
                </c:pt>
                <c:pt idx="52643">
                  <c:v>32350</c:v>
                </c:pt>
                <c:pt idx="52644">
                  <c:v>32350</c:v>
                </c:pt>
                <c:pt idx="52645">
                  <c:v>32350</c:v>
                </c:pt>
                <c:pt idx="52646">
                  <c:v>32350</c:v>
                </c:pt>
                <c:pt idx="52647">
                  <c:v>32350</c:v>
                </c:pt>
                <c:pt idx="52648">
                  <c:v>32350</c:v>
                </c:pt>
                <c:pt idx="52649">
                  <c:v>32350</c:v>
                </c:pt>
                <c:pt idx="52650">
                  <c:v>32350</c:v>
                </c:pt>
                <c:pt idx="52651">
                  <c:v>32350</c:v>
                </c:pt>
                <c:pt idx="52652">
                  <c:v>32349</c:v>
                </c:pt>
                <c:pt idx="52653">
                  <c:v>32349</c:v>
                </c:pt>
                <c:pt idx="52654">
                  <c:v>32349</c:v>
                </c:pt>
                <c:pt idx="52655">
                  <c:v>32349</c:v>
                </c:pt>
                <c:pt idx="52656">
                  <c:v>32349</c:v>
                </c:pt>
                <c:pt idx="52657">
                  <c:v>32349</c:v>
                </c:pt>
                <c:pt idx="52658">
                  <c:v>32348</c:v>
                </c:pt>
                <c:pt idx="52659">
                  <c:v>32348</c:v>
                </c:pt>
                <c:pt idx="52660">
                  <c:v>32348</c:v>
                </c:pt>
                <c:pt idx="52661">
                  <c:v>32348</c:v>
                </c:pt>
                <c:pt idx="52662">
                  <c:v>32348</c:v>
                </c:pt>
                <c:pt idx="52663">
                  <c:v>32348</c:v>
                </c:pt>
                <c:pt idx="52664">
                  <c:v>32348</c:v>
                </c:pt>
                <c:pt idx="52665">
                  <c:v>32348</c:v>
                </c:pt>
                <c:pt idx="52666">
                  <c:v>32348</c:v>
                </c:pt>
                <c:pt idx="52667">
                  <c:v>32348</c:v>
                </c:pt>
                <c:pt idx="52668">
                  <c:v>32348</c:v>
                </c:pt>
                <c:pt idx="52669">
                  <c:v>32348</c:v>
                </c:pt>
                <c:pt idx="52670">
                  <c:v>32348</c:v>
                </c:pt>
                <c:pt idx="52671">
                  <c:v>32348</c:v>
                </c:pt>
                <c:pt idx="52672">
                  <c:v>32348</c:v>
                </c:pt>
                <c:pt idx="52673">
                  <c:v>32348</c:v>
                </c:pt>
                <c:pt idx="52674">
                  <c:v>32347</c:v>
                </c:pt>
                <c:pt idx="52675">
                  <c:v>32347</c:v>
                </c:pt>
                <c:pt idx="52676">
                  <c:v>32347</c:v>
                </c:pt>
                <c:pt idx="52677">
                  <c:v>32347</c:v>
                </c:pt>
                <c:pt idx="52678">
                  <c:v>32347</c:v>
                </c:pt>
                <c:pt idx="52679">
                  <c:v>32347</c:v>
                </c:pt>
                <c:pt idx="52680">
                  <c:v>32347</c:v>
                </c:pt>
                <c:pt idx="52681">
                  <c:v>32347</c:v>
                </c:pt>
                <c:pt idx="52682">
                  <c:v>32347</c:v>
                </c:pt>
                <c:pt idx="52683">
                  <c:v>32347</c:v>
                </c:pt>
                <c:pt idx="52684">
                  <c:v>32347</c:v>
                </c:pt>
                <c:pt idx="52685">
                  <c:v>32346</c:v>
                </c:pt>
                <c:pt idx="52686">
                  <c:v>32346</c:v>
                </c:pt>
                <c:pt idx="52687">
                  <c:v>32346</c:v>
                </c:pt>
                <c:pt idx="52688">
                  <c:v>32346</c:v>
                </c:pt>
                <c:pt idx="52689">
                  <c:v>32346</c:v>
                </c:pt>
                <c:pt idx="52690">
                  <c:v>32346</c:v>
                </c:pt>
                <c:pt idx="52691">
                  <c:v>32345</c:v>
                </c:pt>
                <c:pt idx="52692">
                  <c:v>32345</c:v>
                </c:pt>
                <c:pt idx="52693">
                  <c:v>32345</c:v>
                </c:pt>
                <c:pt idx="52694">
                  <c:v>32344</c:v>
                </c:pt>
                <c:pt idx="52695">
                  <c:v>32344</c:v>
                </c:pt>
                <c:pt idx="52696">
                  <c:v>32344</c:v>
                </c:pt>
                <c:pt idx="52697">
                  <c:v>32344</c:v>
                </c:pt>
                <c:pt idx="52698">
                  <c:v>32344</c:v>
                </c:pt>
                <c:pt idx="52699">
                  <c:v>32344</c:v>
                </c:pt>
                <c:pt idx="52700">
                  <c:v>32344</c:v>
                </c:pt>
                <c:pt idx="52701">
                  <c:v>32344</c:v>
                </c:pt>
                <c:pt idx="52702">
                  <c:v>32344</c:v>
                </c:pt>
                <c:pt idx="52703">
                  <c:v>32344</c:v>
                </c:pt>
                <c:pt idx="52704">
                  <c:v>32344</c:v>
                </c:pt>
                <c:pt idx="52705">
                  <c:v>32344</c:v>
                </c:pt>
                <c:pt idx="52706">
                  <c:v>32343</c:v>
                </c:pt>
                <c:pt idx="52707">
                  <c:v>32343</c:v>
                </c:pt>
                <c:pt idx="52708">
                  <c:v>32343</c:v>
                </c:pt>
                <c:pt idx="52709">
                  <c:v>32343</c:v>
                </c:pt>
                <c:pt idx="52710">
                  <c:v>32343</c:v>
                </c:pt>
                <c:pt idx="52711">
                  <c:v>32342</c:v>
                </c:pt>
                <c:pt idx="52712">
                  <c:v>32342</c:v>
                </c:pt>
                <c:pt idx="52713">
                  <c:v>32342</c:v>
                </c:pt>
                <c:pt idx="52714">
                  <c:v>32342</c:v>
                </c:pt>
                <c:pt idx="52715">
                  <c:v>32342</c:v>
                </c:pt>
                <c:pt idx="52716">
                  <c:v>32342</c:v>
                </c:pt>
                <c:pt idx="52717">
                  <c:v>32342</c:v>
                </c:pt>
                <c:pt idx="52718">
                  <c:v>32341</c:v>
                </c:pt>
                <c:pt idx="52719">
                  <c:v>32341</c:v>
                </c:pt>
                <c:pt idx="52720">
                  <c:v>32340</c:v>
                </c:pt>
                <c:pt idx="52721">
                  <c:v>32340</c:v>
                </c:pt>
                <c:pt idx="52722">
                  <c:v>32340</c:v>
                </c:pt>
                <c:pt idx="52723">
                  <c:v>32340</c:v>
                </c:pt>
                <c:pt idx="52724">
                  <c:v>32340</c:v>
                </c:pt>
                <c:pt idx="52725">
                  <c:v>32340</c:v>
                </c:pt>
                <c:pt idx="52726">
                  <c:v>32340</c:v>
                </c:pt>
                <c:pt idx="52727">
                  <c:v>32340</c:v>
                </c:pt>
                <c:pt idx="52728">
                  <c:v>32339</c:v>
                </c:pt>
                <c:pt idx="52729">
                  <c:v>32339</c:v>
                </c:pt>
                <c:pt idx="52730">
                  <c:v>32339</c:v>
                </c:pt>
                <c:pt idx="52731">
                  <c:v>32339</c:v>
                </c:pt>
                <c:pt idx="52732">
                  <c:v>32339</c:v>
                </c:pt>
                <c:pt idx="52733">
                  <c:v>32339</c:v>
                </c:pt>
                <c:pt idx="52734">
                  <c:v>32339</c:v>
                </c:pt>
                <c:pt idx="52735">
                  <c:v>32339</c:v>
                </c:pt>
                <c:pt idx="52736">
                  <c:v>32338</c:v>
                </c:pt>
                <c:pt idx="52737">
                  <c:v>32338</c:v>
                </c:pt>
                <c:pt idx="52738">
                  <c:v>32338</c:v>
                </c:pt>
                <c:pt idx="52739">
                  <c:v>32338</c:v>
                </c:pt>
                <c:pt idx="52740">
                  <c:v>32338</c:v>
                </c:pt>
                <c:pt idx="52741">
                  <c:v>32338</c:v>
                </c:pt>
                <c:pt idx="52742">
                  <c:v>32337</c:v>
                </c:pt>
                <c:pt idx="52743">
                  <c:v>32337</c:v>
                </c:pt>
                <c:pt idx="52744">
                  <c:v>32337</c:v>
                </c:pt>
                <c:pt idx="52745">
                  <c:v>32337</c:v>
                </c:pt>
                <c:pt idx="52746">
                  <c:v>32337</c:v>
                </c:pt>
                <c:pt idx="52747">
                  <c:v>32336</c:v>
                </c:pt>
                <c:pt idx="52748">
                  <c:v>32336</c:v>
                </c:pt>
                <c:pt idx="52749">
                  <c:v>32336</c:v>
                </c:pt>
                <c:pt idx="52750">
                  <c:v>32336</c:v>
                </c:pt>
                <c:pt idx="52751">
                  <c:v>32336</c:v>
                </c:pt>
                <c:pt idx="52752">
                  <c:v>32336</c:v>
                </c:pt>
                <c:pt idx="52753">
                  <c:v>32336</c:v>
                </c:pt>
                <c:pt idx="52754">
                  <c:v>32336</c:v>
                </c:pt>
                <c:pt idx="52755">
                  <c:v>32336</c:v>
                </c:pt>
                <c:pt idx="52756">
                  <c:v>32336</c:v>
                </c:pt>
                <c:pt idx="52757">
                  <c:v>32336</c:v>
                </c:pt>
                <c:pt idx="52758">
                  <c:v>32335</c:v>
                </c:pt>
                <c:pt idx="52759">
                  <c:v>32335</c:v>
                </c:pt>
                <c:pt idx="52760">
                  <c:v>32335</c:v>
                </c:pt>
                <c:pt idx="52761">
                  <c:v>32335</c:v>
                </c:pt>
                <c:pt idx="52762">
                  <c:v>32335</c:v>
                </c:pt>
                <c:pt idx="52763">
                  <c:v>32335</c:v>
                </c:pt>
                <c:pt idx="52764">
                  <c:v>32335</c:v>
                </c:pt>
                <c:pt idx="52765">
                  <c:v>32334</c:v>
                </c:pt>
                <c:pt idx="52766">
                  <c:v>32334</c:v>
                </c:pt>
                <c:pt idx="52767">
                  <c:v>32334</c:v>
                </c:pt>
                <c:pt idx="52768">
                  <c:v>32334</c:v>
                </c:pt>
                <c:pt idx="52769">
                  <c:v>32334</c:v>
                </c:pt>
                <c:pt idx="52770">
                  <c:v>32333</c:v>
                </c:pt>
                <c:pt idx="52771">
                  <c:v>32333</c:v>
                </c:pt>
                <c:pt idx="52772">
                  <c:v>32333</c:v>
                </c:pt>
                <c:pt idx="52773">
                  <c:v>32333</c:v>
                </c:pt>
                <c:pt idx="52774">
                  <c:v>32333</c:v>
                </c:pt>
                <c:pt idx="52775">
                  <c:v>32333</c:v>
                </c:pt>
                <c:pt idx="52776">
                  <c:v>32333</c:v>
                </c:pt>
                <c:pt idx="52777">
                  <c:v>32332</c:v>
                </c:pt>
                <c:pt idx="52778">
                  <c:v>32332</c:v>
                </c:pt>
                <c:pt idx="52779">
                  <c:v>32332</c:v>
                </c:pt>
                <c:pt idx="52780">
                  <c:v>32332</c:v>
                </c:pt>
                <c:pt idx="52781">
                  <c:v>32332</c:v>
                </c:pt>
                <c:pt idx="52782">
                  <c:v>32332</c:v>
                </c:pt>
                <c:pt idx="52783">
                  <c:v>32332</c:v>
                </c:pt>
                <c:pt idx="52784">
                  <c:v>32332</c:v>
                </c:pt>
                <c:pt idx="52785">
                  <c:v>32331</c:v>
                </c:pt>
                <c:pt idx="52786">
                  <c:v>32331</c:v>
                </c:pt>
                <c:pt idx="52787">
                  <c:v>32331</c:v>
                </c:pt>
                <c:pt idx="52788">
                  <c:v>32331</c:v>
                </c:pt>
                <c:pt idx="52789">
                  <c:v>32330</c:v>
                </c:pt>
                <c:pt idx="52790">
                  <c:v>32330</c:v>
                </c:pt>
                <c:pt idx="52791">
                  <c:v>32330</c:v>
                </c:pt>
                <c:pt idx="52792">
                  <c:v>32330</c:v>
                </c:pt>
                <c:pt idx="52793">
                  <c:v>32330</c:v>
                </c:pt>
                <c:pt idx="52794">
                  <c:v>32330</c:v>
                </c:pt>
                <c:pt idx="52795">
                  <c:v>32330</c:v>
                </c:pt>
                <c:pt idx="52796">
                  <c:v>32330</c:v>
                </c:pt>
                <c:pt idx="52797">
                  <c:v>32330</c:v>
                </c:pt>
                <c:pt idx="52798">
                  <c:v>32329</c:v>
                </c:pt>
                <c:pt idx="52799">
                  <c:v>32329</c:v>
                </c:pt>
                <c:pt idx="52800">
                  <c:v>32329</c:v>
                </c:pt>
                <c:pt idx="52801">
                  <c:v>32329</c:v>
                </c:pt>
                <c:pt idx="52802">
                  <c:v>32329</c:v>
                </c:pt>
                <c:pt idx="52803">
                  <c:v>32329</c:v>
                </c:pt>
                <c:pt idx="52804">
                  <c:v>32329</c:v>
                </c:pt>
                <c:pt idx="52805">
                  <c:v>32329</c:v>
                </c:pt>
                <c:pt idx="52806">
                  <c:v>32329</c:v>
                </c:pt>
                <c:pt idx="52807">
                  <c:v>32328</c:v>
                </c:pt>
                <c:pt idx="52808">
                  <c:v>32328</c:v>
                </c:pt>
                <c:pt idx="52809">
                  <c:v>32328</c:v>
                </c:pt>
                <c:pt idx="52810">
                  <c:v>32328</c:v>
                </c:pt>
                <c:pt idx="52811">
                  <c:v>32328</c:v>
                </c:pt>
                <c:pt idx="52812">
                  <c:v>32328</c:v>
                </c:pt>
                <c:pt idx="52813">
                  <c:v>32327</c:v>
                </c:pt>
                <c:pt idx="52814">
                  <c:v>32327</c:v>
                </c:pt>
                <c:pt idx="52815">
                  <c:v>32327</c:v>
                </c:pt>
                <c:pt idx="52816">
                  <c:v>32327</c:v>
                </c:pt>
                <c:pt idx="52817">
                  <c:v>32327</c:v>
                </c:pt>
                <c:pt idx="52818">
                  <c:v>32327</c:v>
                </c:pt>
                <c:pt idx="52819">
                  <c:v>32327</c:v>
                </c:pt>
                <c:pt idx="52820">
                  <c:v>32327</c:v>
                </c:pt>
                <c:pt idx="52821">
                  <c:v>32327</c:v>
                </c:pt>
                <c:pt idx="52822">
                  <c:v>32327</c:v>
                </c:pt>
                <c:pt idx="52823">
                  <c:v>32326</c:v>
                </c:pt>
                <c:pt idx="52824">
                  <c:v>32326</c:v>
                </c:pt>
                <c:pt idx="52825">
                  <c:v>32326</c:v>
                </c:pt>
                <c:pt idx="52826">
                  <c:v>32326</c:v>
                </c:pt>
                <c:pt idx="52827">
                  <c:v>32326</c:v>
                </c:pt>
                <c:pt idx="52828">
                  <c:v>32326</c:v>
                </c:pt>
                <c:pt idx="52829">
                  <c:v>32325</c:v>
                </c:pt>
                <c:pt idx="52830">
                  <c:v>32325</c:v>
                </c:pt>
                <c:pt idx="52831">
                  <c:v>32325</c:v>
                </c:pt>
                <c:pt idx="52832">
                  <c:v>32325</c:v>
                </c:pt>
                <c:pt idx="52833">
                  <c:v>32325</c:v>
                </c:pt>
                <c:pt idx="52834">
                  <c:v>32325</c:v>
                </c:pt>
                <c:pt idx="52835">
                  <c:v>32325</c:v>
                </c:pt>
                <c:pt idx="52836">
                  <c:v>32325</c:v>
                </c:pt>
                <c:pt idx="52837">
                  <c:v>32324</c:v>
                </c:pt>
                <c:pt idx="52838">
                  <c:v>32324</c:v>
                </c:pt>
                <c:pt idx="52839">
                  <c:v>32324</c:v>
                </c:pt>
                <c:pt idx="52840">
                  <c:v>32324</c:v>
                </c:pt>
                <c:pt idx="52841">
                  <c:v>32324</c:v>
                </c:pt>
                <c:pt idx="52842">
                  <c:v>32324</c:v>
                </c:pt>
                <c:pt idx="52843">
                  <c:v>32324</c:v>
                </c:pt>
                <c:pt idx="52844">
                  <c:v>32323</c:v>
                </c:pt>
                <c:pt idx="52845">
                  <c:v>32323</c:v>
                </c:pt>
                <c:pt idx="52846">
                  <c:v>32323</c:v>
                </c:pt>
                <c:pt idx="52847">
                  <c:v>32323</c:v>
                </c:pt>
                <c:pt idx="52848">
                  <c:v>32323</c:v>
                </c:pt>
                <c:pt idx="52849">
                  <c:v>32323</c:v>
                </c:pt>
                <c:pt idx="52850">
                  <c:v>32323</c:v>
                </c:pt>
                <c:pt idx="52851">
                  <c:v>32323</c:v>
                </c:pt>
                <c:pt idx="52852">
                  <c:v>32323</c:v>
                </c:pt>
                <c:pt idx="52853">
                  <c:v>32322</c:v>
                </c:pt>
                <c:pt idx="52854">
                  <c:v>32322</c:v>
                </c:pt>
                <c:pt idx="52855">
                  <c:v>32322</c:v>
                </c:pt>
                <c:pt idx="52856">
                  <c:v>32322</c:v>
                </c:pt>
                <c:pt idx="52857">
                  <c:v>32322</c:v>
                </c:pt>
                <c:pt idx="52858">
                  <c:v>32321</c:v>
                </c:pt>
                <c:pt idx="52859">
                  <c:v>32321</c:v>
                </c:pt>
                <c:pt idx="52860">
                  <c:v>32321</c:v>
                </c:pt>
                <c:pt idx="52861">
                  <c:v>32321</c:v>
                </c:pt>
                <c:pt idx="52862">
                  <c:v>32321</c:v>
                </c:pt>
                <c:pt idx="52863">
                  <c:v>32321</c:v>
                </c:pt>
                <c:pt idx="52864">
                  <c:v>32321</c:v>
                </c:pt>
                <c:pt idx="52865">
                  <c:v>32321</c:v>
                </c:pt>
                <c:pt idx="52866">
                  <c:v>32321</c:v>
                </c:pt>
                <c:pt idx="52867">
                  <c:v>32321</c:v>
                </c:pt>
                <c:pt idx="52868">
                  <c:v>32320</c:v>
                </c:pt>
                <c:pt idx="52869">
                  <c:v>32320</c:v>
                </c:pt>
                <c:pt idx="52870">
                  <c:v>32320</c:v>
                </c:pt>
                <c:pt idx="52871">
                  <c:v>32320</c:v>
                </c:pt>
                <c:pt idx="52872">
                  <c:v>32320</c:v>
                </c:pt>
                <c:pt idx="52873">
                  <c:v>32320</c:v>
                </c:pt>
                <c:pt idx="52874">
                  <c:v>32319</c:v>
                </c:pt>
                <c:pt idx="52875">
                  <c:v>32319</c:v>
                </c:pt>
                <c:pt idx="52876">
                  <c:v>32319</c:v>
                </c:pt>
                <c:pt idx="52877">
                  <c:v>32318</c:v>
                </c:pt>
                <c:pt idx="52878">
                  <c:v>32318</c:v>
                </c:pt>
                <c:pt idx="52879">
                  <c:v>32318</c:v>
                </c:pt>
                <c:pt idx="52880">
                  <c:v>32318</c:v>
                </c:pt>
                <c:pt idx="52881">
                  <c:v>32318</c:v>
                </c:pt>
                <c:pt idx="52882">
                  <c:v>32318</c:v>
                </c:pt>
                <c:pt idx="52883">
                  <c:v>32317</c:v>
                </c:pt>
                <c:pt idx="52884">
                  <c:v>32317</c:v>
                </c:pt>
                <c:pt idx="52885">
                  <c:v>32317</c:v>
                </c:pt>
                <c:pt idx="52886">
                  <c:v>32317</c:v>
                </c:pt>
                <c:pt idx="52887">
                  <c:v>32317</c:v>
                </c:pt>
                <c:pt idx="52888">
                  <c:v>32317</c:v>
                </c:pt>
                <c:pt idx="52889">
                  <c:v>32317</c:v>
                </c:pt>
                <c:pt idx="52890">
                  <c:v>32317</c:v>
                </c:pt>
                <c:pt idx="52891">
                  <c:v>32317</c:v>
                </c:pt>
                <c:pt idx="52892">
                  <c:v>32316</c:v>
                </c:pt>
                <c:pt idx="52893">
                  <c:v>32316</c:v>
                </c:pt>
                <c:pt idx="52894">
                  <c:v>32316</c:v>
                </c:pt>
                <c:pt idx="52895">
                  <c:v>32316</c:v>
                </c:pt>
                <c:pt idx="52896">
                  <c:v>32316</c:v>
                </c:pt>
                <c:pt idx="52897">
                  <c:v>32316</c:v>
                </c:pt>
                <c:pt idx="52898">
                  <c:v>32316</c:v>
                </c:pt>
                <c:pt idx="52899">
                  <c:v>32316</c:v>
                </c:pt>
                <c:pt idx="52900">
                  <c:v>32316</c:v>
                </c:pt>
                <c:pt idx="52901">
                  <c:v>32315</c:v>
                </c:pt>
                <c:pt idx="52902">
                  <c:v>32315</c:v>
                </c:pt>
                <c:pt idx="52903">
                  <c:v>32315</c:v>
                </c:pt>
                <c:pt idx="52904">
                  <c:v>32315</c:v>
                </c:pt>
                <c:pt idx="52905">
                  <c:v>32314</c:v>
                </c:pt>
                <c:pt idx="52906">
                  <c:v>32314</c:v>
                </c:pt>
                <c:pt idx="52907">
                  <c:v>32314</c:v>
                </c:pt>
                <c:pt idx="52908">
                  <c:v>32314</c:v>
                </c:pt>
                <c:pt idx="52909">
                  <c:v>32314</c:v>
                </c:pt>
                <c:pt idx="52910">
                  <c:v>32314</c:v>
                </c:pt>
                <c:pt idx="52911">
                  <c:v>32313</c:v>
                </c:pt>
                <c:pt idx="52912">
                  <c:v>32313</c:v>
                </c:pt>
                <c:pt idx="52913">
                  <c:v>32313</c:v>
                </c:pt>
                <c:pt idx="52914">
                  <c:v>32313</c:v>
                </c:pt>
                <c:pt idx="52915">
                  <c:v>32313</c:v>
                </c:pt>
                <c:pt idx="52916">
                  <c:v>32313</c:v>
                </c:pt>
                <c:pt idx="52917">
                  <c:v>32312</c:v>
                </c:pt>
                <c:pt idx="52918">
                  <c:v>32312</c:v>
                </c:pt>
                <c:pt idx="52919">
                  <c:v>32312</c:v>
                </c:pt>
                <c:pt idx="52920">
                  <c:v>32312</c:v>
                </c:pt>
                <c:pt idx="52921">
                  <c:v>32312</c:v>
                </c:pt>
                <c:pt idx="52922">
                  <c:v>32311</c:v>
                </c:pt>
                <c:pt idx="52923">
                  <c:v>32311</c:v>
                </c:pt>
                <c:pt idx="52924">
                  <c:v>32311</c:v>
                </c:pt>
                <c:pt idx="52925">
                  <c:v>32311</c:v>
                </c:pt>
                <c:pt idx="52926">
                  <c:v>32311</c:v>
                </c:pt>
                <c:pt idx="52927">
                  <c:v>32311</c:v>
                </c:pt>
                <c:pt idx="52928">
                  <c:v>32311</c:v>
                </c:pt>
                <c:pt idx="52929">
                  <c:v>32311</c:v>
                </c:pt>
                <c:pt idx="52930">
                  <c:v>32311</c:v>
                </c:pt>
                <c:pt idx="52931">
                  <c:v>32310</c:v>
                </c:pt>
                <c:pt idx="52932">
                  <c:v>32310</c:v>
                </c:pt>
                <c:pt idx="52933">
                  <c:v>32310</c:v>
                </c:pt>
                <c:pt idx="52934">
                  <c:v>32310</c:v>
                </c:pt>
                <c:pt idx="52935">
                  <c:v>32310</c:v>
                </c:pt>
                <c:pt idx="52936">
                  <c:v>32310</c:v>
                </c:pt>
                <c:pt idx="52937">
                  <c:v>32309</c:v>
                </c:pt>
                <c:pt idx="52938">
                  <c:v>32309</c:v>
                </c:pt>
                <c:pt idx="52939">
                  <c:v>32309</c:v>
                </c:pt>
                <c:pt idx="52940">
                  <c:v>32309</c:v>
                </c:pt>
                <c:pt idx="52941">
                  <c:v>32309</c:v>
                </c:pt>
                <c:pt idx="52942">
                  <c:v>32309</c:v>
                </c:pt>
                <c:pt idx="52943">
                  <c:v>32309</c:v>
                </c:pt>
                <c:pt idx="52944">
                  <c:v>32308</c:v>
                </c:pt>
                <c:pt idx="52945">
                  <c:v>32308</c:v>
                </c:pt>
                <c:pt idx="52946">
                  <c:v>32308</c:v>
                </c:pt>
                <c:pt idx="52947">
                  <c:v>32308</c:v>
                </c:pt>
                <c:pt idx="52948">
                  <c:v>32308</c:v>
                </c:pt>
                <c:pt idx="52949">
                  <c:v>32308</c:v>
                </c:pt>
                <c:pt idx="52950">
                  <c:v>32308</c:v>
                </c:pt>
                <c:pt idx="52951">
                  <c:v>32307</c:v>
                </c:pt>
                <c:pt idx="52952">
                  <c:v>32307</c:v>
                </c:pt>
                <c:pt idx="52953">
                  <c:v>32307</c:v>
                </c:pt>
                <c:pt idx="52954">
                  <c:v>32307</c:v>
                </c:pt>
                <c:pt idx="52955">
                  <c:v>32306</c:v>
                </c:pt>
                <c:pt idx="52956">
                  <c:v>32306</c:v>
                </c:pt>
                <c:pt idx="52957">
                  <c:v>32306</c:v>
                </c:pt>
                <c:pt idx="52958">
                  <c:v>32306</c:v>
                </c:pt>
                <c:pt idx="52959">
                  <c:v>32306</c:v>
                </c:pt>
                <c:pt idx="52960">
                  <c:v>32306</c:v>
                </c:pt>
                <c:pt idx="52961">
                  <c:v>32306</c:v>
                </c:pt>
                <c:pt idx="52962">
                  <c:v>32305</c:v>
                </c:pt>
                <c:pt idx="52963">
                  <c:v>32305</c:v>
                </c:pt>
                <c:pt idx="52964">
                  <c:v>32305</c:v>
                </c:pt>
                <c:pt idx="52965">
                  <c:v>32305</c:v>
                </c:pt>
                <c:pt idx="52966">
                  <c:v>32305</c:v>
                </c:pt>
                <c:pt idx="52967">
                  <c:v>32305</c:v>
                </c:pt>
                <c:pt idx="52968">
                  <c:v>32305</c:v>
                </c:pt>
                <c:pt idx="52969">
                  <c:v>32304</c:v>
                </c:pt>
                <c:pt idx="52970">
                  <c:v>32304</c:v>
                </c:pt>
                <c:pt idx="52971">
                  <c:v>32304</c:v>
                </c:pt>
                <c:pt idx="52972">
                  <c:v>32304</c:v>
                </c:pt>
                <c:pt idx="52973">
                  <c:v>32304</c:v>
                </c:pt>
                <c:pt idx="52974">
                  <c:v>32304</c:v>
                </c:pt>
                <c:pt idx="52975">
                  <c:v>32303</c:v>
                </c:pt>
                <c:pt idx="52976">
                  <c:v>32303</c:v>
                </c:pt>
                <c:pt idx="52977">
                  <c:v>32303</c:v>
                </c:pt>
                <c:pt idx="52978">
                  <c:v>32303</c:v>
                </c:pt>
                <c:pt idx="52979">
                  <c:v>32303</c:v>
                </c:pt>
                <c:pt idx="52980">
                  <c:v>32303</c:v>
                </c:pt>
                <c:pt idx="52981">
                  <c:v>32303</c:v>
                </c:pt>
                <c:pt idx="52982">
                  <c:v>32303</c:v>
                </c:pt>
                <c:pt idx="52983">
                  <c:v>32302</c:v>
                </c:pt>
                <c:pt idx="52984">
                  <c:v>32302</c:v>
                </c:pt>
                <c:pt idx="52985">
                  <c:v>32302</c:v>
                </c:pt>
                <c:pt idx="52986">
                  <c:v>32302</c:v>
                </c:pt>
                <c:pt idx="52987">
                  <c:v>32302</c:v>
                </c:pt>
                <c:pt idx="52988">
                  <c:v>32302</c:v>
                </c:pt>
                <c:pt idx="52989">
                  <c:v>32302</c:v>
                </c:pt>
                <c:pt idx="52990">
                  <c:v>32302</c:v>
                </c:pt>
                <c:pt idx="52991">
                  <c:v>32302</c:v>
                </c:pt>
                <c:pt idx="52992">
                  <c:v>32301</c:v>
                </c:pt>
                <c:pt idx="52993">
                  <c:v>32301</c:v>
                </c:pt>
                <c:pt idx="52994">
                  <c:v>32301</c:v>
                </c:pt>
                <c:pt idx="52995">
                  <c:v>32301</c:v>
                </c:pt>
                <c:pt idx="52996">
                  <c:v>32301</c:v>
                </c:pt>
                <c:pt idx="52997">
                  <c:v>32300</c:v>
                </c:pt>
                <c:pt idx="52998">
                  <c:v>32300</c:v>
                </c:pt>
                <c:pt idx="52999">
                  <c:v>32300</c:v>
                </c:pt>
                <c:pt idx="53000">
                  <c:v>32300</c:v>
                </c:pt>
                <c:pt idx="53001">
                  <c:v>32300</c:v>
                </c:pt>
                <c:pt idx="53002">
                  <c:v>32299</c:v>
                </c:pt>
                <c:pt idx="53003">
                  <c:v>32299</c:v>
                </c:pt>
                <c:pt idx="53004">
                  <c:v>32299</c:v>
                </c:pt>
                <c:pt idx="53005">
                  <c:v>32299</c:v>
                </c:pt>
                <c:pt idx="53006">
                  <c:v>32299</c:v>
                </c:pt>
                <c:pt idx="53007">
                  <c:v>32299</c:v>
                </c:pt>
                <c:pt idx="53008">
                  <c:v>32299</c:v>
                </c:pt>
                <c:pt idx="53009">
                  <c:v>32299</c:v>
                </c:pt>
                <c:pt idx="53010">
                  <c:v>32299</c:v>
                </c:pt>
                <c:pt idx="53011">
                  <c:v>32299</c:v>
                </c:pt>
                <c:pt idx="53012">
                  <c:v>32299</c:v>
                </c:pt>
                <c:pt idx="53013">
                  <c:v>32298</c:v>
                </c:pt>
                <c:pt idx="53014">
                  <c:v>32298</c:v>
                </c:pt>
                <c:pt idx="53015">
                  <c:v>32298</c:v>
                </c:pt>
                <c:pt idx="53016">
                  <c:v>32298</c:v>
                </c:pt>
                <c:pt idx="53017">
                  <c:v>32298</c:v>
                </c:pt>
                <c:pt idx="53018">
                  <c:v>32298</c:v>
                </c:pt>
                <c:pt idx="53019">
                  <c:v>32298</c:v>
                </c:pt>
                <c:pt idx="53020">
                  <c:v>32298</c:v>
                </c:pt>
                <c:pt idx="53021">
                  <c:v>32298</c:v>
                </c:pt>
                <c:pt idx="53022">
                  <c:v>32297</c:v>
                </c:pt>
                <c:pt idx="53023">
                  <c:v>32297</c:v>
                </c:pt>
                <c:pt idx="53024">
                  <c:v>32297</c:v>
                </c:pt>
                <c:pt idx="53025">
                  <c:v>32297</c:v>
                </c:pt>
                <c:pt idx="53026">
                  <c:v>32297</c:v>
                </c:pt>
                <c:pt idx="53027">
                  <c:v>32297</c:v>
                </c:pt>
                <c:pt idx="53028">
                  <c:v>32297</c:v>
                </c:pt>
                <c:pt idx="53029">
                  <c:v>32297</c:v>
                </c:pt>
                <c:pt idx="53030">
                  <c:v>32297</c:v>
                </c:pt>
                <c:pt idx="53031">
                  <c:v>32297</c:v>
                </c:pt>
                <c:pt idx="53032">
                  <c:v>32296</c:v>
                </c:pt>
                <c:pt idx="53033">
                  <c:v>32296</c:v>
                </c:pt>
                <c:pt idx="53034">
                  <c:v>32296</c:v>
                </c:pt>
                <c:pt idx="53035">
                  <c:v>32296</c:v>
                </c:pt>
                <c:pt idx="53036">
                  <c:v>32296</c:v>
                </c:pt>
                <c:pt idx="53037">
                  <c:v>32296</c:v>
                </c:pt>
                <c:pt idx="53038">
                  <c:v>32296</c:v>
                </c:pt>
                <c:pt idx="53039">
                  <c:v>32295</c:v>
                </c:pt>
                <c:pt idx="53040">
                  <c:v>32295</c:v>
                </c:pt>
                <c:pt idx="53041">
                  <c:v>32295</c:v>
                </c:pt>
                <c:pt idx="53042">
                  <c:v>32295</c:v>
                </c:pt>
                <c:pt idx="53043">
                  <c:v>32295</c:v>
                </c:pt>
                <c:pt idx="53044">
                  <c:v>32295</c:v>
                </c:pt>
                <c:pt idx="53045">
                  <c:v>32295</c:v>
                </c:pt>
                <c:pt idx="53046">
                  <c:v>32295</c:v>
                </c:pt>
                <c:pt idx="53047">
                  <c:v>32295</c:v>
                </c:pt>
                <c:pt idx="53048">
                  <c:v>32294</c:v>
                </c:pt>
                <c:pt idx="53049">
                  <c:v>32294</c:v>
                </c:pt>
                <c:pt idx="53050">
                  <c:v>32294</c:v>
                </c:pt>
                <c:pt idx="53051">
                  <c:v>32294</c:v>
                </c:pt>
                <c:pt idx="53052">
                  <c:v>32294</c:v>
                </c:pt>
                <c:pt idx="53053">
                  <c:v>32294</c:v>
                </c:pt>
                <c:pt idx="53054">
                  <c:v>32294</c:v>
                </c:pt>
                <c:pt idx="53055">
                  <c:v>32293</c:v>
                </c:pt>
                <c:pt idx="53056">
                  <c:v>32293</c:v>
                </c:pt>
                <c:pt idx="53057">
                  <c:v>32293</c:v>
                </c:pt>
                <c:pt idx="53058">
                  <c:v>32293</c:v>
                </c:pt>
                <c:pt idx="53059">
                  <c:v>32293</c:v>
                </c:pt>
                <c:pt idx="53060">
                  <c:v>32293</c:v>
                </c:pt>
                <c:pt idx="53061">
                  <c:v>32293</c:v>
                </c:pt>
                <c:pt idx="53062">
                  <c:v>32293</c:v>
                </c:pt>
                <c:pt idx="53063">
                  <c:v>32292</c:v>
                </c:pt>
                <c:pt idx="53064">
                  <c:v>32292</c:v>
                </c:pt>
                <c:pt idx="53065">
                  <c:v>32292</c:v>
                </c:pt>
                <c:pt idx="53066">
                  <c:v>32292</c:v>
                </c:pt>
                <c:pt idx="53067">
                  <c:v>32292</c:v>
                </c:pt>
                <c:pt idx="53068">
                  <c:v>32292</c:v>
                </c:pt>
                <c:pt idx="53069">
                  <c:v>32292</c:v>
                </c:pt>
                <c:pt idx="53070">
                  <c:v>32292</c:v>
                </c:pt>
                <c:pt idx="53071">
                  <c:v>32292</c:v>
                </c:pt>
                <c:pt idx="53072">
                  <c:v>32291</c:v>
                </c:pt>
                <c:pt idx="53073">
                  <c:v>32291</c:v>
                </c:pt>
                <c:pt idx="53074">
                  <c:v>32291</c:v>
                </c:pt>
                <c:pt idx="53075">
                  <c:v>32291</c:v>
                </c:pt>
                <c:pt idx="53076">
                  <c:v>32290</c:v>
                </c:pt>
                <c:pt idx="53077">
                  <c:v>32290</c:v>
                </c:pt>
                <c:pt idx="53078">
                  <c:v>32290</c:v>
                </c:pt>
                <c:pt idx="53079">
                  <c:v>32290</c:v>
                </c:pt>
                <c:pt idx="53080">
                  <c:v>32290</c:v>
                </c:pt>
                <c:pt idx="53081">
                  <c:v>32290</c:v>
                </c:pt>
                <c:pt idx="53082">
                  <c:v>32290</c:v>
                </c:pt>
                <c:pt idx="53083">
                  <c:v>32289</c:v>
                </c:pt>
                <c:pt idx="53084">
                  <c:v>32289</c:v>
                </c:pt>
                <c:pt idx="53085">
                  <c:v>32289</c:v>
                </c:pt>
                <c:pt idx="53086">
                  <c:v>32289</c:v>
                </c:pt>
                <c:pt idx="53087">
                  <c:v>32289</c:v>
                </c:pt>
                <c:pt idx="53088">
                  <c:v>32289</c:v>
                </c:pt>
                <c:pt idx="53089">
                  <c:v>32288</c:v>
                </c:pt>
                <c:pt idx="53090">
                  <c:v>32288</c:v>
                </c:pt>
                <c:pt idx="53091">
                  <c:v>32288</c:v>
                </c:pt>
                <c:pt idx="53092">
                  <c:v>32288</c:v>
                </c:pt>
                <c:pt idx="53093">
                  <c:v>32288</c:v>
                </c:pt>
                <c:pt idx="53094">
                  <c:v>32288</c:v>
                </c:pt>
                <c:pt idx="53095">
                  <c:v>32288</c:v>
                </c:pt>
                <c:pt idx="53096">
                  <c:v>32288</c:v>
                </c:pt>
                <c:pt idx="53097">
                  <c:v>32288</c:v>
                </c:pt>
                <c:pt idx="53098">
                  <c:v>32288</c:v>
                </c:pt>
                <c:pt idx="53099">
                  <c:v>32287</c:v>
                </c:pt>
                <c:pt idx="53100">
                  <c:v>32287</c:v>
                </c:pt>
                <c:pt idx="53101">
                  <c:v>32287</c:v>
                </c:pt>
                <c:pt idx="53102">
                  <c:v>32287</c:v>
                </c:pt>
                <c:pt idx="53103">
                  <c:v>32287</c:v>
                </c:pt>
                <c:pt idx="53104">
                  <c:v>32286</c:v>
                </c:pt>
                <c:pt idx="53105">
                  <c:v>32286</c:v>
                </c:pt>
                <c:pt idx="53106">
                  <c:v>32286</c:v>
                </c:pt>
                <c:pt idx="53107">
                  <c:v>32286</c:v>
                </c:pt>
                <c:pt idx="53108">
                  <c:v>32286</c:v>
                </c:pt>
                <c:pt idx="53109">
                  <c:v>32286</c:v>
                </c:pt>
                <c:pt idx="53110">
                  <c:v>32286</c:v>
                </c:pt>
                <c:pt idx="53111">
                  <c:v>32286</c:v>
                </c:pt>
                <c:pt idx="53112">
                  <c:v>32286</c:v>
                </c:pt>
                <c:pt idx="53113">
                  <c:v>32286</c:v>
                </c:pt>
                <c:pt idx="53114">
                  <c:v>32286</c:v>
                </c:pt>
                <c:pt idx="53115">
                  <c:v>32286</c:v>
                </c:pt>
                <c:pt idx="53116">
                  <c:v>32285</c:v>
                </c:pt>
                <c:pt idx="53117">
                  <c:v>32285</c:v>
                </c:pt>
                <c:pt idx="53118">
                  <c:v>32285</c:v>
                </c:pt>
                <c:pt idx="53119">
                  <c:v>32285</c:v>
                </c:pt>
                <c:pt idx="53120">
                  <c:v>32285</c:v>
                </c:pt>
                <c:pt idx="53121">
                  <c:v>32285</c:v>
                </c:pt>
                <c:pt idx="53122">
                  <c:v>32285</c:v>
                </c:pt>
                <c:pt idx="53123">
                  <c:v>32285</c:v>
                </c:pt>
                <c:pt idx="53124">
                  <c:v>32284</c:v>
                </c:pt>
                <c:pt idx="53125">
                  <c:v>32284</c:v>
                </c:pt>
                <c:pt idx="53126">
                  <c:v>32284</c:v>
                </c:pt>
                <c:pt idx="53127">
                  <c:v>32284</c:v>
                </c:pt>
                <c:pt idx="53128">
                  <c:v>32284</c:v>
                </c:pt>
                <c:pt idx="53129">
                  <c:v>32284</c:v>
                </c:pt>
                <c:pt idx="53130">
                  <c:v>32284</c:v>
                </c:pt>
                <c:pt idx="53131">
                  <c:v>32283</c:v>
                </c:pt>
                <c:pt idx="53132">
                  <c:v>32283</c:v>
                </c:pt>
                <c:pt idx="53133">
                  <c:v>32283</c:v>
                </c:pt>
                <c:pt idx="53134">
                  <c:v>32283</c:v>
                </c:pt>
                <c:pt idx="53135">
                  <c:v>32283</c:v>
                </c:pt>
                <c:pt idx="53136">
                  <c:v>32283</c:v>
                </c:pt>
                <c:pt idx="53137">
                  <c:v>32282</c:v>
                </c:pt>
                <c:pt idx="53138">
                  <c:v>32282</c:v>
                </c:pt>
                <c:pt idx="53139">
                  <c:v>32282</c:v>
                </c:pt>
                <c:pt idx="53140">
                  <c:v>32282</c:v>
                </c:pt>
                <c:pt idx="53141">
                  <c:v>32282</c:v>
                </c:pt>
                <c:pt idx="53142">
                  <c:v>32282</c:v>
                </c:pt>
                <c:pt idx="53143">
                  <c:v>32281</c:v>
                </c:pt>
                <c:pt idx="53144">
                  <c:v>32281</c:v>
                </c:pt>
                <c:pt idx="53145">
                  <c:v>32281</c:v>
                </c:pt>
                <c:pt idx="53146">
                  <c:v>32281</c:v>
                </c:pt>
                <c:pt idx="53147">
                  <c:v>32281</c:v>
                </c:pt>
                <c:pt idx="53148">
                  <c:v>32281</c:v>
                </c:pt>
                <c:pt idx="53149">
                  <c:v>32280</c:v>
                </c:pt>
                <c:pt idx="53150">
                  <c:v>32280</c:v>
                </c:pt>
                <c:pt idx="53151">
                  <c:v>32280</c:v>
                </c:pt>
                <c:pt idx="53152">
                  <c:v>32280</c:v>
                </c:pt>
                <c:pt idx="53153">
                  <c:v>32279</c:v>
                </c:pt>
                <c:pt idx="53154">
                  <c:v>32279</c:v>
                </c:pt>
                <c:pt idx="53155">
                  <c:v>32279</c:v>
                </c:pt>
                <c:pt idx="53156">
                  <c:v>32279</c:v>
                </c:pt>
                <c:pt idx="53157">
                  <c:v>32279</c:v>
                </c:pt>
                <c:pt idx="53158">
                  <c:v>32279</c:v>
                </c:pt>
                <c:pt idx="53159">
                  <c:v>32279</c:v>
                </c:pt>
                <c:pt idx="53160">
                  <c:v>32278</c:v>
                </c:pt>
                <c:pt idx="53161">
                  <c:v>32278</c:v>
                </c:pt>
                <c:pt idx="53162">
                  <c:v>32278</c:v>
                </c:pt>
                <c:pt idx="53163">
                  <c:v>32278</c:v>
                </c:pt>
                <c:pt idx="53164">
                  <c:v>32278</c:v>
                </c:pt>
                <c:pt idx="53165">
                  <c:v>32278</c:v>
                </c:pt>
                <c:pt idx="53166">
                  <c:v>32278</c:v>
                </c:pt>
                <c:pt idx="53167">
                  <c:v>32278</c:v>
                </c:pt>
                <c:pt idx="53168">
                  <c:v>32278</c:v>
                </c:pt>
                <c:pt idx="53169">
                  <c:v>32278</c:v>
                </c:pt>
                <c:pt idx="53170">
                  <c:v>32277</c:v>
                </c:pt>
                <c:pt idx="53171">
                  <c:v>32277</c:v>
                </c:pt>
                <c:pt idx="53172">
                  <c:v>32277</c:v>
                </c:pt>
                <c:pt idx="53173">
                  <c:v>32277</c:v>
                </c:pt>
                <c:pt idx="53174">
                  <c:v>32277</c:v>
                </c:pt>
                <c:pt idx="53175">
                  <c:v>32277</c:v>
                </c:pt>
                <c:pt idx="53176">
                  <c:v>32277</c:v>
                </c:pt>
                <c:pt idx="53177">
                  <c:v>32277</c:v>
                </c:pt>
                <c:pt idx="53178">
                  <c:v>32277</c:v>
                </c:pt>
                <c:pt idx="53179">
                  <c:v>32277</c:v>
                </c:pt>
                <c:pt idx="53180">
                  <c:v>32277</c:v>
                </c:pt>
                <c:pt idx="53181">
                  <c:v>32277</c:v>
                </c:pt>
                <c:pt idx="53182">
                  <c:v>32276</c:v>
                </c:pt>
                <c:pt idx="53183">
                  <c:v>32276</c:v>
                </c:pt>
                <c:pt idx="53184">
                  <c:v>32276</c:v>
                </c:pt>
                <c:pt idx="53185">
                  <c:v>32276</c:v>
                </c:pt>
                <c:pt idx="53186">
                  <c:v>32276</c:v>
                </c:pt>
                <c:pt idx="53187">
                  <c:v>32276</c:v>
                </c:pt>
                <c:pt idx="53188">
                  <c:v>32276</c:v>
                </c:pt>
                <c:pt idx="53189">
                  <c:v>32276</c:v>
                </c:pt>
                <c:pt idx="53190">
                  <c:v>32276</c:v>
                </c:pt>
                <c:pt idx="53191">
                  <c:v>32276</c:v>
                </c:pt>
                <c:pt idx="53192">
                  <c:v>32275</c:v>
                </c:pt>
                <c:pt idx="53193">
                  <c:v>32275</c:v>
                </c:pt>
                <c:pt idx="53194">
                  <c:v>32275</c:v>
                </c:pt>
                <c:pt idx="53195">
                  <c:v>32275</c:v>
                </c:pt>
                <c:pt idx="53196">
                  <c:v>32275</c:v>
                </c:pt>
                <c:pt idx="53197">
                  <c:v>32275</c:v>
                </c:pt>
                <c:pt idx="53198">
                  <c:v>32274</c:v>
                </c:pt>
                <c:pt idx="53199">
                  <c:v>32274</c:v>
                </c:pt>
                <c:pt idx="53200">
                  <c:v>32274</c:v>
                </c:pt>
                <c:pt idx="53201">
                  <c:v>32274</c:v>
                </c:pt>
                <c:pt idx="53202">
                  <c:v>32274</c:v>
                </c:pt>
                <c:pt idx="53203">
                  <c:v>32274</c:v>
                </c:pt>
                <c:pt idx="53204">
                  <c:v>32274</c:v>
                </c:pt>
                <c:pt idx="53205">
                  <c:v>32274</c:v>
                </c:pt>
                <c:pt idx="53206">
                  <c:v>32274</c:v>
                </c:pt>
                <c:pt idx="53207">
                  <c:v>32273</c:v>
                </c:pt>
                <c:pt idx="53208">
                  <c:v>32273</c:v>
                </c:pt>
                <c:pt idx="53209">
                  <c:v>32273</c:v>
                </c:pt>
                <c:pt idx="53210">
                  <c:v>32273</c:v>
                </c:pt>
                <c:pt idx="53211">
                  <c:v>32273</c:v>
                </c:pt>
                <c:pt idx="53212">
                  <c:v>32273</c:v>
                </c:pt>
                <c:pt idx="53213">
                  <c:v>32273</c:v>
                </c:pt>
                <c:pt idx="53214">
                  <c:v>32273</c:v>
                </c:pt>
                <c:pt idx="53215">
                  <c:v>32272</c:v>
                </c:pt>
                <c:pt idx="53216">
                  <c:v>32272</c:v>
                </c:pt>
                <c:pt idx="53217">
                  <c:v>32272</c:v>
                </c:pt>
                <c:pt idx="53218">
                  <c:v>32272</c:v>
                </c:pt>
                <c:pt idx="53219">
                  <c:v>32272</c:v>
                </c:pt>
                <c:pt idx="53220">
                  <c:v>32272</c:v>
                </c:pt>
                <c:pt idx="53221">
                  <c:v>32272</c:v>
                </c:pt>
                <c:pt idx="53222">
                  <c:v>32271</c:v>
                </c:pt>
                <c:pt idx="53223">
                  <c:v>32271</c:v>
                </c:pt>
                <c:pt idx="53224">
                  <c:v>32271</c:v>
                </c:pt>
                <c:pt idx="53225">
                  <c:v>32271</c:v>
                </c:pt>
                <c:pt idx="53226">
                  <c:v>32271</c:v>
                </c:pt>
                <c:pt idx="53227">
                  <c:v>32270</c:v>
                </c:pt>
                <c:pt idx="53228">
                  <c:v>32270</c:v>
                </c:pt>
                <c:pt idx="53229">
                  <c:v>32270</c:v>
                </c:pt>
                <c:pt idx="53230">
                  <c:v>32270</c:v>
                </c:pt>
                <c:pt idx="53231">
                  <c:v>32270</c:v>
                </c:pt>
                <c:pt idx="53232">
                  <c:v>32270</c:v>
                </c:pt>
                <c:pt idx="53233">
                  <c:v>32270</c:v>
                </c:pt>
                <c:pt idx="53234">
                  <c:v>32270</c:v>
                </c:pt>
                <c:pt idx="53235">
                  <c:v>32269</c:v>
                </c:pt>
                <c:pt idx="53236">
                  <c:v>32269</c:v>
                </c:pt>
                <c:pt idx="53237">
                  <c:v>32269</c:v>
                </c:pt>
                <c:pt idx="53238">
                  <c:v>32269</c:v>
                </c:pt>
                <c:pt idx="53239">
                  <c:v>32269</c:v>
                </c:pt>
                <c:pt idx="53240">
                  <c:v>32269</c:v>
                </c:pt>
                <c:pt idx="53241">
                  <c:v>32268</c:v>
                </c:pt>
                <c:pt idx="53242">
                  <c:v>32268</c:v>
                </c:pt>
                <c:pt idx="53243">
                  <c:v>32268</c:v>
                </c:pt>
                <c:pt idx="53244">
                  <c:v>32268</c:v>
                </c:pt>
                <c:pt idx="53245">
                  <c:v>32268</c:v>
                </c:pt>
                <c:pt idx="53246">
                  <c:v>32268</c:v>
                </c:pt>
                <c:pt idx="53247">
                  <c:v>32267</c:v>
                </c:pt>
                <c:pt idx="53248">
                  <c:v>32267</c:v>
                </c:pt>
                <c:pt idx="53249">
                  <c:v>32267</c:v>
                </c:pt>
                <c:pt idx="53250">
                  <c:v>32267</c:v>
                </c:pt>
                <c:pt idx="53251">
                  <c:v>32267</c:v>
                </c:pt>
                <c:pt idx="53252">
                  <c:v>32267</c:v>
                </c:pt>
                <c:pt idx="53253">
                  <c:v>32267</c:v>
                </c:pt>
                <c:pt idx="53254">
                  <c:v>32266</c:v>
                </c:pt>
                <c:pt idx="53255">
                  <c:v>32266</c:v>
                </c:pt>
                <c:pt idx="53256">
                  <c:v>32266</c:v>
                </c:pt>
                <c:pt idx="53257">
                  <c:v>32266</c:v>
                </c:pt>
                <c:pt idx="53258">
                  <c:v>32266</c:v>
                </c:pt>
                <c:pt idx="53259">
                  <c:v>32266</c:v>
                </c:pt>
                <c:pt idx="53260">
                  <c:v>32266</c:v>
                </c:pt>
                <c:pt idx="53261">
                  <c:v>32265</c:v>
                </c:pt>
                <c:pt idx="53262">
                  <c:v>32265</c:v>
                </c:pt>
                <c:pt idx="53263">
                  <c:v>32265</c:v>
                </c:pt>
                <c:pt idx="53264">
                  <c:v>32265</c:v>
                </c:pt>
                <c:pt idx="53265">
                  <c:v>32265</c:v>
                </c:pt>
                <c:pt idx="53266">
                  <c:v>32265</c:v>
                </c:pt>
                <c:pt idx="53267">
                  <c:v>32265</c:v>
                </c:pt>
                <c:pt idx="53268">
                  <c:v>32265</c:v>
                </c:pt>
                <c:pt idx="53269">
                  <c:v>32264</c:v>
                </c:pt>
                <c:pt idx="53270">
                  <c:v>32264</c:v>
                </c:pt>
                <c:pt idx="53271">
                  <c:v>32264</c:v>
                </c:pt>
                <c:pt idx="53272">
                  <c:v>32264</c:v>
                </c:pt>
                <c:pt idx="53273">
                  <c:v>32264</c:v>
                </c:pt>
                <c:pt idx="53274">
                  <c:v>32264</c:v>
                </c:pt>
                <c:pt idx="53275">
                  <c:v>32264</c:v>
                </c:pt>
                <c:pt idx="53276">
                  <c:v>32263</c:v>
                </c:pt>
                <c:pt idx="53277">
                  <c:v>32263</c:v>
                </c:pt>
                <c:pt idx="53278">
                  <c:v>32263</c:v>
                </c:pt>
                <c:pt idx="53279">
                  <c:v>32263</c:v>
                </c:pt>
                <c:pt idx="53280">
                  <c:v>32263</c:v>
                </c:pt>
                <c:pt idx="53281">
                  <c:v>32263</c:v>
                </c:pt>
                <c:pt idx="53282">
                  <c:v>32263</c:v>
                </c:pt>
                <c:pt idx="53283">
                  <c:v>32262</c:v>
                </c:pt>
                <c:pt idx="53284">
                  <c:v>32262</c:v>
                </c:pt>
                <c:pt idx="53285">
                  <c:v>32262</c:v>
                </c:pt>
                <c:pt idx="53286">
                  <c:v>32262</c:v>
                </c:pt>
                <c:pt idx="53287">
                  <c:v>32262</c:v>
                </c:pt>
                <c:pt idx="53288">
                  <c:v>32262</c:v>
                </c:pt>
                <c:pt idx="53289">
                  <c:v>32262</c:v>
                </c:pt>
                <c:pt idx="53290">
                  <c:v>32262</c:v>
                </c:pt>
                <c:pt idx="53291">
                  <c:v>32262</c:v>
                </c:pt>
                <c:pt idx="53292">
                  <c:v>32262</c:v>
                </c:pt>
                <c:pt idx="53293">
                  <c:v>32262</c:v>
                </c:pt>
                <c:pt idx="53294">
                  <c:v>32262</c:v>
                </c:pt>
                <c:pt idx="53295">
                  <c:v>32262</c:v>
                </c:pt>
                <c:pt idx="53296">
                  <c:v>32261</c:v>
                </c:pt>
                <c:pt idx="53297">
                  <c:v>32261</c:v>
                </c:pt>
                <c:pt idx="53298">
                  <c:v>32261</c:v>
                </c:pt>
                <c:pt idx="53299">
                  <c:v>32261</c:v>
                </c:pt>
                <c:pt idx="53300">
                  <c:v>32261</c:v>
                </c:pt>
                <c:pt idx="53301">
                  <c:v>32261</c:v>
                </c:pt>
                <c:pt idx="53302">
                  <c:v>32261</c:v>
                </c:pt>
                <c:pt idx="53303">
                  <c:v>32260</c:v>
                </c:pt>
                <c:pt idx="53304">
                  <c:v>32260</c:v>
                </c:pt>
                <c:pt idx="53305">
                  <c:v>32260</c:v>
                </c:pt>
                <c:pt idx="53306">
                  <c:v>32260</c:v>
                </c:pt>
                <c:pt idx="53307">
                  <c:v>32260</c:v>
                </c:pt>
                <c:pt idx="53308">
                  <c:v>32260</c:v>
                </c:pt>
                <c:pt idx="53309">
                  <c:v>32259</c:v>
                </c:pt>
                <c:pt idx="53310">
                  <c:v>32259</c:v>
                </c:pt>
                <c:pt idx="53311">
                  <c:v>32259</c:v>
                </c:pt>
                <c:pt idx="53312">
                  <c:v>32259</c:v>
                </c:pt>
                <c:pt idx="53313">
                  <c:v>32259</c:v>
                </c:pt>
                <c:pt idx="53314">
                  <c:v>32259</c:v>
                </c:pt>
                <c:pt idx="53315">
                  <c:v>32259</c:v>
                </c:pt>
                <c:pt idx="53316">
                  <c:v>32259</c:v>
                </c:pt>
                <c:pt idx="53317">
                  <c:v>32259</c:v>
                </c:pt>
                <c:pt idx="53318">
                  <c:v>32258</c:v>
                </c:pt>
                <c:pt idx="53319">
                  <c:v>32258</c:v>
                </c:pt>
                <c:pt idx="53320">
                  <c:v>32258</c:v>
                </c:pt>
                <c:pt idx="53321">
                  <c:v>32258</c:v>
                </c:pt>
                <c:pt idx="53322">
                  <c:v>32258</c:v>
                </c:pt>
                <c:pt idx="53323">
                  <c:v>32258</c:v>
                </c:pt>
                <c:pt idx="53324">
                  <c:v>32258</c:v>
                </c:pt>
                <c:pt idx="53325">
                  <c:v>32257</c:v>
                </c:pt>
                <c:pt idx="53326">
                  <c:v>32257</c:v>
                </c:pt>
                <c:pt idx="53327">
                  <c:v>32257</c:v>
                </c:pt>
                <c:pt idx="53328">
                  <c:v>32257</c:v>
                </c:pt>
                <c:pt idx="53329">
                  <c:v>32257</c:v>
                </c:pt>
                <c:pt idx="53330">
                  <c:v>32257</c:v>
                </c:pt>
                <c:pt idx="53331">
                  <c:v>32257</c:v>
                </c:pt>
                <c:pt idx="53332">
                  <c:v>32257</c:v>
                </c:pt>
                <c:pt idx="53333">
                  <c:v>32257</c:v>
                </c:pt>
                <c:pt idx="53334">
                  <c:v>32257</c:v>
                </c:pt>
                <c:pt idx="53335">
                  <c:v>32256</c:v>
                </c:pt>
                <c:pt idx="53336">
                  <c:v>32256</c:v>
                </c:pt>
                <c:pt idx="53337">
                  <c:v>32256</c:v>
                </c:pt>
                <c:pt idx="53338">
                  <c:v>32256</c:v>
                </c:pt>
                <c:pt idx="53339">
                  <c:v>32256</c:v>
                </c:pt>
                <c:pt idx="53340">
                  <c:v>32256</c:v>
                </c:pt>
                <c:pt idx="53341">
                  <c:v>32256</c:v>
                </c:pt>
                <c:pt idx="53342">
                  <c:v>32256</c:v>
                </c:pt>
                <c:pt idx="53343">
                  <c:v>32255</c:v>
                </c:pt>
                <c:pt idx="53344">
                  <c:v>32255</c:v>
                </c:pt>
                <c:pt idx="53345">
                  <c:v>32255</c:v>
                </c:pt>
                <c:pt idx="53346">
                  <c:v>32255</c:v>
                </c:pt>
                <c:pt idx="53347">
                  <c:v>32255</c:v>
                </c:pt>
                <c:pt idx="53348">
                  <c:v>32255</c:v>
                </c:pt>
                <c:pt idx="53349">
                  <c:v>32255</c:v>
                </c:pt>
                <c:pt idx="53350">
                  <c:v>32254</c:v>
                </c:pt>
                <c:pt idx="53351">
                  <c:v>32254</c:v>
                </c:pt>
                <c:pt idx="53352">
                  <c:v>32254</c:v>
                </c:pt>
                <c:pt idx="53353">
                  <c:v>32254</c:v>
                </c:pt>
                <c:pt idx="53354">
                  <c:v>32254</c:v>
                </c:pt>
                <c:pt idx="53355">
                  <c:v>32254</c:v>
                </c:pt>
                <c:pt idx="53356">
                  <c:v>32254</c:v>
                </c:pt>
                <c:pt idx="53357">
                  <c:v>32254</c:v>
                </c:pt>
                <c:pt idx="53358">
                  <c:v>32253</c:v>
                </c:pt>
                <c:pt idx="53359">
                  <c:v>32253</c:v>
                </c:pt>
                <c:pt idx="53360">
                  <c:v>32253</c:v>
                </c:pt>
                <c:pt idx="53361">
                  <c:v>32253</c:v>
                </c:pt>
                <c:pt idx="53362">
                  <c:v>32253</c:v>
                </c:pt>
                <c:pt idx="53363">
                  <c:v>32253</c:v>
                </c:pt>
                <c:pt idx="53364">
                  <c:v>32253</c:v>
                </c:pt>
                <c:pt idx="53365">
                  <c:v>32253</c:v>
                </c:pt>
                <c:pt idx="53366">
                  <c:v>32253</c:v>
                </c:pt>
                <c:pt idx="53367">
                  <c:v>32253</c:v>
                </c:pt>
                <c:pt idx="53368">
                  <c:v>32253</c:v>
                </c:pt>
                <c:pt idx="53369">
                  <c:v>32253</c:v>
                </c:pt>
                <c:pt idx="53370">
                  <c:v>32252</c:v>
                </c:pt>
                <c:pt idx="53371">
                  <c:v>32252</c:v>
                </c:pt>
                <c:pt idx="53372">
                  <c:v>32252</c:v>
                </c:pt>
                <c:pt idx="53373">
                  <c:v>32252</c:v>
                </c:pt>
                <c:pt idx="53374">
                  <c:v>32252</c:v>
                </c:pt>
                <c:pt idx="53375">
                  <c:v>32252</c:v>
                </c:pt>
                <c:pt idx="53376">
                  <c:v>32251</c:v>
                </c:pt>
                <c:pt idx="53377">
                  <c:v>32251</c:v>
                </c:pt>
                <c:pt idx="53378">
                  <c:v>32251</c:v>
                </c:pt>
                <c:pt idx="53379">
                  <c:v>32251</c:v>
                </c:pt>
                <c:pt idx="53380">
                  <c:v>32251</c:v>
                </c:pt>
                <c:pt idx="53381">
                  <c:v>32251</c:v>
                </c:pt>
                <c:pt idx="53382">
                  <c:v>32251</c:v>
                </c:pt>
                <c:pt idx="53383">
                  <c:v>32251</c:v>
                </c:pt>
                <c:pt idx="53384">
                  <c:v>32251</c:v>
                </c:pt>
                <c:pt idx="53385">
                  <c:v>32251</c:v>
                </c:pt>
                <c:pt idx="53386">
                  <c:v>32251</c:v>
                </c:pt>
                <c:pt idx="53387">
                  <c:v>32251</c:v>
                </c:pt>
                <c:pt idx="53388">
                  <c:v>32250</c:v>
                </c:pt>
                <c:pt idx="53389">
                  <c:v>32250</c:v>
                </c:pt>
                <c:pt idx="53390">
                  <c:v>32250</c:v>
                </c:pt>
                <c:pt idx="53391">
                  <c:v>32250</c:v>
                </c:pt>
                <c:pt idx="53392">
                  <c:v>32250</c:v>
                </c:pt>
                <c:pt idx="53393">
                  <c:v>32250</c:v>
                </c:pt>
                <c:pt idx="53394">
                  <c:v>32250</c:v>
                </c:pt>
                <c:pt idx="53395">
                  <c:v>32250</c:v>
                </c:pt>
                <c:pt idx="53396">
                  <c:v>32249</c:v>
                </c:pt>
                <c:pt idx="53397">
                  <c:v>32249</c:v>
                </c:pt>
                <c:pt idx="53398">
                  <c:v>32249</c:v>
                </c:pt>
                <c:pt idx="53399">
                  <c:v>32249</c:v>
                </c:pt>
                <c:pt idx="53400">
                  <c:v>32248</c:v>
                </c:pt>
                <c:pt idx="53401">
                  <c:v>32248</c:v>
                </c:pt>
                <c:pt idx="53402">
                  <c:v>32248</c:v>
                </c:pt>
                <c:pt idx="53403">
                  <c:v>32248</c:v>
                </c:pt>
                <c:pt idx="53404">
                  <c:v>32248</c:v>
                </c:pt>
                <c:pt idx="53405">
                  <c:v>32248</c:v>
                </c:pt>
                <c:pt idx="53406">
                  <c:v>32247</c:v>
                </c:pt>
                <c:pt idx="53407">
                  <c:v>32247</c:v>
                </c:pt>
                <c:pt idx="53408">
                  <c:v>32247</c:v>
                </c:pt>
                <c:pt idx="53409">
                  <c:v>32247</c:v>
                </c:pt>
                <c:pt idx="53410">
                  <c:v>32247</c:v>
                </c:pt>
                <c:pt idx="53411">
                  <c:v>32246</c:v>
                </c:pt>
                <c:pt idx="53412">
                  <c:v>32246</c:v>
                </c:pt>
                <c:pt idx="53413">
                  <c:v>32246</c:v>
                </c:pt>
                <c:pt idx="53414">
                  <c:v>32246</c:v>
                </c:pt>
                <c:pt idx="53415">
                  <c:v>32246</c:v>
                </c:pt>
                <c:pt idx="53416">
                  <c:v>32246</c:v>
                </c:pt>
                <c:pt idx="53417">
                  <c:v>32246</c:v>
                </c:pt>
                <c:pt idx="53418">
                  <c:v>32246</c:v>
                </c:pt>
                <c:pt idx="53419">
                  <c:v>32246</c:v>
                </c:pt>
                <c:pt idx="53420">
                  <c:v>32245</c:v>
                </c:pt>
                <c:pt idx="53421">
                  <c:v>32245</c:v>
                </c:pt>
                <c:pt idx="53422">
                  <c:v>32245</c:v>
                </c:pt>
                <c:pt idx="53423">
                  <c:v>32245</c:v>
                </c:pt>
                <c:pt idx="53424">
                  <c:v>32245</c:v>
                </c:pt>
                <c:pt idx="53425">
                  <c:v>32245</c:v>
                </c:pt>
                <c:pt idx="53426">
                  <c:v>32245</c:v>
                </c:pt>
                <c:pt idx="53427">
                  <c:v>32244</c:v>
                </c:pt>
                <c:pt idx="53428">
                  <c:v>32244</c:v>
                </c:pt>
                <c:pt idx="53429">
                  <c:v>32244</c:v>
                </c:pt>
                <c:pt idx="53430">
                  <c:v>32244</c:v>
                </c:pt>
                <c:pt idx="53431">
                  <c:v>32244</c:v>
                </c:pt>
                <c:pt idx="53432">
                  <c:v>32244</c:v>
                </c:pt>
                <c:pt idx="53433">
                  <c:v>32244</c:v>
                </c:pt>
                <c:pt idx="53434">
                  <c:v>32244</c:v>
                </c:pt>
                <c:pt idx="53435">
                  <c:v>32243</c:v>
                </c:pt>
                <c:pt idx="53436">
                  <c:v>32243</c:v>
                </c:pt>
                <c:pt idx="53437">
                  <c:v>32243</c:v>
                </c:pt>
                <c:pt idx="53438">
                  <c:v>32243</c:v>
                </c:pt>
                <c:pt idx="53439">
                  <c:v>32243</c:v>
                </c:pt>
                <c:pt idx="53440">
                  <c:v>32243</c:v>
                </c:pt>
                <c:pt idx="53441">
                  <c:v>32243</c:v>
                </c:pt>
                <c:pt idx="53442">
                  <c:v>32243</c:v>
                </c:pt>
                <c:pt idx="53443">
                  <c:v>32243</c:v>
                </c:pt>
                <c:pt idx="53444">
                  <c:v>32242</c:v>
                </c:pt>
                <c:pt idx="53445">
                  <c:v>32242</c:v>
                </c:pt>
                <c:pt idx="53446">
                  <c:v>32242</c:v>
                </c:pt>
                <c:pt idx="53447">
                  <c:v>32242</c:v>
                </c:pt>
                <c:pt idx="53448">
                  <c:v>32241</c:v>
                </c:pt>
                <c:pt idx="53449">
                  <c:v>32241</c:v>
                </c:pt>
                <c:pt idx="53450">
                  <c:v>32241</c:v>
                </c:pt>
                <c:pt idx="53451">
                  <c:v>32241</c:v>
                </c:pt>
                <c:pt idx="53452">
                  <c:v>32241</c:v>
                </c:pt>
                <c:pt idx="53453">
                  <c:v>32241</c:v>
                </c:pt>
                <c:pt idx="53454">
                  <c:v>32241</c:v>
                </c:pt>
                <c:pt idx="53455">
                  <c:v>32240</c:v>
                </c:pt>
                <c:pt idx="53456">
                  <c:v>32240</c:v>
                </c:pt>
                <c:pt idx="53457">
                  <c:v>32240</c:v>
                </c:pt>
                <c:pt idx="53458">
                  <c:v>32240</c:v>
                </c:pt>
                <c:pt idx="53459">
                  <c:v>32239</c:v>
                </c:pt>
                <c:pt idx="53460">
                  <c:v>32239</c:v>
                </c:pt>
                <c:pt idx="53461">
                  <c:v>32239</c:v>
                </c:pt>
                <c:pt idx="53462">
                  <c:v>32239</c:v>
                </c:pt>
                <c:pt idx="53463">
                  <c:v>32239</c:v>
                </c:pt>
                <c:pt idx="53464">
                  <c:v>32239</c:v>
                </c:pt>
                <c:pt idx="53465">
                  <c:v>32239</c:v>
                </c:pt>
                <c:pt idx="53466">
                  <c:v>32239</c:v>
                </c:pt>
                <c:pt idx="53467">
                  <c:v>32239</c:v>
                </c:pt>
                <c:pt idx="53468">
                  <c:v>32239</c:v>
                </c:pt>
                <c:pt idx="53469">
                  <c:v>32239</c:v>
                </c:pt>
                <c:pt idx="53470">
                  <c:v>32239</c:v>
                </c:pt>
                <c:pt idx="53471">
                  <c:v>32239</c:v>
                </c:pt>
                <c:pt idx="53472">
                  <c:v>32238</c:v>
                </c:pt>
                <c:pt idx="53473">
                  <c:v>32238</c:v>
                </c:pt>
                <c:pt idx="53474">
                  <c:v>32238</c:v>
                </c:pt>
                <c:pt idx="53475">
                  <c:v>32238</c:v>
                </c:pt>
                <c:pt idx="53476">
                  <c:v>32238</c:v>
                </c:pt>
                <c:pt idx="53477">
                  <c:v>32238</c:v>
                </c:pt>
                <c:pt idx="53478">
                  <c:v>32238</c:v>
                </c:pt>
                <c:pt idx="53479">
                  <c:v>32238</c:v>
                </c:pt>
                <c:pt idx="53480">
                  <c:v>32237</c:v>
                </c:pt>
                <c:pt idx="53481">
                  <c:v>32237</c:v>
                </c:pt>
                <c:pt idx="53482">
                  <c:v>32237</c:v>
                </c:pt>
                <c:pt idx="53483">
                  <c:v>32237</c:v>
                </c:pt>
                <c:pt idx="53484">
                  <c:v>32237</c:v>
                </c:pt>
                <c:pt idx="53485">
                  <c:v>32237</c:v>
                </c:pt>
                <c:pt idx="53486">
                  <c:v>32237</c:v>
                </c:pt>
                <c:pt idx="53487">
                  <c:v>32236</c:v>
                </c:pt>
                <c:pt idx="53488">
                  <c:v>32236</c:v>
                </c:pt>
                <c:pt idx="53489">
                  <c:v>32236</c:v>
                </c:pt>
                <c:pt idx="53490">
                  <c:v>32236</c:v>
                </c:pt>
                <c:pt idx="53491">
                  <c:v>32236</c:v>
                </c:pt>
                <c:pt idx="53492">
                  <c:v>32236</c:v>
                </c:pt>
                <c:pt idx="53493">
                  <c:v>32236</c:v>
                </c:pt>
                <c:pt idx="53494">
                  <c:v>32236</c:v>
                </c:pt>
                <c:pt idx="53495">
                  <c:v>32235</c:v>
                </c:pt>
                <c:pt idx="53496">
                  <c:v>32235</c:v>
                </c:pt>
                <c:pt idx="53497">
                  <c:v>32235</c:v>
                </c:pt>
                <c:pt idx="53498">
                  <c:v>32235</c:v>
                </c:pt>
                <c:pt idx="53499">
                  <c:v>32235</c:v>
                </c:pt>
                <c:pt idx="53500">
                  <c:v>32235</c:v>
                </c:pt>
                <c:pt idx="53501">
                  <c:v>32235</c:v>
                </c:pt>
                <c:pt idx="53502">
                  <c:v>32235</c:v>
                </c:pt>
                <c:pt idx="53503">
                  <c:v>32235</c:v>
                </c:pt>
                <c:pt idx="53504">
                  <c:v>32234</c:v>
                </c:pt>
                <c:pt idx="53505">
                  <c:v>32234</c:v>
                </c:pt>
                <c:pt idx="53506">
                  <c:v>32234</c:v>
                </c:pt>
                <c:pt idx="53507">
                  <c:v>32234</c:v>
                </c:pt>
                <c:pt idx="53508">
                  <c:v>32234</c:v>
                </c:pt>
                <c:pt idx="53509">
                  <c:v>32234</c:v>
                </c:pt>
                <c:pt idx="53510">
                  <c:v>32234</c:v>
                </c:pt>
                <c:pt idx="53511">
                  <c:v>32234</c:v>
                </c:pt>
                <c:pt idx="53512">
                  <c:v>32234</c:v>
                </c:pt>
                <c:pt idx="53513">
                  <c:v>32234</c:v>
                </c:pt>
                <c:pt idx="53514">
                  <c:v>32234</c:v>
                </c:pt>
                <c:pt idx="53515">
                  <c:v>32234</c:v>
                </c:pt>
                <c:pt idx="53516">
                  <c:v>32234</c:v>
                </c:pt>
                <c:pt idx="53517">
                  <c:v>32234</c:v>
                </c:pt>
                <c:pt idx="53518">
                  <c:v>32233</c:v>
                </c:pt>
                <c:pt idx="53519">
                  <c:v>32233</c:v>
                </c:pt>
                <c:pt idx="53520">
                  <c:v>32233</c:v>
                </c:pt>
                <c:pt idx="53521">
                  <c:v>32233</c:v>
                </c:pt>
                <c:pt idx="53522">
                  <c:v>32233</c:v>
                </c:pt>
                <c:pt idx="53523">
                  <c:v>32233</c:v>
                </c:pt>
                <c:pt idx="53524">
                  <c:v>32233</c:v>
                </c:pt>
                <c:pt idx="53525">
                  <c:v>32233</c:v>
                </c:pt>
                <c:pt idx="53526">
                  <c:v>32232</c:v>
                </c:pt>
                <c:pt idx="53527">
                  <c:v>32232</c:v>
                </c:pt>
                <c:pt idx="53528">
                  <c:v>32232</c:v>
                </c:pt>
                <c:pt idx="53529">
                  <c:v>32232</c:v>
                </c:pt>
                <c:pt idx="53530">
                  <c:v>32232</c:v>
                </c:pt>
                <c:pt idx="53531">
                  <c:v>32232</c:v>
                </c:pt>
                <c:pt idx="53532">
                  <c:v>32231</c:v>
                </c:pt>
                <c:pt idx="53533">
                  <c:v>32231</c:v>
                </c:pt>
                <c:pt idx="53534">
                  <c:v>32231</c:v>
                </c:pt>
                <c:pt idx="53535">
                  <c:v>32231</c:v>
                </c:pt>
                <c:pt idx="53536">
                  <c:v>32231</c:v>
                </c:pt>
                <c:pt idx="53537">
                  <c:v>32231</c:v>
                </c:pt>
                <c:pt idx="53538">
                  <c:v>32231</c:v>
                </c:pt>
                <c:pt idx="53539">
                  <c:v>32230</c:v>
                </c:pt>
                <c:pt idx="53540">
                  <c:v>32230</c:v>
                </c:pt>
                <c:pt idx="53541">
                  <c:v>32230</c:v>
                </c:pt>
                <c:pt idx="53542">
                  <c:v>32230</c:v>
                </c:pt>
                <c:pt idx="53543">
                  <c:v>32230</c:v>
                </c:pt>
                <c:pt idx="53544">
                  <c:v>32230</c:v>
                </c:pt>
                <c:pt idx="53545">
                  <c:v>32229</c:v>
                </c:pt>
                <c:pt idx="53546">
                  <c:v>32229</c:v>
                </c:pt>
                <c:pt idx="53547">
                  <c:v>32229</c:v>
                </c:pt>
                <c:pt idx="53548">
                  <c:v>32229</c:v>
                </c:pt>
                <c:pt idx="53549">
                  <c:v>32229</c:v>
                </c:pt>
                <c:pt idx="53550">
                  <c:v>32229</c:v>
                </c:pt>
                <c:pt idx="53551">
                  <c:v>32229</c:v>
                </c:pt>
                <c:pt idx="53552">
                  <c:v>32229</c:v>
                </c:pt>
                <c:pt idx="53553">
                  <c:v>32229</c:v>
                </c:pt>
                <c:pt idx="53554">
                  <c:v>32229</c:v>
                </c:pt>
                <c:pt idx="53555">
                  <c:v>32229</c:v>
                </c:pt>
                <c:pt idx="53556">
                  <c:v>32228</c:v>
                </c:pt>
                <c:pt idx="53557">
                  <c:v>32228</c:v>
                </c:pt>
                <c:pt idx="53558">
                  <c:v>32228</c:v>
                </c:pt>
                <c:pt idx="53559">
                  <c:v>32228</c:v>
                </c:pt>
                <c:pt idx="53560">
                  <c:v>32228</c:v>
                </c:pt>
                <c:pt idx="53561">
                  <c:v>32228</c:v>
                </c:pt>
                <c:pt idx="53562">
                  <c:v>32228</c:v>
                </c:pt>
                <c:pt idx="53563">
                  <c:v>32228</c:v>
                </c:pt>
                <c:pt idx="53564">
                  <c:v>32227</c:v>
                </c:pt>
                <c:pt idx="53565">
                  <c:v>32227</c:v>
                </c:pt>
                <c:pt idx="53566">
                  <c:v>32227</c:v>
                </c:pt>
                <c:pt idx="53567">
                  <c:v>32227</c:v>
                </c:pt>
                <c:pt idx="53568">
                  <c:v>32227</c:v>
                </c:pt>
                <c:pt idx="53569">
                  <c:v>32226</c:v>
                </c:pt>
                <c:pt idx="53570">
                  <c:v>32226</c:v>
                </c:pt>
                <c:pt idx="53571">
                  <c:v>32226</c:v>
                </c:pt>
                <c:pt idx="53572">
                  <c:v>32226</c:v>
                </c:pt>
                <c:pt idx="53573">
                  <c:v>32226</c:v>
                </c:pt>
                <c:pt idx="53574">
                  <c:v>32226</c:v>
                </c:pt>
                <c:pt idx="53575">
                  <c:v>32226</c:v>
                </c:pt>
                <c:pt idx="53576">
                  <c:v>32225</c:v>
                </c:pt>
                <c:pt idx="53577">
                  <c:v>32225</c:v>
                </c:pt>
                <c:pt idx="53578">
                  <c:v>32225</c:v>
                </c:pt>
                <c:pt idx="53579">
                  <c:v>32225</c:v>
                </c:pt>
                <c:pt idx="53580">
                  <c:v>32225</c:v>
                </c:pt>
                <c:pt idx="53581">
                  <c:v>32225</c:v>
                </c:pt>
                <c:pt idx="53582">
                  <c:v>32225</c:v>
                </c:pt>
                <c:pt idx="53583">
                  <c:v>32225</c:v>
                </c:pt>
                <c:pt idx="53584">
                  <c:v>32224</c:v>
                </c:pt>
                <c:pt idx="53585">
                  <c:v>32224</c:v>
                </c:pt>
                <c:pt idx="53586">
                  <c:v>32224</c:v>
                </c:pt>
                <c:pt idx="53587">
                  <c:v>32224</c:v>
                </c:pt>
                <c:pt idx="53588">
                  <c:v>32224</c:v>
                </c:pt>
                <c:pt idx="53589">
                  <c:v>32224</c:v>
                </c:pt>
                <c:pt idx="53590">
                  <c:v>32223</c:v>
                </c:pt>
                <c:pt idx="53591">
                  <c:v>32223</c:v>
                </c:pt>
                <c:pt idx="53592">
                  <c:v>32223</c:v>
                </c:pt>
                <c:pt idx="53593">
                  <c:v>32223</c:v>
                </c:pt>
                <c:pt idx="53594">
                  <c:v>32223</c:v>
                </c:pt>
                <c:pt idx="53595">
                  <c:v>32223</c:v>
                </c:pt>
                <c:pt idx="53596">
                  <c:v>32223</c:v>
                </c:pt>
                <c:pt idx="53597">
                  <c:v>32223</c:v>
                </c:pt>
                <c:pt idx="53598">
                  <c:v>32223</c:v>
                </c:pt>
                <c:pt idx="53599">
                  <c:v>32223</c:v>
                </c:pt>
                <c:pt idx="53600">
                  <c:v>32223</c:v>
                </c:pt>
                <c:pt idx="53601">
                  <c:v>32222</c:v>
                </c:pt>
                <c:pt idx="53602">
                  <c:v>32222</c:v>
                </c:pt>
                <c:pt idx="53603">
                  <c:v>32222</c:v>
                </c:pt>
                <c:pt idx="53604">
                  <c:v>32222</c:v>
                </c:pt>
                <c:pt idx="53605">
                  <c:v>32222</c:v>
                </c:pt>
                <c:pt idx="53606">
                  <c:v>32222</c:v>
                </c:pt>
                <c:pt idx="53607">
                  <c:v>32221</c:v>
                </c:pt>
                <c:pt idx="53608">
                  <c:v>32221</c:v>
                </c:pt>
                <c:pt idx="53609">
                  <c:v>32221</c:v>
                </c:pt>
                <c:pt idx="53610">
                  <c:v>32221</c:v>
                </c:pt>
                <c:pt idx="53611">
                  <c:v>32221</c:v>
                </c:pt>
                <c:pt idx="53612">
                  <c:v>32221</c:v>
                </c:pt>
                <c:pt idx="53613">
                  <c:v>32221</c:v>
                </c:pt>
                <c:pt idx="53614">
                  <c:v>32221</c:v>
                </c:pt>
                <c:pt idx="53615">
                  <c:v>32220</c:v>
                </c:pt>
                <c:pt idx="53616">
                  <c:v>32220</c:v>
                </c:pt>
                <c:pt idx="53617">
                  <c:v>32220</c:v>
                </c:pt>
                <c:pt idx="53618">
                  <c:v>32220</c:v>
                </c:pt>
                <c:pt idx="53619">
                  <c:v>32220</c:v>
                </c:pt>
                <c:pt idx="53620">
                  <c:v>32220</c:v>
                </c:pt>
                <c:pt idx="53621">
                  <c:v>32220</c:v>
                </c:pt>
                <c:pt idx="53622">
                  <c:v>32219</c:v>
                </c:pt>
                <c:pt idx="53623">
                  <c:v>32219</c:v>
                </c:pt>
                <c:pt idx="53624">
                  <c:v>32218</c:v>
                </c:pt>
                <c:pt idx="53625">
                  <c:v>32218</c:v>
                </c:pt>
                <c:pt idx="53626">
                  <c:v>32218</c:v>
                </c:pt>
                <c:pt idx="53627">
                  <c:v>32218</c:v>
                </c:pt>
                <c:pt idx="53628">
                  <c:v>32218</c:v>
                </c:pt>
                <c:pt idx="53629">
                  <c:v>32218</c:v>
                </c:pt>
                <c:pt idx="53630">
                  <c:v>32218</c:v>
                </c:pt>
                <c:pt idx="53631">
                  <c:v>32218</c:v>
                </c:pt>
                <c:pt idx="53632">
                  <c:v>32218</c:v>
                </c:pt>
                <c:pt idx="53633">
                  <c:v>32218</c:v>
                </c:pt>
                <c:pt idx="53634">
                  <c:v>32218</c:v>
                </c:pt>
                <c:pt idx="53635">
                  <c:v>32218</c:v>
                </c:pt>
                <c:pt idx="53636">
                  <c:v>32217</c:v>
                </c:pt>
                <c:pt idx="53637">
                  <c:v>32217</c:v>
                </c:pt>
                <c:pt idx="53638">
                  <c:v>32217</c:v>
                </c:pt>
                <c:pt idx="53639">
                  <c:v>32217</c:v>
                </c:pt>
                <c:pt idx="53640">
                  <c:v>32217</c:v>
                </c:pt>
                <c:pt idx="53641">
                  <c:v>32217</c:v>
                </c:pt>
                <c:pt idx="53642">
                  <c:v>32217</c:v>
                </c:pt>
                <c:pt idx="53643">
                  <c:v>32216</c:v>
                </c:pt>
                <c:pt idx="53644">
                  <c:v>32216</c:v>
                </c:pt>
                <c:pt idx="53645">
                  <c:v>32216</c:v>
                </c:pt>
                <c:pt idx="53646">
                  <c:v>32216</c:v>
                </c:pt>
                <c:pt idx="53647">
                  <c:v>32216</c:v>
                </c:pt>
                <c:pt idx="53648">
                  <c:v>32216</c:v>
                </c:pt>
                <c:pt idx="53649">
                  <c:v>32216</c:v>
                </c:pt>
                <c:pt idx="53650">
                  <c:v>32216</c:v>
                </c:pt>
                <c:pt idx="53651">
                  <c:v>32215</c:v>
                </c:pt>
                <c:pt idx="53652">
                  <c:v>32215</c:v>
                </c:pt>
                <c:pt idx="53653">
                  <c:v>32215</c:v>
                </c:pt>
                <c:pt idx="53654">
                  <c:v>32215</c:v>
                </c:pt>
                <c:pt idx="53655">
                  <c:v>32215</c:v>
                </c:pt>
                <c:pt idx="53656">
                  <c:v>32215</c:v>
                </c:pt>
                <c:pt idx="53657">
                  <c:v>32215</c:v>
                </c:pt>
                <c:pt idx="53658">
                  <c:v>32214</c:v>
                </c:pt>
                <c:pt idx="53659">
                  <c:v>32214</c:v>
                </c:pt>
                <c:pt idx="53660">
                  <c:v>32214</c:v>
                </c:pt>
                <c:pt idx="53661">
                  <c:v>32214</c:v>
                </c:pt>
                <c:pt idx="53662">
                  <c:v>32214</c:v>
                </c:pt>
                <c:pt idx="53663">
                  <c:v>32214</c:v>
                </c:pt>
                <c:pt idx="53664">
                  <c:v>32214</c:v>
                </c:pt>
                <c:pt idx="53665">
                  <c:v>32214</c:v>
                </c:pt>
                <c:pt idx="53666">
                  <c:v>32214</c:v>
                </c:pt>
                <c:pt idx="53667">
                  <c:v>32214</c:v>
                </c:pt>
                <c:pt idx="53668">
                  <c:v>32213</c:v>
                </c:pt>
                <c:pt idx="53669">
                  <c:v>32213</c:v>
                </c:pt>
                <c:pt idx="53670">
                  <c:v>32213</c:v>
                </c:pt>
                <c:pt idx="53671">
                  <c:v>32213</c:v>
                </c:pt>
                <c:pt idx="53672">
                  <c:v>32213</c:v>
                </c:pt>
                <c:pt idx="53673">
                  <c:v>32213</c:v>
                </c:pt>
                <c:pt idx="53674">
                  <c:v>32213</c:v>
                </c:pt>
                <c:pt idx="53675">
                  <c:v>32213</c:v>
                </c:pt>
                <c:pt idx="53676">
                  <c:v>32213</c:v>
                </c:pt>
                <c:pt idx="53677">
                  <c:v>32213</c:v>
                </c:pt>
                <c:pt idx="53678">
                  <c:v>32212</c:v>
                </c:pt>
                <c:pt idx="53679">
                  <c:v>32212</c:v>
                </c:pt>
                <c:pt idx="53680">
                  <c:v>32212</c:v>
                </c:pt>
                <c:pt idx="53681">
                  <c:v>32212</c:v>
                </c:pt>
                <c:pt idx="53682">
                  <c:v>32212</c:v>
                </c:pt>
                <c:pt idx="53683">
                  <c:v>32212</c:v>
                </c:pt>
                <c:pt idx="53684">
                  <c:v>32212</c:v>
                </c:pt>
                <c:pt idx="53685">
                  <c:v>32212</c:v>
                </c:pt>
                <c:pt idx="53686">
                  <c:v>32212</c:v>
                </c:pt>
                <c:pt idx="53687">
                  <c:v>32211</c:v>
                </c:pt>
                <c:pt idx="53688">
                  <c:v>32211</c:v>
                </c:pt>
                <c:pt idx="53689">
                  <c:v>32211</c:v>
                </c:pt>
                <c:pt idx="53690">
                  <c:v>32211</c:v>
                </c:pt>
                <c:pt idx="53691">
                  <c:v>32211</c:v>
                </c:pt>
                <c:pt idx="53692">
                  <c:v>32211</c:v>
                </c:pt>
                <c:pt idx="53693">
                  <c:v>32211</c:v>
                </c:pt>
                <c:pt idx="53694">
                  <c:v>32211</c:v>
                </c:pt>
                <c:pt idx="53695">
                  <c:v>32211</c:v>
                </c:pt>
                <c:pt idx="53696">
                  <c:v>32211</c:v>
                </c:pt>
                <c:pt idx="53697">
                  <c:v>32210</c:v>
                </c:pt>
                <c:pt idx="53698">
                  <c:v>32210</c:v>
                </c:pt>
                <c:pt idx="53699">
                  <c:v>32209</c:v>
                </c:pt>
                <c:pt idx="53700">
                  <c:v>32209</c:v>
                </c:pt>
                <c:pt idx="53701">
                  <c:v>32209</c:v>
                </c:pt>
                <c:pt idx="53702">
                  <c:v>32209</c:v>
                </c:pt>
                <c:pt idx="53703">
                  <c:v>32209</c:v>
                </c:pt>
                <c:pt idx="53704">
                  <c:v>32209</c:v>
                </c:pt>
                <c:pt idx="53705">
                  <c:v>32209</c:v>
                </c:pt>
                <c:pt idx="53706">
                  <c:v>32208</c:v>
                </c:pt>
                <c:pt idx="53707">
                  <c:v>32208</c:v>
                </c:pt>
                <c:pt idx="53708">
                  <c:v>32208</c:v>
                </c:pt>
                <c:pt idx="53709">
                  <c:v>32208</c:v>
                </c:pt>
                <c:pt idx="53710">
                  <c:v>32208</c:v>
                </c:pt>
                <c:pt idx="53711">
                  <c:v>32207</c:v>
                </c:pt>
                <c:pt idx="53712">
                  <c:v>32207</c:v>
                </c:pt>
                <c:pt idx="53713">
                  <c:v>32207</c:v>
                </c:pt>
                <c:pt idx="53714">
                  <c:v>32207</c:v>
                </c:pt>
                <c:pt idx="53715">
                  <c:v>32207</c:v>
                </c:pt>
                <c:pt idx="53716">
                  <c:v>32207</c:v>
                </c:pt>
                <c:pt idx="53717">
                  <c:v>32207</c:v>
                </c:pt>
                <c:pt idx="53718">
                  <c:v>32207</c:v>
                </c:pt>
                <c:pt idx="53719">
                  <c:v>32206</c:v>
                </c:pt>
                <c:pt idx="53720">
                  <c:v>32206</c:v>
                </c:pt>
                <c:pt idx="53721">
                  <c:v>32206</c:v>
                </c:pt>
                <c:pt idx="53722">
                  <c:v>32206</c:v>
                </c:pt>
                <c:pt idx="53723">
                  <c:v>32206</c:v>
                </c:pt>
                <c:pt idx="53724">
                  <c:v>32206</c:v>
                </c:pt>
                <c:pt idx="53725">
                  <c:v>32206</c:v>
                </c:pt>
                <c:pt idx="53726">
                  <c:v>32205</c:v>
                </c:pt>
                <c:pt idx="53727">
                  <c:v>32205</c:v>
                </c:pt>
                <c:pt idx="53728">
                  <c:v>32205</c:v>
                </c:pt>
                <c:pt idx="53729">
                  <c:v>32205</c:v>
                </c:pt>
                <c:pt idx="53730">
                  <c:v>32205</c:v>
                </c:pt>
                <c:pt idx="53731">
                  <c:v>32205</c:v>
                </c:pt>
                <c:pt idx="53732">
                  <c:v>32205</c:v>
                </c:pt>
                <c:pt idx="53733">
                  <c:v>32204</c:v>
                </c:pt>
                <c:pt idx="53734">
                  <c:v>32204</c:v>
                </c:pt>
                <c:pt idx="53735">
                  <c:v>32204</c:v>
                </c:pt>
                <c:pt idx="53736">
                  <c:v>32203</c:v>
                </c:pt>
                <c:pt idx="53737">
                  <c:v>32203</c:v>
                </c:pt>
                <c:pt idx="53738">
                  <c:v>32203</c:v>
                </c:pt>
                <c:pt idx="53739">
                  <c:v>32203</c:v>
                </c:pt>
                <c:pt idx="53740">
                  <c:v>32203</c:v>
                </c:pt>
                <c:pt idx="53741">
                  <c:v>32203</c:v>
                </c:pt>
                <c:pt idx="53742">
                  <c:v>32203</c:v>
                </c:pt>
                <c:pt idx="53743">
                  <c:v>32203</c:v>
                </c:pt>
                <c:pt idx="53744">
                  <c:v>32202</c:v>
                </c:pt>
                <c:pt idx="53745">
                  <c:v>32202</c:v>
                </c:pt>
                <c:pt idx="53746">
                  <c:v>32202</c:v>
                </c:pt>
                <c:pt idx="53747">
                  <c:v>32202</c:v>
                </c:pt>
                <c:pt idx="53748">
                  <c:v>32202</c:v>
                </c:pt>
                <c:pt idx="53749">
                  <c:v>32202</c:v>
                </c:pt>
                <c:pt idx="53750">
                  <c:v>32202</c:v>
                </c:pt>
                <c:pt idx="53751">
                  <c:v>32202</c:v>
                </c:pt>
                <c:pt idx="53752">
                  <c:v>32202</c:v>
                </c:pt>
                <c:pt idx="53753">
                  <c:v>32201</c:v>
                </c:pt>
                <c:pt idx="53754">
                  <c:v>32201</c:v>
                </c:pt>
                <c:pt idx="53755">
                  <c:v>32201</c:v>
                </c:pt>
                <c:pt idx="53756">
                  <c:v>32201</c:v>
                </c:pt>
                <c:pt idx="53757">
                  <c:v>32201</c:v>
                </c:pt>
                <c:pt idx="53758">
                  <c:v>32201</c:v>
                </c:pt>
                <c:pt idx="53759">
                  <c:v>32201</c:v>
                </c:pt>
                <c:pt idx="53760">
                  <c:v>32201</c:v>
                </c:pt>
                <c:pt idx="53761">
                  <c:v>32201</c:v>
                </c:pt>
                <c:pt idx="53762">
                  <c:v>32201</c:v>
                </c:pt>
                <c:pt idx="53763">
                  <c:v>32200</c:v>
                </c:pt>
                <c:pt idx="53764">
                  <c:v>32200</c:v>
                </c:pt>
                <c:pt idx="53765">
                  <c:v>32200</c:v>
                </c:pt>
                <c:pt idx="53766">
                  <c:v>32200</c:v>
                </c:pt>
                <c:pt idx="53767">
                  <c:v>32200</c:v>
                </c:pt>
                <c:pt idx="53768">
                  <c:v>32200</c:v>
                </c:pt>
                <c:pt idx="53769">
                  <c:v>32200</c:v>
                </c:pt>
                <c:pt idx="53770">
                  <c:v>32199</c:v>
                </c:pt>
                <c:pt idx="53771">
                  <c:v>32199</c:v>
                </c:pt>
                <c:pt idx="53772">
                  <c:v>32199</c:v>
                </c:pt>
                <c:pt idx="53773">
                  <c:v>32199</c:v>
                </c:pt>
                <c:pt idx="53774">
                  <c:v>32199</c:v>
                </c:pt>
                <c:pt idx="53775">
                  <c:v>32199</c:v>
                </c:pt>
                <c:pt idx="53776">
                  <c:v>32198</c:v>
                </c:pt>
                <c:pt idx="53777">
                  <c:v>32198</c:v>
                </c:pt>
                <c:pt idx="53778">
                  <c:v>32198</c:v>
                </c:pt>
                <c:pt idx="53779">
                  <c:v>32198</c:v>
                </c:pt>
                <c:pt idx="53780">
                  <c:v>32197</c:v>
                </c:pt>
                <c:pt idx="53781">
                  <c:v>32197</c:v>
                </c:pt>
                <c:pt idx="53782">
                  <c:v>32197</c:v>
                </c:pt>
                <c:pt idx="53783">
                  <c:v>32197</c:v>
                </c:pt>
                <c:pt idx="53784">
                  <c:v>32197</c:v>
                </c:pt>
                <c:pt idx="53785">
                  <c:v>32197</c:v>
                </c:pt>
                <c:pt idx="53786">
                  <c:v>32196</c:v>
                </c:pt>
                <c:pt idx="53787">
                  <c:v>32196</c:v>
                </c:pt>
                <c:pt idx="53788">
                  <c:v>32196</c:v>
                </c:pt>
                <c:pt idx="53789">
                  <c:v>32196</c:v>
                </c:pt>
                <c:pt idx="53790">
                  <c:v>32196</c:v>
                </c:pt>
                <c:pt idx="53791">
                  <c:v>32196</c:v>
                </c:pt>
                <c:pt idx="53792">
                  <c:v>32196</c:v>
                </c:pt>
                <c:pt idx="53793">
                  <c:v>32195</c:v>
                </c:pt>
                <c:pt idx="53794">
                  <c:v>32195</c:v>
                </c:pt>
                <c:pt idx="53795">
                  <c:v>32195</c:v>
                </c:pt>
                <c:pt idx="53796">
                  <c:v>32195</c:v>
                </c:pt>
                <c:pt idx="53797">
                  <c:v>32195</c:v>
                </c:pt>
                <c:pt idx="53798">
                  <c:v>32195</c:v>
                </c:pt>
                <c:pt idx="53799">
                  <c:v>32194</c:v>
                </c:pt>
                <c:pt idx="53800">
                  <c:v>32194</c:v>
                </c:pt>
                <c:pt idx="53801">
                  <c:v>32194</c:v>
                </c:pt>
                <c:pt idx="53802">
                  <c:v>32194</c:v>
                </c:pt>
                <c:pt idx="53803">
                  <c:v>32194</c:v>
                </c:pt>
                <c:pt idx="53804">
                  <c:v>32194</c:v>
                </c:pt>
                <c:pt idx="53805">
                  <c:v>32194</c:v>
                </c:pt>
                <c:pt idx="53806">
                  <c:v>32194</c:v>
                </c:pt>
                <c:pt idx="53807">
                  <c:v>32194</c:v>
                </c:pt>
                <c:pt idx="53808">
                  <c:v>32194</c:v>
                </c:pt>
                <c:pt idx="53809">
                  <c:v>32193</c:v>
                </c:pt>
                <c:pt idx="53810">
                  <c:v>32193</c:v>
                </c:pt>
                <c:pt idx="53811">
                  <c:v>32193</c:v>
                </c:pt>
                <c:pt idx="53812">
                  <c:v>32193</c:v>
                </c:pt>
                <c:pt idx="53813">
                  <c:v>32193</c:v>
                </c:pt>
                <c:pt idx="53814">
                  <c:v>32192</c:v>
                </c:pt>
                <c:pt idx="53815">
                  <c:v>32192</c:v>
                </c:pt>
                <c:pt idx="53816">
                  <c:v>32192</c:v>
                </c:pt>
                <c:pt idx="53817">
                  <c:v>32191</c:v>
                </c:pt>
                <c:pt idx="53818">
                  <c:v>32191</c:v>
                </c:pt>
                <c:pt idx="53819">
                  <c:v>32191</c:v>
                </c:pt>
                <c:pt idx="53820">
                  <c:v>32191</c:v>
                </c:pt>
                <c:pt idx="53821">
                  <c:v>32191</c:v>
                </c:pt>
                <c:pt idx="53822">
                  <c:v>32191</c:v>
                </c:pt>
                <c:pt idx="53823">
                  <c:v>32191</c:v>
                </c:pt>
                <c:pt idx="53824">
                  <c:v>32191</c:v>
                </c:pt>
                <c:pt idx="53825">
                  <c:v>32191</c:v>
                </c:pt>
                <c:pt idx="53826">
                  <c:v>32190</c:v>
                </c:pt>
                <c:pt idx="53827">
                  <c:v>32190</c:v>
                </c:pt>
                <c:pt idx="53828">
                  <c:v>32190</c:v>
                </c:pt>
                <c:pt idx="53829">
                  <c:v>32190</c:v>
                </c:pt>
                <c:pt idx="53830">
                  <c:v>32190</c:v>
                </c:pt>
                <c:pt idx="53831">
                  <c:v>32189</c:v>
                </c:pt>
                <c:pt idx="53832">
                  <c:v>32189</c:v>
                </c:pt>
                <c:pt idx="53833">
                  <c:v>32189</c:v>
                </c:pt>
                <c:pt idx="53834">
                  <c:v>32189</c:v>
                </c:pt>
                <c:pt idx="53835">
                  <c:v>32189</c:v>
                </c:pt>
                <c:pt idx="53836">
                  <c:v>32188</c:v>
                </c:pt>
                <c:pt idx="53837">
                  <c:v>32188</c:v>
                </c:pt>
                <c:pt idx="53838">
                  <c:v>32188</c:v>
                </c:pt>
                <c:pt idx="53839">
                  <c:v>32188</c:v>
                </c:pt>
                <c:pt idx="53840">
                  <c:v>32187</c:v>
                </c:pt>
                <c:pt idx="53841">
                  <c:v>32187</c:v>
                </c:pt>
                <c:pt idx="53842">
                  <c:v>32187</c:v>
                </c:pt>
                <c:pt idx="53843">
                  <c:v>32187</c:v>
                </c:pt>
                <c:pt idx="53844">
                  <c:v>32187</c:v>
                </c:pt>
                <c:pt idx="53845">
                  <c:v>32186</c:v>
                </c:pt>
                <c:pt idx="53846">
                  <c:v>32186</c:v>
                </c:pt>
                <c:pt idx="53847">
                  <c:v>32186</c:v>
                </c:pt>
                <c:pt idx="53848">
                  <c:v>32186</c:v>
                </c:pt>
                <c:pt idx="53849">
                  <c:v>32186</c:v>
                </c:pt>
                <c:pt idx="53850">
                  <c:v>32186</c:v>
                </c:pt>
                <c:pt idx="53851">
                  <c:v>32186</c:v>
                </c:pt>
                <c:pt idx="53852">
                  <c:v>32186</c:v>
                </c:pt>
                <c:pt idx="53853">
                  <c:v>32186</c:v>
                </c:pt>
                <c:pt idx="53854">
                  <c:v>32185</c:v>
                </c:pt>
                <c:pt idx="53855">
                  <c:v>32185</c:v>
                </c:pt>
                <c:pt idx="53856">
                  <c:v>32185</c:v>
                </c:pt>
                <c:pt idx="53857">
                  <c:v>32185</c:v>
                </c:pt>
                <c:pt idx="53858">
                  <c:v>32185</c:v>
                </c:pt>
                <c:pt idx="53859">
                  <c:v>32185</c:v>
                </c:pt>
                <c:pt idx="53860">
                  <c:v>32185</c:v>
                </c:pt>
                <c:pt idx="53861">
                  <c:v>32184</c:v>
                </c:pt>
                <c:pt idx="53862">
                  <c:v>32184</c:v>
                </c:pt>
                <c:pt idx="53863">
                  <c:v>32184</c:v>
                </c:pt>
                <c:pt idx="53864">
                  <c:v>32184</c:v>
                </c:pt>
                <c:pt idx="53865">
                  <c:v>32184</c:v>
                </c:pt>
                <c:pt idx="53866">
                  <c:v>32183</c:v>
                </c:pt>
                <c:pt idx="53867">
                  <c:v>32183</c:v>
                </c:pt>
                <c:pt idx="53868">
                  <c:v>32183</c:v>
                </c:pt>
                <c:pt idx="53869">
                  <c:v>32183</c:v>
                </c:pt>
                <c:pt idx="53870">
                  <c:v>32183</c:v>
                </c:pt>
                <c:pt idx="53871">
                  <c:v>32183</c:v>
                </c:pt>
                <c:pt idx="53872">
                  <c:v>32183</c:v>
                </c:pt>
                <c:pt idx="53873">
                  <c:v>32183</c:v>
                </c:pt>
                <c:pt idx="53874">
                  <c:v>32182</c:v>
                </c:pt>
                <c:pt idx="53875">
                  <c:v>32182</c:v>
                </c:pt>
                <c:pt idx="53876">
                  <c:v>32182</c:v>
                </c:pt>
                <c:pt idx="53877">
                  <c:v>32182</c:v>
                </c:pt>
                <c:pt idx="53878">
                  <c:v>32182</c:v>
                </c:pt>
                <c:pt idx="53879">
                  <c:v>32182</c:v>
                </c:pt>
                <c:pt idx="53880">
                  <c:v>32181</c:v>
                </c:pt>
                <c:pt idx="53881">
                  <c:v>32181</c:v>
                </c:pt>
                <c:pt idx="53882">
                  <c:v>32181</c:v>
                </c:pt>
                <c:pt idx="53883">
                  <c:v>32181</c:v>
                </c:pt>
                <c:pt idx="53884">
                  <c:v>32181</c:v>
                </c:pt>
                <c:pt idx="53885">
                  <c:v>32180</c:v>
                </c:pt>
                <c:pt idx="53886">
                  <c:v>32180</c:v>
                </c:pt>
                <c:pt idx="53887">
                  <c:v>32180</c:v>
                </c:pt>
                <c:pt idx="53888">
                  <c:v>32180</c:v>
                </c:pt>
                <c:pt idx="53889">
                  <c:v>32180</c:v>
                </c:pt>
                <c:pt idx="53890">
                  <c:v>32179</c:v>
                </c:pt>
                <c:pt idx="53891">
                  <c:v>32179</c:v>
                </c:pt>
                <c:pt idx="53892">
                  <c:v>32179</c:v>
                </c:pt>
                <c:pt idx="53893">
                  <c:v>32179</c:v>
                </c:pt>
                <c:pt idx="53894">
                  <c:v>32179</c:v>
                </c:pt>
                <c:pt idx="53895">
                  <c:v>32178</c:v>
                </c:pt>
                <c:pt idx="53896">
                  <c:v>32178</c:v>
                </c:pt>
                <c:pt idx="53897">
                  <c:v>32178</c:v>
                </c:pt>
                <c:pt idx="53898">
                  <c:v>32178</c:v>
                </c:pt>
                <c:pt idx="53899">
                  <c:v>32178</c:v>
                </c:pt>
                <c:pt idx="53900">
                  <c:v>32178</c:v>
                </c:pt>
                <c:pt idx="53901">
                  <c:v>32178</c:v>
                </c:pt>
                <c:pt idx="53902">
                  <c:v>32178</c:v>
                </c:pt>
                <c:pt idx="53903">
                  <c:v>32178</c:v>
                </c:pt>
                <c:pt idx="53904">
                  <c:v>32178</c:v>
                </c:pt>
                <c:pt idx="53905">
                  <c:v>32177</c:v>
                </c:pt>
                <c:pt idx="53906">
                  <c:v>32177</c:v>
                </c:pt>
                <c:pt idx="53907">
                  <c:v>32177</c:v>
                </c:pt>
                <c:pt idx="53908">
                  <c:v>32177</c:v>
                </c:pt>
                <c:pt idx="53909">
                  <c:v>32177</c:v>
                </c:pt>
                <c:pt idx="53910">
                  <c:v>32177</c:v>
                </c:pt>
                <c:pt idx="53911">
                  <c:v>32177</c:v>
                </c:pt>
                <c:pt idx="53912">
                  <c:v>32176</c:v>
                </c:pt>
                <c:pt idx="53913">
                  <c:v>32176</c:v>
                </c:pt>
                <c:pt idx="53914">
                  <c:v>32176</c:v>
                </c:pt>
                <c:pt idx="53915">
                  <c:v>32176</c:v>
                </c:pt>
                <c:pt idx="53916">
                  <c:v>32176</c:v>
                </c:pt>
                <c:pt idx="53917">
                  <c:v>32176</c:v>
                </c:pt>
                <c:pt idx="53918">
                  <c:v>32176</c:v>
                </c:pt>
                <c:pt idx="53919">
                  <c:v>32176</c:v>
                </c:pt>
                <c:pt idx="53920">
                  <c:v>32176</c:v>
                </c:pt>
                <c:pt idx="53921">
                  <c:v>32176</c:v>
                </c:pt>
                <c:pt idx="53922">
                  <c:v>32175</c:v>
                </c:pt>
                <c:pt idx="53923">
                  <c:v>32175</c:v>
                </c:pt>
                <c:pt idx="53924">
                  <c:v>32175</c:v>
                </c:pt>
                <c:pt idx="53925">
                  <c:v>32175</c:v>
                </c:pt>
                <c:pt idx="53926">
                  <c:v>32174</c:v>
                </c:pt>
                <c:pt idx="53927">
                  <c:v>32174</c:v>
                </c:pt>
                <c:pt idx="53928">
                  <c:v>32174</c:v>
                </c:pt>
                <c:pt idx="53929">
                  <c:v>32174</c:v>
                </c:pt>
                <c:pt idx="53930">
                  <c:v>32174</c:v>
                </c:pt>
                <c:pt idx="53931">
                  <c:v>32174</c:v>
                </c:pt>
                <c:pt idx="53932">
                  <c:v>32174</c:v>
                </c:pt>
                <c:pt idx="53933">
                  <c:v>32174</c:v>
                </c:pt>
                <c:pt idx="53934">
                  <c:v>32174</c:v>
                </c:pt>
                <c:pt idx="53935">
                  <c:v>32173</c:v>
                </c:pt>
                <c:pt idx="53936">
                  <c:v>32173</c:v>
                </c:pt>
                <c:pt idx="53937">
                  <c:v>32173</c:v>
                </c:pt>
                <c:pt idx="53938">
                  <c:v>32173</c:v>
                </c:pt>
                <c:pt idx="53939">
                  <c:v>32172</c:v>
                </c:pt>
                <c:pt idx="53940">
                  <c:v>32172</c:v>
                </c:pt>
                <c:pt idx="53941">
                  <c:v>32172</c:v>
                </c:pt>
                <c:pt idx="53942">
                  <c:v>32172</c:v>
                </c:pt>
                <c:pt idx="53943">
                  <c:v>32172</c:v>
                </c:pt>
                <c:pt idx="53944">
                  <c:v>32172</c:v>
                </c:pt>
                <c:pt idx="53945">
                  <c:v>32172</c:v>
                </c:pt>
                <c:pt idx="53946">
                  <c:v>32172</c:v>
                </c:pt>
                <c:pt idx="53947">
                  <c:v>32170</c:v>
                </c:pt>
                <c:pt idx="53948">
                  <c:v>32170</c:v>
                </c:pt>
                <c:pt idx="53949">
                  <c:v>32170</c:v>
                </c:pt>
                <c:pt idx="53950">
                  <c:v>32170</c:v>
                </c:pt>
                <c:pt idx="53951">
                  <c:v>32170</c:v>
                </c:pt>
                <c:pt idx="53952">
                  <c:v>32170</c:v>
                </c:pt>
                <c:pt idx="53953">
                  <c:v>32170</c:v>
                </c:pt>
                <c:pt idx="53954">
                  <c:v>32170</c:v>
                </c:pt>
                <c:pt idx="53955">
                  <c:v>32169</c:v>
                </c:pt>
                <c:pt idx="53956">
                  <c:v>32169</c:v>
                </c:pt>
                <c:pt idx="53957">
                  <c:v>32169</c:v>
                </c:pt>
                <c:pt idx="53958">
                  <c:v>32169</c:v>
                </c:pt>
                <c:pt idx="53959">
                  <c:v>32169</c:v>
                </c:pt>
                <c:pt idx="53960">
                  <c:v>32169</c:v>
                </c:pt>
                <c:pt idx="53961">
                  <c:v>32169</c:v>
                </c:pt>
                <c:pt idx="53962">
                  <c:v>32169</c:v>
                </c:pt>
                <c:pt idx="53963">
                  <c:v>32169</c:v>
                </c:pt>
                <c:pt idx="53964">
                  <c:v>32169</c:v>
                </c:pt>
                <c:pt idx="53965">
                  <c:v>32168</c:v>
                </c:pt>
                <c:pt idx="53966">
                  <c:v>32168</c:v>
                </c:pt>
                <c:pt idx="53967">
                  <c:v>32168</c:v>
                </c:pt>
                <c:pt idx="53968">
                  <c:v>32168</c:v>
                </c:pt>
                <c:pt idx="53969">
                  <c:v>32168</c:v>
                </c:pt>
                <c:pt idx="53970">
                  <c:v>32168</c:v>
                </c:pt>
                <c:pt idx="53971">
                  <c:v>32168</c:v>
                </c:pt>
                <c:pt idx="53972">
                  <c:v>32168</c:v>
                </c:pt>
                <c:pt idx="53973">
                  <c:v>32168</c:v>
                </c:pt>
                <c:pt idx="53974">
                  <c:v>32168</c:v>
                </c:pt>
                <c:pt idx="53975">
                  <c:v>32168</c:v>
                </c:pt>
                <c:pt idx="53976">
                  <c:v>32167</c:v>
                </c:pt>
                <c:pt idx="53977">
                  <c:v>32167</c:v>
                </c:pt>
                <c:pt idx="53978">
                  <c:v>32167</c:v>
                </c:pt>
                <c:pt idx="53979">
                  <c:v>32167</c:v>
                </c:pt>
                <c:pt idx="53980">
                  <c:v>32167</c:v>
                </c:pt>
                <c:pt idx="53981">
                  <c:v>32167</c:v>
                </c:pt>
                <c:pt idx="53982">
                  <c:v>32167</c:v>
                </c:pt>
                <c:pt idx="53983">
                  <c:v>32166</c:v>
                </c:pt>
                <c:pt idx="53984">
                  <c:v>32166</c:v>
                </c:pt>
                <c:pt idx="53985">
                  <c:v>32166</c:v>
                </c:pt>
                <c:pt idx="53986">
                  <c:v>32166</c:v>
                </c:pt>
                <c:pt idx="53987">
                  <c:v>32166</c:v>
                </c:pt>
                <c:pt idx="53988">
                  <c:v>32166</c:v>
                </c:pt>
                <c:pt idx="53989">
                  <c:v>32166</c:v>
                </c:pt>
                <c:pt idx="53990">
                  <c:v>32166</c:v>
                </c:pt>
                <c:pt idx="53991">
                  <c:v>32166</c:v>
                </c:pt>
                <c:pt idx="53992">
                  <c:v>32166</c:v>
                </c:pt>
                <c:pt idx="53993">
                  <c:v>32165</c:v>
                </c:pt>
                <c:pt idx="53994">
                  <c:v>32165</c:v>
                </c:pt>
                <c:pt idx="53995">
                  <c:v>32165</c:v>
                </c:pt>
                <c:pt idx="53996">
                  <c:v>32165</c:v>
                </c:pt>
                <c:pt idx="53997">
                  <c:v>32165</c:v>
                </c:pt>
                <c:pt idx="53998">
                  <c:v>32165</c:v>
                </c:pt>
                <c:pt idx="53999">
                  <c:v>32165</c:v>
                </c:pt>
                <c:pt idx="54000">
                  <c:v>32165</c:v>
                </c:pt>
                <c:pt idx="54001">
                  <c:v>32164</c:v>
                </c:pt>
                <c:pt idx="54002">
                  <c:v>32164</c:v>
                </c:pt>
                <c:pt idx="54003">
                  <c:v>32164</c:v>
                </c:pt>
                <c:pt idx="54004">
                  <c:v>32164</c:v>
                </c:pt>
                <c:pt idx="54005">
                  <c:v>32164</c:v>
                </c:pt>
                <c:pt idx="54006">
                  <c:v>32163</c:v>
                </c:pt>
                <c:pt idx="54007">
                  <c:v>32163</c:v>
                </c:pt>
                <c:pt idx="54008">
                  <c:v>32163</c:v>
                </c:pt>
                <c:pt idx="54009">
                  <c:v>32163</c:v>
                </c:pt>
                <c:pt idx="54010">
                  <c:v>32163</c:v>
                </c:pt>
                <c:pt idx="54011">
                  <c:v>32163</c:v>
                </c:pt>
                <c:pt idx="54012">
                  <c:v>32163</c:v>
                </c:pt>
                <c:pt idx="54013">
                  <c:v>32163</c:v>
                </c:pt>
                <c:pt idx="54014">
                  <c:v>32163</c:v>
                </c:pt>
                <c:pt idx="54015">
                  <c:v>32162</c:v>
                </c:pt>
                <c:pt idx="54016">
                  <c:v>32162</c:v>
                </c:pt>
                <c:pt idx="54017">
                  <c:v>32162</c:v>
                </c:pt>
                <c:pt idx="54018">
                  <c:v>32162</c:v>
                </c:pt>
                <c:pt idx="54019">
                  <c:v>32162</c:v>
                </c:pt>
                <c:pt idx="54020">
                  <c:v>32162</c:v>
                </c:pt>
                <c:pt idx="54021">
                  <c:v>32162</c:v>
                </c:pt>
                <c:pt idx="54022">
                  <c:v>32161</c:v>
                </c:pt>
                <c:pt idx="54023">
                  <c:v>32161</c:v>
                </c:pt>
                <c:pt idx="54024">
                  <c:v>32161</c:v>
                </c:pt>
                <c:pt idx="54025">
                  <c:v>32161</c:v>
                </c:pt>
                <c:pt idx="54026">
                  <c:v>32161</c:v>
                </c:pt>
                <c:pt idx="54027">
                  <c:v>32161</c:v>
                </c:pt>
                <c:pt idx="54028">
                  <c:v>32161</c:v>
                </c:pt>
                <c:pt idx="54029">
                  <c:v>32161</c:v>
                </c:pt>
                <c:pt idx="54030">
                  <c:v>32161</c:v>
                </c:pt>
                <c:pt idx="54031">
                  <c:v>32160</c:v>
                </c:pt>
                <c:pt idx="54032">
                  <c:v>32160</c:v>
                </c:pt>
                <c:pt idx="54033">
                  <c:v>32160</c:v>
                </c:pt>
                <c:pt idx="54034">
                  <c:v>32160</c:v>
                </c:pt>
                <c:pt idx="54035">
                  <c:v>32160</c:v>
                </c:pt>
                <c:pt idx="54036">
                  <c:v>32160</c:v>
                </c:pt>
                <c:pt idx="54037">
                  <c:v>32160</c:v>
                </c:pt>
                <c:pt idx="54038">
                  <c:v>32160</c:v>
                </c:pt>
                <c:pt idx="54039">
                  <c:v>32160</c:v>
                </c:pt>
                <c:pt idx="54040">
                  <c:v>32160</c:v>
                </c:pt>
                <c:pt idx="54041">
                  <c:v>32160</c:v>
                </c:pt>
                <c:pt idx="54042">
                  <c:v>32160</c:v>
                </c:pt>
                <c:pt idx="54043">
                  <c:v>32160</c:v>
                </c:pt>
                <c:pt idx="54044">
                  <c:v>32159</c:v>
                </c:pt>
                <c:pt idx="54045">
                  <c:v>32159</c:v>
                </c:pt>
                <c:pt idx="54046">
                  <c:v>32159</c:v>
                </c:pt>
                <c:pt idx="54047">
                  <c:v>32159</c:v>
                </c:pt>
                <c:pt idx="54048">
                  <c:v>32159</c:v>
                </c:pt>
                <c:pt idx="54049">
                  <c:v>32159</c:v>
                </c:pt>
                <c:pt idx="54050">
                  <c:v>32158</c:v>
                </c:pt>
                <c:pt idx="54051">
                  <c:v>32158</c:v>
                </c:pt>
                <c:pt idx="54052">
                  <c:v>32158</c:v>
                </c:pt>
                <c:pt idx="54053">
                  <c:v>32158</c:v>
                </c:pt>
                <c:pt idx="54054">
                  <c:v>32157</c:v>
                </c:pt>
                <c:pt idx="54055">
                  <c:v>32157</c:v>
                </c:pt>
                <c:pt idx="54056">
                  <c:v>32157</c:v>
                </c:pt>
                <c:pt idx="54057">
                  <c:v>32157</c:v>
                </c:pt>
                <c:pt idx="54058">
                  <c:v>32156</c:v>
                </c:pt>
                <c:pt idx="54059">
                  <c:v>32156</c:v>
                </c:pt>
                <c:pt idx="54060">
                  <c:v>32156</c:v>
                </c:pt>
                <c:pt idx="54061">
                  <c:v>32156</c:v>
                </c:pt>
                <c:pt idx="54062">
                  <c:v>32156</c:v>
                </c:pt>
                <c:pt idx="54063">
                  <c:v>32156</c:v>
                </c:pt>
                <c:pt idx="54064">
                  <c:v>32156</c:v>
                </c:pt>
                <c:pt idx="54065">
                  <c:v>32155</c:v>
                </c:pt>
                <c:pt idx="54066">
                  <c:v>32155</c:v>
                </c:pt>
                <c:pt idx="54067">
                  <c:v>32155</c:v>
                </c:pt>
                <c:pt idx="54068">
                  <c:v>32155</c:v>
                </c:pt>
                <c:pt idx="54069">
                  <c:v>32155</c:v>
                </c:pt>
                <c:pt idx="54070">
                  <c:v>32154</c:v>
                </c:pt>
                <c:pt idx="54071">
                  <c:v>32154</c:v>
                </c:pt>
                <c:pt idx="54072">
                  <c:v>32154</c:v>
                </c:pt>
                <c:pt idx="54073">
                  <c:v>32154</c:v>
                </c:pt>
                <c:pt idx="54074">
                  <c:v>32154</c:v>
                </c:pt>
                <c:pt idx="54075">
                  <c:v>32154</c:v>
                </c:pt>
                <c:pt idx="54076">
                  <c:v>32154</c:v>
                </c:pt>
                <c:pt idx="54077">
                  <c:v>32153</c:v>
                </c:pt>
                <c:pt idx="54078">
                  <c:v>32153</c:v>
                </c:pt>
                <c:pt idx="54079">
                  <c:v>32153</c:v>
                </c:pt>
                <c:pt idx="54080">
                  <c:v>32153</c:v>
                </c:pt>
                <c:pt idx="54081">
                  <c:v>32153</c:v>
                </c:pt>
                <c:pt idx="54082">
                  <c:v>32153</c:v>
                </c:pt>
                <c:pt idx="54083">
                  <c:v>32152</c:v>
                </c:pt>
                <c:pt idx="54084">
                  <c:v>32152</c:v>
                </c:pt>
                <c:pt idx="54085">
                  <c:v>32151</c:v>
                </c:pt>
                <c:pt idx="54086">
                  <c:v>32151</c:v>
                </c:pt>
                <c:pt idx="54087">
                  <c:v>32151</c:v>
                </c:pt>
                <c:pt idx="54088">
                  <c:v>32151</c:v>
                </c:pt>
                <c:pt idx="54089">
                  <c:v>32151</c:v>
                </c:pt>
                <c:pt idx="54090">
                  <c:v>32151</c:v>
                </c:pt>
                <c:pt idx="54091">
                  <c:v>32150</c:v>
                </c:pt>
                <c:pt idx="54092">
                  <c:v>32150</c:v>
                </c:pt>
                <c:pt idx="54093">
                  <c:v>32150</c:v>
                </c:pt>
                <c:pt idx="54094">
                  <c:v>32150</c:v>
                </c:pt>
                <c:pt idx="54095">
                  <c:v>32150</c:v>
                </c:pt>
                <c:pt idx="54096">
                  <c:v>32150</c:v>
                </c:pt>
                <c:pt idx="54097">
                  <c:v>32150</c:v>
                </c:pt>
                <c:pt idx="54098">
                  <c:v>32149</c:v>
                </c:pt>
                <c:pt idx="54099">
                  <c:v>32149</c:v>
                </c:pt>
                <c:pt idx="54100">
                  <c:v>32149</c:v>
                </c:pt>
                <c:pt idx="54101">
                  <c:v>32149</c:v>
                </c:pt>
                <c:pt idx="54102">
                  <c:v>32149</c:v>
                </c:pt>
                <c:pt idx="54103">
                  <c:v>32148</c:v>
                </c:pt>
                <c:pt idx="54104">
                  <c:v>32148</c:v>
                </c:pt>
                <c:pt idx="54105">
                  <c:v>32148</c:v>
                </c:pt>
                <c:pt idx="54106">
                  <c:v>32148</c:v>
                </c:pt>
                <c:pt idx="54107">
                  <c:v>32148</c:v>
                </c:pt>
                <c:pt idx="54108">
                  <c:v>32148</c:v>
                </c:pt>
                <c:pt idx="54109">
                  <c:v>32147</c:v>
                </c:pt>
                <c:pt idx="54110">
                  <c:v>32147</c:v>
                </c:pt>
                <c:pt idx="54111">
                  <c:v>32146</c:v>
                </c:pt>
                <c:pt idx="54112">
                  <c:v>32146</c:v>
                </c:pt>
                <c:pt idx="54113">
                  <c:v>32146</c:v>
                </c:pt>
                <c:pt idx="54114">
                  <c:v>32146</c:v>
                </c:pt>
                <c:pt idx="54115">
                  <c:v>32146</c:v>
                </c:pt>
                <c:pt idx="54116">
                  <c:v>32146</c:v>
                </c:pt>
                <c:pt idx="54117">
                  <c:v>32146</c:v>
                </c:pt>
                <c:pt idx="54118">
                  <c:v>32146</c:v>
                </c:pt>
                <c:pt idx="54119">
                  <c:v>32145</c:v>
                </c:pt>
                <c:pt idx="54120">
                  <c:v>32145</c:v>
                </c:pt>
                <c:pt idx="54121">
                  <c:v>32145</c:v>
                </c:pt>
                <c:pt idx="54122">
                  <c:v>32145</c:v>
                </c:pt>
                <c:pt idx="54123">
                  <c:v>32145</c:v>
                </c:pt>
                <c:pt idx="54124">
                  <c:v>32145</c:v>
                </c:pt>
                <c:pt idx="54125">
                  <c:v>32145</c:v>
                </c:pt>
                <c:pt idx="54126">
                  <c:v>32145</c:v>
                </c:pt>
                <c:pt idx="54127">
                  <c:v>32145</c:v>
                </c:pt>
                <c:pt idx="54128">
                  <c:v>32145</c:v>
                </c:pt>
                <c:pt idx="54129">
                  <c:v>32145</c:v>
                </c:pt>
                <c:pt idx="54130">
                  <c:v>32144</c:v>
                </c:pt>
                <c:pt idx="54131">
                  <c:v>32144</c:v>
                </c:pt>
                <c:pt idx="54132">
                  <c:v>32144</c:v>
                </c:pt>
                <c:pt idx="54133">
                  <c:v>32144</c:v>
                </c:pt>
                <c:pt idx="54134">
                  <c:v>32144</c:v>
                </c:pt>
                <c:pt idx="54135">
                  <c:v>32144</c:v>
                </c:pt>
                <c:pt idx="54136">
                  <c:v>32144</c:v>
                </c:pt>
                <c:pt idx="54137">
                  <c:v>32143</c:v>
                </c:pt>
                <c:pt idx="54138">
                  <c:v>32143</c:v>
                </c:pt>
                <c:pt idx="54139">
                  <c:v>32143</c:v>
                </c:pt>
                <c:pt idx="54140">
                  <c:v>32143</c:v>
                </c:pt>
                <c:pt idx="54141">
                  <c:v>32142</c:v>
                </c:pt>
                <c:pt idx="54142">
                  <c:v>32142</c:v>
                </c:pt>
                <c:pt idx="54143">
                  <c:v>32142</c:v>
                </c:pt>
                <c:pt idx="54144">
                  <c:v>32142</c:v>
                </c:pt>
                <c:pt idx="54145">
                  <c:v>32142</c:v>
                </c:pt>
                <c:pt idx="54146">
                  <c:v>32142</c:v>
                </c:pt>
                <c:pt idx="54147">
                  <c:v>32141</c:v>
                </c:pt>
                <c:pt idx="54148">
                  <c:v>32141</c:v>
                </c:pt>
                <c:pt idx="54149">
                  <c:v>32141</c:v>
                </c:pt>
                <c:pt idx="54150">
                  <c:v>32141</c:v>
                </c:pt>
                <c:pt idx="54151">
                  <c:v>32141</c:v>
                </c:pt>
                <c:pt idx="54152">
                  <c:v>32141</c:v>
                </c:pt>
                <c:pt idx="54153">
                  <c:v>32141</c:v>
                </c:pt>
                <c:pt idx="54154">
                  <c:v>32141</c:v>
                </c:pt>
                <c:pt idx="54155">
                  <c:v>32141</c:v>
                </c:pt>
                <c:pt idx="54156">
                  <c:v>32140</c:v>
                </c:pt>
                <c:pt idx="54157">
                  <c:v>32140</c:v>
                </c:pt>
                <c:pt idx="54158">
                  <c:v>32140</c:v>
                </c:pt>
                <c:pt idx="54159">
                  <c:v>32140</c:v>
                </c:pt>
                <c:pt idx="54160">
                  <c:v>32140</c:v>
                </c:pt>
                <c:pt idx="54161">
                  <c:v>32139</c:v>
                </c:pt>
                <c:pt idx="54162">
                  <c:v>32139</c:v>
                </c:pt>
                <c:pt idx="54163">
                  <c:v>32139</c:v>
                </c:pt>
                <c:pt idx="54164">
                  <c:v>32139</c:v>
                </c:pt>
                <c:pt idx="54165">
                  <c:v>32139</c:v>
                </c:pt>
                <c:pt idx="54166">
                  <c:v>32139</c:v>
                </c:pt>
                <c:pt idx="54167">
                  <c:v>32138</c:v>
                </c:pt>
                <c:pt idx="54168">
                  <c:v>32138</c:v>
                </c:pt>
                <c:pt idx="54169">
                  <c:v>32138</c:v>
                </c:pt>
                <c:pt idx="54170">
                  <c:v>32138</c:v>
                </c:pt>
                <c:pt idx="54171">
                  <c:v>32138</c:v>
                </c:pt>
                <c:pt idx="54172">
                  <c:v>32138</c:v>
                </c:pt>
                <c:pt idx="54173">
                  <c:v>32138</c:v>
                </c:pt>
                <c:pt idx="54174">
                  <c:v>32137</c:v>
                </c:pt>
                <c:pt idx="54175">
                  <c:v>32137</c:v>
                </c:pt>
                <c:pt idx="54176">
                  <c:v>32137</c:v>
                </c:pt>
                <c:pt idx="54177">
                  <c:v>32136</c:v>
                </c:pt>
                <c:pt idx="54178">
                  <c:v>32136</c:v>
                </c:pt>
                <c:pt idx="54179">
                  <c:v>32136</c:v>
                </c:pt>
                <c:pt idx="54180">
                  <c:v>32136</c:v>
                </c:pt>
                <c:pt idx="54181">
                  <c:v>32136</c:v>
                </c:pt>
                <c:pt idx="54182">
                  <c:v>32136</c:v>
                </c:pt>
                <c:pt idx="54183">
                  <c:v>32136</c:v>
                </c:pt>
                <c:pt idx="54184">
                  <c:v>32135</c:v>
                </c:pt>
                <c:pt idx="54185">
                  <c:v>32135</c:v>
                </c:pt>
                <c:pt idx="54186">
                  <c:v>32135</c:v>
                </c:pt>
                <c:pt idx="54187">
                  <c:v>32135</c:v>
                </c:pt>
                <c:pt idx="54188">
                  <c:v>32135</c:v>
                </c:pt>
                <c:pt idx="54189">
                  <c:v>32135</c:v>
                </c:pt>
                <c:pt idx="54190">
                  <c:v>32135</c:v>
                </c:pt>
                <c:pt idx="54191">
                  <c:v>32135</c:v>
                </c:pt>
                <c:pt idx="54192">
                  <c:v>32134</c:v>
                </c:pt>
                <c:pt idx="54193">
                  <c:v>32134</c:v>
                </c:pt>
                <c:pt idx="54194">
                  <c:v>32134</c:v>
                </c:pt>
                <c:pt idx="54195">
                  <c:v>32134</c:v>
                </c:pt>
                <c:pt idx="54196">
                  <c:v>32134</c:v>
                </c:pt>
                <c:pt idx="54197">
                  <c:v>32134</c:v>
                </c:pt>
                <c:pt idx="54198">
                  <c:v>32134</c:v>
                </c:pt>
                <c:pt idx="54199">
                  <c:v>32134</c:v>
                </c:pt>
                <c:pt idx="54200">
                  <c:v>32134</c:v>
                </c:pt>
                <c:pt idx="54201">
                  <c:v>32133</c:v>
                </c:pt>
                <c:pt idx="54202">
                  <c:v>32133</c:v>
                </c:pt>
                <c:pt idx="54203">
                  <c:v>32133</c:v>
                </c:pt>
                <c:pt idx="54204">
                  <c:v>32133</c:v>
                </c:pt>
                <c:pt idx="54205">
                  <c:v>32133</c:v>
                </c:pt>
                <c:pt idx="54206">
                  <c:v>32133</c:v>
                </c:pt>
                <c:pt idx="54207">
                  <c:v>32133</c:v>
                </c:pt>
                <c:pt idx="54208">
                  <c:v>32133</c:v>
                </c:pt>
                <c:pt idx="54209">
                  <c:v>32132</c:v>
                </c:pt>
                <c:pt idx="54210">
                  <c:v>32132</c:v>
                </c:pt>
                <c:pt idx="54211">
                  <c:v>32132</c:v>
                </c:pt>
                <c:pt idx="54212">
                  <c:v>32132</c:v>
                </c:pt>
                <c:pt idx="54213">
                  <c:v>32132</c:v>
                </c:pt>
                <c:pt idx="54214">
                  <c:v>32132</c:v>
                </c:pt>
                <c:pt idx="54215">
                  <c:v>32132</c:v>
                </c:pt>
                <c:pt idx="54216">
                  <c:v>32131</c:v>
                </c:pt>
                <c:pt idx="54217">
                  <c:v>32131</c:v>
                </c:pt>
                <c:pt idx="54218">
                  <c:v>32131</c:v>
                </c:pt>
                <c:pt idx="54219">
                  <c:v>32131</c:v>
                </c:pt>
                <c:pt idx="54220">
                  <c:v>32131</c:v>
                </c:pt>
                <c:pt idx="54221">
                  <c:v>32130</c:v>
                </c:pt>
                <c:pt idx="54222">
                  <c:v>32130</c:v>
                </c:pt>
                <c:pt idx="54223">
                  <c:v>32130</c:v>
                </c:pt>
                <c:pt idx="54224">
                  <c:v>32130</c:v>
                </c:pt>
                <c:pt idx="54225">
                  <c:v>32130</c:v>
                </c:pt>
                <c:pt idx="54226">
                  <c:v>32130</c:v>
                </c:pt>
                <c:pt idx="54227">
                  <c:v>32130</c:v>
                </c:pt>
                <c:pt idx="54228">
                  <c:v>32130</c:v>
                </c:pt>
                <c:pt idx="54229">
                  <c:v>32130</c:v>
                </c:pt>
                <c:pt idx="54230">
                  <c:v>32130</c:v>
                </c:pt>
                <c:pt idx="54231">
                  <c:v>32129</c:v>
                </c:pt>
                <c:pt idx="54232">
                  <c:v>32129</c:v>
                </c:pt>
                <c:pt idx="54233">
                  <c:v>32129</c:v>
                </c:pt>
                <c:pt idx="54234">
                  <c:v>32129</c:v>
                </c:pt>
                <c:pt idx="54235">
                  <c:v>32129</c:v>
                </c:pt>
                <c:pt idx="54236">
                  <c:v>32129</c:v>
                </c:pt>
                <c:pt idx="54237">
                  <c:v>32129</c:v>
                </c:pt>
                <c:pt idx="54238">
                  <c:v>32129</c:v>
                </c:pt>
                <c:pt idx="54239">
                  <c:v>32128</c:v>
                </c:pt>
                <c:pt idx="54240">
                  <c:v>32128</c:v>
                </c:pt>
                <c:pt idx="54241">
                  <c:v>32128</c:v>
                </c:pt>
                <c:pt idx="54242">
                  <c:v>32128</c:v>
                </c:pt>
                <c:pt idx="54243">
                  <c:v>32128</c:v>
                </c:pt>
                <c:pt idx="54244">
                  <c:v>32128</c:v>
                </c:pt>
                <c:pt idx="54245">
                  <c:v>32128</c:v>
                </c:pt>
                <c:pt idx="54246">
                  <c:v>32128</c:v>
                </c:pt>
                <c:pt idx="54247">
                  <c:v>32128</c:v>
                </c:pt>
                <c:pt idx="54248">
                  <c:v>32127</c:v>
                </c:pt>
                <c:pt idx="54249">
                  <c:v>32127</c:v>
                </c:pt>
                <c:pt idx="54250">
                  <c:v>32127</c:v>
                </c:pt>
                <c:pt idx="54251">
                  <c:v>32127</c:v>
                </c:pt>
                <c:pt idx="54252">
                  <c:v>32127</c:v>
                </c:pt>
                <c:pt idx="54253">
                  <c:v>32127</c:v>
                </c:pt>
                <c:pt idx="54254">
                  <c:v>32127</c:v>
                </c:pt>
                <c:pt idx="54255">
                  <c:v>32127</c:v>
                </c:pt>
                <c:pt idx="54256">
                  <c:v>32127</c:v>
                </c:pt>
                <c:pt idx="54257">
                  <c:v>32127</c:v>
                </c:pt>
                <c:pt idx="54258">
                  <c:v>32127</c:v>
                </c:pt>
                <c:pt idx="54259">
                  <c:v>32126</c:v>
                </c:pt>
                <c:pt idx="54260">
                  <c:v>32126</c:v>
                </c:pt>
                <c:pt idx="54261">
                  <c:v>32126</c:v>
                </c:pt>
                <c:pt idx="54262">
                  <c:v>32126</c:v>
                </c:pt>
                <c:pt idx="54263">
                  <c:v>32126</c:v>
                </c:pt>
                <c:pt idx="54264">
                  <c:v>32126</c:v>
                </c:pt>
                <c:pt idx="54265">
                  <c:v>32125</c:v>
                </c:pt>
                <c:pt idx="54266">
                  <c:v>32125</c:v>
                </c:pt>
                <c:pt idx="54267">
                  <c:v>32125</c:v>
                </c:pt>
                <c:pt idx="54268">
                  <c:v>32125</c:v>
                </c:pt>
                <c:pt idx="54269">
                  <c:v>32124</c:v>
                </c:pt>
                <c:pt idx="54270">
                  <c:v>32124</c:v>
                </c:pt>
                <c:pt idx="54271">
                  <c:v>32124</c:v>
                </c:pt>
                <c:pt idx="54272">
                  <c:v>32124</c:v>
                </c:pt>
                <c:pt idx="54273">
                  <c:v>32124</c:v>
                </c:pt>
                <c:pt idx="54274">
                  <c:v>32123</c:v>
                </c:pt>
                <c:pt idx="54275">
                  <c:v>32123</c:v>
                </c:pt>
                <c:pt idx="54276">
                  <c:v>32123</c:v>
                </c:pt>
                <c:pt idx="54277">
                  <c:v>32123</c:v>
                </c:pt>
                <c:pt idx="54278">
                  <c:v>32123</c:v>
                </c:pt>
                <c:pt idx="54279">
                  <c:v>32123</c:v>
                </c:pt>
                <c:pt idx="54280">
                  <c:v>32123</c:v>
                </c:pt>
                <c:pt idx="54281">
                  <c:v>32123</c:v>
                </c:pt>
                <c:pt idx="54282">
                  <c:v>32122</c:v>
                </c:pt>
                <c:pt idx="54283">
                  <c:v>32122</c:v>
                </c:pt>
                <c:pt idx="54284">
                  <c:v>32122</c:v>
                </c:pt>
                <c:pt idx="54285">
                  <c:v>32122</c:v>
                </c:pt>
                <c:pt idx="54286">
                  <c:v>32122</c:v>
                </c:pt>
                <c:pt idx="54287">
                  <c:v>32122</c:v>
                </c:pt>
                <c:pt idx="54288">
                  <c:v>32122</c:v>
                </c:pt>
                <c:pt idx="54289">
                  <c:v>32122</c:v>
                </c:pt>
                <c:pt idx="54290">
                  <c:v>32122</c:v>
                </c:pt>
                <c:pt idx="54291">
                  <c:v>32122</c:v>
                </c:pt>
                <c:pt idx="54292">
                  <c:v>32122</c:v>
                </c:pt>
                <c:pt idx="54293">
                  <c:v>32122</c:v>
                </c:pt>
                <c:pt idx="54294">
                  <c:v>32121</c:v>
                </c:pt>
                <c:pt idx="54295">
                  <c:v>32121</c:v>
                </c:pt>
                <c:pt idx="54296">
                  <c:v>32121</c:v>
                </c:pt>
                <c:pt idx="54297">
                  <c:v>32121</c:v>
                </c:pt>
                <c:pt idx="54298">
                  <c:v>32121</c:v>
                </c:pt>
                <c:pt idx="54299">
                  <c:v>32121</c:v>
                </c:pt>
                <c:pt idx="54300">
                  <c:v>32120</c:v>
                </c:pt>
                <c:pt idx="54301">
                  <c:v>32120</c:v>
                </c:pt>
                <c:pt idx="54302">
                  <c:v>32120</c:v>
                </c:pt>
                <c:pt idx="54303">
                  <c:v>32120</c:v>
                </c:pt>
                <c:pt idx="54304">
                  <c:v>32120</c:v>
                </c:pt>
                <c:pt idx="54305">
                  <c:v>32120</c:v>
                </c:pt>
                <c:pt idx="54306">
                  <c:v>32119</c:v>
                </c:pt>
                <c:pt idx="54307">
                  <c:v>32119</c:v>
                </c:pt>
                <c:pt idx="54308">
                  <c:v>32119</c:v>
                </c:pt>
                <c:pt idx="54309">
                  <c:v>32119</c:v>
                </c:pt>
                <c:pt idx="54310">
                  <c:v>32119</c:v>
                </c:pt>
                <c:pt idx="54311">
                  <c:v>32119</c:v>
                </c:pt>
                <c:pt idx="54312">
                  <c:v>32118</c:v>
                </c:pt>
                <c:pt idx="54313">
                  <c:v>32118</c:v>
                </c:pt>
                <c:pt idx="54314">
                  <c:v>32118</c:v>
                </c:pt>
                <c:pt idx="54315">
                  <c:v>32118</c:v>
                </c:pt>
                <c:pt idx="54316">
                  <c:v>32118</c:v>
                </c:pt>
                <c:pt idx="54317">
                  <c:v>32118</c:v>
                </c:pt>
                <c:pt idx="54318">
                  <c:v>32118</c:v>
                </c:pt>
                <c:pt idx="54319">
                  <c:v>32118</c:v>
                </c:pt>
                <c:pt idx="54320">
                  <c:v>32118</c:v>
                </c:pt>
                <c:pt idx="54321">
                  <c:v>32117</c:v>
                </c:pt>
                <c:pt idx="54322">
                  <c:v>32117</c:v>
                </c:pt>
                <c:pt idx="54323">
                  <c:v>32117</c:v>
                </c:pt>
                <c:pt idx="54324">
                  <c:v>32117</c:v>
                </c:pt>
                <c:pt idx="54325">
                  <c:v>32117</c:v>
                </c:pt>
                <c:pt idx="54326">
                  <c:v>32116</c:v>
                </c:pt>
                <c:pt idx="54327">
                  <c:v>32116</c:v>
                </c:pt>
                <c:pt idx="54328">
                  <c:v>32116</c:v>
                </c:pt>
                <c:pt idx="54329">
                  <c:v>32116</c:v>
                </c:pt>
                <c:pt idx="54330">
                  <c:v>32116</c:v>
                </c:pt>
                <c:pt idx="54331">
                  <c:v>32115</c:v>
                </c:pt>
                <c:pt idx="54332">
                  <c:v>32115</c:v>
                </c:pt>
                <c:pt idx="54333">
                  <c:v>32115</c:v>
                </c:pt>
                <c:pt idx="54334">
                  <c:v>32115</c:v>
                </c:pt>
                <c:pt idx="54335">
                  <c:v>32115</c:v>
                </c:pt>
                <c:pt idx="54336">
                  <c:v>32115</c:v>
                </c:pt>
                <c:pt idx="54337">
                  <c:v>32115</c:v>
                </c:pt>
                <c:pt idx="54338">
                  <c:v>32115</c:v>
                </c:pt>
                <c:pt idx="54339">
                  <c:v>32115</c:v>
                </c:pt>
                <c:pt idx="54340">
                  <c:v>32114</c:v>
                </c:pt>
                <c:pt idx="54341">
                  <c:v>32114</c:v>
                </c:pt>
                <c:pt idx="54342">
                  <c:v>32113</c:v>
                </c:pt>
                <c:pt idx="54343">
                  <c:v>32113</c:v>
                </c:pt>
                <c:pt idx="54344">
                  <c:v>32113</c:v>
                </c:pt>
                <c:pt idx="54345">
                  <c:v>32113</c:v>
                </c:pt>
                <c:pt idx="54346">
                  <c:v>32113</c:v>
                </c:pt>
                <c:pt idx="54347">
                  <c:v>32113</c:v>
                </c:pt>
                <c:pt idx="54348">
                  <c:v>32113</c:v>
                </c:pt>
                <c:pt idx="54349">
                  <c:v>32112</c:v>
                </c:pt>
                <c:pt idx="54350">
                  <c:v>32112</c:v>
                </c:pt>
                <c:pt idx="54351">
                  <c:v>32112</c:v>
                </c:pt>
                <c:pt idx="54352">
                  <c:v>32112</c:v>
                </c:pt>
                <c:pt idx="54353">
                  <c:v>32112</c:v>
                </c:pt>
                <c:pt idx="54354">
                  <c:v>32112</c:v>
                </c:pt>
                <c:pt idx="54355">
                  <c:v>32112</c:v>
                </c:pt>
                <c:pt idx="54356">
                  <c:v>32112</c:v>
                </c:pt>
                <c:pt idx="54357">
                  <c:v>32112</c:v>
                </c:pt>
                <c:pt idx="54358">
                  <c:v>32111</c:v>
                </c:pt>
                <c:pt idx="54359">
                  <c:v>32111</c:v>
                </c:pt>
                <c:pt idx="54360">
                  <c:v>32111</c:v>
                </c:pt>
                <c:pt idx="54361">
                  <c:v>32111</c:v>
                </c:pt>
                <c:pt idx="54362">
                  <c:v>32110</c:v>
                </c:pt>
                <c:pt idx="54363">
                  <c:v>32110</c:v>
                </c:pt>
                <c:pt idx="54364">
                  <c:v>32110</c:v>
                </c:pt>
                <c:pt idx="54365">
                  <c:v>32110</c:v>
                </c:pt>
                <c:pt idx="54366">
                  <c:v>32110</c:v>
                </c:pt>
                <c:pt idx="54367">
                  <c:v>32110</c:v>
                </c:pt>
                <c:pt idx="54368">
                  <c:v>32110</c:v>
                </c:pt>
                <c:pt idx="54369">
                  <c:v>32110</c:v>
                </c:pt>
                <c:pt idx="54370">
                  <c:v>32109</c:v>
                </c:pt>
                <c:pt idx="54371">
                  <c:v>32109</c:v>
                </c:pt>
                <c:pt idx="54372">
                  <c:v>32109</c:v>
                </c:pt>
                <c:pt idx="54373">
                  <c:v>32109</c:v>
                </c:pt>
                <c:pt idx="54374">
                  <c:v>32109</c:v>
                </c:pt>
                <c:pt idx="54375">
                  <c:v>32109</c:v>
                </c:pt>
                <c:pt idx="54376">
                  <c:v>32109</c:v>
                </c:pt>
                <c:pt idx="54377">
                  <c:v>32109</c:v>
                </c:pt>
                <c:pt idx="54378">
                  <c:v>32108</c:v>
                </c:pt>
                <c:pt idx="54379">
                  <c:v>32108</c:v>
                </c:pt>
                <c:pt idx="54380">
                  <c:v>32108</c:v>
                </c:pt>
                <c:pt idx="54381">
                  <c:v>32108</c:v>
                </c:pt>
                <c:pt idx="54382">
                  <c:v>32108</c:v>
                </c:pt>
                <c:pt idx="54383">
                  <c:v>32108</c:v>
                </c:pt>
                <c:pt idx="54384">
                  <c:v>32107</c:v>
                </c:pt>
                <c:pt idx="54385">
                  <c:v>32107</c:v>
                </c:pt>
                <c:pt idx="54386">
                  <c:v>32107</c:v>
                </c:pt>
                <c:pt idx="54387">
                  <c:v>32107</c:v>
                </c:pt>
                <c:pt idx="54388">
                  <c:v>32106</c:v>
                </c:pt>
                <c:pt idx="54389">
                  <c:v>32106</c:v>
                </c:pt>
                <c:pt idx="54390">
                  <c:v>32106</c:v>
                </c:pt>
                <c:pt idx="54391">
                  <c:v>32106</c:v>
                </c:pt>
                <c:pt idx="54392">
                  <c:v>32106</c:v>
                </c:pt>
                <c:pt idx="54393">
                  <c:v>32105</c:v>
                </c:pt>
                <c:pt idx="54394">
                  <c:v>32105</c:v>
                </c:pt>
                <c:pt idx="54395">
                  <c:v>32104</c:v>
                </c:pt>
                <c:pt idx="54396">
                  <c:v>32104</c:v>
                </c:pt>
                <c:pt idx="54397">
                  <c:v>32104</c:v>
                </c:pt>
                <c:pt idx="54398">
                  <c:v>32104</c:v>
                </c:pt>
                <c:pt idx="54399">
                  <c:v>32104</c:v>
                </c:pt>
                <c:pt idx="54400">
                  <c:v>32103</c:v>
                </c:pt>
                <c:pt idx="54401">
                  <c:v>32103</c:v>
                </c:pt>
                <c:pt idx="54402">
                  <c:v>32103</c:v>
                </c:pt>
                <c:pt idx="54403">
                  <c:v>32103</c:v>
                </c:pt>
                <c:pt idx="54404">
                  <c:v>32103</c:v>
                </c:pt>
                <c:pt idx="54405">
                  <c:v>32103</c:v>
                </c:pt>
                <c:pt idx="54406">
                  <c:v>32103</c:v>
                </c:pt>
                <c:pt idx="54407">
                  <c:v>32102</c:v>
                </c:pt>
                <c:pt idx="54408">
                  <c:v>32102</c:v>
                </c:pt>
                <c:pt idx="54409">
                  <c:v>32102</c:v>
                </c:pt>
                <c:pt idx="54410">
                  <c:v>32102</c:v>
                </c:pt>
                <c:pt idx="54411">
                  <c:v>32102</c:v>
                </c:pt>
                <c:pt idx="54412">
                  <c:v>32102</c:v>
                </c:pt>
                <c:pt idx="54413">
                  <c:v>32101</c:v>
                </c:pt>
                <c:pt idx="54414">
                  <c:v>32101</c:v>
                </c:pt>
                <c:pt idx="54415">
                  <c:v>32101</c:v>
                </c:pt>
                <c:pt idx="54416">
                  <c:v>32101</c:v>
                </c:pt>
                <c:pt idx="54417">
                  <c:v>32101</c:v>
                </c:pt>
                <c:pt idx="54418">
                  <c:v>32101</c:v>
                </c:pt>
                <c:pt idx="54419">
                  <c:v>32101</c:v>
                </c:pt>
                <c:pt idx="54420">
                  <c:v>32100</c:v>
                </c:pt>
                <c:pt idx="54421">
                  <c:v>32100</c:v>
                </c:pt>
                <c:pt idx="54422">
                  <c:v>32100</c:v>
                </c:pt>
                <c:pt idx="54423">
                  <c:v>32100</c:v>
                </c:pt>
                <c:pt idx="54424">
                  <c:v>32100</c:v>
                </c:pt>
                <c:pt idx="54425">
                  <c:v>32099</c:v>
                </c:pt>
                <c:pt idx="54426">
                  <c:v>32099</c:v>
                </c:pt>
                <c:pt idx="54427">
                  <c:v>32099</c:v>
                </c:pt>
                <c:pt idx="54428">
                  <c:v>32099</c:v>
                </c:pt>
                <c:pt idx="54429">
                  <c:v>32099</c:v>
                </c:pt>
                <c:pt idx="54430">
                  <c:v>32099</c:v>
                </c:pt>
                <c:pt idx="54431">
                  <c:v>32099</c:v>
                </c:pt>
                <c:pt idx="54432">
                  <c:v>32099</c:v>
                </c:pt>
                <c:pt idx="54433">
                  <c:v>32099</c:v>
                </c:pt>
                <c:pt idx="54434">
                  <c:v>32098</c:v>
                </c:pt>
                <c:pt idx="54435">
                  <c:v>32098</c:v>
                </c:pt>
                <c:pt idx="54436">
                  <c:v>32098</c:v>
                </c:pt>
                <c:pt idx="54437">
                  <c:v>32098</c:v>
                </c:pt>
                <c:pt idx="54438">
                  <c:v>32098</c:v>
                </c:pt>
                <c:pt idx="54439">
                  <c:v>32098</c:v>
                </c:pt>
                <c:pt idx="54440">
                  <c:v>32097</c:v>
                </c:pt>
                <c:pt idx="54441">
                  <c:v>32097</c:v>
                </c:pt>
                <c:pt idx="54442">
                  <c:v>32097</c:v>
                </c:pt>
                <c:pt idx="54443">
                  <c:v>32097</c:v>
                </c:pt>
                <c:pt idx="54444">
                  <c:v>32097</c:v>
                </c:pt>
                <c:pt idx="54445">
                  <c:v>32096</c:v>
                </c:pt>
                <c:pt idx="54446">
                  <c:v>32096</c:v>
                </c:pt>
                <c:pt idx="54447">
                  <c:v>32096</c:v>
                </c:pt>
                <c:pt idx="54448">
                  <c:v>32096</c:v>
                </c:pt>
                <c:pt idx="54449">
                  <c:v>32096</c:v>
                </c:pt>
                <c:pt idx="54450">
                  <c:v>32096</c:v>
                </c:pt>
                <c:pt idx="54451">
                  <c:v>32096</c:v>
                </c:pt>
                <c:pt idx="54452">
                  <c:v>32096</c:v>
                </c:pt>
                <c:pt idx="54453">
                  <c:v>32095</c:v>
                </c:pt>
                <c:pt idx="54454">
                  <c:v>32095</c:v>
                </c:pt>
                <c:pt idx="54455">
                  <c:v>32095</c:v>
                </c:pt>
                <c:pt idx="54456">
                  <c:v>32095</c:v>
                </c:pt>
                <c:pt idx="54457">
                  <c:v>32095</c:v>
                </c:pt>
                <c:pt idx="54458">
                  <c:v>32095</c:v>
                </c:pt>
                <c:pt idx="54459">
                  <c:v>32095</c:v>
                </c:pt>
                <c:pt idx="54460">
                  <c:v>32095</c:v>
                </c:pt>
                <c:pt idx="54461">
                  <c:v>32095</c:v>
                </c:pt>
                <c:pt idx="54462">
                  <c:v>32095</c:v>
                </c:pt>
                <c:pt idx="54463">
                  <c:v>32095</c:v>
                </c:pt>
                <c:pt idx="54464">
                  <c:v>32095</c:v>
                </c:pt>
                <c:pt idx="54465">
                  <c:v>32094</c:v>
                </c:pt>
                <c:pt idx="54466">
                  <c:v>32094</c:v>
                </c:pt>
                <c:pt idx="54467">
                  <c:v>32094</c:v>
                </c:pt>
                <c:pt idx="54468">
                  <c:v>32094</c:v>
                </c:pt>
                <c:pt idx="54469">
                  <c:v>32094</c:v>
                </c:pt>
                <c:pt idx="54470">
                  <c:v>32094</c:v>
                </c:pt>
                <c:pt idx="54471">
                  <c:v>32094</c:v>
                </c:pt>
                <c:pt idx="54472">
                  <c:v>32094</c:v>
                </c:pt>
                <c:pt idx="54473">
                  <c:v>32094</c:v>
                </c:pt>
                <c:pt idx="54474">
                  <c:v>32093</c:v>
                </c:pt>
                <c:pt idx="54475">
                  <c:v>32093</c:v>
                </c:pt>
                <c:pt idx="54476">
                  <c:v>32093</c:v>
                </c:pt>
                <c:pt idx="54477">
                  <c:v>32093</c:v>
                </c:pt>
                <c:pt idx="54478">
                  <c:v>32093</c:v>
                </c:pt>
                <c:pt idx="54479">
                  <c:v>32093</c:v>
                </c:pt>
                <c:pt idx="54480">
                  <c:v>32092</c:v>
                </c:pt>
                <c:pt idx="54481">
                  <c:v>32092</c:v>
                </c:pt>
                <c:pt idx="54482">
                  <c:v>32092</c:v>
                </c:pt>
                <c:pt idx="54483">
                  <c:v>32092</c:v>
                </c:pt>
                <c:pt idx="54484">
                  <c:v>32091</c:v>
                </c:pt>
                <c:pt idx="54485">
                  <c:v>32091</c:v>
                </c:pt>
                <c:pt idx="54486">
                  <c:v>32091</c:v>
                </c:pt>
                <c:pt idx="54487">
                  <c:v>32091</c:v>
                </c:pt>
                <c:pt idx="54488">
                  <c:v>32090</c:v>
                </c:pt>
                <c:pt idx="54489">
                  <c:v>32090</c:v>
                </c:pt>
                <c:pt idx="54490">
                  <c:v>32090</c:v>
                </c:pt>
                <c:pt idx="54491">
                  <c:v>32090</c:v>
                </c:pt>
                <c:pt idx="54492">
                  <c:v>32090</c:v>
                </c:pt>
                <c:pt idx="54493">
                  <c:v>32090</c:v>
                </c:pt>
                <c:pt idx="54494">
                  <c:v>32090</c:v>
                </c:pt>
                <c:pt idx="54495">
                  <c:v>32090</c:v>
                </c:pt>
                <c:pt idx="54496">
                  <c:v>32090</c:v>
                </c:pt>
                <c:pt idx="54497">
                  <c:v>32090</c:v>
                </c:pt>
                <c:pt idx="54498">
                  <c:v>32089</c:v>
                </c:pt>
                <c:pt idx="54499">
                  <c:v>32089</c:v>
                </c:pt>
                <c:pt idx="54500">
                  <c:v>32088</c:v>
                </c:pt>
                <c:pt idx="54501">
                  <c:v>32088</c:v>
                </c:pt>
                <c:pt idx="54502">
                  <c:v>32088</c:v>
                </c:pt>
                <c:pt idx="54503">
                  <c:v>32088</c:v>
                </c:pt>
                <c:pt idx="54504">
                  <c:v>32088</c:v>
                </c:pt>
                <c:pt idx="54505">
                  <c:v>32088</c:v>
                </c:pt>
                <c:pt idx="54506">
                  <c:v>32088</c:v>
                </c:pt>
                <c:pt idx="54507">
                  <c:v>32088</c:v>
                </c:pt>
                <c:pt idx="54508">
                  <c:v>32087</c:v>
                </c:pt>
                <c:pt idx="54509">
                  <c:v>32087</c:v>
                </c:pt>
                <c:pt idx="54510">
                  <c:v>32087</c:v>
                </c:pt>
                <c:pt idx="54511">
                  <c:v>32086</c:v>
                </c:pt>
                <c:pt idx="54512">
                  <c:v>32086</c:v>
                </c:pt>
                <c:pt idx="54513">
                  <c:v>32086</c:v>
                </c:pt>
                <c:pt idx="54514">
                  <c:v>32086</c:v>
                </c:pt>
                <c:pt idx="54515">
                  <c:v>32086</c:v>
                </c:pt>
                <c:pt idx="54516">
                  <c:v>32086</c:v>
                </c:pt>
                <c:pt idx="54517">
                  <c:v>32085</c:v>
                </c:pt>
                <c:pt idx="54518">
                  <c:v>32085</c:v>
                </c:pt>
                <c:pt idx="54519">
                  <c:v>32085</c:v>
                </c:pt>
                <c:pt idx="54520">
                  <c:v>32084</c:v>
                </c:pt>
                <c:pt idx="54521">
                  <c:v>32084</c:v>
                </c:pt>
                <c:pt idx="54522">
                  <c:v>32084</c:v>
                </c:pt>
                <c:pt idx="54523">
                  <c:v>32084</c:v>
                </c:pt>
                <c:pt idx="54524">
                  <c:v>32084</c:v>
                </c:pt>
                <c:pt idx="54525">
                  <c:v>32084</c:v>
                </c:pt>
                <c:pt idx="54526">
                  <c:v>32084</c:v>
                </c:pt>
                <c:pt idx="54527">
                  <c:v>32084</c:v>
                </c:pt>
                <c:pt idx="54528">
                  <c:v>32084</c:v>
                </c:pt>
                <c:pt idx="54529">
                  <c:v>32084</c:v>
                </c:pt>
                <c:pt idx="54530">
                  <c:v>32083</c:v>
                </c:pt>
                <c:pt idx="54531">
                  <c:v>32083</c:v>
                </c:pt>
                <c:pt idx="54532">
                  <c:v>32083</c:v>
                </c:pt>
                <c:pt idx="54533">
                  <c:v>32082</c:v>
                </c:pt>
                <c:pt idx="54534">
                  <c:v>32082</c:v>
                </c:pt>
                <c:pt idx="54535">
                  <c:v>32082</c:v>
                </c:pt>
                <c:pt idx="54536">
                  <c:v>32082</c:v>
                </c:pt>
                <c:pt idx="54537">
                  <c:v>32082</c:v>
                </c:pt>
                <c:pt idx="54538">
                  <c:v>32082</c:v>
                </c:pt>
                <c:pt idx="54539">
                  <c:v>32082</c:v>
                </c:pt>
                <c:pt idx="54540">
                  <c:v>32081</c:v>
                </c:pt>
                <c:pt idx="54541">
                  <c:v>32081</c:v>
                </c:pt>
                <c:pt idx="54542">
                  <c:v>32081</c:v>
                </c:pt>
                <c:pt idx="54543">
                  <c:v>32081</c:v>
                </c:pt>
                <c:pt idx="54544">
                  <c:v>32081</c:v>
                </c:pt>
                <c:pt idx="54545">
                  <c:v>32081</c:v>
                </c:pt>
                <c:pt idx="54546">
                  <c:v>32081</c:v>
                </c:pt>
                <c:pt idx="54547">
                  <c:v>32080</c:v>
                </c:pt>
                <c:pt idx="54548">
                  <c:v>32080</c:v>
                </c:pt>
                <c:pt idx="54549">
                  <c:v>32080</c:v>
                </c:pt>
                <c:pt idx="54550">
                  <c:v>32080</c:v>
                </c:pt>
                <c:pt idx="54551">
                  <c:v>32080</c:v>
                </c:pt>
                <c:pt idx="54552">
                  <c:v>32080</c:v>
                </c:pt>
                <c:pt idx="54553">
                  <c:v>32080</c:v>
                </c:pt>
                <c:pt idx="54554">
                  <c:v>32080</c:v>
                </c:pt>
                <c:pt idx="54555">
                  <c:v>32079</c:v>
                </c:pt>
                <c:pt idx="54556">
                  <c:v>32079</c:v>
                </c:pt>
                <c:pt idx="54557">
                  <c:v>32079</c:v>
                </c:pt>
                <c:pt idx="54558">
                  <c:v>32079</c:v>
                </c:pt>
                <c:pt idx="54559">
                  <c:v>32079</c:v>
                </c:pt>
                <c:pt idx="54560">
                  <c:v>32079</c:v>
                </c:pt>
                <c:pt idx="54561">
                  <c:v>32079</c:v>
                </c:pt>
                <c:pt idx="54562">
                  <c:v>32079</c:v>
                </c:pt>
                <c:pt idx="54563">
                  <c:v>32079</c:v>
                </c:pt>
                <c:pt idx="54564">
                  <c:v>32079</c:v>
                </c:pt>
                <c:pt idx="54565">
                  <c:v>32078</c:v>
                </c:pt>
                <c:pt idx="54566">
                  <c:v>32078</c:v>
                </c:pt>
                <c:pt idx="54567">
                  <c:v>32078</c:v>
                </c:pt>
                <c:pt idx="54568">
                  <c:v>32078</c:v>
                </c:pt>
                <c:pt idx="54569">
                  <c:v>32078</c:v>
                </c:pt>
                <c:pt idx="54570">
                  <c:v>32078</c:v>
                </c:pt>
                <c:pt idx="54571">
                  <c:v>32078</c:v>
                </c:pt>
                <c:pt idx="54572">
                  <c:v>32078</c:v>
                </c:pt>
                <c:pt idx="54573">
                  <c:v>32077</c:v>
                </c:pt>
                <c:pt idx="54574">
                  <c:v>32077</c:v>
                </c:pt>
                <c:pt idx="54575">
                  <c:v>32077</c:v>
                </c:pt>
                <c:pt idx="54576">
                  <c:v>32077</c:v>
                </c:pt>
                <c:pt idx="54577">
                  <c:v>32077</c:v>
                </c:pt>
                <c:pt idx="54578">
                  <c:v>32077</c:v>
                </c:pt>
                <c:pt idx="54579">
                  <c:v>32077</c:v>
                </c:pt>
                <c:pt idx="54580">
                  <c:v>32077</c:v>
                </c:pt>
                <c:pt idx="54581">
                  <c:v>32077</c:v>
                </c:pt>
                <c:pt idx="54582">
                  <c:v>32077</c:v>
                </c:pt>
                <c:pt idx="54583">
                  <c:v>32077</c:v>
                </c:pt>
                <c:pt idx="54584">
                  <c:v>32076</c:v>
                </c:pt>
                <c:pt idx="54585">
                  <c:v>32076</c:v>
                </c:pt>
                <c:pt idx="54586">
                  <c:v>32075</c:v>
                </c:pt>
                <c:pt idx="54587">
                  <c:v>32075</c:v>
                </c:pt>
                <c:pt idx="54588">
                  <c:v>32075</c:v>
                </c:pt>
                <c:pt idx="54589">
                  <c:v>32075</c:v>
                </c:pt>
                <c:pt idx="54590">
                  <c:v>32075</c:v>
                </c:pt>
                <c:pt idx="54591">
                  <c:v>32075</c:v>
                </c:pt>
                <c:pt idx="54592">
                  <c:v>32075</c:v>
                </c:pt>
                <c:pt idx="54593">
                  <c:v>32075</c:v>
                </c:pt>
                <c:pt idx="54594">
                  <c:v>32075</c:v>
                </c:pt>
                <c:pt idx="54595">
                  <c:v>32074</c:v>
                </c:pt>
                <c:pt idx="54596">
                  <c:v>32074</c:v>
                </c:pt>
                <c:pt idx="54597">
                  <c:v>32074</c:v>
                </c:pt>
                <c:pt idx="54598">
                  <c:v>32074</c:v>
                </c:pt>
                <c:pt idx="54599">
                  <c:v>32074</c:v>
                </c:pt>
                <c:pt idx="54600">
                  <c:v>32074</c:v>
                </c:pt>
                <c:pt idx="54601">
                  <c:v>32073</c:v>
                </c:pt>
                <c:pt idx="54602">
                  <c:v>32073</c:v>
                </c:pt>
                <c:pt idx="54603">
                  <c:v>32073</c:v>
                </c:pt>
                <c:pt idx="54604">
                  <c:v>32073</c:v>
                </c:pt>
                <c:pt idx="54605">
                  <c:v>32073</c:v>
                </c:pt>
                <c:pt idx="54606">
                  <c:v>32073</c:v>
                </c:pt>
                <c:pt idx="54607">
                  <c:v>32072</c:v>
                </c:pt>
                <c:pt idx="54608">
                  <c:v>32072</c:v>
                </c:pt>
                <c:pt idx="54609">
                  <c:v>32072</c:v>
                </c:pt>
                <c:pt idx="54610">
                  <c:v>32071</c:v>
                </c:pt>
                <c:pt idx="54611">
                  <c:v>32071</c:v>
                </c:pt>
                <c:pt idx="54612">
                  <c:v>32071</c:v>
                </c:pt>
                <c:pt idx="54613">
                  <c:v>32071</c:v>
                </c:pt>
                <c:pt idx="54614">
                  <c:v>32071</c:v>
                </c:pt>
                <c:pt idx="54615">
                  <c:v>32071</c:v>
                </c:pt>
                <c:pt idx="54616">
                  <c:v>32071</c:v>
                </c:pt>
                <c:pt idx="54617">
                  <c:v>32071</c:v>
                </c:pt>
                <c:pt idx="54618">
                  <c:v>32070</c:v>
                </c:pt>
                <c:pt idx="54619">
                  <c:v>32070</c:v>
                </c:pt>
                <c:pt idx="54620">
                  <c:v>32070</c:v>
                </c:pt>
                <c:pt idx="54621">
                  <c:v>32070</c:v>
                </c:pt>
                <c:pt idx="54622">
                  <c:v>32070</c:v>
                </c:pt>
                <c:pt idx="54623">
                  <c:v>32070</c:v>
                </c:pt>
                <c:pt idx="54624">
                  <c:v>32070</c:v>
                </c:pt>
                <c:pt idx="54625">
                  <c:v>32070</c:v>
                </c:pt>
                <c:pt idx="54626">
                  <c:v>32070</c:v>
                </c:pt>
                <c:pt idx="54627">
                  <c:v>32070</c:v>
                </c:pt>
                <c:pt idx="54628">
                  <c:v>32070</c:v>
                </c:pt>
                <c:pt idx="54629">
                  <c:v>32070</c:v>
                </c:pt>
                <c:pt idx="54630">
                  <c:v>32070</c:v>
                </c:pt>
                <c:pt idx="54631">
                  <c:v>32070</c:v>
                </c:pt>
                <c:pt idx="54632">
                  <c:v>32069</c:v>
                </c:pt>
                <c:pt idx="54633">
                  <c:v>32069</c:v>
                </c:pt>
                <c:pt idx="54634">
                  <c:v>32069</c:v>
                </c:pt>
                <c:pt idx="54635">
                  <c:v>32069</c:v>
                </c:pt>
                <c:pt idx="54636">
                  <c:v>32069</c:v>
                </c:pt>
                <c:pt idx="54637">
                  <c:v>32069</c:v>
                </c:pt>
                <c:pt idx="54638">
                  <c:v>32068</c:v>
                </c:pt>
                <c:pt idx="54639">
                  <c:v>32068</c:v>
                </c:pt>
                <c:pt idx="54640">
                  <c:v>32068</c:v>
                </c:pt>
                <c:pt idx="54641">
                  <c:v>32068</c:v>
                </c:pt>
                <c:pt idx="54642">
                  <c:v>32068</c:v>
                </c:pt>
                <c:pt idx="54643">
                  <c:v>32068</c:v>
                </c:pt>
                <c:pt idx="54644">
                  <c:v>32068</c:v>
                </c:pt>
                <c:pt idx="54645">
                  <c:v>32068</c:v>
                </c:pt>
                <c:pt idx="54646">
                  <c:v>32068</c:v>
                </c:pt>
                <c:pt idx="54647">
                  <c:v>32068</c:v>
                </c:pt>
                <c:pt idx="54648">
                  <c:v>32067</c:v>
                </c:pt>
                <c:pt idx="54649">
                  <c:v>32067</c:v>
                </c:pt>
                <c:pt idx="54650">
                  <c:v>32067</c:v>
                </c:pt>
                <c:pt idx="54651">
                  <c:v>32067</c:v>
                </c:pt>
                <c:pt idx="54652">
                  <c:v>32067</c:v>
                </c:pt>
                <c:pt idx="54653">
                  <c:v>32067</c:v>
                </c:pt>
                <c:pt idx="54654">
                  <c:v>32067</c:v>
                </c:pt>
                <c:pt idx="54655">
                  <c:v>32066</c:v>
                </c:pt>
                <c:pt idx="54656">
                  <c:v>32066</c:v>
                </c:pt>
                <c:pt idx="54657">
                  <c:v>32066</c:v>
                </c:pt>
                <c:pt idx="54658">
                  <c:v>32066</c:v>
                </c:pt>
                <c:pt idx="54659">
                  <c:v>32066</c:v>
                </c:pt>
                <c:pt idx="54660">
                  <c:v>32066</c:v>
                </c:pt>
                <c:pt idx="54661">
                  <c:v>32065</c:v>
                </c:pt>
                <c:pt idx="54662">
                  <c:v>32065</c:v>
                </c:pt>
                <c:pt idx="54663">
                  <c:v>32065</c:v>
                </c:pt>
                <c:pt idx="54664">
                  <c:v>32065</c:v>
                </c:pt>
                <c:pt idx="54665">
                  <c:v>32065</c:v>
                </c:pt>
                <c:pt idx="54666">
                  <c:v>32065</c:v>
                </c:pt>
                <c:pt idx="54667">
                  <c:v>32064</c:v>
                </c:pt>
                <c:pt idx="54668">
                  <c:v>32064</c:v>
                </c:pt>
                <c:pt idx="54669">
                  <c:v>32064</c:v>
                </c:pt>
                <c:pt idx="54670">
                  <c:v>32063</c:v>
                </c:pt>
                <c:pt idx="54671">
                  <c:v>32063</c:v>
                </c:pt>
                <c:pt idx="54672">
                  <c:v>32063</c:v>
                </c:pt>
                <c:pt idx="54673">
                  <c:v>32063</c:v>
                </c:pt>
                <c:pt idx="54674">
                  <c:v>32063</c:v>
                </c:pt>
                <c:pt idx="54675">
                  <c:v>32063</c:v>
                </c:pt>
                <c:pt idx="54676">
                  <c:v>32063</c:v>
                </c:pt>
                <c:pt idx="54677">
                  <c:v>32063</c:v>
                </c:pt>
                <c:pt idx="54678">
                  <c:v>32063</c:v>
                </c:pt>
                <c:pt idx="54679">
                  <c:v>32063</c:v>
                </c:pt>
                <c:pt idx="54680">
                  <c:v>32062</c:v>
                </c:pt>
                <c:pt idx="54681">
                  <c:v>32062</c:v>
                </c:pt>
                <c:pt idx="54682">
                  <c:v>32062</c:v>
                </c:pt>
                <c:pt idx="54683">
                  <c:v>32062</c:v>
                </c:pt>
                <c:pt idx="54684">
                  <c:v>32062</c:v>
                </c:pt>
                <c:pt idx="54685">
                  <c:v>32062</c:v>
                </c:pt>
                <c:pt idx="54686">
                  <c:v>32062</c:v>
                </c:pt>
                <c:pt idx="54687">
                  <c:v>32061</c:v>
                </c:pt>
                <c:pt idx="54688">
                  <c:v>32061</c:v>
                </c:pt>
                <c:pt idx="54689">
                  <c:v>32061</c:v>
                </c:pt>
                <c:pt idx="54690">
                  <c:v>32061</c:v>
                </c:pt>
                <c:pt idx="54691">
                  <c:v>32061</c:v>
                </c:pt>
                <c:pt idx="54692">
                  <c:v>32061</c:v>
                </c:pt>
                <c:pt idx="54693">
                  <c:v>32061</c:v>
                </c:pt>
                <c:pt idx="54694">
                  <c:v>32061</c:v>
                </c:pt>
                <c:pt idx="54695">
                  <c:v>32061</c:v>
                </c:pt>
                <c:pt idx="54696">
                  <c:v>32061</c:v>
                </c:pt>
                <c:pt idx="54697">
                  <c:v>32061</c:v>
                </c:pt>
                <c:pt idx="54698">
                  <c:v>32061</c:v>
                </c:pt>
                <c:pt idx="54699">
                  <c:v>32061</c:v>
                </c:pt>
                <c:pt idx="54700">
                  <c:v>32061</c:v>
                </c:pt>
                <c:pt idx="54701">
                  <c:v>32060</c:v>
                </c:pt>
                <c:pt idx="54702">
                  <c:v>32060</c:v>
                </c:pt>
                <c:pt idx="54703">
                  <c:v>32059</c:v>
                </c:pt>
                <c:pt idx="54704">
                  <c:v>32059</c:v>
                </c:pt>
                <c:pt idx="54705">
                  <c:v>32059</c:v>
                </c:pt>
                <c:pt idx="54706">
                  <c:v>32059</c:v>
                </c:pt>
                <c:pt idx="54707">
                  <c:v>32059</c:v>
                </c:pt>
                <c:pt idx="54708">
                  <c:v>32059</c:v>
                </c:pt>
                <c:pt idx="54709">
                  <c:v>32059</c:v>
                </c:pt>
                <c:pt idx="54710">
                  <c:v>32059</c:v>
                </c:pt>
                <c:pt idx="54711">
                  <c:v>32059</c:v>
                </c:pt>
                <c:pt idx="54712">
                  <c:v>32058</c:v>
                </c:pt>
                <c:pt idx="54713">
                  <c:v>32058</c:v>
                </c:pt>
                <c:pt idx="54714">
                  <c:v>32058</c:v>
                </c:pt>
                <c:pt idx="54715">
                  <c:v>32058</c:v>
                </c:pt>
                <c:pt idx="54716">
                  <c:v>32058</c:v>
                </c:pt>
                <c:pt idx="54717">
                  <c:v>32058</c:v>
                </c:pt>
                <c:pt idx="54718">
                  <c:v>32057</c:v>
                </c:pt>
                <c:pt idx="54719">
                  <c:v>32057</c:v>
                </c:pt>
                <c:pt idx="54720">
                  <c:v>32057</c:v>
                </c:pt>
                <c:pt idx="54721">
                  <c:v>32057</c:v>
                </c:pt>
                <c:pt idx="54722">
                  <c:v>32057</c:v>
                </c:pt>
                <c:pt idx="54723">
                  <c:v>32057</c:v>
                </c:pt>
                <c:pt idx="54724">
                  <c:v>32057</c:v>
                </c:pt>
                <c:pt idx="54725">
                  <c:v>32057</c:v>
                </c:pt>
                <c:pt idx="54726">
                  <c:v>32057</c:v>
                </c:pt>
                <c:pt idx="54727">
                  <c:v>32057</c:v>
                </c:pt>
                <c:pt idx="54728">
                  <c:v>32057</c:v>
                </c:pt>
                <c:pt idx="54729">
                  <c:v>32057</c:v>
                </c:pt>
                <c:pt idx="54730">
                  <c:v>32056</c:v>
                </c:pt>
                <c:pt idx="54731">
                  <c:v>32056</c:v>
                </c:pt>
                <c:pt idx="54732">
                  <c:v>32056</c:v>
                </c:pt>
                <c:pt idx="54733">
                  <c:v>32055</c:v>
                </c:pt>
                <c:pt idx="54734">
                  <c:v>32055</c:v>
                </c:pt>
                <c:pt idx="54735">
                  <c:v>32055</c:v>
                </c:pt>
                <c:pt idx="54736">
                  <c:v>32055</c:v>
                </c:pt>
                <c:pt idx="54737">
                  <c:v>32055</c:v>
                </c:pt>
                <c:pt idx="54738">
                  <c:v>32054</c:v>
                </c:pt>
                <c:pt idx="54739">
                  <c:v>32054</c:v>
                </c:pt>
                <c:pt idx="54740">
                  <c:v>32054</c:v>
                </c:pt>
                <c:pt idx="54741">
                  <c:v>32054</c:v>
                </c:pt>
                <c:pt idx="54742">
                  <c:v>32054</c:v>
                </c:pt>
                <c:pt idx="54743">
                  <c:v>32054</c:v>
                </c:pt>
                <c:pt idx="54744">
                  <c:v>32054</c:v>
                </c:pt>
                <c:pt idx="54745">
                  <c:v>32053</c:v>
                </c:pt>
                <c:pt idx="54746">
                  <c:v>32053</c:v>
                </c:pt>
                <c:pt idx="54747">
                  <c:v>32052</c:v>
                </c:pt>
                <c:pt idx="54748">
                  <c:v>32052</c:v>
                </c:pt>
                <c:pt idx="54749">
                  <c:v>32052</c:v>
                </c:pt>
                <c:pt idx="54750">
                  <c:v>32052</c:v>
                </c:pt>
                <c:pt idx="54751">
                  <c:v>32052</c:v>
                </c:pt>
                <c:pt idx="54752">
                  <c:v>32052</c:v>
                </c:pt>
                <c:pt idx="54753">
                  <c:v>32052</c:v>
                </c:pt>
                <c:pt idx="54754">
                  <c:v>32052</c:v>
                </c:pt>
                <c:pt idx="54755">
                  <c:v>32052</c:v>
                </c:pt>
                <c:pt idx="54756">
                  <c:v>32051</c:v>
                </c:pt>
                <c:pt idx="54757">
                  <c:v>32051</c:v>
                </c:pt>
                <c:pt idx="54758">
                  <c:v>32051</c:v>
                </c:pt>
                <c:pt idx="54759">
                  <c:v>32051</c:v>
                </c:pt>
                <c:pt idx="54760">
                  <c:v>32051</c:v>
                </c:pt>
                <c:pt idx="54761">
                  <c:v>32051</c:v>
                </c:pt>
                <c:pt idx="54762">
                  <c:v>32050</c:v>
                </c:pt>
                <c:pt idx="54763">
                  <c:v>32050</c:v>
                </c:pt>
                <c:pt idx="54764">
                  <c:v>32050</c:v>
                </c:pt>
                <c:pt idx="54765">
                  <c:v>32050</c:v>
                </c:pt>
                <c:pt idx="54766">
                  <c:v>32050</c:v>
                </c:pt>
                <c:pt idx="54767">
                  <c:v>32050</c:v>
                </c:pt>
                <c:pt idx="54768">
                  <c:v>32049</c:v>
                </c:pt>
                <c:pt idx="54769">
                  <c:v>32049</c:v>
                </c:pt>
                <c:pt idx="54770">
                  <c:v>32049</c:v>
                </c:pt>
                <c:pt idx="54771">
                  <c:v>32049</c:v>
                </c:pt>
                <c:pt idx="54772">
                  <c:v>32049</c:v>
                </c:pt>
                <c:pt idx="54773">
                  <c:v>32049</c:v>
                </c:pt>
                <c:pt idx="54774">
                  <c:v>32049</c:v>
                </c:pt>
                <c:pt idx="54775">
                  <c:v>32048</c:v>
                </c:pt>
                <c:pt idx="54776">
                  <c:v>32048</c:v>
                </c:pt>
                <c:pt idx="54777">
                  <c:v>32048</c:v>
                </c:pt>
                <c:pt idx="54778">
                  <c:v>32048</c:v>
                </c:pt>
                <c:pt idx="54779">
                  <c:v>32048</c:v>
                </c:pt>
                <c:pt idx="54780">
                  <c:v>32048</c:v>
                </c:pt>
                <c:pt idx="54781">
                  <c:v>32048</c:v>
                </c:pt>
                <c:pt idx="54782">
                  <c:v>32048</c:v>
                </c:pt>
                <c:pt idx="54783">
                  <c:v>32048</c:v>
                </c:pt>
                <c:pt idx="54784">
                  <c:v>32048</c:v>
                </c:pt>
                <c:pt idx="54785">
                  <c:v>32048</c:v>
                </c:pt>
                <c:pt idx="54786">
                  <c:v>32048</c:v>
                </c:pt>
                <c:pt idx="54787">
                  <c:v>32047</c:v>
                </c:pt>
                <c:pt idx="54788">
                  <c:v>32047</c:v>
                </c:pt>
                <c:pt idx="54789">
                  <c:v>32047</c:v>
                </c:pt>
                <c:pt idx="54790">
                  <c:v>32047</c:v>
                </c:pt>
                <c:pt idx="54791">
                  <c:v>32047</c:v>
                </c:pt>
                <c:pt idx="54792">
                  <c:v>32047</c:v>
                </c:pt>
                <c:pt idx="54793">
                  <c:v>32047</c:v>
                </c:pt>
                <c:pt idx="54794">
                  <c:v>32047</c:v>
                </c:pt>
                <c:pt idx="54795">
                  <c:v>32047</c:v>
                </c:pt>
                <c:pt idx="54796">
                  <c:v>32047</c:v>
                </c:pt>
                <c:pt idx="54797">
                  <c:v>32046</c:v>
                </c:pt>
                <c:pt idx="54798">
                  <c:v>32046</c:v>
                </c:pt>
                <c:pt idx="54799">
                  <c:v>32046</c:v>
                </c:pt>
                <c:pt idx="54800">
                  <c:v>32046</c:v>
                </c:pt>
                <c:pt idx="54801">
                  <c:v>32046</c:v>
                </c:pt>
                <c:pt idx="54802">
                  <c:v>32046</c:v>
                </c:pt>
                <c:pt idx="54803">
                  <c:v>32046</c:v>
                </c:pt>
                <c:pt idx="54804">
                  <c:v>32045</c:v>
                </c:pt>
                <c:pt idx="54805">
                  <c:v>32045</c:v>
                </c:pt>
                <c:pt idx="54806">
                  <c:v>32045</c:v>
                </c:pt>
                <c:pt idx="54807">
                  <c:v>32045</c:v>
                </c:pt>
                <c:pt idx="54808">
                  <c:v>32045</c:v>
                </c:pt>
                <c:pt idx="54809">
                  <c:v>32045</c:v>
                </c:pt>
                <c:pt idx="54810">
                  <c:v>32044</c:v>
                </c:pt>
                <c:pt idx="54811">
                  <c:v>32044</c:v>
                </c:pt>
                <c:pt idx="54812">
                  <c:v>32044</c:v>
                </c:pt>
                <c:pt idx="54813">
                  <c:v>32044</c:v>
                </c:pt>
                <c:pt idx="54814">
                  <c:v>32044</c:v>
                </c:pt>
                <c:pt idx="54815">
                  <c:v>32044</c:v>
                </c:pt>
                <c:pt idx="54816">
                  <c:v>32043</c:v>
                </c:pt>
                <c:pt idx="54817">
                  <c:v>32043</c:v>
                </c:pt>
                <c:pt idx="54818">
                  <c:v>32043</c:v>
                </c:pt>
                <c:pt idx="54819">
                  <c:v>32043</c:v>
                </c:pt>
                <c:pt idx="54820">
                  <c:v>32043</c:v>
                </c:pt>
                <c:pt idx="54821">
                  <c:v>32043</c:v>
                </c:pt>
                <c:pt idx="54822">
                  <c:v>32043</c:v>
                </c:pt>
                <c:pt idx="54823">
                  <c:v>32043</c:v>
                </c:pt>
                <c:pt idx="54824">
                  <c:v>32043</c:v>
                </c:pt>
                <c:pt idx="54825">
                  <c:v>32042</c:v>
                </c:pt>
                <c:pt idx="54826">
                  <c:v>32042</c:v>
                </c:pt>
                <c:pt idx="54827">
                  <c:v>32042</c:v>
                </c:pt>
                <c:pt idx="54828">
                  <c:v>32041</c:v>
                </c:pt>
                <c:pt idx="54829">
                  <c:v>32041</c:v>
                </c:pt>
                <c:pt idx="54830">
                  <c:v>32041</c:v>
                </c:pt>
                <c:pt idx="54831">
                  <c:v>32041</c:v>
                </c:pt>
                <c:pt idx="54832">
                  <c:v>32041</c:v>
                </c:pt>
                <c:pt idx="54833">
                  <c:v>32041</c:v>
                </c:pt>
                <c:pt idx="54834">
                  <c:v>32041</c:v>
                </c:pt>
                <c:pt idx="54835">
                  <c:v>32041</c:v>
                </c:pt>
                <c:pt idx="54836">
                  <c:v>32041</c:v>
                </c:pt>
                <c:pt idx="54837">
                  <c:v>32041</c:v>
                </c:pt>
                <c:pt idx="54838">
                  <c:v>32040</c:v>
                </c:pt>
                <c:pt idx="54839">
                  <c:v>32040</c:v>
                </c:pt>
                <c:pt idx="54840">
                  <c:v>32040</c:v>
                </c:pt>
                <c:pt idx="54841">
                  <c:v>32040</c:v>
                </c:pt>
                <c:pt idx="54842">
                  <c:v>32040</c:v>
                </c:pt>
                <c:pt idx="54843">
                  <c:v>32040</c:v>
                </c:pt>
                <c:pt idx="54844">
                  <c:v>32039</c:v>
                </c:pt>
                <c:pt idx="54845">
                  <c:v>32039</c:v>
                </c:pt>
                <c:pt idx="54846">
                  <c:v>32039</c:v>
                </c:pt>
                <c:pt idx="54847">
                  <c:v>32039</c:v>
                </c:pt>
                <c:pt idx="54848">
                  <c:v>32038</c:v>
                </c:pt>
                <c:pt idx="54849">
                  <c:v>32038</c:v>
                </c:pt>
                <c:pt idx="54850">
                  <c:v>32038</c:v>
                </c:pt>
                <c:pt idx="54851">
                  <c:v>32038</c:v>
                </c:pt>
                <c:pt idx="54852">
                  <c:v>32038</c:v>
                </c:pt>
                <c:pt idx="54853">
                  <c:v>32038</c:v>
                </c:pt>
                <c:pt idx="54854">
                  <c:v>32037</c:v>
                </c:pt>
                <c:pt idx="54855">
                  <c:v>32037</c:v>
                </c:pt>
                <c:pt idx="54856">
                  <c:v>32037</c:v>
                </c:pt>
                <c:pt idx="54857">
                  <c:v>32037</c:v>
                </c:pt>
                <c:pt idx="54858">
                  <c:v>32037</c:v>
                </c:pt>
                <c:pt idx="54859">
                  <c:v>32037</c:v>
                </c:pt>
                <c:pt idx="54860">
                  <c:v>32036</c:v>
                </c:pt>
                <c:pt idx="54861">
                  <c:v>32036</c:v>
                </c:pt>
                <c:pt idx="54862">
                  <c:v>32036</c:v>
                </c:pt>
                <c:pt idx="54863">
                  <c:v>32036</c:v>
                </c:pt>
                <c:pt idx="54864">
                  <c:v>32036</c:v>
                </c:pt>
                <c:pt idx="54865">
                  <c:v>32036</c:v>
                </c:pt>
                <c:pt idx="54866">
                  <c:v>32036</c:v>
                </c:pt>
                <c:pt idx="54867">
                  <c:v>32036</c:v>
                </c:pt>
                <c:pt idx="54868">
                  <c:v>32036</c:v>
                </c:pt>
                <c:pt idx="54869">
                  <c:v>32036</c:v>
                </c:pt>
                <c:pt idx="54870">
                  <c:v>32036</c:v>
                </c:pt>
                <c:pt idx="54871">
                  <c:v>32035</c:v>
                </c:pt>
                <c:pt idx="54872">
                  <c:v>32035</c:v>
                </c:pt>
                <c:pt idx="54873">
                  <c:v>32035</c:v>
                </c:pt>
                <c:pt idx="54874">
                  <c:v>32035</c:v>
                </c:pt>
                <c:pt idx="54875">
                  <c:v>32035</c:v>
                </c:pt>
                <c:pt idx="54876">
                  <c:v>32035</c:v>
                </c:pt>
                <c:pt idx="54877">
                  <c:v>32034</c:v>
                </c:pt>
                <c:pt idx="54878">
                  <c:v>32034</c:v>
                </c:pt>
                <c:pt idx="54879">
                  <c:v>32034</c:v>
                </c:pt>
                <c:pt idx="54880">
                  <c:v>32034</c:v>
                </c:pt>
                <c:pt idx="54881">
                  <c:v>32034</c:v>
                </c:pt>
                <c:pt idx="54882">
                  <c:v>32033</c:v>
                </c:pt>
                <c:pt idx="54883">
                  <c:v>32033</c:v>
                </c:pt>
                <c:pt idx="54884">
                  <c:v>32033</c:v>
                </c:pt>
                <c:pt idx="54885">
                  <c:v>32033</c:v>
                </c:pt>
                <c:pt idx="54886">
                  <c:v>32033</c:v>
                </c:pt>
                <c:pt idx="54887">
                  <c:v>32033</c:v>
                </c:pt>
                <c:pt idx="54888">
                  <c:v>32033</c:v>
                </c:pt>
                <c:pt idx="54889">
                  <c:v>32033</c:v>
                </c:pt>
                <c:pt idx="54890">
                  <c:v>32033</c:v>
                </c:pt>
                <c:pt idx="54891">
                  <c:v>32033</c:v>
                </c:pt>
                <c:pt idx="54892">
                  <c:v>32032</c:v>
                </c:pt>
                <c:pt idx="54893">
                  <c:v>32032</c:v>
                </c:pt>
                <c:pt idx="54894">
                  <c:v>32032</c:v>
                </c:pt>
                <c:pt idx="54895">
                  <c:v>32032</c:v>
                </c:pt>
                <c:pt idx="54896">
                  <c:v>32032</c:v>
                </c:pt>
                <c:pt idx="54897">
                  <c:v>32032</c:v>
                </c:pt>
                <c:pt idx="54898">
                  <c:v>32032</c:v>
                </c:pt>
                <c:pt idx="54899">
                  <c:v>32032</c:v>
                </c:pt>
                <c:pt idx="54900">
                  <c:v>32032</c:v>
                </c:pt>
                <c:pt idx="54901">
                  <c:v>32032</c:v>
                </c:pt>
                <c:pt idx="54902">
                  <c:v>32032</c:v>
                </c:pt>
                <c:pt idx="54903">
                  <c:v>32032</c:v>
                </c:pt>
                <c:pt idx="54904">
                  <c:v>32031</c:v>
                </c:pt>
                <c:pt idx="54905">
                  <c:v>32031</c:v>
                </c:pt>
                <c:pt idx="54906">
                  <c:v>32031</c:v>
                </c:pt>
                <c:pt idx="54907">
                  <c:v>32031</c:v>
                </c:pt>
                <c:pt idx="54908">
                  <c:v>32031</c:v>
                </c:pt>
                <c:pt idx="54909">
                  <c:v>32031</c:v>
                </c:pt>
                <c:pt idx="54910">
                  <c:v>32031</c:v>
                </c:pt>
                <c:pt idx="54911">
                  <c:v>32031</c:v>
                </c:pt>
                <c:pt idx="54912">
                  <c:v>32031</c:v>
                </c:pt>
                <c:pt idx="54913">
                  <c:v>32031</c:v>
                </c:pt>
                <c:pt idx="54914">
                  <c:v>32030</c:v>
                </c:pt>
                <c:pt idx="54915">
                  <c:v>32030</c:v>
                </c:pt>
                <c:pt idx="54916">
                  <c:v>32030</c:v>
                </c:pt>
                <c:pt idx="54917">
                  <c:v>32030</c:v>
                </c:pt>
                <c:pt idx="54918">
                  <c:v>32030</c:v>
                </c:pt>
                <c:pt idx="54919">
                  <c:v>32030</c:v>
                </c:pt>
                <c:pt idx="54920">
                  <c:v>32030</c:v>
                </c:pt>
                <c:pt idx="54921">
                  <c:v>32029</c:v>
                </c:pt>
                <c:pt idx="54922">
                  <c:v>32029</c:v>
                </c:pt>
                <c:pt idx="54923">
                  <c:v>32029</c:v>
                </c:pt>
                <c:pt idx="54924">
                  <c:v>32029</c:v>
                </c:pt>
                <c:pt idx="54925">
                  <c:v>32029</c:v>
                </c:pt>
                <c:pt idx="54926">
                  <c:v>32029</c:v>
                </c:pt>
                <c:pt idx="54927">
                  <c:v>32028</c:v>
                </c:pt>
                <c:pt idx="54928">
                  <c:v>32028</c:v>
                </c:pt>
                <c:pt idx="54929">
                  <c:v>32028</c:v>
                </c:pt>
                <c:pt idx="54930">
                  <c:v>32028</c:v>
                </c:pt>
                <c:pt idx="54931">
                  <c:v>32028</c:v>
                </c:pt>
                <c:pt idx="54932">
                  <c:v>32028</c:v>
                </c:pt>
                <c:pt idx="54933">
                  <c:v>32027</c:v>
                </c:pt>
                <c:pt idx="54934">
                  <c:v>32027</c:v>
                </c:pt>
                <c:pt idx="54935">
                  <c:v>32027</c:v>
                </c:pt>
                <c:pt idx="54936">
                  <c:v>32027</c:v>
                </c:pt>
                <c:pt idx="54937">
                  <c:v>32027</c:v>
                </c:pt>
                <c:pt idx="54938">
                  <c:v>32027</c:v>
                </c:pt>
                <c:pt idx="54939">
                  <c:v>32027</c:v>
                </c:pt>
                <c:pt idx="54940">
                  <c:v>32027</c:v>
                </c:pt>
                <c:pt idx="54941">
                  <c:v>32027</c:v>
                </c:pt>
                <c:pt idx="54942">
                  <c:v>32026</c:v>
                </c:pt>
                <c:pt idx="54943">
                  <c:v>32026</c:v>
                </c:pt>
                <c:pt idx="54944">
                  <c:v>32026</c:v>
                </c:pt>
                <c:pt idx="54945">
                  <c:v>32026</c:v>
                </c:pt>
                <c:pt idx="54946">
                  <c:v>32025</c:v>
                </c:pt>
                <c:pt idx="54947">
                  <c:v>32025</c:v>
                </c:pt>
                <c:pt idx="54948">
                  <c:v>32025</c:v>
                </c:pt>
                <c:pt idx="54949">
                  <c:v>32025</c:v>
                </c:pt>
                <c:pt idx="54950">
                  <c:v>32025</c:v>
                </c:pt>
                <c:pt idx="54951">
                  <c:v>32025</c:v>
                </c:pt>
                <c:pt idx="54952">
                  <c:v>32025</c:v>
                </c:pt>
                <c:pt idx="54953">
                  <c:v>32024</c:v>
                </c:pt>
                <c:pt idx="54954">
                  <c:v>32024</c:v>
                </c:pt>
                <c:pt idx="54955">
                  <c:v>32023</c:v>
                </c:pt>
                <c:pt idx="54956">
                  <c:v>32023</c:v>
                </c:pt>
                <c:pt idx="54957">
                  <c:v>32023</c:v>
                </c:pt>
                <c:pt idx="54958">
                  <c:v>32023</c:v>
                </c:pt>
                <c:pt idx="54959">
                  <c:v>32023</c:v>
                </c:pt>
                <c:pt idx="54960">
                  <c:v>32023</c:v>
                </c:pt>
                <c:pt idx="54961">
                  <c:v>32023</c:v>
                </c:pt>
                <c:pt idx="54962">
                  <c:v>32023</c:v>
                </c:pt>
                <c:pt idx="54963">
                  <c:v>32022</c:v>
                </c:pt>
                <c:pt idx="54964">
                  <c:v>32022</c:v>
                </c:pt>
                <c:pt idx="54965">
                  <c:v>32022</c:v>
                </c:pt>
                <c:pt idx="54966">
                  <c:v>32022</c:v>
                </c:pt>
                <c:pt idx="54967">
                  <c:v>32022</c:v>
                </c:pt>
                <c:pt idx="54968">
                  <c:v>32022</c:v>
                </c:pt>
                <c:pt idx="54969">
                  <c:v>32022</c:v>
                </c:pt>
                <c:pt idx="54970">
                  <c:v>32022</c:v>
                </c:pt>
                <c:pt idx="54971">
                  <c:v>32022</c:v>
                </c:pt>
                <c:pt idx="54972">
                  <c:v>32021</c:v>
                </c:pt>
                <c:pt idx="54973">
                  <c:v>32021</c:v>
                </c:pt>
                <c:pt idx="54974">
                  <c:v>32021</c:v>
                </c:pt>
                <c:pt idx="54975">
                  <c:v>32021</c:v>
                </c:pt>
                <c:pt idx="54976">
                  <c:v>32021</c:v>
                </c:pt>
                <c:pt idx="54977">
                  <c:v>32021</c:v>
                </c:pt>
                <c:pt idx="54978">
                  <c:v>32021</c:v>
                </c:pt>
                <c:pt idx="54979">
                  <c:v>32021</c:v>
                </c:pt>
                <c:pt idx="54980">
                  <c:v>32020</c:v>
                </c:pt>
                <c:pt idx="54981">
                  <c:v>32020</c:v>
                </c:pt>
                <c:pt idx="54982">
                  <c:v>32020</c:v>
                </c:pt>
                <c:pt idx="54983">
                  <c:v>32020</c:v>
                </c:pt>
                <c:pt idx="54984">
                  <c:v>32020</c:v>
                </c:pt>
                <c:pt idx="54985">
                  <c:v>32020</c:v>
                </c:pt>
                <c:pt idx="54986">
                  <c:v>32020</c:v>
                </c:pt>
                <c:pt idx="54987">
                  <c:v>32020</c:v>
                </c:pt>
                <c:pt idx="54988">
                  <c:v>32020</c:v>
                </c:pt>
                <c:pt idx="54989">
                  <c:v>32020</c:v>
                </c:pt>
                <c:pt idx="54990">
                  <c:v>32019</c:v>
                </c:pt>
                <c:pt idx="54991">
                  <c:v>32019</c:v>
                </c:pt>
                <c:pt idx="54992">
                  <c:v>32019</c:v>
                </c:pt>
                <c:pt idx="54993">
                  <c:v>32019</c:v>
                </c:pt>
                <c:pt idx="54994">
                  <c:v>32019</c:v>
                </c:pt>
                <c:pt idx="54995">
                  <c:v>32019</c:v>
                </c:pt>
                <c:pt idx="54996">
                  <c:v>32019</c:v>
                </c:pt>
                <c:pt idx="54997">
                  <c:v>32019</c:v>
                </c:pt>
                <c:pt idx="54998">
                  <c:v>32019</c:v>
                </c:pt>
                <c:pt idx="54999">
                  <c:v>32018</c:v>
                </c:pt>
                <c:pt idx="55000">
                  <c:v>32018</c:v>
                </c:pt>
                <c:pt idx="55001">
                  <c:v>32018</c:v>
                </c:pt>
                <c:pt idx="55002">
                  <c:v>32017</c:v>
                </c:pt>
                <c:pt idx="55003">
                  <c:v>32017</c:v>
                </c:pt>
                <c:pt idx="55004">
                  <c:v>32017</c:v>
                </c:pt>
                <c:pt idx="55005">
                  <c:v>32017</c:v>
                </c:pt>
                <c:pt idx="55006">
                  <c:v>32017</c:v>
                </c:pt>
                <c:pt idx="55007">
                  <c:v>32017</c:v>
                </c:pt>
                <c:pt idx="55008">
                  <c:v>32017</c:v>
                </c:pt>
                <c:pt idx="55009">
                  <c:v>32017</c:v>
                </c:pt>
                <c:pt idx="55010">
                  <c:v>32017</c:v>
                </c:pt>
                <c:pt idx="55011">
                  <c:v>32017</c:v>
                </c:pt>
                <c:pt idx="55012">
                  <c:v>32017</c:v>
                </c:pt>
                <c:pt idx="55013">
                  <c:v>32017</c:v>
                </c:pt>
                <c:pt idx="55014">
                  <c:v>32017</c:v>
                </c:pt>
                <c:pt idx="55015">
                  <c:v>32016</c:v>
                </c:pt>
                <c:pt idx="55016">
                  <c:v>32016</c:v>
                </c:pt>
                <c:pt idx="55017">
                  <c:v>32016</c:v>
                </c:pt>
                <c:pt idx="55018">
                  <c:v>32016</c:v>
                </c:pt>
                <c:pt idx="55019">
                  <c:v>32016</c:v>
                </c:pt>
                <c:pt idx="55020">
                  <c:v>32016</c:v>
                </c:pt>
                <c:pt idx="55021">
                  <c:v>32016</c:v>
                </c:pt>
                <c:pt idx="55022">
                  <c:v>32016</c:v>
                </c:pt>
                <c:pt idx="55023">
                  <c:v>32016</c:v>
                </c:pt>
                <c:pt idx="55024">
                  <c:v>32015</c:v>
                </c:pt>
                <c:pt idx="55025">
                  <c:v>32015</c:v>
                </c:pt>
                <c:pt idx="55026">
                  <c:v>32015</c:v>
                </c:pt>
                <c:pt idx="55027">
                  <c:v>32015</c:v>
                </c:pt>
                <c:pt idx="55028">
                  <c:v>32015</c:v>
                </c:pt>
                <c:pt idx="55029">
                  <c:v>32015</c:v>
                </c:pt>
                <c:pt idx="55030">
                  <c:v>32015</c:v>
                </c:pt>
                <c:pt idx="55031">
                  <c:v>32015</c:v>
                </c:pt>
                <c:pt idx="55032">
                  <c:v>32015</c:v>
                </c:pt>
                <c:pt idx="55033">
                  <c:v>32014</c:v>
                </c:pt>
                <c:pt idx="55034">
                  <c:v>32014</c:v>
                </c:pt>
                <c:pt idx="55035">
                  <c:v>32014</c:v>
                </c:pt>
                <c:pt idx="55036">
                  <c:v>32014</c:v>
                </c:pt>
                <c:pt idx="55037">
                  <c:v>32014</c:v>
                </c:pt>
                <c:pt idx="55038">
                  <c:v>32013</c:v>
                </c:pt>
                <c:pt idx="55039">
                  <c:v>32013</c:v>
                </c:pt>
                <c:pt idx="55040">
                  <c:v>32013</c:v>
                </c:pt>
                <c:pt idx="55041">
                  <c:v>32013</c:v>
                </c:pt>
                <c:pt idx="55042">
                  <c:v>32013</c:v>
                </c:pt>
                <c:pt idx="55043">
                  <c:v>32013</c:v>
                </c:pt>
                <c:pt idx="55044">
                  <c:v>32013</c:v>
                </c:pt>
                <c:pt idx="55045">
                  <c:v>32013</c:v>
                </c:pt>
                <c:pt idx="55046">
                  <c:v>32013</c:v>
                </c:pt>
                <c:pt idx="55047">
                  <c:v>32012</c:v>
                </c:pt>
                <c:pt idx="55048">
                  <c:v>32012</c:v>
                </c:pt>
                <c:pt idx="55049">
                  <c:v>32012</c:v>
                </c:pt>
                <c:pt idx="55050">
                  <c:v>32012</c:v>
                </c:pt>
                <c:pt idx="55051">
                  <c:v>32012</c:v>
                </c:pt>
                <c:pt idx="55052">
                  <c:v>32012</c:v>
                </c:pt>
                <c:pt idx="55053">
                  <c:v>32012</c:v>
                </c:pt>
                <c:pt idx="55054">
                  <c:v>32011</c:v>
                </c:pt>
                <c:pt idx="55055">
                  <c:v>32011</c:v>
                </c:pt>
                <c:pt idx="55056">
                  <c:v>32011</c:v>
                </c:pt>
                <c:pt idx="55057">
                  <c:v>32011</c:v>
                </c:pt>
                <c:pt idx="55058">
                  <c:v>32011</c:v>
                </c:pt>
                <c:pt idx="55059">
                  <c:v>32011</c:v>
                </c:pt>
                <c:pt idx="55060">
                  <c:v>32011</c:v>
                </c:pt>
                <c:pt idx="55061">
                  <c:v>32010</c:v>
                </c:pt>
                <c:pt idx="55062">
                  <c:v>32010</c:v>
                </c:pt>
                <c:pt idx="55063">
                  <c:v>32010</c:v>
                </c:pt>
                <c:pt idx="55064">
                  <c:v>32010</c:v>
                </c:pt>
                <c:pt idx="55065">
                  <c:v>32010</c:v>
                </c:pt>
                <c:pt idx="55066">
                  <c:v>32009</c:v>
                </c:pt>
                <c:pt idx="55067">
                  <c:v>32009</c:v>
                </c:pt>
                <c:pt idx="55068">
                  <c:v>32009</c:v>
                </c:pt>
                <c:pt idx="55069">
                  <c:v>32009</c:v>
                </c:pt>
                <c:pt idx="55070">
                  <c:v>32009</c:v>
                </c:pt>
                <c:pt idx="55071">
                  <c:v>32009</c:v>
                </c:pt>
                <c:pt idx="55072">
                  <c:v>32009</c:v>
                </c:pt>
                <c:pt idx="55073">
                  <c:v>32009</c:v>
                </c:pt>
                <c:pt idx="55074">
                  <c:v>32009</c:v>
                </c:pt>
                <c:pt idx="55075">
                  <c:v>32009</c:v>
                </c:pt>
                <c:pt idx="55076">
                  <c:v>32009</c:v>
                </c:pt>
                <c:pt idx="55077">
                  <c:v>32009</c:v>
                </c:pt>
                <c:pt idx="55078">
                  <c:v>32008</c:v>
                </c:pt>
                <c:pt idx="55079">
                  <c:v>32008</c:v>
                </c:pt>
                <c:pt idx="55080">
                  <c:v>32008</c:v>
                </c:pt>
                <c:pt idx="55081">
                  <c:v>32008</c:v>
                </c:pt>
                <c:pt idx="55082">
                  <c:v>32008</c:v>
                </c:pt>
                <c:pt idx="55083">
                  <c:v>32007</c:v>
                </c:pt>
                <c:pt idx="55084">
                  <c:v>32007</c:v>
                </c:pt>
                <c:pt idx="55085">
                  <c:v>32007</c:v>
                </c:pt>
                <c:pt idx="55086">
                  <c:v>32007</c:v>
                </c:pt>
                <c:pt idx="55087">
                  <c:v>32006</c:v>
                </c:pt>
                <c:pt idx="55088">
                  <c:v>32006</c:v>
                </c:pt>
                <c:pt idx="55089">
                  <c:v>32006</c:v>
                </c:pt>
                <c:pt idx="55090">
                  <c:v>32006</c:v>
                </c:pt>
                <c:pt idx="55091">
                  <c:v>32005</c:v>
                </c:pt>
                <c:pt idx="55092">
                  <c:v>32005</c:v>
                </c:pt>
                <c:pt idx="55093">
                  <c:v>32005</c:v>
                </c:pt>
                <c:pt idx="55094">
                  <c:v>32005</c:v>
                </c:pt>
                <c:pt idx="55095">
                  <c:v>32005</c:v>
                </c:pt>
                <c:pt idx="55096">
                  <c:v>32005</c:v>
                </c:pt>
                <c:pt idx="55097">
                  <c:v>32005</c:v>
                </c:pt>
                <c:pt idx="55098">
                  <c:v>32005</c:v>
                </c:pt>
                <c:pt idx="55099">
                  <c:v>32004</c:v>
                </c:pt>
                <c:pt idx="55100">
                  <c:v>32004</c:v>
                </c:pt>
                <c:pt idx="55101">
                  <c:v>32004</c:v>
                </c:pt>
                <c:pt idx="55102">
                  <c:v>32004</c:v>
                </c:pt>
                <c:pt idx="55103">
                  <c:v>32004</c:v>
                </c:pt>
                <c:pt idx="55104">
                  <c:v>32004</c:v>
                </c:pt>
                <c:pt idx="55105">
                  <c:v>32004</c:v>
                </c:pt>
                <c:pt idx="55106">
                  <c:v>32004</c:v>
                </c:pt>
                <c:pt idx="55107">
                  <c:v>32003</c:v>
                </c:pt>
                <c:pt idx="55108">
                  <c:v>32003</c:v>
                </c:pt>
                <c:pt idx="55109">
                  <c:v>32003</c:v>
                </c:pt>
                <c:pt idx="55110">
                  <c:v>32003</c:v>
                </c:pt>
                <c:pt idx="55111">
                  <c:v>32003</c:v>
                </c:pt>
                <c:pt idx="55112">
                  <c:v>32003</c:v>
                </c:pt>
                <c:pt idx="55113">
                  <c:v>32003</c:v>
                </c:pt>
                <c:pt idx="55114">
                  <c:v>32002</c:v>
                </c:pt>
                <c:pt idx="55115">
                  <c:v>32002</c:v>
                </c:pt>
                <c:pt idx="55116">
                  <c:v>32002</c:v>
                </c:pt>
                <c:pt idx="55117">
                  <c:v>32002</c:v>
                </c:pt>
                <c:pt idx="55118">
                  <c:v>32001</c:v>
                </c:pt>
                <c:pt idx="55119">
                  <c:v>32001</c:v>
                </c:pt>
                <c:pt idx="55120">
                  <c:v>32001</c:v>
                </c:pt>
                <c:pt idx="55121">
                  <c:v>32001</c:v>
                </c:pt>
                <c:pt idx="55122">
                  <c:v>32001</c:v>
                </c:pt>
                <c:pt idx="55123">
                  <c:v>32001</c:v>
                </c:pt>
                <c:pt idx="55124">
                  <c:v>32000</c:v>
                </c:pt>
                <c:pt idx="55125">
                  <c:v>32000</c:v>
                </c:pt>
                <c:pt idx="55126">
                  <c:v>32000</c:v>
                </c:pt>
                <c:pt idx="55127">
                  <c:v>32000</c:v>
                </c:pt>
                <c:pt idx="55128">
                  <c:v>32000</c:v>
                </c:pt>
                <c:pt idx="55129">
                  <c:v>31999</c:v>
                </c:pt>
                <c:pt idx="55130">
                  <c:v>31999</c:v>
                </c:pt>
                <c:pt idx="55131">
                  <c:v>31999</c:v>
                </c:pt>
                <c:pt idx="55132">
                  <c:v>31999</c:v>
                </c:pt>
                <c:pt idx="55133">
                  <c:v>31999</c:v>
                </c:pt>
                <c:pt idx="55134">
                  <c:v>31999</c:v>
                </c:pt>
                <c:pt idx="55135">
                  <c:v>31999</c:v>
                </c:pt>
                <c:pt idx="55136">
                  <c:v>31999</c:v>
                </c:pt>
                <c:pt idx="55137">
                  <c:v>31999</c:v>
                </c:pt>
                <c:pt idx="55138">
                  <c:v>31999</c:v>
                </c:pt>
                <c:pt idx="55139">
                  <c:v>31999</c:v>
                </c:pt>
                <c:pt idx="55140">
                  <c:v>31999</c:v>
                </c:pt>
                <c:pt idx="55141">
                  <c:v>31999</c:v>
                </c:pt>
                <c:pt idx="55142">
                  <c:v>31999</c:v>
                </c:pt>
                <c:pt idx="55143">
                  <c:v>31998</c:v>
                </c:pt>
                <c:pt idx="55144">
                  <c:v>31998</c:v>
                </c:pt>
                <c:pt idx="55145">
                  <c:v>31998</c:v>
                </c:pt>
                <c:pt idx="55146">
                  <c:v>31998</c:v>
                </c:pt>
                <c:pt idx="55147">
                  <c:v>31998</c:v>
                </c:pt>
                <c:pt idx="55148">
                  <c:v>31998</c:v>
                </c:pt>
                <c:pt idx="55149">
                  <c:v>31998</c:v>
                </c:pt>
                <c:pt idx="55150">
                  <c:v>31998</c:v>
                </c:pt>
                <c:pt idx="55151">
                  <c:v>31998</c:v>
                </c:pt>
                <c:pt idx="55152">
                  <c:v>31997</c:v>
                </c:pt>
                <c:pt idx="55153">
                  <c:v>31997</c:v>
                </c:pt>
                <c:pt idx="55154">
                  <c:v>31997</c:v>
                </c:pt>
                <c:pt idx="55155">
                  <c:v>31997</c:v>
                </c:pt>
                <c:pt idx="55156">
                  <c:v>31997</c:v>
                </c:pt>
                <c:pt idx="55157">
                  <c:v>31997</c:v>
                </c:pt>
                <c:pt idx="55158">
                  <c:v>31997</c:v>
                </c:pt>
                <c:pt idx="55159">
                  <c:v>31996</c:v>
                </c:pt>
                <c:pt idx="55160">
                  <c:v>31996</c:v>
                </c:pt>
                <c:pt idx="55161">
                  <c:v>31996</c:v>
                </c:pt>
                <c:pt idx="55162">
                  <c:v>31996</c:v>
                </c:pt>
                <c:pt idx="55163">
                  <c:v>31995</c:v>
                </c:pt>
                <c:pt idx="55164">
                  <c:v>31995</c:v>
                </c:pt>
                <c:pt idx="55165">
                  <c:v>31995</c:v>
                </c:pt>
                <c:pt idx="55166">
                  <c:v>31995</c:v>
                </c:pt>
                <c:pt idx="55167">
                  <c:v>31994</c:v>
                </c:pt>
                <c:pt idx="55168">
                  <c:v>31994</c:v>
                </c:pt>
                <c:pt idx="55169">
                  <c:v>31994</c:v>
                </c:pt>
                <c:pt idx="55170">
                  <c:v>31994</c:v>
                </c:pt>
                <c:pt idx="55171">
                  <c:v>31994</c:v>
                </c:pt>
                <c:pt idx="55172">
                  <c:v>31994</c:v>
                </c:pt>
                <c:pt idx="55173">
                  <c:v>31994</c:v>
                </c:pt>
                <c:pt idx="55174">
                  <c:v>31994</c:v>
                </c:pt>
                <c:pt idx="55175">
                  <c:v>31994</c:v>
                </c:pt>
                <c:pt idx="55176">
                  <c:v>31994</c:v>
                </c:pt>
                <c:pt idx="55177">
                  <c:v>31993</c:v>
                </c:pt>
                <c:pt idx="55178">
                  <c:v>31993</c:v>
                </c:pt>
                <c:pt idx="55179">
                  <c:v>31993</c:v>
                </c:pt>
                <c:pt idx="55180">
                  <c:v>31993</c:v>
                </c:pt>
                <c:pt idx="55181">
                  <c:v>31993</c:v>
                </c:pt>
                <c:pt idx="55182">
                  <c:v>31993</c:v>
                </c:pt>
                <c:pt idx="55183">
                  <c:v>31993</c:v>
                </c:pt>
                <c:pt idx="55184">
                  <c:v>31993</c:v>
                </c:pt>
                <c:pt idx="55185">
                  <c:v>31993</c:v>
                </c:pt>
                <c:pt idx="55186">
                  <c:v>31992</c:v>
                </c:pt>
                <c:pt idx="55187">
                  <c:v>31992</c:v>
                </c:pt>
                <c:pt idx="55188">
                  <c:v>31992</c:v>
                </c:pt>
                <c:pt idx="55189">
                  <c:v>31992</c:v>
                </c:pt>
                <c:pt idx="55190">
                  <c:v>31992</c:v>
                </c:pt>
                <c:pt idx="55191">
                  <c:v>31991</c:v>
                </c:pt>
                <c:pt idx="55192">
                  <c:v>31991</c:v>
                </c:pt>
                <c:pt idx="55193">
                  <c:v>31991</c:v>
                </c:pt>
                <c:pt idx="55194">
                  <c:v>31991</c:v>
                </c:pt>
                <c:pt idx="55195">
                  <c:v>31991</c:v>
                </c:pt>
                <c:pt idx="55196">
                  <c:v>31991</c:v>
                </c:pt>
                <c:pt idx="55197">
                  <c:v>31991</c:v>
                </c:pt>
                <c:pt idx="55198">
                  <c:v>31990</c:v>
                </c:pt>
                <c:pt idx="55199">
                  <c:v>31990</c:v>
                </c:pt>
                <c:pt idx="55200">
                  <c:v>31990</c:v>
                </c:pt>
                <c:pt idx="55201">
                  <c:v>31990</c:v>
                </c:pt>
                <c:pt idx="55202">
                  <c:v>31990</c:v>
                </c:pt>
                <c:pt idx="55203">
                  <c:v>31990</c:v>
                </c:pt>
                <c:pt idx="55204">
                  <c:v>31989</c:v>
                </c:pt>
                <c:pt idx="55205">
                  <c:v>31989</c:v>
                </c:pt>
                <c:pt idx="55206">
                  <c:v>31989</c:v>
                </c:pt>
                <c:pt idx="55207">
                  <c:v>31989</c:v>
                </c:pt>
                <c:pt idx="55208">
                  <c:v>31989</c:v>
                </c:pt>
                <c:pt idx="55209">
                  <c:v>31989</c:v>
                </c:pt>
                <c:pt idx="55210">
                  <c:v>31989</c:v>
                </c:pt>
                <c:pt idx="55211">
                  <c:v>31989</c:v>
                </c:pt>
                <c:pt idx="55212">
                  <c:v>31989</c:v>
                </c:pt>
                <c:pt idx="55213">
                  <c:v>31989</c:v>
                </c:pt>
                <c:pt idx="55214">
                  <c:v>31989</c:v>
                </c:pt>
                <c:pt idx="55215">
                  <c:v>31989</c:v>
                </c:pt>
                <c:pt idx="55216">
                  <c:v>31989</c:v>
                </c:pt>
                <c:pt idx="55217">
                  <c:v>31988</c:v>
                </c:pt>
                <c:pt idx="55218">
                  <c:v>31988</c:v>
                </c:pt>
                <c:pt idx="55219">
                  <c:v>31988</c:v>
                </c:pt>
                <c:pt idx="55220">
                  <c:v>31988</c:v>
                </c:pt>
                <c:pt idx="55221">
                  <c:v>31988</c:v>
                </c:pt>
                <c:pt idx="55222">
                  <c:v>31988</c:v>
                </c:pt>
                <c:pt idx="55223">
                  <c:v>31987</c:v>
                </c:pt>
                <c:pt idx="55224">
                  <c:v>31987</c:v>
                </c:pt>
                <c:pt idx="55225">
                  <c:v>31987</c:v>
                </c:pt>
                <c:pt idx="55226">
                  <c:v>31987</c:v>
                </c:pt>
                <c:pt idx="55227">
                  <c:v>31987</c:v>
                </c:pt>
                <c:pt idx="55228">
                  <c:v>31987</c:v>
                </c:pt>
                <c:pt idx="55229">
                  <c:v>31987</c:v>
                </c:pt>
                <c:pt idx="55230">
                  <c:v>31987</c:v>
                </c:pt>
                <c:pt idx="55231">
                  <c:v>31987</c:v>
                </c:pt>
                <c:pt idx="55232">
                  <c:v>31986</c:v>
                </c:pt>
                <c:pt idx="55233">
                  <c:v>31986</c:v>
                </c:pt>
                <c:pt idx="55234">
                  <c:v>31986</c:v>
                </c:pt>
                <c:pt idx="55235">
                  <c:v>31986</c:v>
                </c:pt>
                <c:pt idx="55236">
                  <c:v>31986</c:v>
                </c:pt>
                <c:pt idx="55237">
                  <c:v>31986</c:v>
                </c:pt>
                <c:pt idx="55238">
                  <c:v>31986</c:v>
                </c:pt>
                <c:pt idx="55239">
                  <c:v>31986</c:v>
                </c:pt>
                <c:pt idx="55240">
                  <c:v>31985</c:v>
                </c:pt>
                <c:pt idx="55241">
                  <c:v>31985</c:v>
                </c:pt>
                <c:pt idx="55242">
                  <c:v>31985</c:v>
                </c:pt>
                <c:pt idx="55243">
                  <c:v>31985</c:v>
                </c:pt>
                <c:pt idx="55244">
                  <c:v>31985</c:v>
                </c:pt>
                <c:pt idx="55245">
                  <c:v>31985</c:v>
                </c:pt>
                <c:pt idx="55246">
                  <c:v>31985</c:v>
                </c:pt>
                <c:pt idx="55247">
                  <c:v>31985</c:v>
                </c:pt>
                <c:pt idx="55248">
                  <c:v>31984</c:v>
                </c:pt>
                <c:pt idx="55249">
                  <c:v>31984</c:v>
                </c:pt>
                <c:pt idx="55250">
                  <c:v>31984</c:v>
                </c:pt>
                <c:pt idx="55251">
                  <c:v>31984</c:v>
                </c:pt>
                <c:pt idx="55252">
                  <c:v>31984</c:v>
                </c:pt>
                <c:pt idx="55253">
                  <c:v>31984</c:v>
                </c:pt>
                <c:pt idx="55254">
                  <c:v>31984</c:v>
                </c:pt>
                <c:pt idx="55255">
                  <c:v>31984</c:v>
                </c:pt>
                <c:pt idx="55256">
                  <c:v>31983</c:v>
                </c:pt>
                <c:pt idx="55257">
                  <c:v>31983</c:v>
                </c:pt>
                <c:pt idx="55258">
                  <c:v>31983</c:v>
                </c:pt>
                <c:pt idx="55259">
                  <c:v>31982</c:v>
                </c:pt>
                <c:pt idx="55260">
                  <c:v>31982</c:v>
                </c:pt>
                <c:pt idx="55261">
                  <c:v>31981</c:v>
                </c:pt>
                <c:pt idx="55262">
                  <c:v>31981</c:v>
                </c:pt>
                <c:pt idx="55263">
                  <c:v>31981</c:v>
                </c:pt>
                <c:pt idx="55264">
                  <c:v>31981</c:v>
                </c:pt>
                <c:pt idx="55265">
                  <c:v>31981</c:v>
                </c:pt>
                <c:pt idx="55266">
                  <c:v>31981</c:v>
                </c:pt>
                <c:pt idx="55267">
                  <c:v>31981</c:v>
                </c:pt>
                <c:pt idx="55268">
                  <c:v>31980</c:v>
                </c:pt>
                <c:pt idx="55269">
                  <c:v>31980</c:v>
                </c:pt>
                <c:pt idx="55270">
                  <c:v>31980</c:v>
                </c:pt>
                <c:pt idx="55271">
                  <c:v>31980</c:v>
                </c:pt>
                <c:pt idx="55272">
                  <c:v>31980</c:v>
                </c:pt>
                <c:pt idx="55273">
                  <c:v>31980</c:v>
                </c:pt>
                <c:pt idx="55274">
                  <c:v>31979</c:v>
                </c:pt>
                <c:pt idx="55275">
                  <c:v>31979</c:v>
                </c:pt>
                <c:pt idx="55276">
                  <c:v>31979</c:v>
                </c:pt>
                <c:pt idx="55277">
                  <c:v>31979</c:v>
                </c:pt>
                <c:pt idx="55278">
                  <c:v>31979</c:v>
                </c:pt>
                <c:pt idx="55279">
                  <c:v>31979</c:v>
                </c:pt>
                <c:pt idx="55280">
                  <c:v>31979</c:v>
                </c:pt>
                <c:pt idx="55281">
                  <c:v>31979</c:v>
                </c:pt>
                <c:pt idx="55282">
                  <c:v>31978</c:v>
                </c:pt>
                <c:pt idx="55283">
                  <c:v>31978</c:v>
                </c:pt>
                <c:pt idx="55284">
                  <c:v>31978</c:v>
                </c:pt>
                <c:pt idx="55285">
                  <c:v>31978</c:v>
                </c:pt>
                <c:pt idx="55286">
                  <c:v>31978</c:v>
                </c:pt>
                <c:pt idx="55287">
                  <c:v>31978</c:v>
                </c:pt>
                <c:pt idx="55288">
                  <c:v>31978</c:v>
                </c:pt>
                <c:pt idx="55289">
                  <c:v>31978</c:v>
                </c:pt>
                <c:pt idx="55290">
                  <c:v>31977</c:v>
                </c:pt>
                <c:pt idx="55291">
                  <c:v>31977</c:v>
                </c:pt>
                <c:pt idx="55292">
                  <c:v>31976</c:v>
                </c:pt>
                <c:pt idx="55293">
                  <c:v>31976</c:v>
                </c:pt>
                <c:pt idx="55294">
                  <c:v>31976</c:v>
                </c:pt>
                <c:pt idx="55295">
                  <c:v>31976</c:v>
                </c:pt>
                <c:pt idx="55296">
                  <c:v>31976</c:v>
                </c:pt>
                <c:pt idx="55297">
                  <c:v>31976</c:v>
                </c:pt>
                <c:pt idx="55298">
                  <c:v>31976</c:v>
                </c:pt>
                <c:pt idx="55299">
                  <c:v>31976</c:v>
                </c:pt>
                <c:pt idx="55300">
                  <c:v>31975</c:v>
                </c:pt>
                <c:pt idx="55301">
                  <c:v>31975</c:v>
                </c:pt>
                <c:pt idx="55302">
                  <c:v>31975</c:v>
                </c:pt>
                <c:pt idx="55303">
                  <c:v>31975</c:v>
                </c:pt>
                <c:pt idx="55304">
                  <c:v>31975</c:v>
                </c:pt>
                <c:pt idx="55305">
                  <c:v>31975</c:v>
                </c:pt>
                <c:pt idx="55306">
                  <c:v>31975</c:v>
                </c:pt>
                <c:pt idx="55307">
                  <c:v>31975</c:v>
                </c:pt>
                <c:pt idx="55308">
                  <c:v>31975</c:v>
                </c:pt>
                <c:pt idx="55309">
                  <c:v>31975</c:v>
                </c:pt>
                <c:pt idx="55310">
                  <c:v>31974</c:v>
                </c:pt>
                <c:pt idx="55311">
                  <c:v>31974</c:v>
                </c:pt>
                <c:pt idx="55312">
                  <c:v>31974</c:v>
                </c:pt>
                <c:pt idx="55313">
                  <c:v>31974</c:v>
                </c:pt>
                <c:pt idx="55314">
                  <c:v>31974</c:v>
                </c:pt>
                <c:pt idx="55315">
                  <c:v>31974</c:v>
                </c:pt>
                <c:pt idx="55316">
                  <c:v>31974</c:v>
                </c:pt>
                <c:pt idx="55317">
                  <c:v>31973</c:v>
                </c:pt>
                <c:pt idx="55318">
                  <c:v>31973</c:v>
                </c:pt>
                <c:pt idx="55319">
                  <c:v>31973</c:v>
                </c:pt>
                <c:pt idx="55320">
                  <c:v>31973</c:v>
                </c:pt>
                <c:pt idx="55321">
                  <c:v>31973</c:v>
                </c:pt>
                <c:pt idx="55322">
                  <c:v>31973</c:v>
                </c:pt>
                <c:pt idx="55323">
                  <c:v>31973</c:v>
                </c:pt>
                <c:pt idx="55324">
                  <c:v>31973</c:v>
                </c:pt>
                <c:pt idx="55325">
                  <c:v>31973</c:v>
                </c:pt>
                <c:pt idx="55326">
                  <c:v>31973</c:v>
                </c:pt>
                <c:pt idx="55327">
                  <c:v>31972</c:v>
                </c:pt>
                <c:pt idx="55328">
                  <c:v>31972</c:v>
                </c:pt>
                <c:pt idx="55329">
                  <c:v>31972</c:v>
                </c:pt>
                <c:pt idx="55330">
                  <c:v>31972</c:v>
                </c:pt>
                <c:pt idx="55331">
                  <c:v>31972</c:v>
                </c:pt>
                <c:pt idx="55332">
                  <c:v>31972</c:v>
                </c:pt>
                <c:pt idx="55333">
                  <c:v>31972</c:v>
                </c:pt>
                <c:pt idx="55334">
                  <c:v>31972</c:v>
                </c:pt>
                <c:pt idx="55335">
                  <c:v>31972</c:v>
                </c:pt>
                <c:pt idx="55336">
                  <c:v>31972</c:v>
                </c:pt>
                <c:pt idx="55337">
                  <c:v>31971</c:v>
                </c:pt>
                <c:pt idx="55338">
                  <c:v>31971</c:v>
                </c:pt>
                <c:pt idx="55339">
                  <c:v>31971</c:v>
                </c:pt>
                <c:pt idx="55340">
                  <c:v>31971</c:v>
                </c:pt>
                <c:pt idx="55341">
                  <c:v>31971</c:v>
                </c:pt>
                <c:pt idx="55342">
                  <c:v>31971</c:v>
                </c:pt>
                <c:pt idx="55343">
                  <c:v>31971</c:v>
                </c:pt>
                <c:pt idx="55344">
                  <c:v>31971</c:v>
                </c:pt>
                <c:pt idx="55345">
                  <c:v>31971</c:v>
                </c:pt>
                <c:pt idx="55346">
                  <c:v>31971</c:v>
                </c:pt>
                <c:pt idx="55347">
                  <c:v>31970</c:v>
                </c:pt>
                <c:pt idx="55348">
                  <c:v>31970</c:v>
                </c:pt>
                <c:pt idx="55349">
                  <c:v>31970</c:v>
                </c:pt>
                <c:pt idx="55350">
                  <c:v>31969</c:v>
                </c:pt>
                <c:pt idx="55351">
                  <c:v>31969</c:v>
                </c:pt>
                <c:pt idx="55352">
                  <c:v>31969</c:v>
                </c:pt>
                <c:pt idx="55353">
                  <c:v>31969</c:v>
                </c:pt>
                <c:pt idx="55354">
                  <c:v>31969</c:v>
                </c:pt>
                <c:pt idx="55355">
                  <c:v>31969</c:v>
                </c:pt>
                <c:pt idx="55356">
                  <c:v>31969</c:v>
                </c:pt>
                <c:pt idx="55357">
                  <c:v>31968</c:v>
                </c:pt>
                <c:pt idx="55358">
                  <c:v>31968</c:v>
                </c:pt>
                <c:pt idx="55359">
                  <c:v>31967</c:v>
                </c:pt>
                <c:pt idx="55360">
                  <c:v>31967</c:v>
                </c:pt>
                <c:pt idx="55361">
                  <c:v>31967</c:v>
                </c:pt>
                <c:pt idx="55362">
                  <c:v>31967</c:v>
                </c:pt>
                <c:pt idx="55363">
                  <c:v>31967</c:v>
                </c:pt>
                <c:pt idx="55364">
                  <c:v>31967</c:v>
                </c:pt>
                <c:pt idx="55365">
                  <c:v>31967</c:v>
                </c:pt>
                <c:pt idx="55366">
                  <c:v>31967</c:v>
                </c:pt>
                <c:pt idx="55367">
                  <c:v>31967</c:v>
                </c:pt>
                <c:pt idx="55368">
                  <c:v>31966</c:v>
                </c:pt>
                <c:pt idx="55369">
                  <c:v>31966</c:v>
                </c:pt>
                <c:pt idx="55370">
                  <c:v>31966</c:v>
                </c:pt>
                <c:pt idx="55371">
                  <c:v>31966</c:v>
                </c:pt>
                <c:pt idx="55372">
                  <c:v>31966</c:v>
                </c:pt>
                <c:pt idx="55373">
                  <c:v>31966</c:v>
                </c:pt>
                <c:pt idx="55374">
                  <c:v>31966</c:v>
                </c:pt>
                <c:pt idx="55375">
                  <c:v>31966</c:v>
                </c:pt>
                <c:pt idx="55376">
                  <c:v>31966</c:v>
                </c:pt>
                <c:pt idx="55377">
                  <c:v>31965</c:v>
                </c:pt>
                <c:pt idx="55378">
                  <c:v>31965</c:v>
                </c:pt>
                <c:pt idx="55379">
                  <c:v>31965</c:v>
                </c:pt>
                <c:pt idx="55380">
                  <c:v>31965</c:v>
                </c:pt>
                <c:pt idx="55381">
                  <c:v>31965</c:v>
                </c:pt>
                <c:pt idx="55382">
                  <c:v>31964</c:v>
                </c:pt>
                <c:pt idx="55383">
                  <c:v>31964</c:v>
                </c:pt>
                <c:pt idx="55384">
                  <c:v>31964</c:v>
                </c:pt>
                <c:pt idx="55385">
                  <c:v>31964</c:v>
                </c:pt>
                <c:pt idx="55386">
                  <c:v>31964</c:v>
                </c:pt>
                <c:pt idx="55387">
                  <c:v>31964</c:v>
                </c:pt>
                <c:pt idx="55388">
                  <c:v>31964</c:v>
                </c:pt>
                <c:pt idx="55389">
                  <c:v>31963</c:v>
                </c:pt>
                <c:pt idx="55390">
                  <c:v>31963</c:v>
                </c:pt>
                <c:pt idx="55391">
                  <c:v>31963</c:v>
                </c:pt>
                <c:pt idx="55392">
                  <c:v>31963</c:v>
                </c:pt>
                <c:pt idx="55393">
                  <c:v>31963</c:v>
                </c:pt>
                <c:pt idx="55394">
                  <c:v>31963</c:v>
                </c:pt>
                <c:pt idx="55395">
                  <c:v>31963</c:v>
                </c:pt>
                <c:pt idx="55396">
                  <c:v>31963</c:v>
                </c:pt>
                <c:pt idx="55397">
                  <c:v>31963</c:v>
                </c:pt>
                <c:pt idx="55398">
                  <c:v>31962</c:v>
                </c:pt>
                <c:pt idx="55399">
                  <c:v>31962</c:v>
                </c:pt>
                <c:pt idx="55400">
                  <c:v>31962</c:v>
                </c:pt>
                <c:pt idx="55401">
                  <c:v>31962</c:v>
                </c:pt>
                <c:pt idx="55402">
                  <c:v>31962</c:v>
                </c:pt>
                <c:pt idx="55403">
                  <c:v>31962</c:v>
                </c:pt>
                <c:pt idx="55404">
                  <c:v>31962</c:v>
                </c:pt>
                <c:pt idx="55405">
                  <c:v>31961</c:v>
                </c:pt>
                <c:pt idx="55406">
                  <c:v>31961</c:v>
                </c:pt>
                <c:pt idx="55407">
                  <c:v>31961</c:v>
                </c:pt>
                <c:pt idx="55408">
                  <c:v>31961</c:v>
                </c:pt>
                <c:pt idx="55409">
                  <c:v>31961</c:v>
                </c:pt>
                <c:pt idx="55410">
                  <c:v>31960</c:v>
                </c:pt>
                <c:pt idx="55411">
                  <c:v>31960</c:v>
                </c:pt>
                <c:pt idx="55412">
                  <c:v>31960</c:v>
                </c:pt>
                <c:pt idx="55413">
                  <c:v>31960</c:v>
                </c:pt>
                <c:pt idx="55414">
                  <c:v>31960</c:v>
                </c:pt>
                <c:pt idx="55415">
                  <c:v>31960</c:v>
                </c:pt>
                <c:pt idx="55416">
                  <c:v>31960</c:v>
                </c:pt>
                <c:pt idx="55417">
                  <c:v>31960</c:v>
                </c:pt>
                <c:pt idx="55418">
                  <c:v>31960</c:v>
                </c:pt>
                <c:pt idx="55419">
                  <c:v>31959</c:v>
                </c:pt>
                <c:pt idx="55420">
                  <c:v>31959</c:v>
                </c:pt>
                <c:pt idx="55421">
                  <c:v>31959</c:v>
                </c:pt>
                <c:pt idx="55422">
                  <c:v>31959</c:v>
                </c:pt>
                <c:pt idx="55423">
                  <c:v>31959</c:v>
                </c:pt>
                <c:pt idx="55424">
                  <c:v>31959</c:v>
                </c:pt>
                <c:pt idx="55425">
                  <c:v>31959</c:v>
                </c:pt>
                <c:pt idx="55426">
                  <c:v>31958</c:v>
                </c:pt>
                <c:pt idx="55427">
                  <c:v>31958</c:v>
                </c:pt>
                <c:pt idx="55428">
                  <c:v>31958</c:v>
                </c:pt>
                <c:pt idx="55429">
                  <c:v>31958</c:v>
                </c:pt>
                <c:pt idx="55430">
                  <c:v>31958</c:v>
                </c:pt>
                <c:pt idx="55431">
                  <c:v>31958</c:v>
                </c:pt>
                <c:pt idx="55432">
                  <c:v>31958</c:v>
                </c:pt>
                <c:pt idx="55433">
                  <c:v>31958</c:v>
                </c:pt>
                <c:pt idx="55434">
                  <c:v>31957</c:v>
                </c:pt>
                <c:pt idx="55435">
                  <c:v>31957</c:v>
                </c:pt>
                <c:pt idx="55436">
                  <c:v>31957</c:v>
                </c:pt>
                <c:pt idx="55437">
                  <c:v>31956</c:v>
                </c:pt>
                <c:pt idx="55438">
                  <c:v>31956</c:v>
                </c:pt>
                <c:pt idx="55439">
                  <c:v>31956</c:v>
                </c:pt>
                <c:pt idx="55440">
                  <c:v>31956</c:v>
                </c:pt>
                <c:pt idx="55441">
                  <c:v>31956</c:v>
                </c:pt>
                <c:pt idx="55442">
                  <c:v>31956</c:v>
                </c:pt>
                <c:pt idx="55443">
                  <c:v>31956</c:v>
                </c:pt>
                <c:pt idx="55444">
                  <c:v>31955</c:v>
                </c:pt>
                <c:pt idx="55445">
                  <c:v>31955</c:v>
                </c:pt>
                <c:pt idx="55446">
                  <c:v>31955</c:v>
                </c:pt>
                <c:pt idx="55447">
                  <c:v>31955</c:v>
                </c:pt>
                <c:pt idx="55448">
                  <c:v>31955</c:v>
                </c:pt>
                <c:pt idx="55449">
                  <c:v>31955</c:v>
                </c:pt>
                <c:pt idx="55450">
                  <c:v>31954</c:v>
                </c:pt>
                <c:pt idx="55451">
                  <c:v>31954</c:v>
                </c:pt>
                <c:pt idx="55452">
                  <c:v>31954</c:v>
                </c:pt>
                <c:pt idx="55453">
                  <c:v>31954</c:v>
                </c:pt>
                <c:pt idx="55454">
                  <c:v>31954</c:v>
                </c:pt>
                <c:pt idx="55455">
                  <c:v>31954</c:v>
                </c:pt>
                <c:pt idx="55456">
                  <c:v>31954</c:v>
                </c:pt>
                <c:pt idx="55457">
                  <c:v>31954</c:v>
                </c:pt>
                <c:pt idx="55458">
                  <c:v>31953</c:v>
                </c:pt>
                <c:pt idx="55459">
                  <c:v>31953</c:v>
                </c:pt>
                <c:pt idx="55460">
                  <c:v>31953</c:v>
                </c:pt>
                <c:pt idx="55461">
                  <c:v>31953</c:v>
                </c:pt>
                <c:pt idx="55462">
                  <c:v>31953</c:v>
                </c:pt>
                <c:pt idx="55463">
                  <c:v>31953</c:v>
                </c:pt>
                <c:pt idx="55464">
                  <c:v>31953</c:v>
                </c:pt>
                <c:pt idx="55465">
                  <c:v>31953</c:v>
                </c:pt>
                <c:pt idx="55466">
                  <c:v>31953</c:v>
                </c:pt>
                <c:pt idx="55467">
                  <c:v>31952</c:v>
                </c:pt>
                <c:pt idx="55468">
                  <c:v>31952</c:v>
                </c:pt>
                <c:pt idx="55469">
                  <c:v>31952</c:v>
                </c:pt>
                <c:pt idx="55470">
                  <c:v>31952</c:v>
                </c:pt>
                <c:pt idx="55471">
                  <c:v>31952</c:v>
                </c:pt>
                <c:pt idx="55472">
                  <c:v>31951</c:v>
                </c:pt>
                <c:pt idx="55473">
                  <c:v>31951</c:v>
                </c:pt>
                <c:pt idx="55474">
                  <c:v>31951</c:v>
                </c:pt>
                <c:pt idx="55475">
                  <c:v>31951</c:v>
                </c:pt>
                <c:pt idx="55476">
                  <c:v>31951</c:v>
                </c:pt>
                <c:pt idx="55477">
                  <c:v>31951</c:v>
                </c:pt>
                <c:pt idx="55478">
                  <c:v>31951</c:v>
                </c:pt>
                <c:pt idx="55479">
                  <c:v>31950</c:v>
                </c:pt>
                <c:pt idx="55480">
                  <c:v>31950</c:v>
                </c:pt>
                <c:pt idx="55481">
                  <c:v>31950</c:v>
                </c:pt>
                <c:pt idx="55482">
                  <c:v>31950</c:v>
                </c:pt>
                <c:pt idx="55483">
                  <c:v>31949</c:v>
                </c:pt>
                <c:pt idx="55484">
                  <c:v>31949</c:v>
                </c:pt>
                <c:pt idx="55485">
                  <c:v>31949</c:v>
                </c:pt>
                <c:pt idx="55486">
                  <c:v>31949</c:v>
                </c:pt>
                <c:pt idx="55487">
                  <c:v>31949</c:v>
                </c:pt>
                <c:pt idx="55488">
                  <c:v>31949</c:v>
                </c:pt>
                <c:pt idx="55489">
                  <c:v>31949</c:v>
                </c:pt>
                <c:pt idx="55490">
                  <c:v>31949</c:v>
                </c:pt>
                <c:pt idx="55491">
                  <c:v>31949</c:v>
                </c:pt>
                <c:pt idx="55492">
                  <c:v>31948</c:v>
                </c:pt>
                <c:pt idx="55493">
                  <c:v>31948</c:v>
                </c:pt>
                <c:pt idx="55494">
                  <c:v>31948</c:v>
                </c:pt>
                <c:pt idx="55495">
                  <c:v>31948</c:v>
                </c:pt>
                <c:pt idx="55496">
                  <c:v>31948</c:v>
                </c:pt>
                <c:pt idx="55497">
                  <c:v>31947</c:v>
                </c:pt>
                <c:pt idx="55498">
                  <c:v>31947</c:v>
                </c:pt>
                <c:pt idx="55499">
                  <c:v>31947</c:v>
                </c:pt>
                <c:pt idx="55500">
                  <c:v>31947</c:v>
                </c:pt>
                <c:pt idx="55501">
                  <c:v>31947</c:v>
                </c:pt>
                <c:pt idx="55502">
                  <c:v>31947</c:v>
                </c:pt>
                <c:pt idx="55503">
                  <c:v>31947</c:v>
                </c:pt>
                <c:pt idx="55504">
                  <c:v>31947</c:v>
                </c:pt>
                <c:pt idx="55505">
                  <c:v>31947</c:v>
                </c:pt>
                <c:pt idx="55506">
                  <c:v>31946</c:v>
                </c:pt>
                <c:pt idx="55507">
                  <c:v>31946</c:v>
                </c:pt>
                <c:pt idx="55508">
                  <c:v>31946</c:v>
                </c:pt>
                <c:pt idx="55509">
                  <c:v>31946</c:v>
                </c:pt>
                <c:pt idx="55510">
                  <c:v>31946</c:v>
                </c:pt>
                <c:pt idx="55511">
                  <c:v>31946</c:v>
                </c:pt>
                <c:pt idx="55512">
                  <c:v>31946</c:v>
                </c:pt>
                <c:pt idx="55513">
                  <c:v>31946</c:v>
                </c:pt>
                <c:pt idx="55514">
                  <c:v>31945</c:v>
                </c:pt>
                <c:pt idx="55515">
                  <c:v>31945</c:v>
                </c:pt>
                <c:pt idx="55516">
                  <c:v>31945</c:v>
                </c:pt>
                <c:pt idx="55517">
                  <c:v>31945</c:v>
                </c:pt>
                <c:pt idx="55518">
                  <c:v>31945</c:v>
                </c:pt>
                <c:pt idx="55519">
                  <c:v>31945</c:v>
                </c:pt>
                <c:pt idx="55520">
                  <c:v>31944</c:v>
                </c:pt>
                <c:pt idx="55521">
                  <c:v>31944</c:v>
                </c:pt>
                <c:pt idx="55522">
                  <c:v>31944</c:v>
                </c:pt>
                <c:pt idx="55523">
                  <c:v>31944</c:v>
                </c:pt>
                <c:pt idx="55524">
                  <c:v>31944</c:v>
                </c:pt>
                <c:pt idx="55525">
                  <c:v>31943</c:v>
                </c:pt>
                <c:pt idx="55526">
                  <c:v>31943</c:v>
                </c:pt>
                <c:pt idx="55527">
                  <c:v>31943</c:v>
                </c:pt>
                <c:pt idx="55528">
                  <c:v>31943</c:v>
                </c:pt>
                <c:pt idx="55529">
                  <c:v>31943</c:v>
                </c:pt>
                <c:pt idx="55530">
                  <c:v>31943</c:v>
                </c:pt>
                <c:pt idx="55531">
                  <c:v>31942</c:v>
                </c:pt>
                <c:pt idx="55532">
                  <c:v>31942</c:v>
                </c:pt>
                <c:pt idx="55533">
                  <c:v>31942</c:v>
                </c:pt>
                <c:pt idx="55534">
                  <c:v>31942</c:v>
                </c:pt>
                <c:pt idx="55535">
                  <c:v>31942</c:v>
                </c:pt>
                <c:pt idx="55536">
                  <c:v>31942</c:v>
                </c:pt>
                <c:pt idx="55537">
                  <c:v>31942</c:v>
                </c:pt>
                <c:pt idx="55538">
                  <c:v>31942</c:v>
                </c:pt>
                <c:pt idx="55539">
                  <c:v>31942</c:v>
                </c:pt>
                <c:pt idx="55540">
                  <c:v>31941</c:v>
                </c:pt>
                <c:pt idx="55541">
                  <c:v>31941</c:v>
                </c:pt>
                <c:pt idx="55542">
                  <c:v>31941</c:v>
                </c:pt>
                <c:pt idx="55543">
                  <c:v>31941</c:v>
                </c:pt>
                <c:pt idx="55544">
                  <c:v>31941</c:v>
                </c:pt>
                <c:pt idx="55545">
                  <c:v>31941</c:v>
                </c:pt>
                <c:pt idx="55546">
                  <c:v>31941</c:v>
                </c:pt>
                <c:pt idx="55547">
                  <c:v>31940</c:v>
                </c:pt>
                <c:pt idx="55548">
                  <c:v>31940</c:v>
                </c:pt>
                <c:pt idx="55549">
                  <c:v>31940</c:v>
                </c:pt>
                <c:pt idx="55550">
                  <c:v>31940</c:v>
                </c:pt>
                <c:pt idx="55551">
                  <c:v>31940</c:v>
                </c:pt>
                <c:pt idx="55552">
                  <c:v>31940</c:v>
                </c:pt>
                <c:pt idx="55553">
                  <c:v>31939</c:v>
                </c:pt>
                <c:pt idx="55554">
                  <c:v>31939</c:v>
                </c:pt>
                <c:pt idx="55555">
                  <c:v>31939</c:v>
                </c:pt>
                <c:pt idx="55556">
                  <c:v>31939</c:v>
                </c:pt>
                <c:pt idx="55557">
                  <c:v>31939</c:v>
                </c:pt>
                <c:pt idx="55558">
                  <c:v>31939</c:v>
                </c:pt>
                <c:pt idx="55559">
                  <c:v>31939</c:v>
                </c:pt>
                <c:pt idx="55560">
                  <c:v>31939</c:v>
                </c:pt>
                <c:pt idx="55561">
                  <c:v>31939</c:v>
                </c:pt>
                <c:pt idx="55562">
                  <c:v>31939</c:v>
                </c:pt>
                <c:pt idx="55563">
                  <c:v>31939</c:v>
                </c:pt>
                <c:pt idx="55564">
                  <c:v>31938</c:v>
                </c:pt>
                <c:pt idx="55565">
                  <c:v>31938</c:v>
                </c:pt>
                <c:pt idx="55566">
                  <c:v>31938</c:v>
                </c:pt>
                <c:pt idx="55567">
                  <c:v>31938</c:v>
                </c:pt>
                <c:pt idx="55568">
                  <c:v>31938</c:v>
                </c:pt>
                <c:pt idx="55569">
                  <c:v>31938</c:v>
                </c:pt>
                <c:pt idx="55570">
                  <c:v>31938</c:v>
                </c:pt>
                <c:pt idx="55571">
                  <c:v>31938</c:v>
                </c:pt>
                <c:pt idx="55572">
                  <c:v>31938</c:v>
                </c:pt>
                <c:pt idx="55573">
                  <c:v>31938</c:v>
                </c:pt>
                <c:pt idx="55574">
                  <c:v>31937</c:v>
                </c:pt>
                <c:pt idx="55575">
                  <c:v>31937</c:v>
                </c:pt>
                <c:pt idx="55576">
                  <c:v>31937</c:v>
                </c:pt>
                <c:pt idx="55577">
                  <c:v>31937</c:v>
                </c:pt>
                <c:pt idx="55578">
                  <c:v>31937</c:v>
                </c:pt>
                <c:pt idx="55579">
                  <c:v>31937</c:v>
                </c:pt>
                <c:pt idx="55580">
                  <c:v>31937</c:v>
                </c:pt>
                <c:pt idx="55581">
                  <c:v>31937</c:v>
                </c:pt>
                <c:pt idx="55582">
                  <c:v>31937</c:v>
                </c:pt>
                <c:pt idx="55583">
                  <c:v>31936</c:v>
                </c:pt>
                <c:pt idx="55584">
                  <c:v>31936</c:v>
                </c:pt>
                <c:pt idx="55585">
                  <c:v>31936</c:v>
                </c:pt>
                <c:pt idx="55586">
                  <c:v>31936</c:v>
                </c:pt>
                <c:pt idx="55587">
                  <c:v>31936</c:v>
                </c:pt>
                <c:pt idx="55588">
                  <c:v>31936</c:v>
                </c:pt>
                <c:pt idx="55589">
                  <c:v>31936</c:v>
                </c:pt>
                <c:pt idx="55590">
                  <c:v>31936</c:v>
                </c:pt>
                <c:pt idx="55591">
                  <c:v>31936</c:v>
                </c:pt>
                <c:pt idx="55592">
                  <c:v>31935</c:v>
                </c:pt>
                <c:pt idx="55593">
                  <c:v>31935</c:v>
                </c:pt>
                <c:pt idx="55594">
                  <c:v>31935</c:v>
                </c:pt>
                <c:pt idx="55595">
                  <c:v>31935</c:v>
                </c:pt>
                <c:pt idx="55596">
                  <c:v>31935</c:v>
                </c:pt>
                <c:pt idx="55597">
                  <c:v>31935</c:v>
                </c:pt>
                <c:pt idx="55598">
                  <c:v>31935</c:v>
                </c:pt>
                <c:pt idx="55599">
                  <c:v>31935</c:v>
                </c:pt>
                <c:pt idx="55600">
                  <c:v>31935</c:v>
                </c:pt>
                <c:pt idx="55601">
                  <c:v>31935</c:v>
                </c:pt>
                <c:pt idx="55602">
                  <c:v>31935</c:v>
                </c:pt>
                <c:pt idx="55603">
                  <c:v>31935</c:v>
                </c:pt>
                <c:pt idx="55604">
                  <c:v>31934</c:v>
                </c:pt>
                <c:pt idx="55605">
                  <c:v>31934</c:v>
                </c:pt>
                <c:pt idx="55606">
                  <c:v>31934</c:v>
                </c:pt>
                <c:pt idx="55607">
                  <c:v>31934</c:v>
                </c:pt>
                <c:pt idx="55608">
                  <c:v>31933</c:v>
                </c:pt>
                <c:pt idx="55609">
                  <c:v>31933</c:v>
                </c:pt>
                <c:pt idx="55610">
                  <c:v>31933</c:v>
                </c:pt>
                <c:pt idx="55611">
                  <c:v>31933</c:v>
                </c:pt>
                <c:pt idx="55612">
                  <c:v>31933</c:v>
                </c:pt>
                <c:pt idx="55613">
                  <c:v>31933</c:v>
                </c:pt>
                <c:pt idx="55614">
                  <c:v>31932</c:v>
                </c:pt>
                <c:pt idx="55615">
                  <c:v>31932</c:v>
                </c:pt>
                <c:pt idx="55616">
                  <c:v>31932</c:v>
                </c:pt>
                <c:pt idx="55617">
                  <c:v>31932</c:v>
                </c:pt>
                <c:pt idx="55618">
                  <c:v>31932</c:v>
                </c:pt>
                <c:pt idx="55619">
                  <c:v>31931</c:v>
                </c:pt>
                <c:pt idx="55620">
                  <c:v>31931</c:v>
                </c:pt>
                <c:pt idx="55621">
                  <c:v>31931</c:v>
                </c:pt>
                <c:pt idx="55622">
                  <c:v>31931</c:v>
                </c:pt>
                <c:pt idx="55623">
                  <c:v>31931</c:v>
                </c:pt>
                <c:pt idx="55624">
                  <c:v>31931</c:v>
                </c:pt>
                <c:pt idx="55625">
                  <c:v>31931</c:v>
                </c:pt>
                <c:pt idx="55626">
                  <c:v>31931</c:v>
                </c:pt>
                <c:pt idx="55627">
                  <c:v>31930</c:v>
                </c:pt>
                <c:pt idx="55628">
                  <c:v>31930</c:v>
                </c:pt>
                <c:pt idx="55629">
                  <c:v>31930</c:v>
                </c:pt>
                <c:pt idx="55630">
                  <c:v>31930</c:v>
                </c:pt>
                <c:pt idx="55631">
                  <c:v>31930</c:v>
                </c:pt>
                <c:pt idx="55632">
                  <c:v>31930</c:v>
                </c:pt>
                <c:pt idx="55633">
                  <c:v>31930</c:v>
                </c:pt>
                <c:pt idx="55634">
                  <c:v>31929</c:v>
                </c:pt>
                <c:pt idx="55635">
                  <c:v>31929</c:v>
                </c:pt>
                <c:pt idx="55636">
                  <c:v>31929</c:v>
                </c:pt>
                <c:pt idx="55637">
                  <c:v>31929</c:v>
                </c:pt>
                <c:pt idx="55638">
                  <c:v>31928</c:v>
                </c:pt>
                <c:pt idx="55639">
                  <c:v>31928</c:v>
                </c:pt>
                <c:pt idx="55640">
                  <c:v>31928</c:v>
                </c:pt>
                <c:pt idx="55641">
                  <c:v>31928</c:v>
                </c:pt>
                <c:pt idx="55642">
                  <c:v>31928</c:v>
                </c:pt>
                <c:pt idx="55643">
                  <c:v>31928</c:v>
                </c:pt>
                <c:pt idx="55644">
                  <c:v>31928</c:v>
                </c:pt>
                <c:pt idx="55645">
                  <c:v>31928</c:v>
                </c:pt>
                <c:pt idx="55646">
                  <c:v>31928</c:v>
                </c:pt>
                <c:pt idx="55647">
                  <c:v>31927</c:v>
                </c:pt>
                <c:pt idx="55648">
                  <c:v>31927</c:v>
                </c:pt>
                <c:pt idx="55649">
                  <c:v>31927</c:v>
                </c:pt>
                <c:pt idx="55650">
                  <c:v>31927</c:v>
                </c:pt>
                <c:pt idx="55651">
                  <c:v>31926</c:v>
                </c:pt>
                <c:pt idx="55652">
                  <c:v>31926</c:v>
                </c:pt>
                <c:pt idx="55653">
                  <c:v>31926</c:v>
                </c:pt>
                <c:pt idx="55654">
                  <c:v>31926</c:v>
                </c:pt>
                <c:pt idx="55655">
                  <c:v>31925</c:v>
                </c:pt>
                <c:pt idx="55656">
                  <c:v>31925</c:v>
                </c:pt>
                <c:pt idx="55657">
                  <c:v>31925</c:v>
                </c:pt>
                <c:pt idx="55658">
                  <c:v>31925</c:v>
                </c:pt>
                <c:pt idx="55659">
                  <c:v>31925</c:v>
                </c:pt>
                <c:pt idx="55660">
                  <c:v>31925</c:v>
                </c:pt>
                <c:pt idx="55661">
                  <c:v>31925</c:v>
                </c:pt>
                <c:pt idx="55662">
                  <c:v>31925</c:v>
                </c:pt>
                <c:pt idx="55663">
                  <c:v>31925</c:v>
                </c:pt>
                <c:pt idx="55664">
                  <c:v>31925</c:v>
                </c:pt>
                <c:pt idx="55665">
                  <c:v>31925</c:v>
                </c:pt>
                <c:pt idx="55666">
                  <c:v>31924</c:v>
                </c:pt>
                <c:pt idx="55667">
                  <c:v>31924</c:v>
                </c:pt>
                <c:pt idx="55668">
                  <c:v>31924</c:v>
                </c:pt>
                <c:pt idx="55669">
                  <c:v>31924</c:v>
                </c:pt>
                <c:pt idx="55670">
                  <c:v>31924</c:v>
                </c:pt>
                <c:pt idx="55671">
                  <c:v>31924</c:v>
                </c:pt>
                <c:pt idx="55672">
                  <c:v>31924</c:v>
                </c:pt>
                <c:pt idx="55673">
                  <c:v>31924</c:v>
                </c:pt>
                <c:pt idx="55674">
                  <c:v>31923</c:v>
                </c:pt>
                <c:pt idx="55675">
                  <c:v>31923</c:v>
                </c:pt>
                <c:pt idx="55676">
                  <c:v>31923</c:v>
                </c:pt>
                <c:pt idx="55677">
                  <c:v>31923</c:v>
                </c:pt>
                <c:pt idx="55678">
                  <c:v>31923</c:v>
                </c:pt>
                <c:pt idx="55679">
                  <c:v>31923</c:v>
                </c:pt>
                <c:pt idx="55680">
                  <c:v>31923</c:v>
                </c:pt>
                <c:pt idx="55681">
                  <c:v>31923</c:v>
                </c:pt>
                <c:pt idx="55682">
                  <c:v>31923</c:v>
                </c:pt>
                <c:pt idx="55683">
                  <c:v>31923</c:v>
                </c:pt>
                <c:pt idx="55684">
                  <c:v>31923</c:v>
                </c:pt>
                <c:pt idx="55685">
                  <c:v>31923</c:v>
                </c:pt>
                <c:pt idx="55686">
                  <c:v>31922</c:v>
                </c:pt>
                <c:pt idx="55687">
                  <c:v>31922</c:v>
                </c:pt>
                <c:pt idx="55688">
                  <c:v>31922</c:v>
                </c:pt>
                <c:pt idx="55689">
                  <c:v>31922</c:v>
                </c:pt>
                <c:pt idx="55690">
                  <c:v>31922</c:v>
                </c:pt>
                <c:pt idx="55691">
                  <c:v>31922</c:v>
                </c:pt>
                <c:pt idx="55692">
                  <c:v>31921</c:v>
                </c:pt>
                <c:pt idx="55693">
                  <c:v>31921</c:v>
                </c:pt>
                <c:pt idx="55694">
                  <c:v>31921</c:v>
                </c:pt>
                <c:pt idx="55695">
                  <c:v>31920</c:v>
                </c:pt>
                <c:pt idx="55696">
                  <c:v>31920</c:v>
                </c:pt>
                <c:pt idx="55697">
                  <c:v>31920</c:v>
                </c:pt>
                <c:pt idx="55698">
                  <c:v>31920</c:v>
                </c:pt>
                <c:pt idx="55699">
                  <c:v>31920</c:v>
                </c:pt>
                <c:pt idx="55700">
                  <c:v>31920</c:v>
                </c:pt>
                <c:pt idx="55701">
                  <c:v>31920</c:v>
                </c:pt>
                <c:pt idx="55702">
                  <c:v>31920</c:v>
                </c:pt>
                <c:pt idx="55703">
                  <c:v>31919</c:v>
                </c:pt>
                <c:pt idx="55704">
                  <c:v>31919</c:v>
                </c:pt>
                <c:pt idx="55705">
                  <c:v>31919</c:v>
                </c:pt>
                <c:pt idx="55706">
                  <c:v>31919</c:v>
                </c:pt>
                <c:pt idx="55707">
                  <c:v>31919</c:v>
                </c:pt>
                <c:pt idx="55708">
                  <c:v>31919</c:v>
                </c:pt>
                <c:pt idx="55709">
                  <c:v>31919</c:v>
                </c:pt>
                <c:pt idx="55710">
                  <c:v>31919</c:v>
                </c:pt>
                <c:pt idx="55711">
                  <c:v>31919</c:v>
                </c:pt>
                <c:pt idx="55712">
                  <c:v>31919</c:v>
                </c:pt>
                <c:pt idx="55713">
                  <c:v>31919</c:v>
                </c:pt>
                <c:pt idx="55714">
                  <c:v>31918</c:v>
                </c:pt>
                <c:pt idx="55715">
                  <c:v>31918</c:v>
                </c:pt>
                <c:pt idx="55716">
                  <c:v>31918</c:v>
                </c:pt>
                <c:pt idx="55717">
                  <c:v>31918</c:v>
                </c:pt>
                <c:pt idx="55718">
                  <c:v>31918</c:v>
                </c:pt>
                <c:pt idx="55719">
                  <c:v>31918</c:v>
                </c:pt>
                <c:pt idx="55720">
                  <c:v>31918</c:v>
                </c:pt>
                <c:pt idx="55721">
                  <c:v>31918</c:v>
                </c:pt>
                <c:pt idx="55722">
                  <c:v>31918</c:v>
                </c:pt>
                <c:pt idx="55723">
                  <c:v>31917</c:v>
                </c:pt>
                <c:pt idx="55724">
                  <c:v>31917</c:v>
                </c:pt>
                <c:pt idx="55725">
                  <c:v>31917</c:v>
                </c:pt>
                <c:pt idx="55726">
                  <c:v>31917</c:v>
                </c:pt>
                <c:pt idx="55727">
                  <c:v>31917</c:v>
                </c:pt>
                <c:pt idx="55728">
                  <c:v>31917</c:v>
                </c:pt>
                <c:pt idx="55729">
                  <c:v>31917</c:v>
                </c:pt>
                <c:pt idx="55730">
                  <c:v>31917</c:v>
                </c:pt>
                <c:pt idx="55731">
                  <c:v>31917</c:v>
                </c:pt>
                <c:pt idx="55732">
                  <c:v>31917</c:v>
                </c:pt>
                <c:pt idx="55733">
                  <c:v>31917</c:v>
                </c:pt>
                <c:pt idx="55734">
                  <c:v>31917</c:v>
                </c:pt>
                <c:pt idx="55735">
                  <c:v>31917</c:v>
                </c:pt>
                <c:pt idx="55736">
                  <c:v>31917</c:v>
                </c:pt>
                <c:pt idx="55737">
                  <c:v>31916</c:v>
                </c:pt>
                <c:pt idx="55738">
                  <c:v>31916</c:v>
                </c:pt>
                <c:pt idx="55739">
                  <c:v>31916</c:v>
                </c:pt>
                <c:pt idx="55740">
                  <c:v>31916</c:v>
                </c:pt>
                <c:pt idx="55741">
                  <c:v>31916</c:v>
                </c:pt>
                <c:pt idx="55742">
                  <c:v>31916</c:v>
                </c:pt>
                <c:pt idx="55743">
                  <c:v>31916</c:v>
                </c:pt>
                <c:pt idx="55744">
                  <c:v>31916</c:v>
                </c:pt>
                <c:pt idx="55745">
                  <c:v>31916</c:v>
                </c:pt>
                <c:pt idx="55746">
                  <c:v>31916</c:v>
                </c:pt>
                <c:pt idx="55747">
                  <c:v>31915</c:v>
                </c:pt>
                <c:pt idx="55748">
                  <c:v>31915</c:v>
                </c:pt>
                <c:pt idx="55749">
                  <c:v>31915</c:v>
                </c:pt>
                <c:pt idx="55750">
                  <c:v>31915</c:v>
                </c:pt>
                <c:pt idx="55751">
                  <c:v>31915</c:v>
                </c:pt>
                <c:pt idx="55752">
                  <c:v>31915</c:v>
                </c:pt>
                <c:pt idx="55753">
                  <c:v>31915</c:v>
                </c:pt>
                <c:pt idx="55754">
                  <c:v>31915</c:v>
                </c:pt>
                <c:pt idx="55755">
                  <c:v>31915</c:v>
                </c:pt>
                <c:pt idx="55756">
                  <c:v>31915</c:v>
                </c:pt>
                <c:pt idx="55757">
                  <c:v>31915</c:v>
                </c:pt>
                <c:pt idx="55758">
                  <c:v>31914</c:v>
                </c:pt>
                <c:pt idx="55759">
                  <c:v>31914</c:v>
                </c:pt>
                <c:pt idx="55760">
                  <c:v>31914</c:v>
                </c:pt>
                <c:pt idx="55761">
                  <c:v>31914</c:v>
                </c:pt>
                <c:pt idx="55762">
                  <c:v>31914</c:v>
                </c:pt>
                <c:pt idx="55763">
                  <c:v>31914</c:v>
                </c:pt>
                <c:pt idx="55764">
                  <c:v>31914</c:v>
                </c:pt>
                <c:pt idx="55765">
                  <c:v>31913</c:v>
                </c:pt>
                <c:pt idx="55766">
                  <c:v>31913</c:v>
                </c:pt>
                <c:pt idx="55767">
                  <c:v>31913</c:v>
                </c:pt>
                <c:pt idx="55768">
                  <c:v>31913</c:v>
                </c:pt>
                <c:pt idx="55769">
                  <c:v>31913</c:v>
                </c:pt>
                <c:pt idx="55770">
                  <c:v>31913</c:v>
                </c:pt>
                <c:pt idx="55771">
                  <c:v>31913</c:v>
                </c:pt>
                <c:pt idx="55772">
                  <c:v>31912</c:v>
                </c:pt>
                <c:pt idx="55773">
                  <c:v>31912</c:v>
                </c:pt>
                <c:pt idx="55774">
                  <c:v>31912</c:v>
                </c:pt>
                <c:pt idx="55775">
                  <c:v>31912</c:v>
                </c:pt>
                <c:pt idx="55776">
                  <c:v>31911</c:v>
                </c:pt>
                <c:pt idx="55777">
                  <c:v>31911</c:v>
                </c:pt>
                <c:pt idx="55778">
                  <c:v>31911</c:v>
                </c:pt>
                <c:pt idx="55779">
                  <c:v>31911</c:v>
                </c:pt>
                <c:pt idx="55780">
                  <c:v>31911</c:v>
                </c:pt>
                <c:pt idx="55781">
                  <c:v>31910</c:v>
                </c:pt>
                <c:pt idx="55782">
                  <c:v>31910</c:v>
                </c:pt>
                <c:pt idx="55783">
                  <c:v>31910</c:v>
                </c:pt>
                <c:pt idx="55784">
                  <c:v>31910</c:v>
                </c:pt>
                <c:pt idx="55785">
                  <c:v>31910</c:v>
                </c:pt>
                <c:pt idx="55786">
                  <c:v>31910</c:v>
                </c:pt>
                <c:pt idx="55787">
                  <c:v>31910</c:v>
                </c:pt>
                <c:pt idx="55788">
                  <c:v>31910</c:v>
                </c:pt>
                <c:pt idx="55789">
                  <c:v>31910</c:v>
                </c:pt>
                <c:pt idx="55790">
                  <c:v>31910</c:v>
                </c:pt>
                <c:pt idx="55791">
                  <c:v>31909</c:v>
                </c:pt>
                <c:pt idx="55792">
                  <c:v>31909</c:v>
                </c:pt>
                <c:pt idx="55793">
                  <c:v>31909</c:v>
                </c:pt>
                <c:pt idx="55794">
                  <c:v>31909</c:v>
                </c:pt>
                <c:pt idx="55795">
                  <c:v>31909</c:v>
                </c:pt>
                <c:pt idx="55796">
                  <c:v>31909</c:v>
                </c:pt>
                <c:pt idx="55797">
                  <c:v>31909</c:v>
                </c:pt>
                <c:pt idx="55798">
                  <c:v>31909</c:v>
                </c:pt>
                <c:pt idx="55799">
                  <c:v>31909</c:v>
                </c:pt>
                <c:pt idx="55800">
                  <c:v>31909</c:v>
                </c:pt>
                <c:pt idx="55801">
                  <c:v>31909</c:v>
                </c:pt>
                <c:pt idx="55802">
                  <c:v>31908</c:v>
                </c:pt>
                <c:pt idx="55803">
                  <c:v>31908</c:v>
                </c:pt>
                <c:pt idx="55804">
                  <c:v>31908</c:v>
                </c:pt>
                <c:pt idx="55805">
                  <c:v>31908</c:v>
                </c:pt>
                <c:pt idx="55806">
                  <c:v>31908</c:v>
                </c:pt>
                <c:pt idx="55807">
                  <c:v>31907</c:v>
                </c:pt>
                <c:pt idx="55808">
                  <c:v>31907</c:v>
                </c:pt>
                <c:pt idx="55809">
                  <c:v>31907</c:v>
                </c:pt>
                <c:pt idx="55810">
                  <c:v>31907</c:v>
                </c:pt>
                <c:pt idx="55811">
                  <c:v>31907</c:v>
                </c:pt>
                <c:pt idx="55812">
                  <c:v>31907</c:v>
                </c:pt>
                <c:pt idx="55813">
                  <c:v>31906</c:v>
                </c:pt>
                <c:pt idx="55814">
                  <c:v>31906</c:v>
                </c:pt>
                <c:pt idx="55815">
                  <c:v>31906</c:v>
                </c:pt>
                <c:pt idx="55816">
                  <c:v>31906</c:v>
                </c:pt>
                <c:pt idx="55817">
                  <c:v>31906</c:v>
                </c:pt>
                <c:pt idx="55818">
                  <c:v>31906</c:v>
                </c:pt>
                <c:pt idx="55819">
                  <c:v>31906</c:v>
                </c:pt>
                <c:pt idx="55820">
                  <c:v>31906</c:v>
                </c:pt>
                <c:pt idx="55821">
                  <c:v>31906</c:v>
                </c:pt>
                <c:pt idx="55822">
                  <c:v>31906</c:v>
                </c:pt>
                <c:pt idx="55823">
                  <c:v>31906</c:v>
                </c:pt>
                <c:pt idx="55824">
                  <c:v>31906</c:v>
                </c:pt>
                <c:pt idx="55825">
                  <c:v>31905</c:v>
                </c:pt>
                <c:pt idx="55826">
                  <c:v>31905</c:v>
                </c:pt>
                <c:pt idx="55827">
                  <c:v>31905</c:v>
                </c:pt>
                <c:pt idx="55828">
                  <c:v>31905</c:v>
                </c:pt>
                <c:pt idx="55829">
                  <c:v>31905</c:v>
                </c:pt>
                <c:pt idx="55830">
                  <c:v>31905</c:v>
                </c:pt>
                <c:pt idx="55831">
                  <c:v>31905</c:v>
                </c:pt>
                <c:pt idx="55832">
                  <c:v>31904</c:v>
                </c:pt>
                <c:pt idx="55833">
                  <c:v>31904</c:v>
                </c:pt>
                <c:pt idx="55834">
                  <c:v>31904</c:v>
                </c:pt>
                <c:pt idx="55835">
                  <c:v>31904</c:v>
                </c:pt>
                <c:pt idx="55836">
                  <c:v>31904</c:v>
                </c:pt>
                <c:pt idx="55837">
                  <c:v>31904</c:v>
                </c:pt>
                <c:pt idx="55838">
                  <c:v>31904</c:v>
                </c:pt>
                <c:pt idx="55839">
                  <c:v>31904</c:v>
                </c:pt>
                <c:pt idx="55840">
                  <c:v>31903</c:v>
                </c:pt>
                <c:pt idx="55841">
                  <c:v>31903</c:v>
                </c:pt>
                <c:pt idx="55842">
                  <c:v>31903</c:v>
                </c:pt>
                <c:pt idx="55843">
                  <c:v>31903</c:v>
                </c:pt>
                <c:pt idx="55844">
                  <c:v>31903</c:v>
                </c:pt>
                <c:pt idx="55845">
                  <c:v>31903</c:v>
                </c:pt>
                <c:pt idx="55846">
                  <c:v>31903</c:v>
                </c:pt>
                <c:pt idx="55847">
                  <c:v>31902</c:v>
                </c:pt>
                <c:pt idx="55848">
                  <c:v>31902</c:v>
                </c:pt>
                <c:pt idx="55849">
                  <c:v>31902</c:v>
                </c:pt>
                <c:pt idx="55850">
                  <c:v>31902</c:v>
                </c:pt>
                <c:pt idx="55851">
                  <c:v>31902</c:v>
                </c:pt>
                <c:pt idx="55852">
                  <c:v>31901</c:v>
                </c:pt>
                <c:pt idx="55853">
                  <c:v>31901</c:v>
                </c:pt>
                <c:pt idx="55854">
                  <c:v>31901</c:v>
                </c:pt>
                <c:pt idx="55855">
                  <c:v>31901</c:v>
                </c:pt>
                <c:pt idx="55856">
                  <c:v>31901</c:v>
                </c:pt>
                <c:pt idx="55857">
                  <c:v>31901</c:v>
                </c:pt>
                <c:pt idx="55858">
                  <c:v>31901</c:v>
                </c:pt>
                <c:pt idx="55859">
                  <c:v>31901</c:v>
                </c:pt>
                <c:pt idx="55860">
                  <c:v>31901</c:v>
                </c:pt>
                <c:pt idx="55861">
                  <c:v>31901</c:v>
                </c:pt>
                <c:pt idx="55862">
                  <c:v>31900</c:v>
                </c:pt>
                <c:pt idx="55863">
                  <c:v>31899</c:v>
                </c:pt>
                <c:pt idx="55864">
                  <c:v>31899</c:v>
                </c:pt>
                <c:pt idx="55865">
                  <c:v>31899</c:v>
                </c:pt>
                <c:pt idx="55866">
                  <c:v>31899</c:v>
                </c:pt>
                <c:pt idx="55867">
                  <c:v>31899</c:v>
                </c:pt>
                <c:pt idx="55868">
                  <c:v>31899</c:v>
                </c:pt>
                <c:pt idx="55869">
                  <c:v>31899</c:v>
                </c:pt>
                <c:pt idx="55870">
                  <c:v>31898</c:v>
                </c:pt>
                <c:pt idx="55871">
                  <c:v>31898</c:v>
                </c:pt>
                <c:pt idx="55872">
                  <c:v>31898</c:v>
                </c:pt>
                <c:pt idx="55873">
                  <c:v>31898</c:v>
                </c:pt>
                <c:pt idx="55874">
                  <c:v>31898</c:v>
                </c:pt>
                <c:pt idx="55875">
                  <c:v>31897</c:v>
                </c:pt>
                <c:pt idx="55876">
                  <c:v>31897</c:v>
                </c:pt>
                <c:pt idx="55877">
                  <c:v>31897</c:v>
                </c:pt>
                <c:pt idx="55878">
                  <c:v>31897</c:v>
                </c:pt>
                <c:pt idx="55879">
                  <c:v>31897</c:v>
                </c:pt>
                <c:pt idx="55880">
                  <c:v>31897</c:v>
                </c:pt>
                <c:pt idx="55881">
                  <c:v>31897</c:v>
                </c:pt>
                <c:pt idx="55882">
                  <c:v>31897</c:v>
                </c:pt>
                <c:pt idx="55883">
                  <c:v>31897</c:v>
                </c:pt>
                <c:pt idx="55884">
                  <c:v>31897</c:v>
                </c:pt>
                <c:pt idx="55885">
                  <c:v>31897</c:v>
                </c:pt>
                <c:pt idx="55886">
                  <c:v>31896</c:v>
                </c:pt>
                <c:pt idx="55887">
                  <c:v>31896</c:v>
                </c:pt>
                <c:pt idx="55888">
                  <c:v>31896</c:v>
                </c:pt>
                <c:pt idx="55889">
                  <c:v>31896</c:v>
                </c:pt>
                <c:pt idx="55890">
                  <c:v>31895</c:v>
                </c:pt>
                <c:pt idx="55891">
                  <c:v>31895</c:v>
                </c:pt>
                <c:pt idx="55892">
                  <c:v>31895</c:v>
                </c:pt>
                <c:pt idx="55893">
                  <c:v>31895</c:v>
                </c:pt>
                <c:pt idx="55894">
                  <c:v>31895</c:v>
                </c:pt>
                <c:pt idx="55895">
                  <c:v>31895</c:v>
                </c:pt>
                <c:pt idx="55896">
                  <c:v>31894</c:v>
                </c:pt>
                <c:pt idx="55897">
                  <c:v>31894</c:v>
                </c:pt>
                <c:pt idx="55898">
                  <c:v>31894</c:v>
                </c:pt>
                <c:pt idx="55899">
                  <c:v>31894</c:v>
                </c:pt>
                <c:pt idx="55900">
                  <c:v>31894</c:v>
                </c:pt>
                <c:pt idx="55901">
                  <c:v>31894</c:v>
                </c:pt>
                <c:pt idx="55902">
                  <c:v>31893</c:v>
                </c:pt>
                <c:pt idx="55903">
                  <c:v>31893</c:v>
                </c:pt>
                <c:pt idx="55904">
                  <c:v>31893</c:v>
                </c:pt>
                <c:pt idx="55905">
                  <c:v>31893</c:v>
                </c:pt>
                <c:pt idx="55906">
                  <c:v>31893</c:v>
                </c:pt>
                <c:pt idx="55907">
                  <c:v>31893</c:v>
                </c:pt>
                <c:pt idx="55908">
                  <c:v>31892</c:v>
                </c:pt>
                <c:pt idx="55909">
                  <c:v>31892</c:v>
                </c:pt>
                <c:pt idx="55910">
                  <c:v>31892</c:v>
                </c:pt>
                <c:pt idx="55911">
                  <c:v>31892</c:v>
                </c:pt>
                <c:pt idx="55912">
                  <c:v>31892</c:v>
                </c:pt>
                <c:pt idx="55913">
                  <c:v>31891</c:v>
                </c:pt>
                <c:pt idx="55914">
                  <c:v>31891</c:v>
                </c:pt>
                <c:pt idx="55915">
                  <c:v>31891</c:v>
                </c:pt>
                <c:pt idx="55916">
                  <c:v>31891</c:v>
                </c:pt>
                <c:pt idx="55917">
                  <c:v>31891</c:v>
                </c:pt>
                <c:pt idx="55918">
                  <c:v>31891</c:v>
                </c:pt>
                <c:pt idx="55919">
                  <c:v>31891</c:v>
                </c:pt>
                <c:pt idx="55920">
                  <c:v>31890</c:v>
                </c:pt>
                <c:pt idx="55921">
                  <c:v>31890</c:v>
                </c:pt>
                <c:pt idx="55922">
                  <c:v>31890</c:v>
                </c:pt>
                <c:pt idx="55923">
                  <c:v>31890</c:v>
                </c:pt>
                <c:pt idx="55924">
                  <c:v>31890</c:v>
                </c:pt>
                <c:pt idx="55925">
                  <c:v>31890</c:v>
                </c:pt>
                <c:pt idx="55926">
                  <c:v>31890</c:v>
                </c:pt>
                <c:pt idx="55927">
                  <c:v>31890</c:v>
                </c:pt>
                <c:pt idx="55928">
                  <c:v>31890</c:v>
                </c:pt>
                <c:pt idx="55929">
                  <c:v>31890</c:v>
                </c:pt>
                <c:pt idx="55930">
                  <c:v>31890</c:v>
                </c:pt>
                <c:pt idx="55931">
                  <c:v>31890</c:v>
                </c:pt>
                <c:pt idx="55932">
                  <c:v>31889</c:v>
                </c:pt>
                <c:pt idx="55933">
                  <c:v>31889</c:v>
                </c:pt>
                <c:pt idx="55934">
                  <c:v>31889</c:v>
                </c:pt>
                <c:pt idx="55935">
                  <c:v>31889</c:v>
                </c:pt>
                <c:pt idx="55936">
                  <c:v>31889</c:v>
                </c:pt>
                <c:pt idx="55937">
                  <c:v>31889</c:v>
                </c:pt>
                <c:pt idx="55938">
                  <c:v>31889</c:v>
                </c:pt>
                <c:pt idx="55939">
                  <c:v>31889</c:v>
                </c:pt>
                <c:pt idx="55940">
                  <c:v>31888</c:v>
                </c:pt>
                <c:pt idx="55941">
                  <c:v>31888</c:v>
                </c:pt>
                <c:pt idx="55942">
                  <c:v>31888</c:v>
                </c:pt>
                <c:pt idx="55943">
                  <c:v>31888</c:v>
                </c:pt>
                <c:pt idx="55944">
                  <c:v>31888</c:v>
                </c:pt>
                <c:pt idx="55945">
                  <c:v>31888</c:v>
                </c:pt>
                <c:pt idx="55946">
                  <c:v>31887</c:v>
                </c:pt>
                <c:pt idx="55947">
                  <c:v>31887</c:v>
                </c:pt>
                <c:pt idx="55948">
                  <c:v>31887</c:v>
                </c:pt>
                <c:pt idx="55949">
                  <c:v>31887</c:v>
                </c:pt>
                <c:pt idx="55950">
                  <c:v>31887</c:v>
                </c:pt>
                <c:pt idx="55951">
                  <c:v>31887</c:v>
                </c:pt>
                <c:pt idx="55952">
                  <c:v>31887</c:v>
                </c:pt>
                <c:pt idx="55953">
                  <c:v>31887</c:v>
                </c:pt>
                <c:pt idx="55954">
                  <c:v>31886</c:v>
                </c:pt>
                <c:pt idx="55955">
                  <c:v>31886</c:v>
                </c:pt>
                <c:pt idx="55956">
                  <c:v>31886</c:v>
                </c:pt>
                <c:pt idx="55957">
                  <c:v>31886</c:v>
                </c:pt>
                <c:pt idx="55958">
                  <c:v>31886</c:v>
                </c:pt>
                <c:pt idx="55959">
                  <c:v>31886</c:v>
                </c:pt>
                <c:pt idx="55960">
                  <c:v>31886</c:v>
                </c:pt>
                <c:pt idx="55961">
                  <c:v>31886</c:v>
                </c:pt>
                <c:pt idx="55962">
                  <c:v>31886</c:v>
                </c:pt>
                <c:pt idx="55963">
                  <c:v>31886</c:v>
                </c:pt>
                <c:pt idx="55964">
                  <c:v>31885</c:v>
                </c:pt>
                <c:pt idx="55965">
                  <c:v>31885</c:v>
                </c:pt>
                <c:pt idx="55966">
                  <c:v>31885</c:v>
                </c:pt>
                <c:pt idx="55967">
                  <c:v>31884</c:v>
                </c:pt>
                <c:pt idx="55968">
                  <c:v>31884</c:v>
                </c:pt>
                <c:pt idx="55969">
                  <c:v>31884</c:v>
                </c:pt>
                <c:pt idx="55970">
                  <c:v>31884</c:v>
                </c:pt>
                <c:pt idx="55971">
                  <c:v>31884</c:v>
                </c:pt>
                <c:pt idx="55972">
                  <c:v>31883</c:v>
                </c:pt>
                <c:pt idx="55973">
                  <c:v>31883</c:v>
                </c:pt>
                <c:pt idx="55974">
                  <c:v>31883</c:v>
                </c:pt>
                <c:pt idx="55975">
                  <c:v>31883</c:v>
                </c:pt>
                <c:pt idx="55976">
                  <c:v>31883</c:v>
                </c:pt>
                <c:pt idx="55977">
                  <c:v>31883</c:v>
                </c:pt>
                <c:pt idx="55978">
                  <c:v>31883</c:v>
                </c:pt>
                <c:pt idx="55979">
                  <c:v>31882</c:v>
                </c:pt>
                <c:pt idx="55980">
                  <c:v>31882</c:v>
                </c:pt>
                <c:pt idx="55981">
                  <c:v>31882</c:v>
                </c:pt>
                <c:pt idx="55982">
                  <c:v>31882</c:v>
                </c:pt>
                <c:pt idx="55983">
                  <c:v>31881</c:v>
                </c:pt>
                <c:pt idx="55984">
                  <c:v>31881</c:v>
                </c:pt>
                <c:pt idx="55985">
                  <c:v>31881</c:v>
                </c:pt>
                <c:pt idx="55986">
                  <c:v>31881</c:v>
                </c:pt>
                <c:pt idx="55987">
                  <c:v>31880</c:v>
                </c:pt>
                <c:pt idx="55988">
                  <c:v>31880</c:v>
                </c:pt>
                <c:pt idx="55989">
                  <c:v>31880</c:v>
                </c:pt>
                <c:pt idx="55990">
                  <c:v>31880</c:v>
                </c:pt>
                <c:pt idx="55991">
                  <c:v>31879</c:v>
                </c:pt>
                <c:pt idx="55992">
                  <c:v>31879</c:v>
                </c:pt>
                <c:pt idx="55993">
                  <c:v>31879</c:v>
                </c:pt>
                <c:pt idx="55994">
                  <c:v>31879</c:v>
                </c:pt>
                <c:pt idx="55995">
                  <c:v>31879</c:v>
                </c:pt>
                <c:pt idx="55996">
                  <c:v>31878</c:v>
                </c:pt>
                <c:pt idx="55997">
                  <c:v>31878</c:v>
                </c:pt>
                <c:pt idx="55998">
                  <c:v>31878</c:v>
                </c:pt>
                <c:pt idx="55999">
                  <c:v>31878</c:v>
                </c:pt>
                <c:pt idx="56000">
                  <c:v>31878</c:v>
                </c:pt>
                <c:pt idx="56001">
                  <c:v>31877</c:v>
                </c:pt>
                <c:pt idx="56002">
                  <c:v>31877</c:v>
                </c:pt>
                <c:pt idx="56003">
                  <c:v>31877</c:v>
                </c:pt>
                <c:pt idx="56004">
                  <c:v>31877</c:v>
                </c:pt>
                <c:pt idx="56005">
                  <c:v>31877</c:v>
                </c:pt>
                <c:pt idx="56006">
                  <c:v>31877</c:v>
                </c:pt>
                <c:pt idx="56007">
                  <c:v>31876</c:v>
                </c:pt>
                <c:pt idx="56008">
                  <c:v>31876</c:v>
                </c:pt>
                <c:pt idx="56009">
                  <c:v>31876</c:v>
                </c:pt>
                <c:pt idx="56010">
                  <c:v>31876</c:v>
                </c:pt>
                <c:pt idx="56011">
                  <c:v>31875</c:v>
                </c:pt>
                <c:pt idx="56012">
                  <c:v>31875</c:v>
                </c:pt>
                <c:pt idx="56013">
                  <c:v>31875</c:v>
                </c:pt>
                <c:pt idx="56014">
                  <c:v>31875</c:v>
                </c:pt>
                <c:pt idx="56015">
                  <c:v>31875</c:v>
                </c:pt>
                <c:pt idx="56016">
                  <c:v>31875</c:v>
                </c:pt>
                <c:pt idx="56017">
                  <c:v>31874</c:v>
                </c:pt>
                <c:pt idx="56018">
                  <c:v>31874</c:v>
                </c:pt>
                <c:pt idx="56019">
                  <c:v>31874</c:v>
                </c:pt>
                <c:pt idx="56020">
                  <c:v>31874</c:v>
                </c:pt>
                <c:pt idx="56021">
                  <c:v>31874</c:v>
                </c:pt>
                <c:pt idx="56022">
                  <c:v>31874</c:v>
                </c:pt>
                <c:pt idx="56023">
                  <c:v>31874</c:v>
                </c:pt>
                <c:pt idx="56024">
                  <c:v>31874</c:v>
                </c:pt>
                <c:pt idx="56025">
                  <c:v>31873</c:v>
                </c:pt>
                <c:pt idx="56026">
                  <c:v>31873</c:v>
                </c:pt>
                <c:pt idx="56027">
                  <c:v>31873</c:v>
                </c:pt>
                <c:pt idx="56028">
                  <c:v>31873</c:v>
                </c:pt>
                <c:pt idx="56029">
                  <c:v>31873</c:v>
                </c:pt>
                <c:pt idx="56030">
                  <c:v>31873</c:v>
                </c:pt>
                <c:pt idx="56031">
                  <c:v>31873</c:v>
                </c:pt>
                <c:pt idx="56032">
                  <c:v>31873</c:v>
                </c:pt>
                <c:pt idx="56033">
                  <c:v>31872</c:v>
                </c:pt>
                <c:pt idx="56034">
                  <c:v>31872</c:v>
                </c:pt>
                <c:pt idx="56035">
                  <c:v>31872</c:v>
                </c:pt>
                <c:pt idx="56036">
                  <c:v>31871</c:v>
                </c:pt>
                <c:pt idx="56037">
                  <c:v>31871</c:v>
                </c:pt>
                <c:pt idx="56038">
                  <c:v>31871</c:v>
                </c:pt>
                <c:pt idx="56039">
                  <c:v>31871</c:v>
                </c:pt>
                <c:pt idx="56040">
                  <c:v>31871</c:v>
                </c:pt>
                <c:pt idx="56041">
                  <c:v>31871</c:v>
                </c:pt>
                <c:pt idx="56042">
                  <c:v>31871</c:v>
                </c:pt>
                <c:pt idx="56043">
                  <c:v>31871</c:v>
                </c:pt>
                <c:pt idx="56044">
                  <c:v>31871</c:v>
                </c:pt>
                <c:pt idx="56045">
                  <c:v>31870</c:v>
                </c:pt>
                <c:pt idx="56046">
                  <c:v>31870</c:v>
                </c:pt>
                <c:pt idx="56047">
                  <c:v>31870</c:v>
                </c:pt>
                <c:pt idx="56048">
                  <c:v>31870</c:v>
                </c:pt>
                <c:pt idx="56049">
                  <c:v>31870</c:v>
                </c:pt>
                <c:pt idx="56050">
                  <c:v>31870</c:v>
                </c:pt>
                <c:pt idx="56051">
                  <c:v>31870</c:v>
                </c:pt>
                <c:pt idx="56052">
                  <c:v>31869</c:v>
                </c:pt>
                <c:pt idx="56053">
                  <c:v>31869</c:v>
                </c:pt>
                <c:pt idx="56054">
                  <c:v>31869</c:v>
                </c:pt>
                <c:pt idx="56055">
                  <c:v>31868</c:v>
                </c:pt>
                <c:pt idx="56056">
                  <c:v>31868</c:v>
                </c:pt>
                <c:pt idx="56057">
                  <c:v>31868</c:v>
                </c:pt>
                <c:pt idx="56058">
                  <c:v>31868</c:v>
                </c:pt>
                <c:pt idx="56059">
                  <c:v>31868</c:v>
                </c:pt>
                <c:pt idx="56060">
                  <c:v>31868</c:v>
                </c:pt>
                <c:pt idx="56061">
                  <c:v>31868</c:v>
                </c:pt>
                <c:pt idx="56062">
                  <c:v>31868</c:v>
                </c:pt>
                <c:pt idx="56063">
                  <c:v>31868</c:v>
                </c:pt>
                <c:pt idx="56064">
                  <c:v>31867</c:v>
                </c:pt>
                <c:pt idx="56065">
                  <c:v>31867</c:v>
                </c:pt>
                <c:pt idx="56066">
                  <c:v>31867</c:v>
                </c:pt>
                <c:pt idx="56067">
                  <c:v>31867</c:v>
                </c:pt>
                <c:pt idx="56068">
                  <c:v>31867</c:v>
                </c:pt>
                <c:pt idx="56069">
                  <c:v>31867</c:v>
                </c:pt>
                <c:pt idx="56070">
                  <c:v>31867</c:v>
                </c:pt>
                <c:pt idx="56071">
                  <c:v>31867</c:v>
                </c:pt>
                <c:pt idx="56072">
                  <c:v>31866</c:v>
                </c:pt>
                <c:pt idx="56073">
                  <c:v>31866</c:v>
                </c:pt>
                <c:pt idx="56074">
                  <c:v>31866</c:v>
                </c:pt>
                <c:pt idx="56075">
                  <c:v>31866</c:v>
                </c:pt>
                <c:pt idx="56076">
                  <c:v>31866</c:v>
                </c:pt>
                <c:pt idx="56077">
                  <c:v>31866</c:v>
                </c:pt>
                <c:pt idx="56078">
                  <c:v>31865</c:v>
                </c:pt>
                <c:pt idx="56079">
                  <c:v>31865</c:v>
                </c:pt>
                <c:pt idx="56080">
                  <c:v>31865</c:v>
                </c:pt>
                <c:pt idx="56081">
                  <c:v>31865</c:v>
                </c:pt>
                <c:pt idx="56082">
                  <c:v>31864</c:v>
                </c:pt>
                <c:pt idx="56083">
                  <c:v>31864</c:v>
                </c:pt>
                <c:pt idx="56084">
                  <c:v>31864</c:v>
                </c:pt>
                <c:pt idx="56085">
                  <c:v>31864</c:v>
                </c:pt>
                <c:pt idx="56086">
                  <c:v>31864</c:v>
                </c:pt>
                <c:pt idx="56087">
                  <c:v>31863</c:v>
                </c:pt>
                <c:pt idx="56088">
                  <c:v>31863</c:v>
                </c:pt>
                <c:pt idx="56089">
                  <c:v>31863</c:v>
                </c:pt>
                <c:pt idx="56090">
                  <c:v>31863</c:v>
                </c:pt>
                <c:pt idx="56091">
                  <c:v>31863</c:v>
                </c:pt>
                <c:pt idx="56092">
                  <c:v>31863</c:v>
                </c:pt>
                <c:pt idx="56093">
                  <c:v>31863</c:v>
                </c:pt>
                <c:pt idx="56094">
                  <c:v>31863</c:v>
                </c:pt>
                <c:pt idx="56095">
                  <c:v>31862</c:v>
                </c:pt>
                <c:pt idx="56096">
                  <c:v>31862</c:v>
                </c:pt>
                <c:pt idx="56097">
                  <c:v>31862</c:v>
                </c:pt>
                <c:pt idx="56098">
                  <c:v>31862</c:v>
                </c:pt>
                <c:pt idx="56099">
                  <c:v>31862</c:v>
                </c:pt>
                <c:pt idx="56100">
                  <c:v>31862</c:v>
                </c:pt>
                <c:pt idx="56101">
                  <c:v>31862</c:v>
                </c:pt>
                <c:pt idx="56102">
                  <c:v>31861</c:v>
                </c:pt>
                <c:pt idx="56103">
                  <c:v>31861</c:v>
                </c:pt>
                <c:pt idx="56104">
                  <c:v>31861</c:v>
                </c:pt>
                <c:pt idx="56105">
                  <c:v>31861</c:v>
                </c:pt>
                <c:pt idx="56106">
                  <c:v>31861</c:v>
                </c:pt>
                <c:pt idx="56107">
                  <c:v>31861</c:v>
                </c:pt>
                <c:pt idx="56108">
                  <c:v>31861</c:v>
                </c:pt>
                <c:pt idx="56109">
                  <c:v>31861</c:v>
                </c:pt>
                <c:pt idx="56110">
                  <c:v>31861</c:v>
                </c:pt>
                <c:pt idx="56111">
                  <c:v>31861</c:v>
                </c:pt>
                <c:pt idx="56112">
                  <c:v>31861</c:v>
                </c:pt>
                <c:pt idx="56113">
                  <c:v>31860</c:v>
                </c:pt>
                <c:pt idx="56114">
                  <c:v>31860</c:v>
                </c:pt>
                <c:pt idx="56115">
                  <c:v>31860</c:v>
                </c:pt>
                <c:pt idx="56116">
                  <c:v>31860</c:v>
                </c:pt>
                <c:pt idx="56117">
                  <c:v>31860</c:v>
                </c:pt>
                <c:pt idx="56118">
                  <c:v>31860</c:v>
                </c:pt>
                <c:pt idx="56119">
                  <c:v>31860</c:v>
                </c:pt>
                <c:pt idx="56120">
                  <c:v>31860</c:v>
                </c:pt>
                <c:pt idx="56121">
                  <c:v>31859</c:v>
                </c:pt>
                <c:pt idx="56122">
                  <c:v>31859</c:v>
                </c:pt>
                <c:pt idx="56123">
                  <c:v>31859</c:v>
                </c:pt>
                <c:pt idx="56124">
                  <c:v>31859</c:v>
                </c:pt>
                <c:pt idx="56125">
                  <c:v>31859</c:v>
                </c:pt>
                <c:pt idx="56126">
                  <c:v>31859</c:v>
                </c:pt>
                <c:pt idx="56127">
                  <c:v>31858</c:v>
                </c:pt>
                <c:pt idx="56128">
                  <c:v>31858</c:v>
                </c:pt>
                <c:pt idx="56129">
                  <c:v>31858</c:v>
                </c:pt>
                <c:pt idx="56130">
                  <c:v>31858</c:v>
                </c:pt>
                <c:pt idx="56131">
                  <c:v>31858</c:v>
                </c:pt>
                <c:pt idx="56132">
                  <c:v>31858</c:v>
                </c:pt>
                <c:pt idx="56133">
                  <c:v>31858</c:v>
                </c:pt>
                <c:pt idx="56134">
                  <c:v>31858</c:v>
                </c:pt>
                <c:pt idx="56135">
                  <c:v>31858</c:v>
                </c:pt>
                <c:pt idx="56136">
                  <c:v>31857</c:v>
                </c:pt>
                <c:pt idx="56137">
                  <c:v>31857</c:v>
                </c:pt>
                <c:pt idx="56138">
                  <c:v>31857</c:v>
                </c:pt>
                <c:pt idx="56139">
                  <c:v>31857</c:v>
                </c:pt>
                <c:pt idx="56140">
                  <c:v>31857</c:v>
                </c:pt>
                <c:pt idx="56141">
                  <c:v>31856</c:v>
                </c:pt>
                <c:pt idx="56142">
                  <c:v>31856</c:v>
                </c:pt>
                <c:pt idx="56143">
                  <c:v>31856</c:v>
                </c:pt>
                <c:pt idx="56144">
                  <c:v>31856</c:v>
                </c:pt>
                <c:pt idx="56145">
                  <c:v>31855</c:v>
                </c:pt>
                <c:pt idx="56146">
                  <c:v>31855</c:v>
                </c:pt>
                <c:pt idx="56147">
                  <c:v>31855</c:v>
                </c:pt>
                <c:pt idx="56148">
                  <c:v>31855</c:v>
                </c:pt>
                <c:pt idx="56149">
                  <c:v>31855</c:v>
                </c:pt>
                <c:pt idx="56150">
                  <c:v>31855</c:v>
                </c:pt>
                <c:pt idx="56151">
                  <c:v>31855</c:v>
                </c:pt>
                <c:pt idx="56152">
                  <c:v>31855</c:v>
                </c:pt>
                <c:pt idx="56153">
                  <c:v>31855</c:v>
                </c:pt>
                <c:pt idx="56154">
                  <c:v>31855</c:v>
                </c:pt>
                <c:pt idx="56155">
                  <c:v>31855</c:v>
                </c:pt>
                <c:pt idx="56156">
                  <c:v>31854</c:v>
                </c:pt>
                <c:pt idx="56157">
                  <c:v>31854</c:v>
                </c:pt>
                <c:pt idx="56158">
                  <c:v>31854</c:v>
                </c:pt>
                <c:pt idx="56159">
                  <c:v>31854</c:v>
                </c:pt>
                <c:pt idx="56160">
                  <c:v>31854</c:v>
                </c:pt>
                <c:pt idx="56161">
                  <c:v>31853</c:v>
                </c:pt>
                <c:pt idx="56162">
                  <c:v>31853</c:v>
                </c:pt>
                <c:pt idx="56163">
                  <c:v>31852</c:v>
                </c:pt>
                <c:pt idx="56164">
                  <c:v>31852</c:v>
                </c:pt>
                <c:pt idx="56165">
                  <c:v>31852</c:v>
                </c:pt>
                <c:pt idx="56166">
                  <c:v>31851</c:v>
                </c:pt>
                <c:pt idx="56167">
                  <c:v>31851</c:v>
                </c:pt>
                <c:pt idx="56168">
                  <c:v>31851</c:v>
                </c:pt>
                <c:pt idx="56169">
                  <c:v>31851</c:v>
                </c:pt>
                <c:pt idx="56170">
                  <c:v>31851</c:v>
                </c:pt>
                <c:pt idx="56171">
                  <c:v>31851</c:v>
                </c:pt>
                <c:pt idx="56172">
                  <c:v>31851</c:v>
                </c:pt>
                <c:pt idx="56173">
                  <c:v>31850</c:v>
                </c:pt>
                <c:pt idx="56174">
                  <c:v>31850</c:v>
                </c:pt>
                <c:pt idx="56175">
                  <c:v>31850</c:v>
                </c:pt>
                <c:pt idx="56176">
                  <c:v>31850</c:v>
                </c:pt>
                <c:pt idx="56177">
                  <c:v>31850</c:v>
                </c:pt>
                <c:pt idx="56178">
                  <c:v>31850</c:v>
                </c:pt>
                <c:pt idx="56179">
                  <c:v>31850</c:v>
                </c:pt>
                <c:pt idx="56180">
                  <c:v>31850</c:v>
                </c:pt>
                <c:pt idx="56181">
                  <c:v>31850</c:v>
                </c:pt>
                <c:pt idx="56182">
                  <c:v>31850</c:v>
                </c:pt>
                <c:pt idx="56183">
                  <c:v>31850</c:v>
                </c:pt>
                <c:pt idx="56184">
                  <c:v>31850</c:v>
                </c:pt>
                <c:pt idx="56185">
                  <c:v>31849</c:v>
                </c:pt>
                <c:pt idx="56186">
                  <c:v>31849</c:v>
                </c:pt>
                <c:pt idx="56187">
                  <c:v>31849</c:v>
                </c:pt>
                <c:pt idx="56188">
                  <c:v>31849</c:v>
                </c:pt>
                <c:pt idx="56189">
                  <c:v>31849</c:v>
                </c:pt>
                <c:pt idx="56190">
                  <c:v>31849</c:v>
                </c:pt>
                <c:pt idx="56191">
                  <c:v>31849</c:v>
                </c:pt>
                <c:pt idx="56192">
                  <c:v>31849</c:v>
                </c:pt>
                <c:pt idx="56193">
                  <c:v>31849</c:v>
                </c:pt>
                <c:pt idx="56194">
                  <c:v>31849</c:v>
                </c:pt>
                <c:pt idx="56195">
                  <c:v>31848</c:v>
                </c:pt>
                <c:pt idx="56196">
                  <c:v>31848</c:v>
                </c:pt>
                <c:pt idx="56197">
                  <c:v>31848</c:v>
                </c:pt>
                <c:pt idx="56198">
                  <c:v>31848</c:v>
                </c:pt>
                <c:pt idx="56199">
                  <c:v>31848</c:v>
                </c:pt>
                <c:pt idx="56200">
                  <c:v>31847</c:v>
                </c:pt>
                <c:pt idx="56201">
                  <c:v>31847</c:v>
                </c:pt>
                <c:pt idx="56202">
                  <c:v>31847</c:v>
                </c:pt>
                <c:pt idx="56203">
                  <c:v>31847</c:v>
                </c:pt>
                <c:pt idx="56204">
                  <c:v>31847</c:v>
                </c:pt>
                <c:pt idx="56205">
                  <c:v>31846</c:v>
                </c:pt>
                <c:pt idx="56206">
                  <c:v>31846</c:v>
                </c:pt>
                <c:pt idx="56207">
                  <c:v>31846</c:v>
                </c:pt>
                <c:pt idx="56208">
                  <c:v>31846</c:v>
                </c:pt>
                <c:pt idx="56209">
                  <c:v>31846</c:v>
                </c:pt>
                <c:pt idx="56210">
                  <c:v>31846</c:v>
                </c:pt>
                <c:pt idx="56211">
                  <c:v>31846</c:v>
                </c:pt>
                <c:pt idx="56212">
                  <c:v>31846</c:v>
                </c:pt>
                <c:pt idx="56213">
                  <c:v>31845</c:v>
                </c:pt>
                <c:pt idx="56214">
                  <c:v>31845</c:v>
                </c:pt>
                <c:pt idx="56215">
                  <c:v>31845</c:v>
                </c:pt>
                <c:pt idx="56216">
                  <c:v>31845</c:v>
                </c:pt>
                <c:pt idx="56217">
                  <c:v>31845</c:v>
                </c:pt>
                <c:pt idx="56218">
                  <c:v>31845</c:v>
                </c:pt>
                <c:pt idx="56219">
                  <c:v>31845</c:v>
                </c:pt>
                <c:pt idx="56220">
                  <c:v>31844</c:v>
                </c:pt>
                <c:pt idx="56221">
                  <c:v>31844</c:v>
                </c:pt>
                <c:pt idx="56222">
                  <c:v>31844</c:v>
                </c:pt>
                <c:pt idx="56223">
                  <c:v>31844</c:v>
                </c:pt>
                <c:pt idx="56224">
                  <c:v>31844</c:v>
                </c:pt>
                <c:pt idx="56225">
                  <c:v>31844</c:v>
                </c:pt>
                <c:pt idx="56226">
                  <c:v>31844</c:v>
                </c:pt>
                <c:pt idx="56227">
                  <c:v>31844</c:v>
                </c:pt>
                <c:pt idx="56228">
                  <c:v>31844</c:v>
                </c:pt>
                <c:pt idx="56229">
                  <c:v>31844</c:v>
                </c:pt>
                <c:pt idx="56230">
                  <c:v>31843</c:v>
                </c:pt>
                <c:pt idx="56231">
                  <c:v>31843</c:v>
                </c:pt>
                <c:pt idx="56232">
                  <c:v>31843</c:v>
                </c:pt>
                <c:pt idx="56233">
                  <c:v>31842</c:v>
                </c:pt>
                <c:pt idx="56234">
                  <c:v>31842</c:v>
                </c:pt>
                <c:pt idx="56235">
                  <c:v>31842</c:v>
                </c:pt>
                <c:pt idx="56236">
                  <c:v>31842</c:v>
                </c:pt>
                <c:pt idx="56237">
                  <c:v>31842</c:v>
                </c:pt>
                <c:pt idx="56238">
                  <c:v>31842</c:v>
                </c:pt>
                <c:pt idx="56239">
                  <c:v>31842</c:v>
                </c:pt>
                <c:pt idx="56240">
                  <c:v>31841</c:v>
                </c:pt>
                <c:pt idx="56241">
                  <c:v>31841</c:v>
                </c:pt>
                <c:pt idx="56242">
                  <c:v>31841</c:v>
                </c:pt>
                <c:pt idx="56243">
                  <c:v>31841</c:v>
                </c:pt>
                <c:pt idx="56244">
                  <c:v>31841</c:v>
                </c:pt>
                <c:pt idx="56245">
                  <c:v>31841</c:v>
                </c:pt>
                <c:pt idx="56246">
                  <c:v>31841</c:v>
                </c:pt>
                <c:pt idx="56247">
                  <c:v>31841</c:v>
                </c:pt>
                <c:pt idx="56248">
                  <c:v>31841</c:v>
                </c:pt>
                <c:pt idx="56249">
                  <c:v>31840</c:v>
                </c:pt>
                <c:pt idx="56250">
                  <c:v>31840</c:v>
                </c:pt>
                <c:pt idx="56251">
                  <c:v>31840</c:v>
                </c:pt>
                <c:pt idx="56252">
                  <c:v>31840</c:v>
                </c:pt>
                <c:pt idx="56253">
                  <c:v>31840</c:v>
                </c:pt>
                <c:pt idx="56254">
                  <c:v>31840</c:v>
                </c:pt>
                <c:pt idx="56255">
                  <c:v>31840</c:v>
                </c:pt>
                <c:pt idx="56256">
                  <c:v>31839</c:v>
                </c:pt>
                <c:pt idx="56257">
                  <c:v>31839</c:v>
                </c:pt>
                <c:pt idx="56258">
                  <c:v>31839</c:v>
                </c:pt>
                <c:pt idx="56259">
                  <c:v>31839</c:v>
                </c:pt>
                <c:pt idx="56260">
                  <c:v>31839</c:v>
                </c:pt>
                <c:pt idx="56261">
                  <c:v>31838</c:v>
                </c:pt>
                <c:pt idx="56262">
                  <c:v>31838</c:v>
                </c:pt>
                <c:pt idx="56263">
                  <c:v>31838</c:v>
                </c:pt>
                <c:pt idx="56264">
                  <c:v>31838</c:v>
                </c:pt>
                <c:pt idx="56265">
                  <c:v>31838</c:v>
                </c:pt>
                <c:pt idx="56266">
                  <c:v>31837</c:v>
                </c:pt>
                <c:pt idx="56267">
                  <c:v>31837</c:v>
                </c:pt>
                <c:pt idx="56268">
                  <c:v>31837</c:v>
                </c:pt>
                <c:pt idx="56269">
                  <c:v>31837</c:v>
                </c:pt>
                <c:pt idx="56270">
                  <c:v>31837</c:v>
                </c:pt>
                <c:pt idx="56271">
                  <c:v>31837</c:v>
                </c:pt>
                <c:pt idx="56272">
                  <c:v>31836</c:v>
                </c:pt>
                <c:pt idx="56273">
                  <c:v>31836</c:v>
                </c:pt>
                <c:pt idx="56274">
                  <c:v>31836</c:v>
                </c:pt>
                <c:pt idx="56275">
                  <c:v>31836</c:v>
                </c:pt>
                <c:pt idx="56276">
                  <c:v>31836</c:v>
                </c:pt>
                <c:pt idx="56277">
                  <c:v>31835</c:v>
                </c:pt>
                <c:pt idx="56278">
                  <c:v>31835</c:v>
                </c:pt>
                <c:pt idx="56279">
                  <c:v>31835</c:v>
                </c:pt>
                <c:pt idx="56280">
                  <c:v>31835</c:v>
                </c:pt>
                <c:pt idx="56281">
                  <c:v>31835</c:v>
                </c:pt>
                <c:pt idx="56282">
                  <c:v>31835</c:v>
                </c:pt>
                <c:pt idx="56283">
                  <c:v>31835</c:v>
                </c:pt>
                <c:pt idx="56284">
                  <c:v>31834</c:v>
                </c:pt>
                <c:pt idx="56285">
                  <c:v>31834</c:v>
                </c:pt>
                <c:pt idx="56286">
                  <c:v>31834</c:v>
                </c:pt>
                <c:pt idx="56287">
                  <c:v>31834</c:v>
                </c:pt>
                <c:pt idx="56288">
                  <c:v>31834</c:v>
                </c:pt>
                <c:pt idx="56289">
                  <c:v>31833</c:v>
                </c:pt>
                <c:pt idx="56290">
                  <c:v>31833</c:v>
                </c:pt>
                <c:pt idx="56291">
                  <c:v>31833</c:v>
                </c:pt>
                <c:pt idx="56292">
                  <c:v>31833</c:v>
                </c:pt>
                <c:pt idx="56293">
                  <c:v>31832</c:v>
                </c:pt>
                <c:pt idx="56294">
                  <c:v>31832</c:v>
                </c:pt>
                <c:pt idx="56295">
                  <c:v>31832</c:v>
                </c:pt>
                <c:pt idx="56296">
                  <c:v>31832</c:v>
                </c:pt>
                <c:pt idx="56297">
                  <c:v>31832</c:v>
                </c:pt>
                <c:pt idx="56298">
                  <c:v>31832</c:v>
                </c:pt>
                <c:pt idx="56299">
                  <c:v>31831</c:v>
                </c:pt>
                <c:pt idx="56300">
                  <c:v>31831</c:v>
                </c:pt>
                <c:pt idx="56301">
                  <c:v>31831</c:v>
                </c:pt>
                <c:pt idx="56302">
                  <c:v>31831</c:v>
                </c:pt>
                <c:pt idx="56303">
                  <c:v>31831</c:v>
                </c:pt>
                <c:pt idx="56304">
                  <c:v>31831</c:v>
                </c:pt>
                <c:pt idx="56305">
                  <c:v>31830</c:v>
                </c:pt>
                <c:pt idx="56306">
                  <c:v>31830</c:v>
                </c:pt>
                <c:pt idx="56307">
                  <c:v>31830</c:v>
                </c:pt>
                <c:pt idx="56308">
                  <c:v>31830</c:v>
                </c:pt>
                <c:pt idx="56309">
                  <c:v>31830</c:v>
                </c:pt>
                <c:pt idx="56310">
                  <c:v>31830</c:v>
                </c:pt>
                <c:pt idx="56311">
                  <c:v>31830</c:v>
                </c:pt>
                <c:pt idx="56312">
                  <c:v>31830</c:v>
                </c:pt>
                <c:pt idx="56313">
                  <c:v>31830</c:v>
                </c:pt>
                <c:pt idx="56314">
                  <c:v>31830</c:v>
                </c:pt>
                <c:pt idx="56315">
                  <c:v>31829</c:v>
                </c:pt>
                <c:pt idx="56316">
                  <c:v>31829</c:v>
                </c:pt>
                <c:pt idx="56317">
                  <c:v>31829</c:v>
                </c:pt>
                <c:pt idx="56318">
                  <c:v>31829</c:v>
                </c:pt>
                <c:pt idx="56319">
                  <c:v>31829</c:v>
                </c:pt>
                <c:pt idx="56320">
                  <c:v>31829</c:v>
                </c:pt>
                <c:pt idx="56321">
                  <c:v>31829</c:v>
                </c:pt>
                <c:pt idx="56322">
                  <c:v>31829</c:v>
                </c:pt>
                <c:pt idx="56323">
                  <c:v>31828</c:v>
                </c:pt>
                <c:pt idx="56324">
                  <c:v>31828</c:v>
                </c:pt>
                <c:pt idx="56325">
                  <c:v>31828</c:v>
                </c:pt>
                <c:pt idx="56326">
                  <c:v>31828</c:v>
                </c:pt>
                <c:pt idx="56327">
                  <c:v>31828</c:v>
                </c:pt>
                <c:pt idx="56328">
                  <c:v>31828</c:v>
                </c:pt>
                <c:pt idx="56329">
                  <c:v>31828</c:v>
                </c:pt>
                <c:pt idx="56330">
                  <c:v>31828</c:v>
                </c:pt>
                <c:pt idx="56331">
                  <c:v>31827</c:v>
                </c:pt>
                <c:pt idx="56332">
                  <c:v>31827</c:v>
                </c:pt>
                <c:pt idx="56333">
                  <c:v>31827</c:v>
                </c:pt>
                <c:pt idx="56334">
                  <c:v>31827</c:v>
                </c:pt>
                <c:pt idx="56335">
                  <c:v>31827</c:v>
                </c:pt>
                <c:pt idx="56336">
                  <c:v>31826</c:v>
                </c:pt>
                <c:pt idx="56337">
                  <c:v>31826</c:v>
                </c:pt>
                <c:pt idx="56338">
                  <c:v>31826</c:v>
                </c:pt>
                <c:pt idx="56339">
                  <c:v>31826</c:v>
                </c:pt>
                <c:pt idx="56340">
                  <c:v>31826</c:v>
                </c:pt>
                <c:pt idx="56341">
                  <c:v>31826</c:v>
                </c:pt>
                <c:pt idx="56342">
                  <c:v>31826</c:v>
                </c:pt>
                <c:pt idx="56343">
                  <c:v>31826</c:v>
                </c:pt>
                <c:pt idx="56344">
                  <c:v>31826</c:v>
                </c:pt>
                <c:pt idx="56345">
                  <c:v>31826</c:v>
                </c:pt>
                <c:pt idx="56346">
                  <c:v>31825</c:v>
                </c:pt>
                <c:pt idx="56347">
                  <c:v>31825</c:v>
                </c:pt>
                <c:pt idx="56348">
                  <c:v>31825</c:v>
                </c:pt>
                <c:pt idx="56349">
                  <c:v>31825</c:v>
                </c:pt>
                <c:pt idx="56350">
                  <c:v>31825</c:v>
                </c:pt>
                <c:pt idx="56351">
                  <c:v>31825</c:v>
                </c:pt>
                <c:pt idx="56352">
                  <c:v>31825</c:v>
                </c:pt>
                <c:pt idx="56353">
                  <c:v>31825</c:v>
                </c:pt>
                <c:pt idx="56354">
                  <c:v>31825</c:v>
                </c:pt>
                <c:pt idx="56355">
                  <c:v>31825</c:v>
                </c:pt>
                <c:pt idx="56356">
                  <c:v>31825</c:v>
                </c:pt>
                <c:pt idx="56357">
                  <c:v>31824</c:v>
                </c:pt>
                <c:pt idx="56358">
                  <c:v>31824</c:v>
                </c:pt>
                <c:pt idx="56359">
                  <c:v>31824</c:v>
                </c:pt>
                <c:pt idx="56360">
                  <c:v>31824</c:v>
                </c:pt>
                <c:pt idx="56361">
                  <c:v>31824</c:v>
                </c:pt>
                <c:pt idx="56362">
                  <c:v>31824</c:v>
                </c:pt>
                <c:pt idx="56363">
                  <c:v>31824</c:v>
                </c:pt>
                <c:pt idx="56364">
                  <c:v>31824</c:v>
                </c:pt>
                <c:pt idx="56365">
                  <c:v>31824</c:v>
                </c:pt>
                <c:pt idx="56366">
                  <c:v>31824</c:v>
                </c:pt>
                <c:pt idx="56367">
                  <c:v>31824</c:v>
                </c:pt>
                <c:pt idx="56368">
                  <c:v>31824</c:v>
                </c:pt>
                <c:pt idx="56369">
                  <c:v>31824</c:v>
                </c:pt>
                <c:pt idx="56370">
                  <c:v>31823</c:v>
                </c:pt>
                <c:pt idx="56371">
                  <c:v>31823</c:v>
                </c:pt>
                <c:pt idx="56372">
                  <c:v>31823</c:v>
                </c:pt>
                <c:pt idx="56373">
                  <c:v>31823</c:v>
                </c:pt>
                <c:pt idx="56374">
                  <c:v>31823</c:v>
                </c:pt>
                <c:pt idx="56375">
                  <c:v>31823</c:v>
                </c:pt>
                <c:pt idx="56376">
                  <c:v>31823</c:v>
                </c:pt>
                <c:pt idx="56377">
                  <c:v>31823</c:v>
                </c:pt>
                <c:pt idx="56378">
                  <c:v>31823</c:v>
                </c:pt>
                <c:pt idx="56379">
                  <c:v>31822</c:v>
                </c:pt>
                <c:pt idx="56380">
                  <c:v>31822</c:v>
                </c:pt>
                <c:pt idx="56381">
                  <c:v>31822</c:v>
                </c:pt>
                <c:pt idx="56382">
                  <c:v>31822</c:v>
                </c:pt>
                <c:pt idx="56383">
                  <c:v>31822</c:v>
                </c:pt>
                <c:pt idx="56384">
                  <c:v>31822</c:v>
                </c:pt>
                <c:pt idx="56385">
                  <c:v>31822</c:v>
                </c:pt>
                <c:pt idx="56386">
                  <c:v>31821</c:v>
                </c:pt>
                <c:pt idx="56387">
                  <c:v>31821</c:v>
                </c:pt>
                <c:pt idx="56388">
                  <c:v>31821</c:v>
                </c:pt>
                <c:pt idx="56389">
                  <c:v>31821</c:v>
                </c:pt>
                <c:pt idx="56390">
                  <c:v>31821</c:v>
                </c:pt>
                <c:pt idx="56391">
                  <c:v>31821</c:v>
                </c:pt>
                <c:pt idx="56392">
                  <c:v>31820</c:v>
                </c:pt>
                <c:pt idx="56393">
                  <c:v>31820</c:v>
                </c:pt>
                <c:pt idx="56394">
                  <c:v>31820</c:v>
                </c:pt>
                <c:pt idx="56395">
                  <c:v>31820</c:v>
                </c:pt>
                <c:pt idx="56396">
                  <c:v>31820</c:v>
                </c:pt>
                <c:pt idx="56397">
                  <c:v>31819</c:v>
                </c:pt>
                <c:pt idx="56398">
                  <c:v>31819</c:v>
                </c:pt>
                <c:pt idx="56399">
                  <c:v>31819</c:v>
                </c:pt>
                <c:pt idx="56400">
                  <c:v>31819</c:v>
                </c:pt>
                <c:pt idx="56401">
                  <c:v>31819</c:v>
                </c:pt>
                <c:pt idx="56402">
                  <c:v>31819</c:v>
                </c:pt>
                <c:pt idx="56403">
                  <c:v>31819</c:v>
                </c:pt>
                <c:pt idx="56404">
                  <c:v>31819</c:v>
                </c:pt>
                <c:pt idx="56405">
                  <c:v>31818</c:v>
                </c:pt>
                <c:pt idx="56406">
                  <c:v>31818</c:v>
                </c:pt>
                <c:pt idx="56407">
                  <c:v>31818</c:v>
                </c:pt>
                <c:pt idx="56408">
                  <c:v>31818</c:v>
                </c:pt>
                <c:pt idx="56409">
                  <c:v>31818</c:v>
                </c:pt>
                <c:pt idx="56410">
                  <c:v>31818</c:v>
                </c:pt>
                <c:pt idx="56411">
                  <c:v>31818</c:v>
                </c:pt>
                <c:pt idx="56412">
                  <c:v>31818</c:v>
                </c:pt>
                <c:pt idx="56413">
                  <c:v>31817</c:v>
                </c:pt>
                <c:pt idx="56414">
                  <c:v>31817</c:v>
                </c:pt>
                <c:pt idx="56415">
                  <c:v>31817</c:v>
                </c:pt>
                <c:pt idx="56416">
                  <c:v>31817</c:v>
                </c:pt>
                <c:pt idx="56417">
                  <c:v>31817</c:v>
                </c:pt>
                <c:pt idx="56418">
                  <c:v>31817</c:v>
                </c:pt>
                <c:pt idx="56419">
                  <c:v>31816</c:v>
                </c:pt>
                <c:pt idx="56420">
                  <c:v>31816</c:v>
                </c:pt>
                <c:pt idx="56421">
                  <c:v>31816</c:v>
                </c:pt>
                <c:pt idx="56422">
                  <c:v>31816</c:v>
                </c:pt>
                <c:pt idx="56423">
                  <c:v>31815</c:v>
                </c:pt>
                <c:pt idx="56424">
                  <c:v>31815</c:v>
                </c:pt>
                <c:pt idx="56425">
                  <c:v>31815</c:v>
                </c:pt>
                <c:pt idx="56426">
                  <c:v>31815</c:v>
                </c:pt>
                <c:pt idx="56427">
                  <c:v>31814</c:v>
                </c:pt>
                <c:pt idx="56428">
                  <c:v>31814</c:v>
                </c:pt>
                <c:pt idx="56429">
                  <c:v>31814</c:v>
                </c:pt>
                <c:pt idx="56430">
                  <c:v>31814</c:v>
                </c:pt>
                <c:pt idx="56431">
                  <c:v>31814</c:v>
                </c:pt>
                <c:pt idx="56432">
                  <c:v>31813</c:v>
                </c:pt>
                <c:pt idx="56433">
                  <c:v>31813</c:v>
                </c:pt>
                <c:pt idx="56434">
                  <c:v>31813</c:v>
                </c:pt>
                <c:pt idx="56435">
                  <c:v>31813</c:v>
                </c:pt>
                <c:pt idx="56436">
                  <c:v>31813</c:v>
                </c:pt>
                <c:pt idx="56437">
                  <c:v>31813</c:v>
                </c:pt>
                <c:pt idx="56438">
                  <c:v>31813</c:v>
                </c:pt>
                <c:pt idx="56439">
                  <c:v>31812</c:v>
                </c:pt>
                <c:pt idx="56440">
                  <c:v>31812</c:v>
                </c:pt>
                <c:pt idx="56441">
                  <c:v>31812</c:v>
                </c:pt>
                <c:pt idx="56442">
                  <c:v>31812</c:v>
                </c:pt>
                <c:pt idx="56443">
                  <c:v>31812</c:v>
                </c:pt>
                <c:pt idx="56444">
                  <c:v>31812</c:v>
                </c:pt>
                <c:pt idx="56445">
                  <c:v>31812</c:v>
                </c:pt>
                <c:pt idx="56446">
                  <c:v>31812</c:v>
                </c:pt>
                <c:pt idx="56447">
                  <c:v>31812</c:v>
                </c:pt>
                <c:pt idx="56448">
                  <c:v>31812</c:v>
                </c:pt>
                <c:pt idx="56449">
                  <c:v>31812</c:v>
                </c:pt>
                <c:pt idx="56450">
                  <c:v>31812</c:v>
                </c:pt>
                <c:pt idx="56451">
                  <c:v>31812</c:v>
                </c:pt>
                <c:pt idx="56452">
                  <c:v>31811</c:v>
                </c:pt>
                <c:pt idx="56453">
                  <c:v>31811</c:v>
                </c:pt>
                <c:pt idx="56454">
                  <c:v>31811</c:v>
                </c:pt>
                <c:pt idx="56455">
                  <c:v>31811</c:v>
                </c:pt>
                <c:pt idx="56456">
                  <c:v>31811</c:v>
                </c:pt>
                <c:pt idx="56457">
                  <c:v>31810</c:v>
                </c:pt>
                <c:pt idx="56458">
                  <c:v>31810</c:v>
                </c:pt>
                <c:pt idx="56459">
                  <c:v>31810</c:v>
                </c:pt>
                <c:pt idx="56460">
                  <c:v>31810</c:v>
                </c:pt>
                <c:pt idx="56461">
                  <c:v>31810</c:v>
                </c:pt>
                <c:pt idx="56462">
                  <c:v>31810</c:v>
                </c:pt>
                <c:pt idx="56463">
                  <c:v>31810</c:v>
                </c:pt>
                <c:pt idx="56464">
                  <c:v>31809</c:v>
                </c:pt>
                <c:pt idx="56465">
                  <c:v>31809</c:v>
                </c:pt>
                <c:pt idx="56466">
                  <c:v>31809</c:v>
                </c:pt>
                <c:pt idx="56467">
                  <c:v>31809</c:v>
                </c:pt>
                <c:pt idx="56468">
                  <c:v>31809</c:v>
                </c:pt>
                <c:pt idx="56469">
                  <c:v>31808</c:v>
                </c:pt>
                <c:pt idx="56470">
                  <c:v>31808</c:v>
                </c:pt>
                <c:pt idx="56471">
                  <c:v>31808</c:v>
                </c:pt>
                <c:pt idx="56472">
                  <c:v>31808</c:v>
                </c:pt>
                <c:pt idx="56473">
                  <c:v>31808</c:v>
                </c:pt>
                <c:pt idx="56474">
                  <c:v>31808</c:v>
                </c:pt>
                <c:pt idx="56475">
                  <c:v>31808</c:v>
                </c:pt>
                <c:pt idx="56476">
                  <c:v>31808</c:v>
                </c:pt>
                <c:pt idx="56477">
                  <c:v>31808</c:v>
                </c:pt>
                <c:pt idx="56478">
                  <c:v>31808</c:v>
                </c:pt>
                <c:pt idx="56479">
                  <c:v>31808</c:v>
                </c:pt>
                <c:pt idx="56480">
                  <c:v>31808</c:v>
                </c:pt>
                <c:pt idx="56481">
                  <c:v>31807</c:v>
                </c:pt>
                <c:pt idx="56482">
                  <c:v>31807</c:v>
                </c:pt>
                <c:pt idx="56483">
                  <c:v>31807</c:v>
                </c:pt>
                <c:pt idx="56484">
                  <c:v>31807</c:v>
                </c:pt>
                <c:pt idx="56485">
                  <c:v>31807</c:v>
                </c:pt>
                <c:pt idx="56486">
                  <c:v>31807</c:v>
                </c:pt>
                <c:pt idx="56487">
                  <c:v>31807</c:v>
                </c:pt>
                <c:pt idx="56488">
                  <c:v>31806</c:v>
                </c:pt>
                <c:pt idx="56489">
                  <c:v>31806</c:v>
                </c:pt>
                <c:pt idx="56490">
                  <c:v>31806</c:v>
                </c:pt>
                <c:pt idx="56491">
                  <c:v>31806</c:v>
                </c:pt>
                <c:pt idx="56492">
                  <c:v>31806</c:v>
                </c:pt>
                <c:pt idx="56493">
                  <c:v>31806</c:v>
                </c:pt>
                <c:pt idx="56494">
                  <c:v>31806</c:v>
                </c:pt>
                <c:pt idx="56495">
                  <c:v>31806</c:v>
                </c:pt>
                <c:pt idx="56496">
                  <c:v>31806</c:v>
                </c:pt>
                <c:pt idx="56497">
                  <c:v>31805</c:v>
                </c:pt>
                <c:pt idx="56498">
                  <c:v>31805</c:v>
                </c:pt>
                <c:pt idx="56499">
                  <c:v>31804</c:v>
                </c:pt>
                <c:pt idx="56500">
                  <c:v>31804</c:v>
                </c:pt>
                <c:pt idx="56501">
                  <c:v>31804</c:v>
                </c:pt>
                <c:pt idx="56502">
                  <c:v>31804</c:v>
                </c:pt>
                <c:pt idx="56503">
                  <c:v>31804</c:v>
                </c:pt>
                <c:pt idx="56504">
                  <c:v>31804</c:v>
                </c:pt>
                <c:pt idx="56505">
                  <c:v>31804</c:v>
                </c:pt>
                <c:pt idx="56506">
                  <c:v>31804</c:v>
                </c:pt>
                <c:pt idx="56507">
                  <c:v>31803</c:v>
                </c:pt>
                <c:pt idx="56508">
                  <c:v>31803</c:v>
                </c:pt>
                <c:pt idx="56509">
                  <c:v>31803</c:v>
                </c:pt>
                <c:pt idx="56510">
                  <c:v>31803</c:v>
                </c:pt>
                <c:pt idx="56511">
                  <c:v>31803</c:v>
                </c:pt>
                <c:pt idx="56512">
                  <c:v>31803</c:v>
                </c:pt>
                <c:pt idx="56513">
                  <c:v>31803</c:v>
                </c:pt>
                <c:pt idx="56514">
                  <c:v>31803</c:v>
                </c:pt>
                <c:pt idx="56515">
                  <c:v>31803</c:v>
                </c:pt>
                <c:pt idx="56516">
                  <c:v>31803</c:v>
                </c:pt>
                <c:pt idx="56517">
                  <c:v>31802</c:v>
                </c:pt>
                <c:pt idx="56518">
                  <c:v>31802</c:v>
                </c:pt>
                <c:pt idx="56519">
                  <c:v>31802</c:v>
                </c:pt>
                <c:pt idx="56520">
                  <c:v>31802</c:v>
                </c:pt>
                <c:pt idx="56521">
                  <c:v>31802</c:v>
                </c:pt>
                <c:pt idx="56522">
                  <c:v>31802</c:v>
                </c:pt>
                <c:pt idx="56523">
                  <c:v>31802</c:v>
                </c:pt>
                <c:pt idx="56524">
                  <c:v>31801</c:v>
                </c:pt>
                <c:pt idx="56525">
                  <c:v>31800</c:v>
                </c:pt>
                <c:pt idx="56526">
                  <c:v>31800</c:v>
                </c:pt>
                <c:pt idx="56527">
                  <c:v>31800</c:v>
                </c:pt>
                <c:pt idx="56528">
                  <c:v>31800</c:v>
                </c:pt>
                <c:pt idx="56529">
                  <c:v>31800</c:v>
                </c:pt>
                <c:pt idx="56530">
                  <c:v>31800</c:v>
                </c:pt>
                <c:pt idx="56531">
                  <c:v>31800</c:v>
                </c:pt>
                <c:pt idx="56532">
                  <c:v>31800</c:v>
                </c:pt>
                <c:pt idx="56533">
                  <c:v>31799</c:v>
                </c:pt>
                <c:pt idx="56534">
                  <c:v>31799</c:v>
                </c:pt>
                <c:pt idx="56535">
                  <c:v>31799</c:v>
                </c:pt>
                <c:pt idx="56536">
                  <c:v>31799</c:v>
                </c:pt>
                <c:pt idx="56537">
                  <c:v>31799</c:v>
                </c:pt>
                <c:pt idx="56538">
                  <c:v>31799</c:v>
                </c:pt>
                <c:pt idx="56539">
                  <c:v>31798</c:v>
                </c:pt>
                <c:pt idx="56540">
                  <c:v>31798</c:v>
                </c:pt>
                <c:pt idx="56541">
                  <c:v>31798</c:v>
                </c:pt>
                <c:pt idx="56542">
                  <c:v>31798</c:v>
                </c:pt>
                <c:pt idx="56543">
                  <c:v>31798</c:v>
                </c:pt>
                <c:pt idx="56544">
                  <c:v>31798</c:v>
                </c:pt>
                <c:pt idx="56545">
                  <c:v>31797</c:v>
                </c:pt>
                <c:pt idx="56546">
                  <c:v>31797</c:v>
                </c:pt>
                <c:pt idx="56547">
                  <c:v>31797</c:v>
                </c:pt>
                <c:pt idx="56548">
                  <c:v>31797</c:v>
                </c:pt>
                <c:pt idx="56549">
                  <c:v>31797</c:v>
                </c:pt>
                <c:pt idx="56550">
                  <c:v>31797</c:v>
                </c:pt>
                <c:pt idx="56551">
                  <c:v>31797</c:v>
                </c:pt>
                <c:pt idx="56552">
                  <c:v>31796</c:v>
                </c:pt>
                <c:pt idx="56553">
                  <c:v>31796</c:v>
                </c:pt>
                <c:pt idx="56554">
                  <c:v>31796</c:v>
                </c:pt>
                <c:pt idx="56555">
                  <c:v>31796</c:v>
                </c:pt>
                <c:pt idx="56556">
                  <c:v>31796</c:v>
                </c:pt>
                <c:pt idx="56557">
                  <c:v>31796</c:v>
                </c:pt>
                <c:pt idx="56558">
                  <c:v>31796</c:v>
                </c:pt>
                <c:pt idx="56559">
                  <c:v>31796</c:v>
                </c:pt>
                <c:pt idx="56560">
                  <c:v>31796</c:v>
                </c:pt>
                <c:pt idx="56561">
                  <c:v>31796</c:v>
                </c:pt>
                <c:pt idx="56562">
                  <c:v>31796</c:v>
                </c:pt>
                <c:pt idx="56563">
                  <c:v>31796</c:v>
                </c:pt>
                <c:pt idx="56564">
                  <c:v>31795</c:v>
                </c:pt>
                <c:pt idx="56565">
                  <c:v>31795</c:v>
                </c:pt>
                <c:pt idx="56566">
                  <c:v>31795</c:v>
                </c:pt>
                <c:pt idx="56567">
                  <c:v>31795</c:v>
                </c:pt>
                <c:pt idx="56568">
                  <c:v>31795</c:v>
                </c:pt>
                <c:pt idx="56569">
                  <c:v>31795</c:v>
                </c:pt>
                <c:pt idx="56570">
                  <c:v>31795</c:v>
                </c:pt>
                <c:pt idx="56571">
                  <c:v>31795</c:v>
                </c:pt>
                <c:pt idx="56572">
                  <c:v>31795</c:v>
                </c:pt>
                <c:pt idx="56573">
                  <c:v>31794</c:v>
                </c:pt>
                <c:pt idx="56574">
                  <c:v>31794</c:v>
                </c:pt>
                <c:pt idx="56575">
                  <c:v>31794</c:v>
                </c:pt>
                <c:pt idx="56576">
                  <c:v>31794</c:v>
                </c:pt>
                <c:pt idx="56577">
                  <c:v>31794</c:v>
                </c:pt>
                <c:pt idx="56578">
                  <c:v>31794</c:v>
                </c:pt>
                <c:pt idx="56579">
                  <c:v>31794</c:v>
                </c:pt>
                <c:pt idx="56580">
                  <c:v>31794</c:v>
                </c:pt>
                <c:pt idx="56581">
                  <c:v>31793</c:v>
                </c:pt>
                <c:pt idx="56582">
                  <c:v>31793</c:v>
                </c:pt>
                <c:pt idx="56583">
                  <c:v>31793</c:v>
                </c:pt>
                <c:pt idx="56584">
                  <c:v>31792</c:v>
                </c:pt>
                <c:pt idx="56585">
                  <c:v>31792</c:v>
                </c:pt>
                <c:pt idx="56586">
                  <c:v>31792</c:v>
                </c:pt>
                <c:pt idx="56587">
                  <c:v>31792</c:v>
                </c:pt>
                <c:pt idx="56588">
                  <c:v>31792</c:v>
                </c:pt>
                <c:pt idx="56589">
                  <c:v>31792</c:v>
                </c:pt>
                <c:pt idx="56590">
                  <c:v>31791</c:v>
                </c:pt>
                <c:pt idx="56591">
                  <c:v>31791</c:v>
                </c:pt>
                <c:pt idx="56592">
                  <c:v>31791</c:v>
                </c:pt>
                <c:pt idx="56593">
                  <c:v>31791</c:v>
                </c:pt>
                <c:pt idx="56594">
                  <c:v>31791</c:v>
                </c:pt>
                <c:pt idx="56595">
                  <c:v>31791</c:v>
                </c:pt>
                <c:pt idx="56596">
                  <c:v>31790</c:v>
                </c:pt>
                <c:pt idx="56597">
                  <c:v>31790</c:v>
                </c:pt>
                <c:pt idx="56598">
                  <c:v>31790</c:v>
                </c:pt>
                <c:pt idx="56599">
                  <c:v>31790</c:v>
                </c:pt>
                <c:pt idx="56600">
                  <c:v>31790</c:v>
                </c:pt>
                <c:pt idx="56601">
                  <c:v>31790</c:v>
                </c:pt>
                <c:pt idx="56602">
                  <c:v>31789</c:v>
                </c:pt>
                <c:pt idx="56603">
                  <c:v>31789</c:v>
                </c:pt>
                <c:pt idx="56604">
                  <c:v>31789</c:v>
                </c:pt>
                <c:pt idx="56605">
                  <c:v>31789</c:v>
                </c:pt>
                <c:pt idx="56606">
                  <c:v>31788</c:v>
                </c:pt>
                <c:pt idx="56607">
                  <c:v>31788</c:v>
                </c:pt>
                <c:pt idx="56608">
                  <c:v>31788</c:v>
                </c:pt>
                <c:pt idx="56609">
                  <c:v>31788</c:v>
                </c:pt>
                <c:pt idx="56610">
                  <c:v>31788</c:v>
                </c:pt>
                <c:pt idx="56611">
                  <c:v>31788</c:v>
                </c:pt>
                <c:pt idx="56612">
                  <c:v>31788</c:v>
                </c:pt>
                <c:pt idx="56613">
                  <c:v>31787</c:v>
                </c:pt>
                <c:pt idx="56614">
                  <c:v>31787</c:v>
                </c:pt>
                <c:pt idx="56615">
                  <c:v>31787</c:v>
                </c:pt>
                <c:pt idx="56616">
                  <c:v>31787</c:v>
                </c:pt>
                <c:pt idx="56617">
                  <c:v>31787</c:v>
                </c:pt>
                <c:pt idx="56618">
                  <c:v>31787</c:v>
                </c:pt>
                <c:pt idx="56619">
                  <c:v>31787</c:v>
                </c:pt>
                <c:pt idx="56620">
                  <c:v>31787</c:v>
                </c:pt>
                <c:pt idx="56621">
                  <c:v>31787</c:v>
                </c:pt>
                <c:pt idx="56622">
                  <c:v>31786</c:v>
                </c:pt>
                <c:pt idx="56623">
                  <c:v>31786</c:v>
                </c:pt>
                <c:pt idx="56624">
                  <c:v>31786</c:v>
                </c:pt>
                <c:pt idx="56625">
                  <c:v>31786</c:v>
                </c:pt>
                <c:pt idx="56626">
                  <c:v>31786</c:v>
                </c:pt>
                <c:pt idx="56627">
                  <c:v>31786</c:v>
                </c:pt>
                <c:pt idx="56628">
                  <c:v>31786</c:v>
                </c:pt>
                <c:pt idx="56629">
                  <c:v>31785</c:v>
                </c:pt>
                <c:pt idx="56630">
                  <c:v>31785</c:v>
                </c:pt>
                <c:pt idx="56631">
                  <c:v>31785</c:v>
                </c:pt>
                <c:pt idx="56632">
                  <c:v>31785</c:v>
                </c:pt>
                <c:pt idx="56633">
                  <c:v>31785</c:v>
                </c:pt>
                <c:pt idx="56634">
                  <c:v>31785</c:v>
                </c:pt>
                <c:pt idx="56635">
                  <c:v>31785</c:v>
                </c:pt>
                <c:pt idx="56636">
                  <c:v>31785</c:v>
                </c:pt>
                <c:pt idx="56637">
                  <c:v>31784</c:v>
                </c:pt>
                <c:pt idx="56638">
                  <c:v>31784</c:v>
                </c:pt>
                <c:pt idx="56639">
                  <c:v>31784</c:v>
                </c:pt>
                <c:pt idx="56640">
                  <c:v>31784</c:v>
                </c:pt>
                <c:pt idx="56641">
                  <c:v>31784</c:v>
                </c:pt>
                <c:pt idx="56642">
                  <c:v>31784</c:v>
                </c:pt>
                <c:pt idx="56643">
                  <c:v>31784</c:v>
                </c:pt>
                <c:pt idx="56644">
                  <c:v>31784</c:v>
                </c:pt>
                <c:pt idx="56645">
                  <c:v>31784</c:v>
                </c:pt>
                <c:pt idx="56646">
                  <c:v>31783</c:v>
                </c:pt>
                <c:pt idx="56647">
                  <c:v>31783</c:v>
                </c:pt>
                <c:pt idx="56648">
                  <c:v>31782</c:v>
                </c:pt>
                <c:pt idx="56649">
                  <c:v>31782</c:v>
                </c:pt>
                <c:pt idx="56650">
                  <c:v>31782</c:v>
                </c:pt>
                <c:pt idx="56651">
                  <c:v>31782</c:v>
                </c:pt>
                <c:pt idx="56652">
                  <c:v>31782</c:v>
                </c:pt>
                <c:pt idx="56653">
                  <c:v>31782</c:v>
                </c:pt>
                <c:pt idx="56654">
                  <c:v>31782</c:v>
                </c:pt>
                <c:pt idx="56655">
                  <c:v>31782</c:v>
                </c:pt>
                <c:pt idx="56656">
                  <c:v>31782</c:v>
                </c:pt>
                <c:pt idx="56657">
                  <c:v>31782</c:v>
                </c:pt>
                <c:pt idx="56658">
                  <c:v>31781</c:v>
                </c:pt>
                <c:pt idx="56659">
                  <c:v>31781</c:v>
                </c:pt>
                <c:pt idx="56660">
                  <c:v>31781</c:v>
                </c:pt>
                <c:pt idx="56661">
                  <c:v>31781</c:v>
                </c:pt>
                <c:pt idx="56662">
                  <c:v>31780</c:v>
                </c:pt>
                <c:pt idx="56663">
                  <c:v>31780</c:v>
                </c:pt>
                <c:pt idx="56664">
                  <c:v>31780</c:v>
                </c:pt>
                <c:pt idx="56665">
                  <c:v>31780</c:v>
                </c:pt>
                <c:pt idx="56666">
                  <c:v>31780</c:v>
                </c:pt>
                <c:pt idx="56667">
                  <c:v>31780</c:v>
                </c:pt>
                <c:pt idx="56668">
                  <c:v>31780</c:v>
                </c:pt>
                <c:pt idx="56669">
                  <c:v>31780</c:v>
                </c:pt>
                <c:pt idx="56670">
                  <c:v>31779</c:v>
                </c:pt>
                <c:pt idx="56671">
                  <c:v>31779</c:v>
                </c:pt>
                <c:pt idx="56672">
                  <c:v>31779</c:v>
                </c:pt>
                <c:pt idx="56673">
                  <c:v>31779</c:v>
                </c:pt>
                <c:pt idx="56674">
                  <c:v>31779</c:v>
                </c:pt>
                <c:pt idx="56675">
                  <c:v>31779</c:v>
                </c:pt>
                <c:pt idx="56676">
                  <c:v>31779</c:v>
                </c:pt>
                <c:pt idx="56677">
                  <c:v>31779</c:v>
                </c:pt>
                <c:pt idx="56678">
                  <c:v>31779</c:v>
                </c:pt>
                <c:pt idx="56679">
                  <c:v>31779</c:v>
                </c:pt>
                <c:pt idx="56680">
                  <c:v>31778</c:v>
                </c:pt>
                <c:pt idx="56681">
                  <c:v>31778</c:v>
                </c:pt>
                <c:pt idx="56682">
                  <c:v>31778</c:v>
                </c:pt>
                <c:pt idx="56683">
                  <c:v>31778</c:v>
                </c:pt>
                <c:pt idx="56684">
                  <c:v>31778</c:v>
                </c:pt>
                <c:pt idx="56685">
                  <c:v>31778</c:v>
                </c:pt>
                <c:pt idx="56686">
                  <c:v>31778</c:v>
                </c:pt>
                <c:pt idx="56687">
                  <c:v>31778</c:v>
                </c:pt>
                <c:pt idx="56688">
                  <c:v>31778</c:v>
                </c:pt>
                <c:pt idx="56689">
                  <c:v>31778</c:v>
                </c:pt>
                <c:pt idx="56690">
                  <c:v>31777</c:v>
                </c:pt>
                <c:pt idx="56691">
                  <c:v>31777</c:v>
                </c:pt>
                <c:pt idx="56692">
                  <c:v>31776</c:v>
                </c:pt>
                <c:pt idx="56693">
                  <c:v>31776</c:v>
                </c:pt>
                <c:pt idx="56694">
                  <c:v>31776</c:v>
                </c:pt>
                <c:pt idx="56695">
                  <c:v>31775</c:v>
                </c:pt>
                <c:pt idx="56696">
                  <c:v>31775</c:v>
                </c:pt>
                <c:pt idx="56697">
                  <c:v>31775</c:v>
                </c:pt>
                <c:pt idx="56698">
                  <c:v>31775</c:v>
                </c:pt>
                <c:pt idx="56699">
                  <c:v>31775</c:v>
                </c:pt>
                <c:pt idx="56700">
                  <c:v>31775</c:v>
                </c:pt>
                <c:pt idx="56701">
                  <c:v>31775</c:v>
                </c:pt>
                <c:pt idx="56702">
                  <c:v>31774</c:v>
                </c:pt>
                <c:pt idx="56703">
                  <c:v>31774</c:v>
                </c:pt>
                <c:pt idx="56704">
                  <c:v>31774</c:v>
                </c:pt>
                <c:pt idx="56705">
                  <c:v>31774</c:v>
                </c:pt>
                <c:pt idx="56706">
                  <c:v>31774</c:v>
                </c:pt>
                <c:pt idx="56707">
                  <c:v>31774</c:v>
                </c:pt>
                <c:pt idx="56708">
                  <c:v>31773</c:v>
                </c:pt>
                <c:pt idx="56709">
                  <c:v>31773</c:v>
                </c:pt>
                <c:pt idx="56710">
                  <c:v>31773</c:v>
                </c:pt>
                <c:pt idx="56711">
                  <c:v>31773</c:v>
                </c:pt>
                <c:pt idx="56712">
                  <c:v>31773</c:v>
                </c:pt>
                <c:pt idx="56713">
                  <c:v>31773</c:v>
                </c:pt>
                <c:pt idx="56714">
                  <c:v>31773</c:v>
                </c:pt>
                <c:pt idx="56715">
                  <c:v>31772</c:v>
                </c:pt>
                <c:pt idx="56716">
                  <c:v>31772</c:v>
                </c:pt>
                <c:pt idx="56717">
                  <c:v>31772</c:v>
                </c:pt>
                <c:pt idx="56718">
                  <c:v>31772</c:v>
                </c:pt>
                <c:pt idx="56719">
                  <c:v>31772</c:v>
                </c:pt>
                <c:pt idx="56720">
                  <c:v>31772</c:v>
                </c:pt>
                <c:pt idx="56721">
                  <c:v>31772</c:v>
                </c:pt>
                <c:pt idx="56722">
                  <c:v>31771</c:v>
                </c:pt>
                <c:pt idx="56723">
                  <c:v>31771</c:v>
                </c:pt>
                <c:pt idx="56724">
                  <c:v>31771</c:v>
                </c:pt>
                <c:pt idx="56725">
                  <c:v>31771</c:v>
                </c:pt>
                <c:pt idx="56726">
                  <c:v>31770</c:v>
                </c:pt>
                <c:pt idx="56727">
                  <c:v>31770</c:v>
                </c:pt>
                <c:pt idx="56728">
                  <c:v>31770</c:v>
                </c:pt>
                <c:pt idx="56729">
                  <c:v>31770</c:v>
                </c:pt>
                <c:pt idx="56730">
                  <c:v>31770</c:v>
                </c:pt>
                <c:pt idx="56731">
                  <c:v>31770</c:v>
                </c:pt>
                <c:pt idx="56732">
                  <c:v>31770</c:v>
                </c:pt>
                <c:pt idx="56733">
                  <c:v>31770</c:v>
                </c:pt>
                <c:pt idx="56734">
                  <c:v>31770</c:v>
                </c:pt>
                <c:pt idx="56735">
                  <c:v>31769</c:v>
                </c:pt>
                <c:pt idx="56736">
                  <c:v>31769</c:v>
                </c:pt>
                <c:pt idx="56737">
                  <c:v>31769</c:v>
                </c:pt>
                <c:pt idx="56738">
                  <c:v>31769</c:v>
                </c:pt>
                <c:pt idx="56739">
                  <c:v>31769</c:v>
                </c:pt>
                <c:pt idx="56740">
                  <c:v>31769</c:v>
                </c:pt>
                <c:pt idx="56741">
                  <c:v>31769</c:v>
                </c:pt>
                <c:pt idx="56742">
                  <c:v>31769</c:v>
                </c:pt>
                <c:pt idx="56743">
                  <c:v>31769</c:v>
                </c:pt>
                <c:pt idx="56744">
                  <c:v>31768</c:v>
                </c:pt>
                <c:pt idx="56745">
                  <c:v>31768</c:v>
                </c:pt>
                <c:pt idx="56746">
                  <c:v>31768</c:v>
                </c:pt>
                <c:pt idx="56747">
                  <c:v>31768</c:v>
                </c:pt>
                <c:pt idx="56748">
                  <c:v>31768</c:v>
                </c:pt>
                <c:pt idx="56749">
                  <c:v>31768</c:v>
                </c:pt>
                <c:pt idx="56750">
                  <c:v>31767</c:v>
                </c:pt>
                <c:pt idx="56751">
                  <c:v>31767</c:v>
                </c:pt>
                <c:pt idx="56752">
                  <c:v>31767</c:v>
                </c:pt>
                <c:pt idx="56753">
                  <c:v>31767</c:v>
                </c:pt>
                <c:pt idx="56754">
                  <c:v>31767</c:v>
                </c:pt>
                <c:pt idx="56755">
                  <c:v>31767</c:v>
                </c:pt>
                <c:pt idx="56756">
                  <c:v>31767</c:v>
                </c:pt>
                <c:pt idx="56757">
                  <c:v>31767</c:v>
                </c:pt>
                <c:pt idx="56758">
                  <c:v>31766</c:v>
                </c:pt>
                <c:pt idx="56759">
                  <c:v>31766</c:v>
                </c:pt>
                <c:pt idx="56760">
                  <c:v>31766</c:v>
                </c:pt>
                <c:pt idx="56761">
                  <c:v>31766</c:v>
                </c:pt>
                <c:pt idx="56762">
                  <c:v>31766</c:v>
                </c:pt>
                <c:pt idx="56763">
                  <c:v>31766</c:v>
                </c:pt>
                <c:pt idx="56764">
                  <c:v>31766</c:v>
                </c:pt>
                <c:pt idx="56765">
                  <c:v>31766</c:v>
                </c:pt>
                <c:pt idx="56766">
                  <c:v>31765</c:v>
                </c:pt>
                <c:pt idx="56767">
                  <c:v>31765</c:v>
                </c:pt>
                <c:pt idx="56768">
                  <c:v>31765</c:v>
                </c:pt>
                <c:pt idx="56769">
                  <c:v>31765</c:v>
                </c:pt>
                <c:pt idx="56770">
                  <c:v>31765</c:v>
                </c:pt>
                <c:pt idx="56771">
                  <c:v>31765</c:v>
                </c:pt>
                <c:pt idx="56772">
                  <c:v>31765</c:v>
                </c:pt>
                <c:pt idx="56773">
                  <c:v>31765</c:v>
                </c:pt>
                <c:pt idx="56774">
                  <c:v>31765</c:v>
                </c:pt>
                <c:pt idx="56775">
                  <c:v>31764</c:v>
                </c:pt>
                <c:pt idx="56776">
                  <c:v>31764</c:v>
                </c:pt>
                <c:pt idx="56777">
                  <c:v>31764</c:v>
                </c:pt>
                <c:pt idx="56778">
                  <c:v>31764</c:v>
                </c:pt>
                <c:pt idx="56779">
                  <c:v>31764</c:v>
                </c:pt>
                <c:pt idx="56780">
                  <c:v>31764</c:v>
                </c:pt>
                <c:pt idx="56781">
                  <c:v>31764</c:v>
                </c:pt>
                <c:pt idx="56782">
                  <c:v>31764</c:v>
                </c:pt>
                <c:pt idx="56783">
                  <c:v>31764</c:v>
                </c:pt>
                <c:pt idx="56784">
                  <c:v>31763</c:v>
                </c:pt>
                <c:pt idx="56785">
                  <c:v>31763</c:v>
                </c:pt>
                <c:pt idx="56786">
                  <c:v>31763</c:v>
                </c:pt>
                <c:pt idx="56787">
                  <c:v>31763</c:v>
                </c:pt>
                <c:pt idx="56788">
                  <c:v>31763</c:v>
                </c:pt>
                <c:pt idx="56789">
                  <c:v>31763</c:v>
                </c:pt>
                <c:pt idx="56790">
                  <c:v>31763</c:v>
                </c:pt>
                <c:pt idx="56791">
                  <c:v>31763</c:v>
                </c:pt>
                <c:pt idx="56792">
                  <c:v>31762</c:v>
                </c:pt>
                <c:pt idx="56793">
                  <c:v>31762</c:v>
                </c:pt>
                <c:pt idx="56794">
                  <c:v>31762</c:v>
                </c:pt>
                <c:pt idx="56795">
                  <c:v>31762</c:v>
                </c:pt>
                <c:pt idx="56796">
                  <c:v>31761</c:v>
                </c:pt>
                <c:pt idx="56797">
                  <c:v>31761</c:v>
                </c:pt>
                <c:pt idx="56798">
                  <c:v>31760</c:v>
                </c:pt>
                <c:pt idx="56799">
                  <c:v>31760</c:v>
                </c:pt>
                <c:pt idx="56800">
                  <c:v>31760</c:v>
                </c:pt>
                <c:pt idx="56801">
                  <c:v>31760</c:v>
                </c:pt>
                <c:pt idx="56802">
                  <c:v>31760</c:v>
                </c:pt>
                <c:pt idx="56803">
                  <c:v>31760</c:v>
                </c:pt>
                <c:pt idx="56804">
                  <c:v>31760</c:v>
                </c:pt>
                <c:pt idx="56805">
                  <c:v>31759</c:v>
                </c:pt>
                <c:pt idx="56806">
                  <c:v>31759</c:v>
                </c:pt>
                <c:pt idx="56807">
                  <c:v>31759</c:v>
                </c:pt>
                <c:pt idx="56808">
                  <c:v>31759</c:v>
                </c:pt>
                <c:pt idx="56809">
                  <c:v>31759</c:v>
                </c:pt>
                <c:pt idx="56810">
                  <c:v>31758</c:v>
                </c:pt>
                <c:pt idx="56811">
                  <c:v>31758</c:v>
                </c:pt>
                <c:pt idx="56812">
                  <c:v>31758</c:v>
                </c:pt>
                <c:pt idx="56813">
                  <c:v>31758</c:v>
                </c:pt>
                <c:pt idx="56814">
                  <c:v>31758</c:v>
                </c:pt>
                <c:pt idx="56815">
                  <c:v>31757</c:v>
                </c:pt>
                <c:pt idx="56816">
                  <c:v>31757</c:v>
                </c:pt>
                <c:pt idx="56817">
                  <c:v>31757</c:v>
                </c:pt>
                <c:pt idx="56818">
                  <c:v>31757</c:v>
                </c:pt>
                <c:pt idx="56819">
                  <c:v>31757</c:v>
                </c:pt>
                <c:pt idx="56820">
                  <c:v>31757</c:v>
                </c:pt>
                <c:pt idx="56821">
                  <c:v>31757</c:v>
                </c:pt>
                <c:pt idx="56822">
                  <c:v>31757</c:v>
                </c:pt>
                <c:pt idx="56823">
                  <c:v>31756</c:v>
                </c:pt>
                <c:pt idx="56824">
                  <c:v>31756</c:v>
                </c:pt>
                <c:pt idx="56825">
                  <c:v>31756</c:v>
                </c:pt>
                <c:pt idx="56826">
                  <c:v>31756</c:v>
                </c:pt>
                <c:pt idx="56827">
                  <c:v>31756</c:v>
                </c:pt>
                <c:pt idx="56828">
                  <c:v>31756</c:v>
                </c:pt>
                <c:pt idx="56829">
                  <c:v>31756</c:v>
                </c:pt>
                <c:pt idx="56830">
                  <c:v>31756</c:v>
                </c:pt>
                <c:pt idx="56831">
                  <c:v>31756</c:v>
                </c:pt>
                <c:pt idx="56832">
                  <c:v>31755</c:v>
                </c:pt>
                <c:pt idx="56833">
                  <c:v>31755</c:v>
                </c:pt>
                <c:pt idx="56834">
                  <c:v>31755</c:v>
                </c:pt>
                <c:pt idx="56835">
                  <c:v>31755</c:v>
                </c:pt>
                <c:pt idx="56836">
                  <c:v>31755</c:v>
                </c:pt>
                <c:pt idx="56837">
                  <c:v>31755</c:v>
                </c:pt>
                <c:pt idx="56838">
                  <c:v>31755</c:v>
                </c:pt>
                <c:pt idx="56839">
                  <c:v>31755</c:v>
                </c:pt>
                <c:pt idx="56840">
                  <c:v>31755</c:v>
                </c:pt>
                <c:pt idx="56841">
                  <c:v>31754</c:v>
                </c:pt>
                <c:pt idx="56842">
                  <c:v>31754</c:v>
                </c:pt>
                <c:pt idx="56843">
                  <c:v>31754</c:v>
                </c:pt>
                <c:pt idx="56844">
                  <c:v>31754</c:v>
                </c:pt>
                <c:pt idx="56845">
                  <c:v>31753</c:v>
                </c:pt>
                <c:pt idx="56846">
                  <c:v>31753</c:v>
                </c:pt>
                <c:pt idx="56847">
                  <c:v>31753</c:v>
                </c:pt>
                <c:pt idx="56848">
                  <c:v>31753</c:v>
                </c:pt>
                <c:pt idx="56849">
                  <c:v>31752</c:v>
                </c:pt>
                <c:pt idx="56850">
                  <c:v>31752</c:v>
                </c:pt>
                <c:pt idx="56851">
                  <c:v>31752</c:v>
                </c:pt>
                <c:pt idx="56852">
                  <c:v>31752</c:v>
                </c:pt>
                <c:pt idx="56853">
                  <c:v>31751</c:v>
                </c:pt>
                <c:pt idx="56854">
                  <c:v>31751</c:v>
                </c:pt>
                <c:pt idx="56855">
                  <c:v>31751</c:v>
                </c:pt>
                <c:pt idx="56856">
                  <c:v>31751</c:v>
                </c:pt>
                <c:pt idx="56857">
                  <c:v>31751</c:v>
                </c:pt>
                <c:pt idx="56858">
                  <c:v>31751</c:v>
                </c:pt>
                <c:pt idx="56859">
                  <c:v>31751</c:v>
                </c:pt>
                <c:pt idx="56860">
                  <c:v>31751</c:v>
                </c:pt>
                <c:pt idx="56861">
                  <c:v>31750</c:v>
                </c:pt>
                <c:pt idx="56862">
                  <c:v>31750</c:v>
                </c:pt>
                <c:pt idx="56863">
                  <c:v>31750</c:v>
                </c:pt>
                <c:pt idx="56864">
                  <c:v>31750</c:v>
                </c:pt>
                <c:pt idx="56865">
                  <c:v>31749</c:v>
                </c:pt>
                <c:pt idx="56866">
                  <c:v>31749</c:v>
                </c:pt>
                <c:pt idx="56867">
                  <c:v>31749</c:v>
                </c:pt>
                <c:pt idx="56868">
                  <c:v>31749</c:v>
                </c:pt>
                <c:pt idx="56869">
                  <c:v>31749</c:v>
                </c:pt>
                <c:pt idx="56870">
                  <c:v>31748</c:v>
                </c:pt>
                <c:pt idx="56871">
                  <c:v>31748</c:v>
                </c:pt>
                <c:pt idx="56872">
                  <c:v>31748</c:v>
                </c:pt>
                <c:pt idx="56873">
                  <c:v>31748</c:v>
                </c:pt>
                <c:pt idx="56874">
                  <c:v>31748</c:v>
                </c:pt>
                <c:pt idx="56875">
                  <c:v>31748</c:v>
                </c:pt>
                <c:pt idx="56876">
                  <c:v>31748</c:v>
                </c:pt>
                <c:pt idx="56877">
                  <c:v>31748</c:v>
                </c:pt>
                <c:pt idx="56878">
                  <c:v>31748</c:v>
                </c:pt>
                <c:pt idx="56879">
                  <c:v>31748</c:v>
                </c:pt>
                <c:pt idx="56880">
                  <c:v>31747</c:v>
                </c:pt>
                <c:pt idx="56881">
                  <c:v>31747</c:v>
                </c:pt>
                <c:pt idx="56882">
                  <c:v>31747</c:v>
                </c:pt>
                <c:pt idx="56883">
                  <c:v>31747</c:v>
                </c:pt>
                <c:pt idx="56884">
                  <c:v>31746</c:v>
                </c:pt>
                <c:pt idx="56885">
                  <c:v>31746</c:v>
                </c:pt>
                <c:pt idx="56886">
                  <c:v>31746</c:v>
                </c:pt>
                <c:pt idx="56887">
                  <c:v>31746</c:v>
                </c:pt>
                <c:pt idx="56888">
                  <c:v>31746</c:v>
                </c:pt>
                <c:pt idx="56889">
                  <c:v>31746</c:v>
                </c:pt>
                <c:pt idx="56890">
                  <c:v>31745</c:v>
                </c:pt>
                <c:pt idx="56891">
                  <c:v>31745</c:v>
                </c:pt>
                <c:pt idx="56892">
                  <c:v>31745</c:v>
                </c:pt>
                <c:pt idx="56893">
                  <c:v>31745</c:v>
                </c:pt>
                <c:pt idx="56894">
                  <c:v>31744</c:v>
                </c:pt>
                <c:pt idx="56895">
                  <c:v>31744</c:v>
                </c:pt>
                <c:pt idx="56896">
                  <c:v>31744</c:v>
                </c:pt>
                <c:pt idx="56897">
                  <c:v>31744</c:v>
                </c:pt>
                <c:pt idx="56898">
                  <c:v>31743</c:v>
                </c:pt>
                <c:pt idx="56899">
                  <c:v>31743</c:v>
                </c:pt>
                <c:pt idx="56900">
                  <c:v>31743</c:v>
                </c:pt>
                <c:pt idx="56901">
                  <c:v>31743</c:v>
                </c:pt>
                <c:pt idx="56902">
                  <c:v>31743</c:v>
                </c:pt>
                <c:pt idx="56903">
                  <c:v>31743</c:v>
                </c:pt>
                <c:pt idx="56904">
                  <c:v>31743</c:v>
                </c:pt>
                <c:pt idx="56905">
                  <c:v>31743</c:v>
                </c:pt>
                <c:pt idx="56906">
                  <c:v>31743</c:v>
                </c:pt>
                <c:pt idx="56907">
                  <c:v>31743</c:v>
                </c:pt>
                <c:pt idx="56908">
                  <c:v>31743</c:v>
                </c:pt>
                <c:pt idx="56909">
                  <c:v>31743</c:v>
                </c:pt>
                <c:pt idx="56910">
                  <c:v>31743</c:v>
                </c:pt>
                <c:pt idx="56911">
                  <c:v>31742</c:v>
                </c:pt>
                <c:pt idx="56912">
                  <c:v>31742</c:v>
                </c:pt>
                <c:pt idx="56913">
                  <c:v>31742</c:v>
                </c:pt>
                <c:pt idx="56914">
                  <c:v>31742</c:v>
                </c:pt>
                <c:pt idx="56915">
                  <c:v>31742</c:v>
                </c:pt>
                <c:pt idx="56916">
                  <c:v>31742</c:v>
                </c:pt>
                <c:pt idx="56917">
                  <c:v>31742</c:v>
                </c:pt>
                <c:pt idx="56918">
                  <c:v>31742</c:v>
                </c:pt>
                <c:pt idx="56919">
                  <c:v>31742</c:v>
                </c:pt>
                <c:pt idx="56920">
                  <c:v>31742</c:v>
                </c:pt>
                <c:pt idx="56921">
                  <c:v>31741</c:v>
                </c:pt>
                <c:pt idx="56922">
                  <c:v>31741</c:v>
                </c:pt>
                <c:pt idx="56923">
                  <c:v>31741</c:v>
                </c:pt>
                <c:pt idx="56924">
                  <c:v>31741</c:v>
                </c:pt>
                <c:pt idx="56925">
                  <c:v>31741</c:v>
                </c:pt>
                <c:pt idx="56926">
                  <c:v>31741</c:v>
                </c:pt>
                <c:pt idx="56927">
                  <c:v>31741</c:v>
                </c:pt>
                <c:pt idx="56928">
                  <c:v>31740</c:v>
                </c:pt>
                <c:pt idx="56929">
                  <c:v>31740</c:v>
                </c:pt>
                <c:pt idx="56930">
                  <c:v>31740</c:v>
                </c:pt>
                <c:pt idx="56931">
                  <c:v>31740</c:v>
                </c:pt>
                <c:pt idx="56932">
                  <c:v>31740</c:v>
                </c:pt>
                <c:pt idx="56933">
                  <c:v>31740</c:v>
                </c:pt>
                <c:pt idx="56934">
                  <c:v>31740</c:v>
                </c:pt>
                <c:pt idx="56935">
                  <c:v>31740</c:v>
                </c:pt>
                <c:pt idx="56936">
                  <c:v>31740</c:v>
                </c:pt>
                <c:pt idx="56937">
                  <c:v>31739</c:v>
                </c:pt>
                <c:pt idx="56938">
                  <c:v>31739</c:v>
                </c:pt>
                <c:pt idx="56939">
                  <c:v>31739</c:v>
                </c:pt>
                <c:pt idx="56940">
                  <c:v>31739</c:v>
                </c:pt>
                <c:pt idx="56941">
                  <c:v>31739</c:v>
                </c:pt>
                <c:pt idx="56942">
                  <c:v>31739</c:v>
                </c:pt>
                <c:pt idx="56943">
                  <c:v>31739</c:v>
                </c:pt>
                <c:pt idx="56944">
                  <c:v>31738</c:v>
                </c:pt>
                <c:pt idx="56945">
                  <c:v>31738</c:v>
                </c:pt>
                <c:pt idx="56946">
                  <c:v>31738</c:v>
                </c:pt>
                <c:pt idx="56947">
                  <c:v>31738</c:v>
                </c:pt>
                <c:pt idx="56948">
                  <c:v>31738</c:v>
                </c:pt>
                <c:pt idx="56949">
                  <c:v>31738</c:v>
                </c:pt>
                <c:pt idx="56950">
                  <c:v>31738</c:v>
                </c:pt>
                <c:pt idx="56951">
                  <c:v>31738</c:v>
                </c:pt>
                <c:pt idx="56952">
                  <c:v>31738</c:v>
                </c:pt>
                <c:pt idx="56953">
                  <c:v>31738</c:v>
                </c:pt>
                <c:pt idx="56954">
                  <c:v>31737</c:v>
                </c:pt>
                <c:pt idx="56955">
                  <c:v>31737</c:v>
                </c:pt>
                <c:pt idx="56956">
                  <c:v>31737</c:v>
                </c:pt>
                <c:pt idx="56957">
                  <c:v>31737</c:v>
                </c:pt>
                <c:pt idx="56958">
                  <c:v>31737</c:v>
                </c:pt>
                <c:pt idx="56959">
                  <c:v>31737</c:v>
                </c:pt>
                <c:pt idx="56960">
                  <c:v>31737</c:v>
                </c:pt>
                <c:pt idx="56961">
                  <c:v>31737</c:v>
                </c:pt>
                <c:pt idx="56962">
                  <c:v>31737</c:v>
                </c:pt>
                <c:pt idx="56963">
                  <c:v>31736</c:v>
                </c:pt>
                <c:pt idx="56964">
                  <c:v>31736</c:v>
                </c:pt>
                <c:pt idx="56965">
                  <c:v>31735</c:v>
                </c:pt>
                <c:pt idx="56966">
                  <c:v>31735</c:v>
                </c:pt>
                <c:pt idx="56967">
                  <c:v>31735</c:v>
                </c:pt>
                <c:pt idx="56968">
                  <c:v>31735</c:v>
                </c:pt>
                <c:pt idx="56969">
                  <c:v>31735</c:v>
                </c:pt>
                <c:pt idx="56970">
                  <c:v>31735</c:v>
                </c:pt>
                <c:pt idx="56971">
                  <c:v>31734</c:v>
                </c:pt>
                <c:pt idx="56972">
                  <c:v>31734</c:v>
                </c:pt>
                <c:pt idx="56973">
                  <c:v>31734</c:v>
                </c:pt>
                <c:pt idx="56974">
                  <c:v>31734</c:v>
                </c:pt>
                <c:pt idx="56975">
                  <c:v>31734</c:v>
                </c:pt>
                <c:pt idx="56976">
                  <c:v>31734</c:v>
                </c:pt>
                <c:pt idx="56977">
                  <c:v>31734</c:v>
                </c:pt>
                <c:pt idx="56978">
                  <c:v>31733</c:v>
                </c:pt>
                <c:pt idx="56979">
                  <c:v>31733</c:v>
                </c:pt>
                <c:pt idx="56980">
                  <c:v>31733</c:v>
                </c:pt>
                <c:pt idx="56981">
                  <c:v>31733</c:v>
                </c:pt>
                <c:pt idx="56982">
                  <c:v>31732</c:v>
                </c:pt>
                <c:pt idx="56983">
                  <c:v>31732</c:v>
                </c:pt>
                <c:pt idx="56984">
                  <c:v>31732</c:v>
                </c:pt>
                <c:pt idx="56985">
                  <c:v>31732</c:v>
                </c:pt>
                <c:pt idx="56986">
                  <c:v>31731</c:v>
                </c:pt>
                <c:pt idx="56987">
                  <c:v>31731</c:v>
                </c:pt>
                <c:pt idx="56988">
                  <c:v>31731</c:v>
                </c:pt>
                <c:pt idx="56989">
                  <c:v>31731</c:v>
                </c:pt>
                <c:pt idx="56990">
                  <c:v>31731</c:v>
                </c:pt>
                <c:pt idx="56991">
                  <c:v>31731</c:v>
                </c:pt>
                <c:pt idx="56992">
                  <c:v>31731</c:v>
                </c:pt>
                <c:pt idx="56993">
                  <c:v>31731</c:v>
                </c:pt>
                <c:pt idx="56994">
                  <c:v>31730</c:v>
                </c:pt>
                <c:pt idx="56995">
                  <c:v>31730</c:v>
                </c:pt>
                <c:pt idx="56996">
                  <c:v>31730</c:v>
                </c:pt>
                <c:pt idx="56997">
                  <c:v>31729</c:v>
                </c:pt>
                <c:pt idx="56998">
                  <c:v>31729</c:v>
                </c:pt>
                <c:pt idx="56999">
                  <c:v>31729</c:v>
                </c:pt>
                <c:pt idx="57000">
                  <c:v>31729</c:v>
                </c:pt>
                <c:pt idx="57001">
                  <c:v>31729</c:v>
                </c:pt>
                <c:pt idx="57002">
                  <c:v>31729</c:v>
                </c:pt>
                <c:pt idx="57003">
                  <c:v>31729</c:v>
                </c:pt>
                <c:pt idx="57004">
                  <c:v>31728</c:v>
                </c:pt>
                <c:pt idx="57005">
                  <c:v>31728</c:v>
                </c:pt>
                <c:pt idx="57006">
                  <c:v>31728</c:v>
                </c:pt>
                <c:pt idx="57007">
                  <c:v>31727</c:v>
                </c:pt>
                <c:pt idx="57008">
                  <c:v>31727</c:v>
                </c:pt>
                <c:pt idx="57009">
                  <c:v>31727</c:v>
                </c:pt>
                <c:pt idx="57010">
                  <c:v>31727</c:v>
                </c:pt>
                <c:pt idx="57011">
                  <c:v>31727</c:v>
                </c:pt>
                <c:pt idx="57012">
                  <c:v>31727</c:v>
                </c:pt>
                <c:pt idx="57013">
                  <c:v>31727</c:v>
                </c:pt>
                <c:pt idx="57014">
                  <c:v>31727</c:v>
                </c:pt>
                <c:pt idx="57015">
                  <c:v>31727</c:v>
                </c:pt>
                <c:pt idx="57016">
                  <c:v>31727</c:v>
                </c:pt>
                <c:pt idx="57017">
                  <c:v>31727</c:v>
                </c:pt>
                <c:pt idx="57018">
                  <c:v>31727</c:v>
                </c:pt>
                <c:pt idx="57019">
                  <c:v>31726</c:v>
                </c:pt>
                <c:pt idx="57020">
                  <c:v>31726</c:v>
                </c:pt>
                <c:pt idx="57021">
                  <c:v>31726</c:v>
                </c:pt>
                <c:pt idx="57022">
                  <c:v>31726</c:v>
                </c:pt>
                <c:pt idx="57023">
                  <c:v>31726</c:v>
                </c:pt>
                <c:pt idx="57024">
                  <c:v>31726</c:v>
                </c:pt>
                <c:pt idx="57025">
                  <c:v>31726</c:v>
                </c:pt>
                <c:pt idx="57026">
                  <c:v>31725</c:v>
                </c:pt>
                <c:pt idx="57027">
                  <c:v>31725</c:v>
                </c:pt>
                <c:pt idx="57028">
                  <c:v>31725</c:v>
                </c:pt>
                <c:pt idx="57029">
                  <c:v>31725</c:v>
                </c:pt>
                <c:pt idx="57030">
                  <c:v>31725</c:v>
                </c:pt>
                <c:pt idx="57031">
                  <c:v>31725</c:v>
                </c:pt>
                <c:pt idx="57032">
                  <c:v>31725</c:v>
                </c:pt>
                <c:pt idx="57033">
                  <c:v>31725</c:v>
                </c:pt>
                <c:pt idx="57034">
                  <c:v>31724</c:v>
                </c:pt>
                <c:pt idx="57035">
                  <c:v>31724</c:v>
                </c:pt>
                <c:pt idx="57036">
                  <c:v>31724</c:v>
                </c:pt>
                <c:pt idx="57037">
                  <c:v>31724</c:v>
                </c:pt>
                <c:pt idx="57038">
                  <c:v>31724</c:v>
                </c:pt>
                <c:pt idx="57039">
                  <c:v>31723</c:v>
                </c:pt>
                <c:pt idx="57040">
                  <c:v>31723</c:v>
                </c:pt>
                <c:pt idx="57041">
                  <c:v>31723</c:v>
                </c:pt>
                <c:pt idx="57042">
                  <c:v>31723</c:v>
                </c:pt>
                <c:pt idx="57043">
                  <c:v>31723</c:v>
                </c:pt>
                <c:pt idx="57044">
                  <c:v>31723</c:v>
                </c:pt>
                <c:pt idx="57045">
                  <c:v>31723</c:v>
                </c:pt>
                <c:pt idx="57046">
                  <c:v>31723</c:v>
                </c:pt>
                <c:pt idx="57047">
                  <c:v>31723</c:v>
                </c:pt>
                <c:pt idx="57048">
                  <c:v>31723</c:v>
                </c:pt>
                <c:pt idx="57049">
                  <c:v>31722</c:v>
                </c:pt>
                <c:pt idx="57050">
                  <c:v>31722</c:v>
                </c:pt>
                <c:pt idx="57051">
                  <c:v>31722</c:v>
                </c:pt>
                <c:pt idx="57052">
                  <c:v>31722</c:v>
                </c:pt>
                <c:pt idx="57053">
                  <c:v>31722</c:v>
                </c:pt>
                <c:pt idx="57054">
                  <c:v>31722</c:v>
                </c:pt>
                <c:pt idx="57055">
                  <c:v>31722</c:v>
                </c:pt>
                <c:pt idx="57056">
                  <c:v>31721</c:v>
                </c:pt>
                <c:pt idx="57057">
                  <c:v>31721</c:v>
                </c:pt>
                <c:pt idx="57058">
                  <c:v>31721</c:v>
                </c:pt>
                <c:pt idx="57059">
                  <c:v>31721</c:v>
                </c:pt>
                <c:pt idx="57060">
                  <c:v>31721</c:v>
                </c:pt>
                <c:pt idx="57061">
                  <c:v>31721</c:v>
                </c:pt>
                <c:pt idx="57062">
                  <c:v>31720</c:v>
                </c:pt>
                <c:pt idx="57063">
                  <c:v>31720</c:v>
                </c:pt>
                <c:pt idx="57064">
                  <c:v>31720</c:v>
                </c:pt>
                <c:pt idx="57065">
                  <c:v>31720</c:v>
                </c:pt>
                <c:pt idx="57066">
                  <c:v>31719</c:v>
                </c:pt>
                <c:pt idx="57067">
                  <c:v>31719</c:v>
                </c:pt>
                <c:pt idx="57068">
                  <c:v>31719</c:v>
                </c:pt>
                <c:pt idx="57069">
                  <c:v>31718</c:v>
                </c:pt>
                <c:pt idx="57070">
                  <c:v>31718</c:v>
                </c:pt>
                <c:pt idx="57071">
                  <c:v>31718</c:v>
                </c:pt>
                <c:pt idx="57072">
                  <c:v>31717</c:v>
                </c:pt>
                <c:pt idx="57073">
                  <c:v>31717</c:v>
                </c:pt>
                <c:pt idx="57074">
                  <c:v>31717</c:v>
                </c:pt>
                <c:pt idx="57075">
                  <c:v>31717</c:v>
                </c:pt>
                <c:pt idx="57076">
                  <c:v>31716</c:v>
                </c:pt>
                <c:pt idx="57077">
                  <c:v>31716</c:v>
                </c:pt>
                <c:pt idx="57078">
                  <c:v>31716</c:v>
                </c:pt>
                <c:pt idx="57079">
                  <c:v>31716</c:v>
                </c:pt>
                <c:pt idx="57080">
                  <c:v>31716</c:v>
                </c:pt>
                <c:pt idx="57081">
                  <c:v>31716</c:v>
                </c:pt>
                <c:pt idx="57082">
                  <c:v>31716</c:v>
                </c:pt>
                <c:pt idx="57083">
                  <c:v>31716</c:v>
                </c:pt>
                <c:pt idx="57084">
                  <c:v>31716</c:v>
                </c:pt>
                <c:pt idx="57085">
                  <c:v>31716</c:v>
                </c:pt>
                <c:pt idx="57086">
                  <c:v>31715</c:v>
                </c:pt>
                <c:pt idx="57087">
                  <c:v>31715</c:v>
                </c:pt>
                <c:pt idx="57088">
                  <c:v>31715</c:v>
                </c:pt>
                <c:pt idx="57089">
                  <c:v>31715</c:v>
                </c:pt>
                <c:pt idx="57090">
                  <c:v>31715</c:v>
                </c:pt>
                <c:pt idx="57091">
                  <c:v>31715</c:v>
                </c:pt>
                <c:pt idx="57092">
                  <c:v>31714</c:v>
                </c:pt>
                <c:pt idx="57093">
                  <c:v>31714</c:v>
                </c:pt>
                <c:pt idx="57094">
                  <c:v>31714</c:v>
                </c:pt>
                <c:pt idx="57095">
                  <c:v>31714</c:v>
                </c:pt>
                <c:pt idx="57096">
                  <c:v>31714</c:v>
                </c:pt>
                <c:pt idx="57097">
                  <c:v>31714</c:v>
                </c:pt>
                <c:pt idx="57098">
                  <c:v>31714</c:v>
                </c:pt>
                <c:pt idx="57099">
                  <c:v>31713</c:v>
                </c:pt>
                <c:pt idx="57100">
                  <c:v>31713</c:v>
                </c:pt>
                <c:pt idx="57101">
                  <c:v>31713</c:v>
                </c:pt>
                <c:pt idx="57102">
                  <c:v>31713</c:v>
                </c:pt>
                <c:pt idx="57103">
                  <c:v>31713</c:v>
                </c:pt>
                <c:pt idx="57104">
                  <c:v>31713</c:v>
                </c:pt>
                <c:pt idx="57105">
                  <c:v>31713</c:v>
                </c:pt>
                <c:pt idx="57106">
                  <c:v>31713</c:v>
                </c:pt>
                <c:pt idx="57107">
                  <c:v>31712</c:v>
                </c:pt>
                <c:pt idx="57108">
                  <c:v>31712</c:v>
                </c:pt>
                <c:pt idx="57109">
                  <c:v>31711</c:v>
                </c:pt>
                <c:pt idx="57110">
                  <c:v>31711</c:v>
                </c:pt>
                <c:pt idx="57111">
                  <c:v>31711</c:v>
                </c:pt>
                <c:pt idx="57112">
                  <c:v>31711</c:v>
                </c:pt>
                <c:pt idx="57113">
                  <c:v>31711</c:v>
                </c:pt>
                <c:pt idx="57114">
                  <c:v>31711</c:v>
                </c:pt>
                <c:pt idx="57115">
                  <c:v>31711</c:v>
                </c:pt>
                <c:pt idx="57116">
                  <c:v>31710</c:v>
                </c:pt>
                <c:pt idx="57117">
                  <c:v>31710</c:v>
                </c:pt>
                <c:pt idx="57118">
                  <c:v>31710</c:v>
                </c:pt>
                <c:pt idx="57119">
                  <c:v>31710</c:v>
                </c:pt>
                <c:pt idx="57120">
                  <c:v>31710</c:v>
                </c:pt>
                <c:pt idx="57121">
                  <c:v>31710</c:v>
                </c:pt>
                <c:pt idx="57122">
                  <c:v>31710</c:v>
                </c:pt>
                <c:pt idx="57123">
                  <c:v>31710</c:v>
                </c:pt>
                <c:pt idx="57124">
                  <c:v>31709</c:v>
                </c:pt>
                <c:pt idx="57125">
                  <c:v>31708</c:v>
                </c:pt>
                <c:pt idx="57126">
                  <c:v>31708</c:v>
                </c:pt>
                <c:pt idx="57127">
                  <c:v>31708</c:v>
                </c:pt>
                <c:pt idx="57128">
                  <c:v>31708</c:v>
                </c:pt>
                <c:pt idx="57129">
                  <c:v>31707</c:v>
                </c:pt>
                <c:pt idx="57130">
                  <c:v>31707</c:v>
                </c:pt>
                <c:pt idx="57131">
                  <c:v>31707</c:v>
                </c:pt>
                <c:pt idx="57132">
                  <c:v>31707</c:v>
                </c:pt>
                <c:pt idx="57133">
                  <c:v>31707</c:v>
                </c:pt>
                <c:pt idx="57134">
                  <c:v>31707</c:v>
                </c:pt>
                <c:pt idx="57135">
                  <c:v>31707</c:v>
                </c:pt>
                <c:pt idx="57136">
                  <c:v>31707</c:v>
                </c:pt>
                <c:pt idx="57137">
                  <c:v>31706</c:v>
                </c:pt>
                <c:pt idx="57138">
                  <c:v>31706</c:v>
                </c:pt>
                <c:pt idx="57139">
                  <c:v>31706</c:v>
                </c:pt>
                <c:pt idx="57140">
                  <c:v>31706</c:v>
                </c:pt>
                <c:pt idx="57141">
                  <c:v>31706</c:v>
                </c:pt>
                <c:pt idx="57142">
                  <c:v>31705</c:v>
                </c:pt>
                <c:pt idx="57143">
                  <c:v>31705</c:v>
                </c:pt>
                <c:pt idx="57144">
                  <c:v>31704</c:v>
                </c:pt>
                <c:pt idx="57145">
                  <c:v>31704</c:v>
                </c:pt>
                <c:pt idx="57146">
                  <c:v>31704</c:v>
                </c:pt>
                <c:pt idx="57147">
                  <c:v>31704</c:v>
                </c:pt>
                <c:pt idx="57148">
                  <c:v>31704</c:v>
                </c:pt>
                <c:pt idx="57149">
                  <c:v>31704</c:v>
                </c:pt>
                <c:pt idx="57150">
                  <c:v>31704</c:v>
                </c:pt>
                <c:pt idx="57151">
                  <c:v>31703</c:v>
                </c:pt>
                <c:pt idx="57152">
                  <c:v>31703</c:v>
                </c:pt>
                <c:pt idx="57153">
                  <c:v>31703</c:v>
                </c:pt>
                <c:pt idx="57154">
                  <c:v>31703</c:v>
                </c:pt>
                <c:pt idx="57155">
                  <c:v>31702</c:v>
                </c:pt>
                <c:pt idx="57156">
                  <c:v>31702</c:v>
                </c:pt>
                <c:pt idx="57157">
                  <c:v>31702</c:v>
                </c:pt>
                <c:pt idx="57158">
                  <c:v>31702</c:v>
                </c:pt>
                <c:pt idx="57159">
                  <c:v>31702</c:v>
                </c:pt>
                <c:pt idx="57160">
                  <c:v>31702</c:v>
                </c:pt>
                <c:pt idx="57161">
                  <c:v>31702</c:v>
                </c:pt>
                <c:pt idx="57162">
                  <c:v>31701</c:v>
                </c:pt>
                <c:pt idx="57163">
                  <c:v>31701</c:v>
                </c:pt>
                <c:pt idx="57164">
                  <c:v>31701</c:v>
                </c:pt>
                <c:pt idx="57165">
                  <c:v>31701</c:v>
                </c:pt>
                <c:pt idx="57166">
                  <c:v>31701</c:v>
                </c:pt>
                <c:pt idx="57167">
                  <c:v>31701</c:v>
                </c:pt>
                <c:pt idx="57168">
                  <c:v>31701</c:v>
                </c:pt>
                <c:pt idx="57169">
                  <c:v>31701</c:v>
                </c:pt>
                <c:pt idx="57170">
                  <c:v>31700</c:v>
                </c:pt>
                <c:pt idx="57171">
                  <c:v>31700</c:v>
                </c:pt>
                <c:pt idx="57172">
                  <c:v>31700</c:v>
                </c:pt>
                <c:pt idx="57173">
                  <c:v>31700</c:v>
                </c:pt>
                <c:pt idx="57174">
                  <c:v>31700</c:v>
                </c:pt>
                <c:pt idx="57175">
                  <c:v>31700</c:v>
                </c:pt>
                <c:pt idx="57176">
                  <c:v>31699</c:v>
                </c:pt>
                <c:pt idx="57177">
                  <c:v>31699</c:v>
                </c:pt>
                <c:pt idx="57178">
                  <c:v>31699</c:v>
                </c:pt>
                <c:pt idx="57179">
                  <c:v>31699</c:v>
                </c:pt>
                <c:pt idx="57180">
                  <c:v>31699</c:v>
                </c:pt>
                <c:pt idx="57181">
                  <c:v>31698</c:v>
                </c:pt>
                <c:pt idx="57182">
                  <c:v>31698</c:v>
                </c:pt>
                <c:pt idx="57183">
                  <c:v>31698</c:v>
                </c:pt>
                <c:pt idx="57184">
                  <c:v>31698</c:v>
                </c:pt>
                <c:pt idx="57185">
                  <c:v>31698</c:v>
                </c:pt>
                <c:pt idx="57186">
                  <c:v>31698</c:v>
                </c:pt>
                <c:pt idx="57187">
                  <c:v>31698</c:v>
                </c:pt>
                <c:pt idx="57188">
                  <c:v>31698</c:v>
                </c:pt>
                <c:pt idx="57189">
                  <c:v>31698</c:v>
                </c:pt>
                <c:pt idx="57190">
                  <c:v>31698</c:v>
                </c:pt>
                <c:pt idx="57191">
                  <c:v>31697</c:v>
                </c:pt>
                <c:pt idx="57192">
                  <c:v>31697</c:v>
                </c:pt>
                <c:pt idx="57193">
                  <c:v>31697</c:v>
                </c:pt>
                <c:pt idx="57194">
                  <c:v>31697</c:v>
                </c:pt>
                <c:pt idx="57195">
                  <c:v>31697</c:v>
                </c:pt>
                <c:pt idx="57196">
                  <c:v>31697</c:v>
                </c:pt>
                <c:pt idx="57197">
                  <c:v>31696</c:v>
                </c:pt>
                <c:pt idx="57198">
                  <c:v>31696</c:v>
                </c:pt>
                <c:pt idx="57199">
                  <c:v>31696</c:v>
                </c:pt>
                <c:pt idx="57200">
                  <c:v>31696</c:v>
                </c:pt>
                <c:pt idx="57201">
                  <c:v>31696</c:v>
                </c:pt>
                <c:pt idx="57202">
                  <c:v>31696</c:v>
                </c:pt>
                <c:pt idx="57203">
                  <c:v>31696</c:v>
                </c:pt>
                <c:pt idx="57204">
                  <c:v>31696</c:v>
                </c:pt>
                <c:pt idx="57205">
                  <c:v>31695</c:v>
                </c:pt>
                <c:pt idx="57206">
                  <c:v>31695</c:v>
                </c:pt>
                <c:pt idx="57207">
                  <c:v>31695</c:v>
                </c:pt>
                <c:pt idx="57208">
                  <c:v>31695</c:v>
                </c:pt>
                <c:pt idx="57209">
                  <c:v>31695</c:v>
                </c:pt>
                <c:pt idx="57210">
                  <c:v>31695</c:v>
                </c:pt>
                <c:pt idx="57211">
                  <c:v>31695</c:v>
                </c:pt>
                <c:pt idx="57212">
                  <c:v>31695</c:v>
                </c:pt>
                <c:pt idx="57213">
                  <c:v>31695</c:v>
                </c:pt>
                <c:pt idx="57214">
                  <c:v>31695</c:v>
                </c:pt>
                <c:pt idx="57215">
                  <c:v>31695</c:v>
                </c:pt>
                <c:pt idx="57216">
                  <c:v>31695</c:v>
                </c:pt>
                <c:pt idx="57217">
                  <c:v>31694</c:v>
                </c:pt>
                <c:pt idx="57218">
                  <c:v>31694</c:v>
                </c:pt>
                <c:pt idx="57219">
                  <c:v>31694</c:v>
                </c:pt>
                <c:pt idx="57220">
                  <c:v>31694</c:v>
                </c:pt>
                <c:pt idx="57221">
                  <c:v>31694</c:v>
                </c:pt>
                <c:pt idx="57222">
                  <c:v>31694</c:v>
                </c:pt>
                <c:pt idx="57223">
                  <c:v>31694</c:v>
                </c:pt>
                <c:pt idx="57224">
                  <c:v>31693</c:v>
                </c:pt>
                <c:pt idx="57225">
                  <c:v>31693</c:v>
                </c:pt>
                <c:pt idx="57226">
                  <c:v>31693</c:v>
                </c:pt>
                <c:pt idx="57227">
                  <c:v>31693</c:v>
                </c:pt>
                <c:pt idx="57228">
                  <c:v>31693</c:v>
                </c:pt>
                <c:pt idx="57229">
                  <c:v>31692</c:v>
                </c:pt>
                <c:pt idx="57230">
                  <c:v>31692</c:v>
                </c:pt>
                <c:pt idx="57231">
                  <c:v>31692</c:v>
                </c:pt>
                <c:pt idx="57232">
                  <c:v>31692</c:v>
                </c:pt>
                <c:pt idx="57233">
                  <c:v>31691</c:v>
                </c:pt>
                <c:pt idx="57234">
                  <c:v>31690</c:v>
                </c:pt>
                <c:pt idx="57235">
                  <c:v>31690</c:v>
                </c:pt>
                <c:pt idx="57236">
                  <c:v>31690</c:v>
                </c:pt>
                <c:pt idx="57237">
                  <c:v>31690</c:v>
                </c:pt>
                <c:pt idx="57238">
                  <c:v>31689</c:v>
                </c:pt>
                <c:pt idx="57239">
                  <c:v>31689</c:v>
                </c:pt>
                <c:pt idx="57240">
                  <c:v>31689</c:v>
                </c:pt>
                <c:pt idx="57241">
                  <c:v>31689</c:v>
                </c:pt>
                <c:pt idx="57242">
                  <c:v>31689</c:v>
                </c:pt>
                <c:pt idx="57243">
                  <c:v>31689</c:v>
                </c:pt>
                <c:pt idx="57244">
                  <c:v>31689</c:v>
                </c:pt>
                <c:pt idx="57245">
                  <c:v>31689</c:v>
                </c:pt>
                <c:pt idx="57246">
                  <c:v>31689</c:v>
                </c:pt>
                <c:pt idx="57247">
                  <c:v>31688</c:v>
                </c:pt>
                <c:pt idx="57248">
                  <c:v>31688</c:v>
                </c:pt>
                <c:pt idx="57249">
                  <c:v>31687</c:v>
                </c:pt>
                <c:pt idx="57250">
                  <c:v>31687</c:v>
                </c:pt>
                <c:pt idx="57251">
                  <c:v>31687</c:v>
                </c:pt>
                <c:pt idx="57252">
                  <c:v>31686</c:v>
                </c:pt>
                <c:pt idx="57253">
                  <c:v>31686</c:v>
                </c:pt>
                <c:pt idx="57254">
                  <c:v>31686</c:v>
                </c:pt>
                <c:pt idx="57255">
                  <c:v>31686</c:v>
                </c:pt>
                <c:pt idx="57256">
                  <c:v>31686</c:v>
                </c:pt>
                <c:pt idx="57257">
                  <c:v>31686</c:v>
                </c:pt>
                <c:pt idx="57258">
                  <c:v>31686</c:v>
                </c:pt>
                <c:pt idx="57259">
                  <c:v>31686</c:v>
                </c:pt>
                <c:pt idx="57260">
                  <c:v>31686</c:v>
                </c:pt>
                <c:pt idx="57261">
                  <c:v>31686</c:v>
                </c:pt>
                <c:pt idx="57262">
                  <c:v>31686</c:v>
                </c:pt>
                <c:pt idx="57263">
                  <c:v>31686</c:v>
                </c:pt>
                <c:pt idx="57264">
                  <c:v>31685</c:v>
                </c:pt>
                <c:pt idx="57265">
                  <c:v>31685</c:v>
                </c:pt>
                <c:pt idx="57266">
                  <c:v>31685</c:v>
                </c:pt>
                <c:pt idx="57267">
                  <c:v>31685</c:v>
                </c:pt>
                <c:pt idx="57268">
                  <c:v>31685</c:v>
                </c:pt>
                <c:pt idx="57269">
                  <c:v>31685</c:v>
                </c:pt>
                <c:pt idx="57270">
                  <c:v>31685</c:v>
                </c:pt>
                <c:pt idx="57271">
                  <c:v>31685</c:v>
                </c:pt>
                <c:pt idx="57272">
                  <c:v>31684</c:v>
                </c:pt>
                <c:pt idx="57273">
                  <c:v>31684</c:v>
                </c:pt>
                <c:pt idx="57274">
                  <c:v>31684</c:v>
                </c:pt>
                <c:pt idx="57275">
                  <c:v>31684</c:v>
                </c:pt>
                <c:pt idx="57276">
                  <c:v>31684</c:v>
                </c:pt>
                <c:pt idx="57277">
                  <c:v>31684</c:v>
                </c:pt>
                <c:pt idx="57278">
                  <c:v>31683</c:v>
                </c:pt>
                <c:pt idx="57279">
                  <c:v>31683</c:v>
                </c:pt>
                <c:pt idx="57280">
                  <c:v>31683</c:v>
                </c:pt>
                <c:pt idx="57281">
                  <c:v>31683</c:v>
                </c:pt>
                <c:pt idx="57282">
                  <c:v>31683</c:v>
                </c:pt>
                <c:pt idx="57283">
                  <c:v>31683</c:v>
                </c:pt>
                <c:pt idx="57284">
                  <c:v>31682</c:v>
                </c:pt>
                <c:pt idx="57285">
                  <c:v>31682</c:v>
                </c:pt>
                <c:pt idx="57286">
                  <c:v>31682</c:v>
                </c:pt>
                <c:pt idx="57287">
                  <c:v>31682</c:v>
                </c:pt>
                <c:pt idx="57288">
                  <c:v>31682</c:v>
                </c:pt>
                <c:pt idx="57289">
                  <c:v>31682</c:v>
                </c:pt>
                <c:pt idx="57290">
                  <c:v>31681</c:v>
                </c:pt>
                <c:pt idx="57291">
                  <c:v>31681</c:v>
                </c:pt>
                <c:pt idx="57292">
                  <c:v>31681</c:v>
                </c:pt>
                <c:pt idx="57293">
                  <c:v>31681</c:v>
                </c:pt>
                <c:pt idx="57294">
                  <c:v>31681</c:v>
                </c:pt>
                <c:pt idx="57295">
                  <c:v>31681</c:v>
                </c:pt>
                <c:pt idx="57296">
                  <c:v>31681</c:v>
                </c:pt>
                <c:pt idx="57297">
                  <c:v>31681</c:v>
                </c:pt>
                <c:pt idx="57298">
                  <c:v>31680</c:v>
                </c:pt>
                <c:pt idx="57299">
                  <c:v>31680</c:v>
                </c:pt>
                <c:pt idx="57300">
                  <c:v>31680</c:v>
                </c:pt>
                <c:pt idx="57301">
                  <c:v>31679</c:v>
                </c:pt>
                <c:pt idx="57302">
                  <c:v>31679</c:v>
                </c:pt>
                <c:pt idx="57303">
                  <c:v>31679</c:v>
                </c:pt>
                <c:pt idx="57304">
                  <c:v>31678</c:v>
                </c:pt>
                <c:pt idx="57305">
                  <c:v>31678</c:v>
                </c:pt>
                <c:pt idx="57306">
                  <c:v>31678</c:v>
                </c:pt>
                <c:pt idx="57307">
                  <c:v>31678</c:v>
                </c:pt>
                <c:pt idx="57308">
                  <c:v>31678</c:v>
                </c:pt>
                <c:pt idx="57309">
                  <c:v>31678</c:v>
                </c:pt>
                <c:pt idx="57310">
                  <c:v>31678</c:v>
                </c:pt>
                <c:pt idx="57311">
                  <c:v>31677</c:v>
                </c:pt>
                <c:pt idx="57312">
                  <c:v>31677</c:v>
                </c:pt>
                <c:pt idx="57313">
                  <c:v>31677</c:v>
                </c:pt>
                <c:pt idx="57314">
                  <c:v>31677</c:v>
                </c:pt>
                <c:pt idx="57315">
                  <c:v>31677</c:v>
                </c:pt>
                <c:pt idx="57316">
                  <c:v>31676</c:v>
                </c:pt>
                <c:pt idx="57317">
                  <c:v>31676</c:v>
                </c:pt>
                <c:pt idx="57318">
                  <c:v>31676</c:v>
                </c:pt>
                <c:pt idx="57319">
                  <c:v>31676</c:v>
                </c:pt>
                <c:pt idx="57320">
                  <c:v>31675</c:v>
                </c:pt>
                <c:pt idx="57321">
                  <c:v>31675</c:v>
                </c:pt>
                <c:pt idx="57322">
                  <c:v>31675</c:v>
                </c:pt>
                <c:pt idx="57323">
                  <c:v>31675</c:v>
                </c:pt>
                <c:pt idx="57324">
                  <c:v>31675</c:v>
                </c:pt>
                <c:pt idx="57325">
                  <c:v>31674</c:v>
                </c:pt>
                <c:pt idx="57326">
                  <c:v>31674</c:v>
                </c:pt>
                <c:pt idx="57327">
                  <c:v>31674</c:v>
                </c:pt>
                <c:pt idx="57328">
                  <c:v>31674</c:v>
                </c:pt>
                <c:pt idx="57329">
                  <c:v>31674</c:v>
                </c:pt>
                <c:pt idx="57330">
                  <c:v>31674</c:v>
                </c:pt>
                <c:pt idx="57331">
                  <c:v>31674</c:v>
                </c:pt>
                <c:pt idx="57332">
                  <c:v>31674</c:v>
                </c:pt>
                <c:pt idx="57333">
                  <c:v>31674</c:v>
                </c:pt>
                <c:pt idx="57334">
                  <c:v>31673</c:v>
                </c:pt>
                <c:pt idx="57335">
                  <c:v>31672</c:v>
                </c:pt>
                <c:pt idx="57336">
                  <c:v>31672</c:v>
                </c:pt>
                <c:pt idx="57337">
                  <c:v>31672</c:v>
                </c:pt>
                <c:pt idx="57338">
                  <c:v>31672</c:v>
                </c:pt>
                <c:pt idx="57339">
                  <c:v>31672</c:v>
                </c:pt>
                <c:pt idx="57340">
                  <c:v>31672</c:v>
                </c:pt>
                <c:pt idx="57341">
                  <c:v>31672</c:v>
                </c:pt>
                <c:pt idx="57342">
                  <c:v>31672</c:v>
                </c:pt>
                <c:pt idx="57343">
                  <c:v>31672</c:v>
                </c:pt>
                <c:pt idx="57344">
                  <c:v>31671</c:v>
                </c:pt>
                <c:pt idx="57345">
                  <c:v>31671</c:v>
                </c:pt>
                <c:pt idx="57346">
                  <c:v>31671</c:v>
                </c:pt>
                <c:pt idx="57347">
                  <c:v>31671</c:v>
                </c:pt>
                <c:pt idx="57348">
                  <c:v>31671</c:v>
                </c:pt>
                <c:pt idx="57349">
                  <c:v>31671</c:v>
                </c:pt>
                <c:pt idx="57350">
                  <c:v>31671</c:v>
                </c:pt>
                <c:pt idx="57351">
                  <c:v>31671</c:v>
                </c:pt>
                <c:pt idx="57352">
                  <c:v>31670</c:v>
                </c:pt>
                <c:pt idx="57353">
                  <c:v>31670</c:v>
                </c:pt>
                <c:pt idx="57354">
                  <c:v>31670</c:v>
                </c:pt>
                <c:pt idx="57355">
                  <c:v>31670</c:v>
                </c:pt>
                <c:pt idx="57356">
                  <c:v>31670</c:v>
                </c:pt>
                <c:pt idx="57357">
                  <c:v>31670</c:v>
                </c:pt>
                <c:pt idx="57358">
                  <c:v>31670</c:v>
                </c:pt>
                <c:pt idx="57359">
                  <c:v>31669</c:v>
                </c:pt>
                <c:pt idx="57360">
                  <c:v>31669</c:v>
                </c:pt>
                <c:pt idx="57361">
                  <c:v>31669</c:v>
                </c:pt>
                <c:pt idx="57362">
                  <c:v>31669</c:v>
                </c:pt>
                <c:pt idx="57363">
                  <c:v>31669</c:v>
                </c:pt>
                <c:pt idx="57364">
                  <c:v>31668</c:v>
                </c:pt>
                <c:pt idx="57365">
                  <c:v>31668</c:v>
                </c:pt>
                <c:pt idx="57366">
                  <c:v>31668</c:v>
                </c:pt>
                <c:pt idx="57367">
                  <c:v>31668</c:v>
                </c:pt>
                <c:pt idx="57368">
                  <c:v>31668</c:v>
                </c:pt>
                <c:pt idx="57369">
                  <c:v>31668</c:v>
                </c:pt>
                <c:pt idx="57370">
                  <c:v>31667</c:v>
                </c:pt>
                <c:pt idx="57371">
                  <c:v>31667</c:v>
                </c:pt>
                <c:pt idx="57372">
                  <c:v>31667</c:v>
                </c:pt>
                <c:pt idx="57373">
                  <c:v>31667</c:v>
                </c:pt>
                <c:pt idx="57374">
                  <c:v>31667</c:v>
                </c:pt>
                <c:pt idx="57375">
                  <c:v>31667</c:v>
                </c:pt>
                <c:pt idx="57376">
                  <c:v>31666</c:v>
                </c:pt>
                <c:pt idx="57377">
                  <c:v>31666</c:v>
                </c:pt>
                <c:pt idx="57378">
                  <c:v>31666</c:v>
                </c:pt>
                <c:pt idx="57379">
                  <c:v>31666</c:v>
                </c:pt>
                <c:pt idx="57380">
                  <c:v>31666</c:v>
                </c:pt>
                <c:pt idx="57381">
                  <c:v>31666</c:v>
                </c:pt>
                <c:pt idx="57382">
                  <c:v>31665</c:v>
                </c:pt>
                <c:pt idx="57383">
                  <c:v>31665</c:v>
                </c:pt>
                <c:pt idx="57384">
                  <c:v>31665</c:v>
                </c:pt>
                <c:pt idx="57385">
                  <c:v>31665</c:v>
                </c:pt>
                <c:pt idx="57386">
                  <c:v>31665</c:v>
                </c:pt>
                <c:pt idx="57387">
                  <c:v>31665</c:v>
                </c:pt>
                <c:pt idx="57388">
                  <c:v>31664</c:v>
                </c:pt>
                <c:pt idx="57389">
                  <c:v>31664</c:v>
                </c:pt>
                <c:pt idx="57390">
                  <c:v>31664</c:v>
                </c:pt>
                <c:pt idx="57391">
                  <c:v>31664</c:v>
                </c:pt>
                <c:pt idx="57392">
                  <c:v>31663</c:v>
                </c:pt>
                <c:pt idx="57393">
                  <c:v>31663</c:v>
                </c:pt>
                <c:pt idx="57394">
                  <c:v>31663</c:v>
                </c:pt>
                <c:pt idx="57395">
                  <c:v>31663</c:v>
                </c:pt>
                <c:pt idx="57396">
                  <c:v>31663</c:v>
                </c:pt>
                <c:pt idx="57397">
                  <c:v>31663</c:v>
                </c:pt>
                <c:pt idx="57398">
                  <c:v>31663</c:v>
                </c:pt>
                <c:pt idx="57399">
                  <c:v>31663</c:v>
                </c:pt>
                <c:pt idx="57400">
                  <c:v>31663</c:v>
                </c:pt>
                <c:pt idx="57401">
                  <c:v>31662</c:v>
                </c:pt>
                <c:pt idx="57402">
                  <c:v>31662</c:v>
                </c:pt>
                <c:pt idx="57403">
                  <c:v>31662</c:v>
                </c:pt>
                <c:pt idx="57404">
                  <c:v>31662</c:v>
                </c:pt>
                <c:pt idx="57405">
                  <c:v>31662</c:v>
                </c:pt>
                <c:pt idx="57406">
                  <c:v>31662</c:v>
                </c:pt>
                <c:pt idx="57407">
                  <c:v>31662</c:v>
                </c:pt>
                <c:pt idx="57408">
                  <c:v>31662</c:v>
                </c:pt>
                <c:pt idx="57409">
                  <c:v>31661</c:v>
                </c:pt>
                <c:pt idx="57410">
                  <c:v>31661</c:v>
                </c:pt>
                <c:pt idx="57411">
                  <c:v>31661</c:v>
                </c:pt>
                <c:pt idx="57412">
                  <c:v>31661</c:v>
                </c:pt>
                <c:pt idx="57413">
                  <c:v>31661</c:v>
                </c:pt>
                <c:pt idx="57414">
                  <c:v>31661</c:v>
                </c:pt>
                <c:pt idx="57415">
                  <c:v>31661</c:v>
                </c:pt>
                <c:pt idx="57416">
                  <c:v>31661</c:v>
                </c:pt>
                <c:pt idx="57417">
                  <c:v>31661</c:v>
                </c:pt>
                <c:pt idx="57418">
                  <c:v>31660</c:v>
                </c:pt>
                <c:pt idx="57419">
                  <c:v>31660</c:v>
                </c:pt>
                <c:pt idx="57420">
                  <c:v>31660</c:v>
                </c:pt>
                <c:pt idx="57421">
                  <c:v>31660</c:v>
                </c:pt>
                <c:pt idx="57422">
                  <c:v>31660</c:v>
                </c:pt>
                <c:pt idx="57423">
                  <c:v>31659</c:v>
                </c:pt>
                <c:pt idx="57424">
                  <c:v>31659</c:v>
                </c:pt>
                <c:pt idx="57425">
                  <c:v>31659</c:v>
                </c:pt>
                <c:pt idx="57426">
                  <c:v>31659</c:v>
                </c:pt>
                <c:pt idx="57427">
                  <c:v>31659</c:v>
                </c:pt>
                <c:pt idx="57428">
                  <c:v>31659</c:v>
                </c:pt>
                <c:pt idx="57429">
                  <c:v>31659</c:v>
                </c:pt>
                <c:pt idx="57430">
                  <c:v>31658</c:v>
                </c:pt>
                <c:pt idx="57431">
                  <c:v>31658</c:v>
                </c:pt>
                <c:pt idx="57432">
                  <c:v>31658</c:v>
                </c:pt>
                <c:pt idx="57433">
                  <c:v>31658</c:v>
                </c:pt>
                <c:pt idx="57434">
                  <c:v>31658</c:v>
                </c:pt>
                <c:pt idx="57435">
                  <c:v>31657</c:v>
                </c:pt>
                <c:pt idx="57436">
                  <c:v>31657</c:v>
                </c:pt>
                <c:pt idx="57437">
                  <c:v>31657</c:v>
                </c:pt>
                <c:pt idx="57438">
                  <c:v>31657</c:v>
                </c:pt>
                <c:pt idx="57439">
                  <c:v>31656</c:v>
                </c:pt>
                <c:pt idx="57440">
                  <c:v>31656</c:v>
                </c:pt>
                <c:pt idx="57441">
                  <c:v>31656</c:v>
                </c:pt>
                <c:pt idx="57442">
                  <c:v>31656</c:v>
                </c:pt>
                <c:pt idx="57443">
                  <c:v>31656</c:v>
                </c:pt>
                <c:pt idx="57444">
                  <c:v>31656</c:v>
                </c:pt>
                <c:pt idx="57445">
                  <c:v>31656</c:v>
                </c:pt>
                <c:pt idx="57446">
                  <c:v>31656</c:v>
                </c:pt>
                <c:pt idx="57447">
                  <c:v>31656</c:v>
                </c:pt>
                <c:pt idx="57448">
                  <c:v>31655</c:v>
                </c:pt>
                <c:pt idx="57449">
                  <c:v>31655</c:v>
                </c:pt>
                <c:pt idx="57450">
                  <c:v>31655</c:v>
                </c:pt>
                <c:pt idx="57451">
                  <c:v>31654</c:v>
                </c:pt>
                <c:pt idx="57452">
                  <c:v>31654</c:v>
                </c:pt>
                <c:pt idx="57453">
                  <c:v>31653</c:v>
                </c:pt>
                <c:pt idx="57454">
                  <c:v>31653</c:v>
                </c:pt>
                <c:pt idx="57455">
                  <c:v>31653</c:v>
                </c:pt>
                <c:pt idx="57456">
                  <c:v>31653</c:v>
                </c:pt>
                <c:pt idx="57457">
                  <c:v>31653</c:v>
                </c:pt>
                <c:pt idx="57458">
                  <c:v>31653</c:v>
                </c:pt>
                <c:pt idx="57459">
                  <c:v>31653</c:v>
                </c:pt>
                <c:pt idx="57460">
                  <c:v>31653</c:v>
                </c:pt>
                <c:pt idx="57461">
                  <c:v>31653</c:v>
                </c:pt>
                <c:pt idx="57462">
                  <c:v>31653</c:v>
                </c:pt>
                <c:pt idx="57463">
                  <c:v>31653</c:v>
                </c:pt>
                <c:pt idx="57464">
                  <c:v>31653</c:v>
                </c:pt>
                <c:pt idx="57465">
                  <c:v>31653</c:v>
                </c:pt>
                <c:pt idx="57466">
                  <c:v>31652</c:v>
                </c:pt>
                <c:pt idx="57467">
                  <c:v>31652</c:v>
                </c:pt>
                <c:pt idx="57468">
                  <c:v>31652</c:v>
                </c:pt>
                <c:pt idx="57469">
                  <c:v>31652</c:v>
                </c:pt>
                <c:pt idx="57470">
                  <c:v>31651</c:v>
                </c:pt>
                <c:pt idx="57471">
                  <c:v>31651</c:v>
                </c:pt>
                <c:pt idx="57472">
                  <c:v>31651</c:v>
                </c:pt>
                <c:pt idx="57473">
                  <c:v>31651</c:v>
                </c:pt>
                <c:pt idx="57474">
                  <c:v>31651</c:v>
                </c:pt>
                <c:pt idx="57475">
                  <c:v>31651</c:v>
                </c:pt>
                <c:pt idx="57476">
                  <c:v>31651</c:v>
                </c:pt>
                <c:pt idx="57477">
                  <c:v>31650</c:v>
                </c:pt>
                <c:pt idx="57478">
                  <c:v>31650</c:v>
                </c:pt>
                <c:pt idx="57479">
                  <c:v>31650</c:v>
                </c:pt>
                <c:pt idx="57480">
                  <c:v>31650</c:v>
                </c:pt>
                <c:pt idx="57481">
                  <c:v>31650</c:v>
                </c:pt>
                <c:pt idx="57482">
                  <c:v>31650</c:v>
                </c:pt>
                <c:pt idx="57483">
                  <c:v>31650</c:v>
                </c:pt>
                <c:pt idx="57484">
                  <c:v>31650</c:v>
                </c:pt>
                <c:pt idx="57485">
                  <c:v>31650</c:v>
                </c:pt>
                <c:pt idx="57486">
                  <c:v>31649</c:v>
                </c:pt>
                <c:pt idx="57487">
                  <c:v>31649</c:v>
                </c:pt>
                <c:pt idx="57488">
                  <c:v>31649</c:v>
                </c:pt>
                <c:pt idx="57489">
                  <c:v>31649</c:v>
                </c:pt>
                <c:pt idx="57490">
                  <c:v>31649</c:v>
                </c:pt>
                <c:pt idx="57491">
                  <c:v>31649</c:v>
                </c:pt>
                <c:pt idx="57492">
                  <c:v>31648</c:v>
                </c:pt>
                <c:pt idx="57493">
                  <c:v>31648</c:v>
                </c:pt>
                <c:pt idx="57494">
                  <c:v>31648</c:v>
                </c:pt>
                <c:pt idx="57495">
                  <c:v>31647</c:v>
                </c:pt>
                <c:pt idx="57496">
                  <c:v>31647</c:v>
                </c:pt>
                <c:pt idx="57497">
                  <c:v>31647</c:v>
                </c:pt>
                <c:pt idx="57498">
                  <c:v>31647</c:v>
                </c:pt>
                <c:pt idx="57499">
                  <c:v>31647</c:v>
                </c:pt>
                <c:pt idx="57500">
                  <c:v>31647</c:v>
                </c:pt>
                <c:pt idx="57501">
                  <c:v>31647</c:v>
                </c:pt>
                <c:pt idx="57502">
                  <c:v>31646</c:v>
                </c:pt>
                <c:pt idx="57503">
                  <c:v>31646</c:v>
                </c:pt>
                <c:pt idx="57504">
                  <c:v>31646</c:v>
                </c:pt>
                <c:pt idx="57505">
                  <c:v>31646</c:v>
                </c:pt>
                <c:pt idx="57506">
                  <c:v>31645</c:v>
                </c:pt>
                <c:pt idx="57507">
                  <c:v>31645</c:v>
                </c:pt>
                <c:pt idx="57508">
                  <c:v>31645</c:v>
                </c:pt>
                <c:pt idx="57509">
                  <c:v>31645</c:v>
                </c:pt>
                <c:pt idx="57510">
                  <c:v>31645</c:v>
                </c:pt>
                <c:pt idx="57511">
                  <c:v>31645</c:v>
                </c:pt>
                <c:pt idx="57512">
                  <c:v>31645</c:v>
                </c:pt>
                <c:pt idx="57513">
                  <c:v>31645</c:v>
                </c:pt>
                <c:pt idx="57514">
                  <c:v>31645</c:v>
                </c:pt>
                <c:pt idx="57515">
                  <c:v>31644</c:v>
                </c:pt>
                <c:pt idx="57516">
                  <c:v>31644</c:v>
                </c:pt>
                <c:pt idx="57517">
                  <c:v>31644</c:v>
                </c:pt>
                <c:pt idx="57518">
                  <c:v>31644</c:v>
                </c:pt>
                <c:pt idx="57519">
                  <c:v>31644</c:v>
                </c:pt>
                <c:pt idx="57520">
                  <c:v>31644</c:v>
                </c:pt>
                <c:pt idx="57521">
                  <c:v>31644</c:v>
                </c:pt>
                <c:pt idx="57522">
                  <c:v>31643</c:v>
                </c:pt>
                <c:pt idx="57523">
                  <c:v>31643</c:v>
                </c:pt>
                <c:pt idx="57524">
                  <c:v>31643</c:v>
                </c:pt>
                <c:pt idx="57525">
                  <c:v>31643</c:v>
                </c:pt>
                <c:pt idx="57526">
                  <c:v>31643</c:v>
                </c:pt>
                <c:pt idx="57527">
                  <c:v>31643</c:v>
                </c:pt>
                <c:pt idx="57528">
                  <c:v>31643</c:v>
                </c:pt>
                <c:pt idx="57529">
                  <c:v>31642</c:v>
                </c:pt>
                <c:pt idx="57530">
                  <c:v>31642</c:v>
                </c:pt>
                <c:pt idx="57531">
                  <c:v>31642</c:v>
                </c:pt>
                <c:pt idx="57532">
                  <c:v>31642</c:v>
                </c:pt>
                <c:pt idx="57533">
                  <c:v>31642</c:v>
                </c:pt>
                <c:pt idx="57534">
                  <c:v>31642</c:v>
                </c:pt>
                <c:pt idx="57535">
                  <c:v>31642</c:v>
                </c:pt>
                <c:pt idx="57536">
                  <c:v>31642</c:v>
                </c:pt>
                <c:pt idx="57537">
                  <c:v>31641</c:v>
                </c:pt>
                <c:pt idx="57538">
                  <c:v>31641</c:v>
                </c:pt>
                <c:pt idx="57539">
                  <c:v>31641</c:v>
                </c:pt>
                <c:pt idx="57540">
                  <c:v>31641</c:v>
                </c:pt>
                <c:pt idx="57541">
                  <c:v>31641</c:v>
                </c:pt>
                <c:pt idx="57542">
                  <c:v>31641</c:v>
                </c:pt>
                <c:pt idx="57543">
                  <c:v>31641</c:v>
                </c:pt>
                <c:pt idx="57544">
                  <c:v>31640</c:v>
                </c:pt>
                <c:pt idx="57545">
                  <c:v>31640</c:v>
                </c:pt>
                <c:pt idx="57546">
                  <c:v>31640</c:v>
                </c:pt>
                <c:pt idx="57547">
                  <c:v>31640</c:v>
                </c:pt>
                <c:pt idx="57548">
                  <c:v>31640</c:v>
                </c:pt>
                <c:pt idx="57549">
                  <c:v>31640</c:v>
                </c:pt>
                <c:pt idx="57550">
                  <c:v>31640</c:v>
                </c:pt>
                <c:pt idx="57551">
                  <c:v>31640</c:v>
                </c:pt>
                <c:pt idx="57552">
                  <c:v>31640</c:v>
                </c:pt>
                <c:pt idx="57553">
                  <c:v>31640</c:v>
                </c:pt>
                <c:pt idx="57554">
                  <c:v>31640</c:v>
                </c:pt>
                <c:pt idx="57555">
                  <c:v>31639</c:v>
                </c:pt>
                <c:pt idx="57556">
                  <c:v>31639</c:v>
                </c:pt>
                <c:pt idx="57557">
                  <c:v>31639</c:v>
                </c:pt>
                <c:pt idx="57558">
                  <c:v>31639</c:v>
                </c:pt>
                <c:pt idx="57559">
                  <c:v>31639</c:v>
                </c:pt>
                <c:pt idx="57560">
                  <c:v>31639</c:v>
                </c:pt>
                <c:pt idx="57561">
                  <c:v>31639</c:v>
                </c:pt>
                <c:pt idx="57562">
                  <c:v>31638</c:v>
                </c:pt>
                <c:pt idx="57563">
                  <c:v>31638</c:v>
                </c:pt>
                <c:pt idx="57564">
                  <c:v>31638</c:v>
                </c:pt>
                <c:pt idx="57565">
                  <c:v>31638</c:v>
                </c:pt>
                <c:pt idx="57566">
                  <c:v>31638</c:v>
                </c:pt>
                <c:pt idx="57567">
                  <c:v>31638</c:v>
                </c:pt>
                <c:pt idx="57568">
                  <c:v>31637</c:v>
                </c:pt>
                <c:pt idx="57569">
                  <c:v>31637</c:v>
                </c:pt>
                <c:pt idx="57570">
                  <c:v>31637</c:v>
                </c:pt>
                <c:pt idx="57571">
                  <c:v>31636</c:v>
                </c:pt>
                <c:pt idx="57572">
                  <c:v>31636</c:v>
                </c:pt>
                <c:pt idx="57573">
                  <c:v>31636</c:v>
                </c:pt>
                <c:pt idx="57574">
                  <c:v>31636</c:v>
                </c:pt>
                <c:pt idx="57575">
                  <c:v>31636</c:v>
                </c:pt>
                <c:pt idx="57576">
                  <c:v>31636</c:v>
                </c:pt>
                <c:pt idx="57577">
                  <c:v>31636</c:v>
                </c:pt>
                <c:pt idx="57578">
                  <c:v>31636</c:v>
                </c:pt>
                <c:pt idx="57579">
                  <c:v>31636</c:v>
                </c:pt>
                <c:pt idx="57580">
                  <c:v>31636</c:v>
                </c:pt>
                <c:pt idx="57581">
                  <c:v>31635</c:v>
                </c:pt>
                <c:pt idx="57582">
                  <c:v>31635</c:v>
                </c:pt>
                <c:pt idx="57583">
                  <c:v>31635</c:v>
                </c:pt>
                <c:pt idx="57584">
                  <c:v>31635</c:v>
                </c:pt>
                <c:pt idx="57585">
                  <c:v>31635</c:v>
                </c:pt>
                <c:pt idx="57586">
                  <c:v>31635</c:v>
                </c:pt>
                <c:pt idx="57587">
                  <c:v>31635</c:v>
                </c:pt>
                <c:pt idx="57588">
                  <c:v>31635</c:v>
                </c:pt>
                <c:pt idx="57589">
                  <c:v>31634</c:v>
                </c:pt>
                <c:pt idx="57590">
                  <c:v>31634</c:v>
                </c:pt>
                <c:pt idx="57591">
                  <c:v>31634</c:v>
                </c:pt>
                <c:pt idx="57592">
                  <c:v>31634</c:v>
                </c:pt>
                <c:pt idx="57593">
                  <c:v>31634</c:v>
                </c:pt>
                <c:pt idx="57594">
                  <c:v>31634</c:v>
                </c:pt>
                <c:pt idx="57595">
                  <c:v>31633</c:v>
                </c:pt>
                <c:pt idx="57596">
                  <c:v>31633</c:v>
                </c:pt>
                <c:pt idx="57597">
                  <c:v>31633</c:v>
                </c:pt>
                <c:pt idx="57598">
                  <c:v>31633</c:v>
                </c:pt>
                <c:pt idx="57599">
                  <c:v>31633</c:v>
                </c:pt>
                <c:pt idx="57600">
                  <c:v>31633</c:v>
                </c:pt>
                <c:pt idx="57601">
                  <c:v>31632</c:v>
                </c:pt>
                <c:pt idx="57602">
                  <c:v>31632</c:v>
                </c:pt>
                <c:pt idx="57603">
                  <c:v>31632</c:v>
                </c:pt>
                <c:pt idx="57604">
                  <c:v>31632</c:v>
                </c:pt>
                <c:pt idx="57605">
                  <c:v>31632</c:v>
                </c:pt>
                <c:pt idx="57606">
                  <c:v>31632</c:v>
                </c:pt>
                <c:pt idx="57607">
                  <c:v>31632</c:v>
                </c:pt>
                <c:pt idx="57608">
                  <c:v>31631</c:v>
                </c:pt>
                <c:pt idx="57609">
                  <c:v>31631</c:v>
                </c:pt>
                <c:pt idx="57610">
                  <c:v>31631</c:v>
                </c:pt>
                <c:pt idx="57611">
                  <c:v>31631</c:v>
                </c:pt>
                <c:pt idx="57612">
                  <c:v>31631</c:v>
                </c:pt>
                <c:pt idx="57613">
                  <c:v>31630</c:v>
                </c:pt>
                <c:pt idx="57614">
                  <c:v>31630</c:v>
                </c:pt>
                <c:pt idx="57615">
                  <c:v>31630</c:v>
                </c:pt>
                <c:pt idx="57616">
                  <c:v>31629</c:v>
                </c:pt>
                <c:pt idx="57617">
                  <c:v>31629</c:v>
                </c:pt>
                <c:pt idx="57618">
                  <c:v>31629</c:v>
                </c:pt>
                <c:pt idx="57619">
                  <c:v>31629</c:v>
                </c:pt>
                <c:pt idx="57620">
                  <c:v>31629</c:v>
                </c:pt>
                <c:pt idx="57621">
                  <c:v>31629</c:v>
                </c:pt>
                <c:pt idx="57622">
                  <c:v>31629</c:v>
                </c:pt>
                <c:pt idx="57623">
                  <c:v>31629</c:v>
                </c:pt>
                <c:pt idx="57624">
                  <c:v>31629</c:v>
                </c:pt>
                <c:pt idx="57625">
                  <c:v>31628</c:v>
                </c:pt>
                <c:pt idx="57626">
                  <c:v>31628</c:v>
                </c:pt>
                <c:pt idx="57627">
                  <c:v>31628</c:v>
                </c:pt>
                <c:pt idx="57628">
                  <c:v>31628</c:v>
                </c:pt>
                <c:pt idx="57629">
                  <c:v>31628</c:v>
                </c:pt>
                <c:pt idx="57630">
                  <c:v>31628</c:v>
                </c:pt>
                <c:pt idx="57631">
                  <c:v>31628</c:v>
                </c:pt>
                <c:pt idx="57632">
                  <c:v>31628</c:v>
                </c:pt>
                <c:pt idx="57633">
                  <c:v>31628</c:v>
                </c:pt>
                <c:pt idx="57634">
                  <c:v>31627</c:v>
                </c:pt>
                <c:pt idx="57635">
                  <c:v>31627</c:v>
                </c:pt>
                <c:pt idx="57636">
                  <c:v>31627</c:v>
                </c:pt>
                <c:pt idx="57637">
                  <c:v>31627</c:v>
                </c:pt>
                <c:pt idx="57638">
                  <c:v>31627</c:v>
                </c:pt>
                <c:pt idx="57639">
                  <c:v>31627</c:v>
                </c:pt>
                <c:pt idx="57640">
                  <c:v>31627</c:v>
                </c:pt>
                <c:pt idx="57641">
                  <c:v>31626</c:v>
                </c:pt>
                <c:pt idx="57642">
                  <c:v>31626</c:v>
                </c:pt>
                <c:pt idx="57643">
                  <c:v>31625</c:v>
                </c:pt>
                <c:pt idx="57644">
                  <c:v>31625</c:v>
                </c:pt>
                <c:pt idx="57645">
                  <c:v>31625</c:v>
                </c:pt>
                <c:pt idx="57646">
                  <c:v>31625</c:v>
                </c:pt>
                <c:pt idx="57647">
                  <c:v>31625</c:v>
                </c:pt>
                <c:pt idx="57648">
                  <c:v>31625</c:v>
                </c:pt>
                <c:pt idx="57649">
                  <c:v>31624</c:v>
                </c:pt>
                <c:pt idx="57650">
                  <c:v>31624</c:v>
                </c:pt>
                <c:pt idx="57651">
                  <c:v>31624</c:v>
                </c:pt>
                <c:pt idx="57652">
                  <c:v>31623</c:v>
                </c:pt>
                <c:pt idx="57653">
                  <c:v>31623</c:v>
                </c:pt>
                <c:pt idx="57654">
                  <c:v>31623</c:v>
                </c:pt>
                <c:pt idx="57655">
                  <c:v>31623</c:v>
                </c:pt>
                <c:pt idx="57656">
                  <c:v>31623</c:v>
                </c:pt>
                <c:pt idx="57657">
                  <c:v>31623</c:v>
                </c:pt>
                <c:pt idx="57658">
                  <c:v>31623</c:v>
                </c:pt>
                <c:pt idx="57659">
                  <c:v>31622</c:v>
                </c:pt>
                <c:pt idx="57660">
                  <c:v>31622</c:v>
                </c:pt>
                <c:pt idx="57661">
                  <c:v>31622</c:v>
                </c:pt>
                <c:pt idx="57662">
                  <c:v>31622</c:v>
                </c:pt>
                <c:pt idx="57663">
                  <c:v>31622</c:v>
                </c:pt>
                <c:pt idx="57664">
                  <c:v>31622</c:v>
                </c:pt>
                <c:pt idx="57665">
                  <c:v>31622</c:v>
                </c:pt>
                <c:pt idx="57666">
                  <c:v>31621</c:v>
                </c:pt>
                <c:pt idx="57667">
                  <c:v>31621</c:v>
                </c:pt>
                <c:pt idx="57668">
                  <c:v>31621</c:v>
                </c:pt>
                <c:pt idx="57669">
                  <c:v>31621</c:v>
                </c:pt>
                <c:pt idx="57670">
                  <c:v>31620</c:v>
                </c:pt>
                <c:pt idx="57671">
                  <c:v>31620</c:v>
                </c:pt>
                <c:pt idx="57672">
                  <c:v>31620</c:v>
                </c:pt>
                <c:pt idx="57673">
                  <c:v>31620</c:v>
                </c:pt>
                <c:pt idx="57674">
                  <c:v>31620</c:v>
                </c:pt>
                <c:pt idx="57675">
                  <c:v>31620</c:v>
                </c:pt>
                <c:pt idx="57676">
                  <c:v>31620</c:v>
                </c:pt>
                <c:pt idx="57677">
                  <c:v>31620</c:v>
                </c:pt>
                <c:pt idx="57678">
                  <c:v>31619</c:v>
                </c:pt>
                <c:pt idx="57679">
                  <c:v>31619</c:v>
                </c:pt>
                <c:pt idx="57680">
                  <c:v>31619</c:v>
                </c:pt>
                <c:pt idx="57681">
                  <c:v>31619</c:v>
                </c:pt>
                <c:pt idx="57682">
                  <c:v>31619</c:v>
                </c:pt>
                <c:pt idx="57683">
                  <c:v>31619</c:v>
                </c:pt>
                <c:pt idx="57684">
                  <c:v>31619</c:v>
                </c:pt>
                <c:pt idx="57685">
                  <c:v>31619</c:v>
                </c:pt>
                <c:pt idx="57686">
                  <c:v>31619</c:v>
                </c:pt>
                <c:pt idx="57687">
                  <c:v>31619</c:v>
                </c:pt>
                <c:pt idx="57688">
                  <c:v>31618</c:v>
                </c:pt>
                <c:pt idx="57689">
                  <c:v>31618</c:v>
                </c:pt>
                <c:pt idx="57690">
                  <c:v>31618</c:v>
                </c:pt>
                <c:pt idx="57691">
                  <c:v>31618</c:v>
                </c:pt>
                <c:pt idx="57692">
                  <c:v>31618</c:v>
                </c:pt>
                <c:pt idx="57693">
                  <c:v>31618</c:v>
                </c:pt>
                <c:pt idx="57694">
                  <c:v>31618</c:v>
                </c:pt>
                <c:pt idx="57695">
                  <c:v>31617</c:v>
                </c:pt>
                <c:pt idx="57696">
                  <c:v>31617</c:v>
                </c:pt>
                <c:pt idx="57697">
                  <c:v>31617</c:v>
                </c:pt>
                <c:pt idx="57698">
                  <c:v>31617</c:v>
                </c:pt>
                <c:pt idx="57699">
                  <c:v>31617</c:v>
                </c:pt>
                <c:pt idx="57700">
                  <c:v>31617</c:v>
                </c:pt>
                <c:pt idx="57701">
                  <c:v>31617</c:v>
                </c:pt>
                <c:pt idx="57702">
                  <c:v>31617</c:v>
                </c:pt>
                <c:pt idx="57703">
                  <c:v>31617</c:v>
                </c:pt>
                <c:pt idx="57704">
                  <c:v>31616</c:v>
                </c:pt>
                <c:pt idx="57705">
                  <c:v>31616</c:v>
                </c:pt>
                <c:pt idx="57706">
                  <c:v>31616</c:v>
                </c:pt>
                <c:pt idx="57707">
                  <c:v>31616</c:v>
                </c:pt>
                <c:pt idx="57708">
                  <c:v>31616</c:v>
                </c:pt>
                <c:pt idx="57709">
                  <c:v>31616</c:v>
                </c:pt>
                <c:pt idx="57710">
                  <c:v>31615</c:v>
                </c:pt>
                <c:pt idx="57711">
                  <c:v>31615</c:v>
                </c:pt>
                <c:pt idx="57712">
                  <c:v>31615</c:v>
                </c:pt>
                <c:pt idx="57713">
                  <c:v>31614</c:v>
                </c:pt>
                <c:pt idx="57714">
                  <c:v>31614</c:v>
                </c:pt>
                <c:pt idx="57715">
                  <c:v>31614</c:v>
                </c:pt>
                <c:pt idx="57716">
                  <c:v>31614</c:v>
                </c:pt>
                <c:pt idx="57717">
                  <c:v>31614</c:v>
                </c:pt>
                <c:pt idx="57718">
                  <c:v>31614</c:v>
                </c:pt>
                <c:pt idx="57719">
                  <c:v>31614</c:v>
                </c:pt>
                <c:pt idx="57720">
                  <c:v>31614</c:v>
                </c:pt>
                <c:pt idx="57721">
                  <c:v>31614</c:v>
                </c:pt>
                <c:pt idx="57722">
                  <c:v>31614</c:v>
                </c:pt>
                <c:pt idx="57723">
                  <c:v>31614</c:v>
                </c:pt>
                <c:pt idx="57724">
                  <c:v>31614</c:v>
                </c:pt>
                <c:pt idx="57725">
                  <c:v>31613</c:v>
                </c:pt>
                <c:pt idx="57726">
                  <c:v>31613</c:v>
                </c:pt>
                <c:pt idx="57727">
                  <c:v>31613</c:v>
                </c:pt>
                <c:pt idx="57728">
                  <c:v>31613</c:v>
                </c:pt>
                <c:pt idx="57729">
                  <c:v>31612</c:v>
                </c:pt>
                <c:pt idx="57730">
                  <c:v>31612</c:v>
                </c:pt>
                <c:pt idx="57731">
                  <c:v>31612</c:v>
                </c:pt>
                <c:pt idx="57732">
                  <c:v>31612</c:v>
                </c:pt>
                <c:pt idx="57733">
                  <c:v>31612</c:v>
                </c:pt>
                <c:pt idx="57734">
                  <c:v>31612</c:v>
                </c:pt>
                <c:pt idx="57735">
                  <c:v>31611</c:v>
                </c:pt>
                <c:pt idx="57736">
                  <c:v>31611</c:v>
                </c:pt>
                <c:pt idx="57737">
                  <c:v>31611</c:v>
                </c:pt>
                <c:pt idx="57738">
                  <c:v>31611</c:v>
                </c:pt>
                <c:pt idx="57739">
                  <c:v>31611</c:v>
                </c:pt>
                <c:pt idx="57740">
                  <c:v>31611</c:v>
                </c:pt>
                <c:pt idx="57741">
                  <c:v>31611</c:v>
                </c:pt>
                <c:pt idx="57742">
                  <c:v>31611</c:v>
                </c:pt>
                <c:pt idx="57743">
                  <c:v>31611</c:v>
                </c:pt>
                <c:pt idx="57744">
                  <c:v>31610</c:v>
                </c:pt>
                <c:pt idx="57745">
                  <c:v>31610</c:v>
                </c:pt>
                <c:pt idx="57746">
                  <c:v>31610</c:v>
                </c:pt>
                <c:pt idx="57747">
                  <c:v>31610</c:v>
                </c:pt>
                <c:pt idx="57748">
                  <c:v>31610</c:v>
                </c:pt>
                <c:pt idx="57749">
                  <c:v>31610</c:v>
                </c:pt>
                <c:pt idx="57750">
                  <c:v>31610</c:v>
                </c:pt>
                <c:pt idx="57751">
                  <c:v>31609</c:v>
                </c:pt>
                <c:pt idx="57752">
                  <c:v>31609</c:v>
                </c:pt>
                <c:pt idx="57753">
                  <c:v>31609</c:v>
                </c:pt>
                <c:pt idx="57754">
                  <c:v>31609</c:v>
                </c:pt>
                <c:pt idx="57755">
                  <c:v>31608</c:v>
                </c:pt>
                <c:pt idx="57756">
                  <c:v>31608</c:v>
                </c:pt>
                <c:pt idx="57757">
                  <c:v>31608</c:v>
                </c:pt>
                <c:pt idx="57758">
                  <c:v>31608</c:v>
                </c:pt>
                <c:pt idx="57759">
                  <c:v>31608</c:v>
                </c:pt>
                <c:pt idx="57760">
                  <c:v>31608</c:v>
                </c:pt>
                <c:pt idx="57761">
                  <c:v>31608</c:v>
                </c:pt>
                <c:pt idx="57762">
                  <c:v>31608</c:v>
                </c:pt>
                <c:pt idx="57763">
                  <c:v>31608</c:v>
                </c:pt>
                <c:pt idx="57764">
                  <c:v>31607</c:v>
                </c:pt>
                <c:pt idx="57765">
                  <c:v>31607</c:v>
                </c:pt>
                <c:pt idx="57766">
                  <c:v>31607</c:v>
                </c:pt>
                <c:pt idx="57767">
                  <c:v>31607</c:v>
                </c:pt>
                <c:pt idx="57768">
                  <c:v>31607</c:v>
                </c:pt>
                <c:pt idx="57769">
                  <c:v>31607</c:v>
                </c:pt>
                <c:pt idx="57770">
                  <c:v>31607</c:v>
                </c:pt>
                <c:pt idx="57771">
                  <c:v>31607</c:v>
                </c:pt>
                <c:pt idx="57772">
                  <c:v>31606</c:v>
                </c:pt>
                <c:pt idx="57773">
                  <c:v>31606</c:v>
                </c:pt>
                <c:pt idx="57774">
                  <c:v>31606</c:v>
                </c:pt>
                <c:pt idx="57775">
                  <c:v>31605</c:v>
                </c:pt>
                <c:pt idx="57776">
                  <c:v>31605</c:v>
                </c:pt>
                <c:pt idx="57777">
                  <c:v>31605</c:v>
                </c:pt>
                <c:pt idx="57778">
                  <c:v>31605</c:v>
                </c:pt>
                <c:pt idx="57779">
                  <c:v>31604</c:v>
                </c:pt>
                <c:pt idx="57780">
                  <c:v>31604</c:v>
                </c:pt>
                <c:pt idx="57781">
                  <c:v>31604</c:v>
                </c:pt>
                <c:pt idx="57782">
                  <c:v>31604</c:v>
                </c:pt>
                <c:pt idx="57783">
                  <c:v>31604</c:v>
                </c:pt>
                <c:pt idx="57784">
                  <c:v>31604</c:v>
                </c:pt>
                <c:pt idx="57785">
                  <c:v>31604</c:v>
                </c:pt>
                <c:pt idx="57786">
                  <c:v>31604</c:v>
                </c:pt>
                <c:pt idx="57787">
                  <c:v>31604</c:v>
                </c:pt>
                <c:pt idx="57788">
                  <c:v>31604</c:v>
                </c:pt>
                <c:pt idx="57789">
                  <c:v>31603</c:v>
                </c:pt>
                <c:pt idx="57790">
                  <c:v>31603</c:v>
                </c:pt>
                <c:pt idx="57791">
                  <c:v>31603</c:v>
                </c:pt>
                <c:pt idx="57792">
                  <c:v>31603</c:v>
                </c:pt>
                <c:pt idx="57793">
                  <c:v>31603</c:v>
                </c:pt>
                <c:pt idx="57794">
                  <c:v>31602</c:v>
                </c:pt>
                <c:pt idx="57795">
                  <c:v>31602</c:v>
                </c:pt>
                <c:pt idx="57796">
                  <c:v>31602</c:v>
                </c:pt>
                <c:pt idx="57797">
                  <c:v>31602</c:v>
                </c:pt>
                <c:pt idx="57798">
                  <c:v>31601</c:v>
                </c:pt>
                <c:pt idx="57799">
                  <c:v>31601</c:v>
                </c:pt>
                <c:pt idx="57800">
                  <c:v>31601</c:v>
                </c:pt>
                <c:pt idx="57801">
                  <c:v>31601</c:v>
                </c:pt>
                <c:pt idx="57802">
                  <c:v>31601</c:v>
                </c:pt>
                <c:pt idx="57803">
                  <c:v>31601</c:v>
                </c:pt>
                <c:pt idx="57804">
                  <c:v>31601</c:v>
                </c:pt>
                <c:pt idx="57805">
                  <c:v>31600</c:v>
                </c:pt>
                <c:pt idx="57806">
                  <c:v>31600</c:v>
                </c:pt>
                <c:pt idx="57807">
                  <c:v>31600</c:v>
                </c:pt>
                <c:pt idx="57808">
                  <c:v>31600</c:v>
                </c:pt>
                <c:pt idx="57809">
                  <c:v>31599</c:v>
                </c:pt>
                <c:pt idx="57810">
                  <c:v>31599</c:v>
                </c:pt>
                <c:pt idx="57811">
                  <c:v>31599</c:v>
                </c:pt>
                <c:pt idx="57812">
                  <c:v>31599</c:v>
                </c:pt>
                <c:pt idx="57813">
                  <c:v>31599</c:v>
                </c:pt>
                <c:pt idx="57814">
                  <c:v>31599</c:v>
                </c:pt>
                <c:pt idx="57815">
                  <c:v>31599</c:v>
                </c:pt>
                <c:pt idx="57816">
                  <c:v>31598</c:v>
                </c:pt>
                <c:pt idx="57817">
                  <c:v>31598</c:v>
                </c:pt>
                <c:pt idx="57818">
                  <c:v>31597</c:v>
                </c:pt>
                <c:pt idx="57819">
                  <c:v>31597</c:v>
                </c:pt>
                <c:pt idx="57820">
                  <c:v>31597</c:v>
                </c:pt>
                <c:pt idx="57821">
                  <c:v>31597</c:v>
                </c:pt>
                <c:pt idx="57822">
                  <c:v>31597</c:v>
                </c:pt>
                <c:pt idx="57823">
                  <c:v>31597</c:v>
                </c:pt>
                <c:pt idx="57824">
                  <c:v>31597</c:v>
                </c:pt>
                <c:pt idx="57825">
                  <c:v>31597</c:v>
                </c:pt>
                <c:pt idx="57826">
                  <c:v>31597</c:v>
                </c:pt>
                <c:pt idx="57827">
                  <c:v>31596</c:v>
                </c:pt>
                <c:pt idx="57828">
                  <c:v>31596</c:v>
                </c:pt>
                <c:pt idx="57829">
                  <c:v>31596</c:v>
                </c:pt>
                <c:pt idx="57830">
                  <c:v>31596</c:v>
                </c:pt>
                <c:pt idx="57831">
                  <c:v>31596</c:v>
                </c:pt>
                <c:pt idx="57832">
                  <c:v>31596</c:v>
                </c:pt>
                <c:pt idx="57833">
                  <c:v>31596</c:v>
                </c:pt>
                <c:pt idx="57834">
                  <c:v>31595</c:v>
                </c:pt>
                <c:pt idx="57835">
                  <c:v>31595</c:v>
                </c:pt>
                <c:pt idx="57836">
                  <c:v>31595</c:v>
                </c:pt>
                <c:pt idx="57837">
                  <c:v>31595</c:v>
                </c:pt>
                <c:pt idx="57838">
                  <c:v>31595</c:v>
                </c:pt>
                <c:pt idx="57839">
                  <c:v>31595</c:v>
                </c:pt>
                <c:pt idx="57840">
                  <c:v>31595</c:v>
                </c:pt>
                <c:pt idx="57841">
                  <c:v>31595</c:v>
                </c:pt>
                <c:pt idx="57842">
                  <c:v>31595</c:v>
                </c:pt>
                <c:pt idx="57843">
                  <c:v>31594</c:v>
                </c:pt>
                <c:pt idx="57844">
                  <c:v>31594</c:v>
                </c:pt>
                <c:pt idx="57845">
                  <c:v>31594</c:v>
                </c:pt>
                <c:pt idx="57846">
                  <c:v>31594</c:v>
                </c:pt>
                <c:pt idx="57847">
                  <c:v>31594</c:v>
                </c:pt>
                <c:pt idx="57848">
                  <c:v>31594</c:v>
                </c:pt>
                <c:pt idx="57849">
                  <c:v>31594</c:v>
                </c:pt>
                <c:pt idx="57850">
                  <c:v>31594</c:v>
                </c:pt>
                <c:pt idx="57851">
                  <c:v>31594</c:v>
                </c:pt>
                <c:pt idx="57852">
                  <c:v>31594</c:v>
                </c:pt>
                <c:pt idx="57853">
                  <c:v>31593</c:v>
                </c:pt>
                <c:pt idx="57854">
                  <c:v>31593</c:v>
                </c:pt>
                <c:pt idx="57855">
                  <c:v>31593</c:v>
                </c:pt>
                <c:pt idx="57856">
                  <c:v>31593</c:v>
                </c:pt>
                <c:pt idx="57857">
                  <c:v>31593</c:v>
                </c:pt>
                <c:pt idx="57858">
                  <c:v>31593</c:v>
                </c:pt>
                <c:pt idx="57859">
                  <c:v>31593</c:v>
                </c:pt>
                <c:pt idx="57860">
                  <c:v>31593</c:v>
                </c:pt>
                <c:pt idx="57861">
                  <c:v>31593</c:v>
                </c:pt>
                <c:pt idx="57862">
                  <c:v>31592</c:v>
                </c:pt>
                <c:pt idx="57863">
                  <c:v>31592</c:v>
                </c:pt>
                <c:pt idx="57864">
                  <c:v>31591</c:v>
                </c:pt>
                <c:pt idx="57865">
                  <c:v>31591</c:v>
                </c:pt>
                <c:pt idx="57866">
                  <c:v>31591</c:v>
                </c:pt>
                <c:pt idx="57867">
                  <c:v>31591</c:v>
                </c:pt>
                <c:pt idx="57868">
                  <c:v>31591</c:v>
                </c:pt>
                <c:pt idx="57869">
                  <c:v>31591</c:v>
                </c:pt>
                <c:pt idx="57870">
                  <c:v>31590</c:v>
                </c:pt>
                <c:pt idx="57871">
                  <c:v>31590</c:v>
                </c:pt>
                <c:pt idx="57872">
                  <c:v>31590</c:v>
                </c:pt>
                <c:pt idx="57873">
                  <c:v>31590</c:v>
                </c:pt>
                <c:pt idx="57874">
                  <c:v>31589</c:v>
                </c:pt>
                <c:pt idx="57875">
                  <c:v>31589</c:v>
                </c:pt>
                <c:pt idx="57876">
                  <c:v>31589</c:v>
                </c:pt>
                <c:pt idx="57877">
                  <c:v>31589</c:v>
                </c:pt>
                <c:pt idx="57878">
                  <c:v>31588</c:v>
                </c:pt>
                <c:pt idx="57879">
                  <c:v>31588</c:v>
                </c:pt>
                <c:pt idx="57880">
                  <c:v>31588</c:v>
                </c:pt>
                <c:pt idx="57881">
                  <c:v>31587</c:v>
                </c:pt>
                <c:pt idx="57882">
                  <c:v>31587</c:v>
                </c:pt>
                <c:pt idx="57883">
                  <c:v>31587</c:v>
                </c:pt>
                <c:pt idx="57884">
                  <c:v>31587</c:v>
                </c:pt>
                <c:pt idx="57885">
                  <c:v>31587</c:v>
                </c:pt>
                <c:pt idx="57886">
                  <c:v>31587</c:v>
                </c:pt>
                <c:pt idx="57887">
                  <c:v>31587</c:v>
                </c:pt>
                <c:pt idx="57888">
                  <c:v>31587</c:v>
                </c:pt>
                <c:pt idx="57889">
                  <c:v>31586</c:v>
                </c:pt>
                <c:pt idx="57890">
                  <c:v>31586</c:v>
                </c:pt>
                <c:pt idx="57891">
                  <c:v>31586</c:v>
                </c:pt>
                <c:pt idx="57892">
                  <c:v>31585</c:v>
                </c:pt>
                <c:pt idx="57893">
                  <c:v>31585</c:v>
                </c:pt>
                <c:pt idx="57894">
                  <c:v>31585</c:v>
                </c:pt>
                <c:pt idx="57895">
                  <c:v>31585</c:v>
                </c:pt>
                <c:pt idx="57896">
                  <c:v>31585</c:v>
                </c:pt>
                <c:pt idx="57897">
                  <c:v>31585</c:v>
                </c:pt>
                <c:pt idx="57898">
                  <c:v>31585</c:v>
                </c:pt>
                <c:pt idx="57899">
                  <c:v>31584</c:v>
                </c:pt>
                <c:pt idx="57900">
                  <c:v>31584</c:v>
                </c:pt>
                <c:pt idx="57901">
                  <c:v>31584</c:v>
                </c:pt>
                <c:pt idx="57902">
                  <c:v>31583</c:v>
                </c:pt>
                <c:pt idx="57903">
                  <c:v>31583</c:v>
                </c:pt>
                <c:pt idx="57904">
                  <c:v>31583</c:v>
                </c:pt>
                <c:pt idx="57905">
                  <c:v>31582</c:v>
                </c:pt>
                <c:pt idx="57906">
                  <c:v>31582</c:v>
                </c:pt>
                <c:pt idx="57907">
                  <c:v>31582</c:v>
                </c:pt>
                <c:pt idx="57908">
                  <c:v>31582</c:v>
                </c:pt>
                <c:pt idx="57909">
                  <c:v>31582</c:v>
                </c:pt>
                <c:pt idx="57910">
                  <c:v>31581</c:v>
                </c:pt>
                <c:pt idx="57911">
                  <c:v>31581</c:v>
                </c:pt>
                <c:pt idx="57912">
                  <c:v>31581</c:v>
                </c:pt>
                <c:pt idx="57913">
                  <c:v>31581</c:v>
                </c:pt>
                <c:pt idx="57914">
                  <c:v>31581</c:v>
                </c:pt>
                <c:pt idx="57915">
                  <c:v>31581</c:v>
                </c:pt>
                <c:pt idx="57916">
                  <c:v>31580</c:v>
                </c:pt>
                <c:pt idx="57917">
                  <c:v>31580</c:v>
                </c:pt>
                <c:pt idx="57918">
                  <c:v>31580</c:v>
                </c:pt>
                <c:pt idx="57919">
                  <c:v>31580</c:v>
                </c:pt>
                <c:pt idx="57920">
                  <c:v>31580</c:v>
                </c:pt>
                <c:pt idx="57921">
                  <c:v>31580</c:v>
                </c:pt>
                <c:pt idx="57922">
                  <c:v>31579</c:v>
                </c:pt>
                <c:pt idx="57923">
                  <c:v>31579</c:v>
                </c:pt>
                <c:pt idx="57924">
                  <c:v>31579</c:v>
                </c:pt>
                <c:pt idx="57925">
                  <c:v>31579</c:v>
                </c:pt>
                <c:pt idx="57926">
                  <c:v>31579</c:v>
                </c:pt>
                <c:pt idx="57927">
                  <c:v>31579</c:v>
                </c:pt>
                <c:pt idx="57928">
                  <c:v>31579</c:v>
                </c:pt>
                <c:pt idx="57929">
                  <c:v>31579</c:v>
                </c:pt>
                <c:pt idx="57930">
                  <c:v>31578</c:v>
                </c:pt>
                <c:pt idx="57931">
                  <c:v>31578</c:v>
                </c:pt>
                <c:pt idx="57932">
                  <c:v>31578</c:v>
                </c:pt>
                <c:pt idx="57933">
                  <c:v>31578</c:v>
                </c:pt>
                <c:pt idx="57934">
                  <c:v>31578</c:v>
                </c:pt>
                <c:pt idx="57935">
                  <c:v>31578</c:v>
                </c:pt>
                <c:pt idx="57936">
                  <c:v>31578</c:v>
                </c:pt>
                <c:pt idx="57937">
                  <c:v>31578</c:v>
                </c:pt>
                <c:pt idx="57938">
                  <c:v>31578</c:v>
                </c:pt>
                <c:pt idx="57939">
                  <c:v>31578</c:v>
                </c:pt>
                <c:pt idx="57940">
                  <c:v>31577</c:v>
                </c:pt>
                <c:pt idx="57941">
                  <c:v>31577</c:v>
                </c:pt>
                <c:pt idx="57942">
                  <c:v>31577</c:v>
                </c:pt>
                <c:pt idx="57943">
                  <c:v>31577</c:v>
                </c:pt>
                <c:pt idx="57944">
                  <c:v>31577</c:v>
                </c:pt>
                <c:pt idx="57945">
                  <c:v>31576</c:v>
                </c:pt>
                <c:pt idx="57946">
                  <c:v>31576</c:v>
                </c:pt>
                <c:pt idx="57947">
                  <c:v>31576</c:v>
                </c:pt>
                <c:pt idx="57948">
                  <c:v>31575</c:v>
                </c:pt>
                <c:pt idx="57949">
                  <c:v>31575</c:v>
                </c:pt>
                <c:pt idx="57950">
                  <c:v>31575</c:v>
                </c:pt>
                <c:pt idx="57951">
                  <c:v>31575</c:v>
                </c:pt>
                <c:pt idx="57952">
                  <c:v>31575</c:v>
                </c:pt>
                <c:pt idx="57953">
                  <c:v>31575</c:v>
                </c:pt>
                <c:pt idx="57954">
                  <c:v>31575</c:v>
                </c:pt>
                <c:pt idx="57955">
                  <c:v>31574</c:v>
                </c:pt>
                <c:pt idx="57956">
                  <c:v>31574</c:v>
                </c:pt>
                <c:pt idx="57957">
                  <c:v>31574</c:v>
                </c:pt>
                <c:pt idx="57958">
                  <c:v>31574</c:v>
                </c:pt>
                <c:pt idx="57959">
                  <c:v>31574</c:v>
                </c:pt>
                <c:pt idx="57960">
                  <c:v>31574</c:v>
                </c:pt>
                <c:pt idx="57961">
                  <c:v>31573</c:v>
                </c:pt>
                <c:pt idx="57962">
                  <c:v>31573</c:v>
                </c:pt>
                <c:pt idx="57963">
                  <c:v>31573</c:v>
                </c:pt>
                <c:pt idx="57964">
                  <c:v>31573</c:v>
                </c:pt>
                <c:pt idx="57965">
                  <c:v>31573</c:v>
                </c:pt>
                <c:pt idx="57966">
                  <c:v>31573</c:v>
                </c:pt>
                <c:pt idx="57967">
                  <c:v>31573</c:v>
                </c:pt>
                <c:pt idx="57968">
                  <c:v>31573</c:v>
                </c:pt>
                <c:pt idx="57969">
                  <c:v>31573</c:v>
                </c:pt>
                <c:pt idx="57970">
                  <c:v>31573</c:v>
                </c:pt>
                <c:pt idx="57971">
                  <c:v>31572</c:v>
                </c:pt>
                <c:pt idx="57972">
                  <c:v>31572</c:v>
                </c:pt>
                <c:pt idx="57973">
                  <c:v>31572</c:v>
                </c:pt>
                <c:pt idx="57974">
                  <c:v>31572</c:v>
                </c:pt>
                <c:pt idx="57975">
                  <c:v>31571</c:v>
                </c:pt>
                <c:pt idx="57976">
                  <c:v>31571</c:v>
                </c:pt>
                <c:pt idx="57977">
                  <c:v>31571</c:v>
                </c:pt>
                <c:pt idx="57978">
                  <c:v>31571</c:v>
                </c:pt>
                <c:pt idx="57979">
                  <c:v>31571</c:v>
                </c:pt>
                <c:pt idx="57980">
                  <c:v>31571</c:v>
                </c:pt>
                <c:pt idx="57981">
                  <c:v>31570</c:v>
                </c:pt>
                <c:pt idx="57982">
                  <c:v>31570</c:v>
                </c:pt>
                <c:pt idx="57983">
                  <c:v>31570</c:v>
                </c:pt>
                <c:pt idx="57984">
                  <c:v>31570</c:v>
                </c:pt>
                <c:pt idx="57985">
                  <c:v>31569</c:v>
                </c:pt>
                <c:pt idx="57986">
                  <c:v>31569</c:v>
                </c:pt>
                <c:pt idx="57987">
                  <c:v>31569</c:v>
                </c:pt>
                <c:pt idx="57988">
                  <c:v>31569</c:v>
                </c:pt>
                <c:pt idx="57989">
                  <c:v>31569</c:v>
                </c:pt>
                <c:pt idx="57990">
                  <c:v>31568</c:v>
                </c:pt>
                <c:pt idx="57991">
                  <c:v>31568</c:v>
                </c:pt>
                <c:pt idx="57992">
                  <c:v>31568</c:v>
                </c:pt>
                <c:pt idx="57993">
                  <c:v>31568</c:v>
                </c:pt>
                <c:pt idx="57994">
                  <c:v>31568</c:v>
                </c:pt>
                <c:pt idx="57995">
                  <c:v>31568</c:v>
                </c:pt>
                <c:pt idx="57996">
                  <c:v>31567</c:v>
                </c:pt>
                <c:pt idx="57997">
                  <c:v>31567</c:v>
                </c:pt>
                <c:pt idx="57998">
                  <c:v>31566</c:v>
                </c:pt>
                <c:pt idx="57999">
                  <c:v>31566</c:v>
                </c:pt>
                <c:pt idx="58000">
                  <c:v>31566</c:v>
                </c:pt>
                <c:pt idx="58001">
                  <c:v>31566</c:v>
                </c:pt>
                <c:pt idx="58002">
                  <c:v>31566</c:v>
                </c:pt>
                <c:pt idx="58003">
                  <c:v>31566</c:v>
                </c:pt>
                <c:pt idx="58004">
                  <c:v>31565</c:v>
                </c:pt>
                <c:pt idx="58005">
                  <c:v>31565</c:v>
                </c:pt>
                <c:pt idx="58006">
                  <c:v>31565</c:v>
                </c:pt>
                <c:pt idx="58007">
                  <c:v>31565</c:v>
                </c:pt>
                <c:pt idx="58008">
                  <c:v>31565</c:v>
                </c:pt>
                <c:pt idx="58009">
                  <c:v>31565</c:v>
                </c:pt>
                <c:pt idx="58010">
                  <c:v>31564</c:v>
                </c:pt>
                <c:pt idx="58011">
                  <c:v>31564</c:v>
                </c:pt>
                <c:pt idx="58012">
                  <c:v>31564</c:v>
                </c:pt>
                <c:pt idx="58013">
                  <c:v>31564</c:v>
                </c:pt>
                <c:pt idx="58014">
                  <c:v>31564</c:v>
                </c:pt>
                <c:pt idx="58015">
                  <c:v>31564</c:v>
                </c:pt>
                <c:pt idx="58016">
                  <c:v>31564</c:v>
                </c:pt>
                <c:pt idx="58017">
                  <c:v>31563</c:v>
                </c:pt>
                <c:pt idx="58018">
                  <c:v>31563</c:v>
                </c:pt>
                <c:pt idx="58019">
                  <c:v>31563</c:v>
                </c:pt>
                <c:pt idx="58020">
                  <c:v>31563</c:v>
                </c:pt>
                <c:pt idx="58021">
                  <c:v>31563</c:v>
                </c:pt>
                <c:pt idx="58022">
                  <c:v>31563</c:v>
                </c:pt>
                <c:pt idx="58023">
                  <c:v>31563</c:v>
                </c:pt>
                <c:pt idx="58024">
                  <c:v>31563</c:v>
                </c:pt>
                <c:pt idx="58025">
                  <c:v>31563</c:v>
                </c:pt>
                <c:pt idx="58026">
                  <c:v>31562</c:v>
                </c:pt>
                <c:pt idx="58027">
                  <c:v>31562</c:v>
                </c:pt>
                <c:pt idx="58028">
                  <c:v>31562</c:v>
                </c:pt>
                <c:pt idx="58029">
                  <c:v>31562</c:v>
                </c:pt>
                <c:pt idx="58030">
                  <c:v>31561</c:v>
                </c:pt>
                <c:pt idx="58031">
                  <c:v>31561</c:v>
                </c:pt>
                <c:pt idx="58032">
                  <c:v>31561</c:v>
                </c:pt>
                <c:pt idx="58033">
                  <c:v>31561</c:v>
                </c:pt>
                <c:pt idx="58034">
                  <c:v>31561</c:v>
                </c:pt>
                <c:pt idx="58035">
                  <c:v>31561</c:v>
                </c:pt>
                <c:pt idx="58036">
                  <c:v>31561</c:v>
                </c:pt>
                <c:pt idx="58037">
                  <c:v>31561</c:v>
                </c:pt>
                <c:pt idx="58038">
                  <c:v>31560</c:v>
                </c:pt>
                <c:pt idx="58039">
                  <c:v>31560</c:v>
                </c:pt>
                <c:pt idx="58040">
                  <c:v>31560</c:v>
                </c:pt>
                <c:pt idx="58041">
                  <c:v>31560</c:v>
                </c:pt>
                <c:pt idx="58042">
                  <c:v>31559</c:v>
                </c:pt>
                <c:pt idx="58043">
                  <c:v>31559</c:v>
                </c:pt>
                <c:pt idx="58044">
                  <c:v>31559</c:v>
                </c:pt>
                <c:pt idx="58045">
                  <c:v>31559</c:v>
                </c:pt>
                <c:pt idx="58046">
                  <c:v>31559</c:v>
                </c:pt>
                <c:pt idx="58047">
                  <c:v>31559</c:v>
                </c:pt>
                <c:pt idx="58048">
                  <c:v>31559</c:v>
                </c:pt>
                <c:pt idx="58049">
                  <c:v>31558</c:v>
                </c:pt>
                <c:pt idx="58050">
                  <c:v>31558</c:v>
                </c:pt>
                <c:pt idx="58051">
                  <c:v>31558</c:v>
                </c:pt>
                <c:pt idx="58052">
                  <c:v>31558</c:v>
                </c:pt>
                <c:pt idx="58053">
                  <c:v>31558</c:v>
                </c:pt>
                <c:pt idx="58054">
                  <c:v>31558</c:v>
                </c:pt>
                <c:pt idx="58055">
                  <c:v>31558</c:v>
                </c:pt>
                <c:pt idx="58056">
                  <c:v>31557</c:v>
                </c:pt>
                <c:pt idx="58057">
                  <c:v>31557</c:v>
                </c:pt>
                <c:pt idx="58058">
                  <c:v>31557</c:v>
                </c:pt>
                <c:pt idx="58059">
                  <c:v>31557</c:v>
                </c:pt>
                <c:pt idx="58060">
                  <c:v>31557</c:v>
                </c:pt>
                <c:pt idx="58061">
                  <c:v>31557</c:v>
                </c:pt>
                <c:pt idx="58062">
                  <c:v>31556</c:v>
                </c:pt>
                <c:pt idx="58063">
                  <c:v>31556</c:v>
                </c:pt>
                <c:pt idx="58064">
                  <c:v>31556</c:v>
                </c:pt>
                <c:pt idx="58065">
                  <c:v>31556</c:v>
                </c:pt>
                <c:pt idx="58066">
                  <c:v>31555</c:v>
                </c:pt>
                <c:pt idx="58067">
                  <c:v>31555</c:v>
                </c:pt>
                <c:pt idx="58068">
                  <c:v>31555</c:v>
                </c:pt>
                <c:pt idx="58069">
                  <c:v>31555</c:v>
                </c:pt>
                <c:pt idx="58070">
                  <c:v>31555</c:v>
                </c:pt>
                <c:pt idx="58071">
                  <c:v>31554</c:v>
                </c:pt>
                <c:pt idx="58072">
                  <c:v>31554</c:v>
                </c:pt>
                <c:pt idx="58073">
                  <c:v>31554</c:v>
                </c:pt>
                <c:pt idx="58074">
                  <c:v>31554</c:v>
                </c:pt>
                <c:pt idx="58075">
                  <c:v>31554</c:v>
                </c:pt>
                <c:pt idx="58076">
                  <c:v>31554</c:v>
                </c:pt>
                <c:pt idx="58077">
                  <c:v>31554</c:v>
                </c:pt>
                <c:pt idx="58078">
                  <c:v>31554</c:v>
                </c:pt>
                <c:pt idx="58079">
                  <c:v>31553</c:v>
                </c:pt>
                <c:pt idx="58080">
                  <c:v>31553</c:v>
                </c:pt>
                <c:pt idx="58081">
                  <c:v>31553</c:v>
                </c:pt>
                <c:pt idx="58082">
                  <c:v>31553</c:v>
                </c:pt>
                <c:pt idx="58083">
                  <c:v>31553</c:v>
                </c:pt>
                <c:pt idx="58084">
                  <c:v>31553</c:v>
                </c:pt>
                <c:pt idx="58085">
                  <c:v>31552</c:v>
                </c:pt>
                <c:pt idx="58086">
                  <c:v>31552</c:v>
                </c:pt>
                <c:pt idx="58087">
                  <c:v>31552</c:v>
                </c:pt>
                <c:pt idx="58088">
                  <c:v>31552</c:v>
                </c:pt>
                <c:pt idx="58089">
                  <c:v>31551</c:v>
                </c:pt>
                <c:pt idx="58090">
                  <c:v>31550</c:v>
                </c:pt>
                <c:pt idx="58091">
                  <c:v>31550</c:v>
                </c:pt>
                <c:pt idx="58092">
                  <c:v>31550</c:v>
                </c:pt>
                <c:pt idx="58093">
                  <c:v>31550</c:v>
                </c:pt>
                <c:pt idx="58094">
                  <c:v>31550</c:v>
                </c:pt>
                <c:pt idx="58095">
                  <c:v>31550</c:v>
                </c:pt>
                <c:pt idx="58096">
                  <c:v>31550</c:v>
                </c:pt>
                <c:pt idx="58097">
                  <c:v>31549</c:v>
                </c:pt>
                <c:pt idx="58098">
                  <c:v>31549</c:v>
                </c:pt>
                <c:pt idx="58099">
                  <c:v>31549</c:v>
                </c:pt>
                <c:pt idx="58100">
                  <c:v>31549</c:v>
                </c:pt>
                <c:pt idx="58101">
                  <c:v>31549</c:v>
                </c:pt>
                <c:pt idx="58102">
                  <c:v>31549</c:v>
                </c:pt>
                <c:pt idx="58103">
                  <c:v>31549</c:v>
                </c:pt>
                <c:pt idx="58104">
                  <c:v>31548</c:v>
                </c:pt>
                <c:pt idx="58105">
                  <c:v>31548</c:v>
                </c:pt>
                <c:pt idx="58106">
                  <c:v>31548</c:v>
                </c:pt>
                <c:pt idx="58107">
                  <c:v>31548</c:v>
                </c:pt>
                <c:pt idx="58108">
                  <c:v>31548</c:v>
                </c:pt>
                <c:pt idx="58109">
                  <c:v>31548</c:v>
                </c:pt>
                <c:pt idx="58110">
                  <c:v>31548</c:v>
                </c:pt>
                <c:pt idx="58111">
                  <c:v>31548</c:v>
                </c:pt>
                <c:pt idx="58112">
                  <c:v>31548</c:v>
                </c:pt>
                <c:pt idx="58113">
                  <c:v>31548</c:v>
                </c:pt>
                <c:pt idx="58114">
                  <c:v>31548</c:v>
                </c:pt>
                <c:pt idx="58115">
                  <c:v>31548</c:v>
                </c:pt>
                <c:pt idx="58116">
                  <c:v>31547</c:v>
                </c:pt>
                <c:pt idx="58117">
                  <c:v>31547</c:v>
                </c:pt>
                <c:pt idx="58118">
                  <c:v>31547</c:v>
                </c:pt>
                <c:pt idx="58119">
                  <c:v>31547</c:v>
                </c:pt>
                <c:pt idx="58120">
                  <c:v>31547</c:v>
                </c:pt>
                <c:pt idx="58121">
                  <c:v>31547</c:v>
                </c:pt>
                <c:pt idx="58122">
                  <c:v>31547</c:v>
                </c:pt>
                <c:pt idx="58123">
                  <c:v>31546</c:v>
                </c:pt>
                <c:pt idx="58124">
                  <c:v>31546</c:v>
                </c:pt>
                <c:pt idx="58125">
                  <c:v>31546</c:v>
                </c:pt>
                <c:pt idx="58126">
                  <c:v>31546</c:v>
                </c:pt>
                <c:pt idx="58127">
                  <c:v>31546</c:v>
                </c:pt>
                <c:pt idx="58128">
                  <c:v>31546</c:v>
                </c:pt>
                <c:pt idx="58129">
                  <c:v>31546</c:v>
                </c:pt>
                <c:pt idx="58130">
                  <c:v>31546</c:v>
                </c:pt>
                <c:pt idx="58131">
                  <c:v>31546</c:v>
                </c:pt>
                <c:pt idx="58132">
                  <c:v>31546</c:v>
                </c:pt>
                <c:pt idx="58133">
                  <c:v>31546</c:v>
                </c:pt>
                <c:pt idx="58134">
                  <c:v>31545</c:v>
                </c:pt>
                <c:pt idx="58135">
                  <c:v>31545</c:v>
                </c:pt>
                <c:pt idx="58136">
                  <c:v>31545</c:v>
                </c:pt>
                <c:pt idx="58137">
                  <c:v>31545</c:v>
                </c:pt>
                <c:pt idx="58138">
                  <c:v>31545</c:v>
                </c:pt>
                <c:pt idx="58139">
                  <c:v>31544</c:v>
                </c:pt>
                <c:pt idx="58140">
                  <c:v>31544</c:v>
                </c:pt>
                <c:pt idx="58141">
                  <c:v>31544</c:v>
                </c:pt>
                <c:pt idx="58142">
                  <c:v>31544</c:v>
                </c:pt>
                <c:pt idx="58143">
                  <c:v>31544</c:v>
                </c:pt>
                <c:pt idx="58144">
                  <c:v>31543</c:v>
                </c:pt>
                <c:pt idx="58145">
                  <c:v>31543</c:v>
                </c:pt>
                <c:pt idx="58146">
                  <c:v>31543</c:v>
                </c:pt>
                <c:pt idx="58147">
                  <c:v>31543</c:v>
                </c:pt>
                <c:pt idx="58148">
                  <c:v>31543</c:v>
                </c:pt>
                <c:pt idx="58149">
                  <c:v>31543</c:v>
                </c:pt>
                <c:pt idx="58150">
                  <c:v>31542</c:v>
                </c:pt>
                <c:pt idx="58151">
                  <c:v>31542</c:v>
                </c:pt>
                <c:pt idx="58152">
                  <c:v>31542</c:v>
                </c:pt>
                <c:pt idx="58153">
                  <c:v>31542</c:v>
                </c:pt>
                <c:pt idx="58154">
                  <c:v>31542</c:v>
                </c:pt>
                <c:pt idx="58155">
                  <c:v>31542</c:v>
                </c:pt>
                <c:pt idx="58156">
                  <c:v>31542</c:v>
                </c:pt>
                <c:pt idx="58157">
                  <c:v>31542</c:v>
                </c:pt>
                <c:pt idx="58158">
                  <c:v>31541</c:v>
                </c:pt>
                <c:pt idx="58159">
                  <c:v>31541</c:v>
                </c:pt>
                <c:pt idx="58160">
                  <c:v>31541</c:v>
                </c:pt>
                <c:pt idx="58161">
                  <c:v>31541</c:v>
                </c:pt>
                <c:pt idx="58162">
                  <c:v>31541</c:v>
                </c:pt>
                <c:pt idx="58163">
                  <c:v>31541</c:v>
                </c:pt>
                <c:pt idx="58164">
                  <c:v>31541</c:v>
                </c:pt>
                <c:pt idx="58165">
                  <c:v>31541</c:v>
                </c:pt>
                <c:pt idx="58166">
                  <c:v>31541</c:v>
                </c:pt>
                <c:pt idx="58167">
                  <c:v>31541</c:v>
                </c:pt>
                <c:pt idx="58168">
                  <c:v>31541</c:v>
                </c:pt>
                <c:pt idx="58169">
                  <c:v>31541</c:v>
                </c:pt>
                <c:pt idx="58170">
                  <c:v>31540</c:v>
                </c:pt>
                <c:pt idx="58171">
                  <c:v>31540</c:v>
                </c:pt>
                <c:pt idx="58172">
                  <c:v>31540</c:v>
                </c:pt>
                <c:pt idx="58173">
                  <c:v>31540</c:v>
                </c:pt>
                <c:pt idx="58174">
                  <c:v>31540</c:v>
                </c:pt>
                <c:pt idx="58175">
                  <c:v>31539</c:v>
                </c:pt>
                <c:pt idx="58176">
                  <c:v>31539</c:v>
                </c:pt>
                <c:pt idx="58177">
                  <c:v>31539</c:v>
                </c:pt>
                <c:pt idx="58178">
                  <c:v>31539</c:v>
                </c:pt>
                <c:pt idx="58179">
                  <c:v>31539</c:v>
                </c:pt>
                <c:pt idx="58180">
                  <c:v>31538</c:v>
                </c:pt>
                <c:pt idx="58181">
                  <c:v>31538</c:v>
                </c:pt>
                <c:pt idx="58182">
                  <c:v>31538</c:v>
                </c:pt>
                <c:pt idx="58183">
                  <c:v>31538</c:v>
                </c:pt>
                <c:pt idx="58184">
                  <c:v>31538</c:v>
                </c:pt>
                <c:pt idx="58185">
                  <c:v>31537</c:v>
                </c:pt>
                <c:pt idx="58186">
                  <c:v>31537</c:v>
                </c:pt>
                <c:pt idx="58187">
                  <c:v>31537</c:v>
                </c:pt>
                <c:pt idx="58188">
                  <c:v>31536</c:v>
                </c:pt>
                <c:pt idx="58189">
                  <c:v>31536</c:v>
                </c:pt>
                <c:pt idx="58190">
                  <c:v>31536</c:v>
                </c:pt>
                <c:pt idx="58191">
                  <c:v>31536</c:v>
                </c:pt>
                <c:pt idx="58192">
                  <c:v>31535</c:v>
                </c:pt>
                <c:pt idx="58193">
                  <c:v>31535</c:v>
                </c:pt>
                <c:pt idx="58194">
                  <c:v>31535</c:v>
                </c:pt>
                <c:pt idx="58195">
                  <c:v>31535</c:v>
                </c:pt>
                <c:pt idx="58196">
                  <c:v>31535</c:v>
                </c:pt>
                <c:pt idx="58197">
                  <c:v>31535</c:v>
                </c:pt>
                <c:pt idx="58198">
                  <c:v>31535</c:v>
                </c:pt>
                <c:pt idx="58199">
                  <c:v>31534</c:v>
                </c:pt>
                <c:pt idx="58200">
                  <c:v>31534</c:v>
                </c:pt>
                <c:pt idx="58201">
                  <c:v>31534</c:v>
                </c:pt>
                <c:pt idx="58202">
                  <c:v>31533</c:v>
                </c:pt>
                <c:pt idx="58203">
                  <c:v>31533</c:v>
                </c:pt>
                <c:pt idx="58204">
                  <c:v>31533</c:v>
                </c:pt>
                <c:pt idx="58205">
                  <c:v>31532</c:v>
                </c:pt>
                <c:pt idx="58206">
                  <c:v>31532</c:v>
                </c:pt>
                <c:pt idx="58207">
                  <c:v>31532</c:v>
                </c:pt>
                <c:pt idx="58208">
                  <c:v>31532</c:v>
                </c:pt>
                <c:pt idx="58209">
                  <c:v>31532</c:v>
                </c:pt>
                <c:pt idx="58210">
                  <c:v>31532</c:v>
                </c:pt>
                <c:pt idx="58211">
                  <c:v>31532</c:v>
                </c:pt>
                <c:pt idx="58212">
                  <c:v>31532</c:v>
                </c:pt>
                <c:pt idx="58213">
                  <c:v>31532</c:v>
                </c:pt>
                <c:pt idx="58214">
                  <c:v>31532</c:v>
                </c:pt>
                <c:pt idx="58215">
                  <c:v>31532</c:v>
                </c:pt>
                <c:pt idx="58216">
                  <c:v>31531</c:v>
                </c:pt>
                <c:pt idx="58217">
                  <c:v>31531</c:v>
                </c:pt>
                <c:pt idx="58218">
                  <c:v>31531</c:v>
                </c:pt>
                <c:pt idx="58219">
                  <c:v>31531</c:v>
                </c:pt>
                <c:pt idx="58220">
                  <c:v>31531</c:v>
                </c:pt>
                <c:pt idx="58221">
                  <c:v>31530</c:v>
                </c:pt>
                <c:pt idx="58222">
                  <c:v>31530</c:v>
                </c:pt>
                <c:pt idx="58223">
                  <c:v>31529</c:v>
                </c:pt>
                <c:pt idx="58224">
                  <c:v>31529</c:v>
                </c:pt>
                <c:pt idx="58225">
                  <c:v>31529</c:v>
                </c:pt>
                <c:pt idx="58226">
                  <c:v>31529</c:v>
                </c:pt>
                <c:pt idx="58227">
                  <c:v>31529</c:v>
                </c:pt>
                <c:pt idx="58228">
                  <c:v>31529</c:v>
                </c:pt>
                <c:pt idx="58229">
                  <c:v>31529</c:v>
                </c:pt>
                <c:pt idx="58230">
                  <c:v>31528</c:v>
                </c:pt>
                <c:pt idx="58231">
                  <c:v>31528</c:v>
                </c:pt>
                <c:pt idx="58232">
                  <c:v>31528</c:v>
                </c:pt>
                <c:pt idx="58233">
                  <c:v>31528</c:v>
                </c:pt>
                <c:pt idx="58234">
                  <c:v>31527</c:v>
                </c:pt>
                <c:pt idx="58235">
                  <c:v>31527</c:v>
                </c:pt>
                <c:pt idx="58236">
                  <c:v>31527</c:v>
                </c:pt>
                <c:pt idx="58237">
                  <c:v>31527</c:v>
                </c:pt>
                <c:pt idx="58238">
                  <c:v>31526</c:v>
                </c:pt>
                <c:pt idx="58239">
                  <c:v>31526</c:v>
                </c:pt>
                <c:pt idx="58240">
                  <c:v>31526</c:v>
                </c:pt>
                <c:pt idx="58241">
                  <c:v>31526</c:v>
                </c:pt>
                <c:pt idx="58242">
                  <c:v>31526</c:v>
                </c:pt>
                <c:pt idx="58243">
                  <c:v>31526</c:v>
                </c:pt>
                <c:pt idx="58244">
                  <c:v>31526</c:v>
                </c:pt>
                <c:pt idx="58245">
                  <c:v>31525</c:v>
                </c:pt>
                <c:pt idx="58246">
                  <c:v>31525</c:v>
                </c:pt>
                <c:pt idx="58247">
                  <c:v>31525</c:v>
                </c:pt>
                <c:pt idx="58248">
                  <c:v>31525</c:v>
                </c:pt>
                <c:pt idx="58249">
                  <c:v>31524</c:v>
                </c:pt>
                <c:pt idx="58250">
                  <c:v>31524</c:v>
                </c:pt>
                <c:pt idx="58251">
                  <c:v>31524</c:v>
                </c:pt>
                <c:pt idx="58252">
                  <c:v>31524</c:v>
                </c:pt>
                <c:pt idx="58253">
                  <c:v>31524</c:v>
                </c:pt>
                <c:pt idx="58254">
                  <c:v>31524</c:v>
                </c:pt>
                <c:pt idx="58255">
                  <c:v>31522</c:v>
                </c:pt>
                <c:pt idx="58256">
                  <c:v>31522</c:v>
                </c:pt>
                <c:pt idx="58257">
                  <c:v>31522</c:v>
                </c:pt>
                <c:pt idx="58258">
                  <c:v>31522</c:v>
                </c:pt>
                <c:pt idx="58259">
                  <c:v>31522</c:v>
                </c:pt>
                <c:pt idx="58260">
                  <c:v>31522</c:v>
                </c:pt>
                <c:pt idx="58261">
                  <c:v>31521</c:v>
                </c:pt>
                <c:pt idx="58262">
                  <c:v>31521</c:v>
                </c:pt>
                <c:pt idx="58263">
                  <c:v>31521</c:v>
                </c:pt>
                <c:pt idx="58264">
                  <c:v>31521</c:v>
                </c:pt>
                <c:pt idx="58265">
                  <c:v>31521</c:v>
                </c:pt>
                <c:pt idx="58266">
                  <c:v>31521</c:v>
                </c:pt>
                <c:pt idx="58267">
                  <c:v>31521</c:v>
                </c:pt>
                <c:pt idx="58268">
                  <c:v>31521</c:v>
                </c:pt>
                <c:pt idx="58269">
                  <c:v>31521</c:v>
                </c:pt>
                <c:pt idx="58270">
                  <c:v>31521</c:v>
                </c:pt>
                <c:pt idx="58271">
                  <c:v>31521</c:v>
                </c:pt>
                <c:pt idx="58272">
                  <c:v>31520</c:v>
                </c:pt>
                <c:pt idx="58273">
                  <c:v>31520</c:v>
                </c:pt>
                <c:pt idx="58274">
                  <c:v>31520</c:v>
                </c:pt>
                <c:pt idx="58275">
                  <c:v>31519</c:v>
                </c:pt>
                <c:pt idx="58276">
                  <c:v>31519</c:v>
                </c:pt>
                <c:pt idx="58277">
                  <c:v>31519</c:v>
                </c:pt>
                <c:pt idx="58278">
                  <c:v>31518</c:v>
                </c:pt>
                <c:pt idx="58279">
                  <c:v>31518</c:v>
                </c:pt>
                <c:pt idx="58280">
                  <c:v>31518</c:v>
                </c:pt>
                <c:pt idx="58281">
                  <c:v>31518</c:v>
                </c:pt>
                <c:pt idx="58282">
                  <c:v>31518</c:v>
                </c:pt>
                <c:pt idx="58283">
                  <c:v>31517</c:v>
                </c:pt>
                <c:pt idx="58284">
                  <c:v>31517</c:v>
                </c:pt>
                <c:pt idx="58285">
                  <c:v>31517</c:v>
                </c:pt>
                <c:pt idx="58286">
                  <c:v>31517</c:v>
                </c:pt>
                <c:pt idx="58287">
                  <c:v>31517</c:v>
                </c:pt>
                <c:pt idx="58288">
                  <c:v>31516</c:v>
                </c:pt>
                <c:pt idx="58289">
                  <c:v>31516</c:v>
                </c:pt>
                <c:pt idx="58290">
                  <c:v>31516</c:v>
                </c:pt>
                <c:pt idx="58291">
                  <c:v>31516</c:v>
                </c:pt>
                <c:pt idx="58292">
                  <c:v>31515</c:v>
                </c:pt>
                <c:pt idx="58293">
                  <c:v>31515</c:v>
                </c:pt>
                <c:pt idx="58294">
                  <c:v>31515</c:v>
                </c:pt>
                <c:pt idx="58295">
                  <c:v>31515</c:v>
                </c:pt>
                <c:pt idx="58296">
                  <c:v>31515</c:v>
                </c:pt>
                <c:pt idx="58297">
                  <c:v>31514</c:v>
                </c:pt>
                <c:pt idx="58298">
                  <c:v>31514</c:v>
                </c:pt>
                <c:pt idx="58299">
                  <c:v>31514</c:v>
                </c:pt>
                <c:pt idx="58300">
                  <c:v>31514</c:v>
                </c:pt>
                <c:pt idx="58301">
                  <c:v>31514</c:v>
                </c:pt>
                <c:pt idx="58302">
                  <c:v>31514</c:v>
                </c:pt>
                <c:pt idx="58303">
                  <c:v>31513</c:v>
                </c:pt>
                <c:pt idx="58304">
                  <c:v>31513</c:v>
                </c:pt>
                <c:pt idx="58305">
                  <c:v>31513</c:v>
                </c:pt>
                <c:pt idx="58306">
                  <c:v>31513</c:v>
                </c:pt>
                <c:pt idx="58307">
                  <c:v>31512</c:v>
                </c:pt>
                <c:pt idx="58308">
                  <c:v>31512</c:v>
                </c:pt>
                <c:pt idx="58309">
                  <c:v>31512</c:v>
                </c:pt>
                <c:pt idx="58310">
                  <c:v>31512</c:v>
                </c:pt>
                <c:pt idx="58311">
                  <c:v>31512</c:v>
                </c:pt>
                <c:pt idx="58312">
                  <c:v>31512</c:v>
                </c:pt>
                <c:pt idx="58313">
                  <c:v>31511</c:v>
                </c:pt>
                <c:pt idx="58314">
                  <c:v>31511</c:v>
                </c:pt>
                <c:pt idx="58315">
                  <c:v>31510</c:v>
                </c:pt>
                <c:pt idx="58316">
                  <c:v>31510</c:v>
                </c:pt>
                <c:pt idx="58317">
                  <c:v>31510</c:v>
                </c:pt>
                <c:pt idx="58318">
                  <c:v>31510</c:v>
                </c:pt>
                <c:pt idx="58319">
                  <c:v>31510</c:v>
                </c:pt>
                <c:pt idx="58320">
                  <c:v>31510</c:v>
                </c:pt>
                <c:pt idx="58321">
                  <c:v>31509</c:v>
                </c:pt>
                <c:pt idx="58322">
                  <c:v>31509</c:v>
                </c:pt>
                <c:pt idx="58323">
                  <c:v>31509</c:v>
                </c:pt>
                <c:pt idx="58324">
                  <c:v>31509</c:v>
                </c:pt>
                <c:pt idx="58325">
                  <c:v>31509</c:v>
                </c:pt>
                <c:pt idx="58326">
                  <c:v>31509</c:v>
                </c:pt>
                <c:pt idx="58327">
                  <c:v>31509</c:v>
                </c:pt>
                <c:pt idx="58328">
                  <c:v>31509</c:v>
                </c:pt>
                <c:pt idx="58329">
                  <c:v>31509</c:v>
                </c:pt>
                <c:pt idx="58330">
                  <c:v>31509</c:v>
                </c:pt>
                <c:pt idx="58331">
                  <c:v>31509</c:v>
                </c:pt>
                <c:pt idx="58332">
                  <c:v>31509</c:v>
                </c:pt>
                <c:pt idx="58333">
                  <c:v>31509</c:v>
                </c:pt>
                <c:pt idx="58334">
                  <c:v>31508</c:v>
                </c:pt>
                <c:pt idx="58335">
                  <c:v>31508</c:v>
                </c:pt>
                <c:pt idx="58336">
                  <c:v>31508</c:v>
                </c:pt>
                <c:pt idx="58337">
                  <c:v>31508</c:v>
                </c:pt>
                <c:pt idx="58338">
                  <c:v>31508</c:v>
                </c:pt>
                <c:pt idx="58339">
                  <c:v>31508</c:v>
                </c:pt>
                <c:pt idx="58340">
                  <c:v>31508</c:v>
                </c:pt>
                <c:pt idx="58341">
                  <c:v>31508</c:v>
                </c:pt>
                <c:pt idx="58342">
                  <c:v>31508</c:v>
                </c:pt>
                <c:pt idx="58343">
                  <c:v>31507</c:v>
                </c:pt>
                <c:pt idx="58344">
                  <c:v>31507</c:v>
                </c:pt>
                <c:pt idx="58345">
                  <c:v>31507</c:v>
                </c:pt>
                <c:pt idx="58346">
                  <c:v>31507</c:v>
                </c:pt>
                <c:pt idx="58347">
                  <c:v>31507</c:v>
                </c:pt>
                <c:pt idx="58348">
                  <c:v>31506</c:v>
                </c:pt>
                <c:pt idx="58349">
                  <c:v>31506</c:v>
                </c:pt>
                <c:pt idx="58350">
                  <c:v>31506</c:v>
                </c:pt>
                <c:pt idx="58351">
                  <c:v>31506</c:v>
                </c:pt>
                <c:pt idx="58352">
                  <c:v>31505</c:v>
                </c:pt>
                <c:pt idx="58353">
                  <c:v>31505</c:v>
                </c:pt>
                <c:pt idx="58354">
                  <c:v>31505</c:v>
                </c:pt>
                <c:pt idx="58355">
                  <c:v>31505</c:v>
                </c:pt>
                <c:pt idx="58356">
                  <c:v>31505</c:v>
                </c:pt>
                <c:pt idx="58357">
                  <c:v>31505</c:v>
                </c:pt>
                <c:pt idx="58358">
                  <c:v>31505</c:v>
                </c:pt>
                <c:pt idx="58359">
                  <c:v>31505</c:v>
                </c:pt>
                <c:pt idx="58360">
                  <c:v>31505</c:v>
                </c:pt>
                <c:pt idx="58361">
                  <c:v>31505</c:v>
                </c:pt>
                <c:pt idx="58362">
                  <c:v>31504</c:v>
                </c:pt>
                <c:pt idx="58363">
                  <c:v>31504</c:v>
                </c:pt>
                <c:pt idx="58364">
                  <c:v>31504</c:v>
                </c:pt>
                <c:pt idx="58365">
                  <c:v>31504</c:v>
                </c:pt>
                <c:pt idx="58366">
                  <c:v>31504</c:v>
                </c:pt>
                <c:pt idx="58367">
                  <c:v>31504</c:v>
                </c:pt>
                <c:pt idx="58368">
                  <c:v>31504</c:v>
                </c:pt>
                <c:pt idx="58369">
                  <c:v>31503</c:v>
                </c:pt>
                <c:pt idx="58370">
                  <c:v>31503</c:v>
                </c:pt>
                <c:pt idx="58371">
                  <c:v>31503</c:v>
                </c:pt>
                <c:pt idx="58372">
                  <c:v>31503</c:v>
                </c:pt>
                <c:pt idx="58373">
                  <c:v>31502</c:v>
                </c:pt>
                <c:pt idx="58374">
                  <c:v>31502</c:v>
                </c:pt>
                <c:pt idx="58375">
                  <c:v>31502</c:v>
                </c:pt>
                <c:pt idx="58376">
                  <c:v>31502</c:v>
                </c:pt>
                <c:pt idx="58377">
                  <c:v>31502</c:v>
                </c:pt>
                <c:pt idx="58378">
                  <c:v>31502</c:v>
                </c:pt>
                <c:pt idx="58379">
                  <c:v>31502</c:v>
                </c:pt>
                <c:pt idx="58380">
                  <c:v>31501</c:v>
                </c:pt>
                <c:pt idx="58381">
                  <c:v>31501</c:v>
                </c:pt>
                <c:pt idx="58382">
                  <c:v>31501</c:v>
                </c:pt>
                <c:pt idx="58383">
                  <c:v>31501</c:v>
                </c:pt>
                <c:pt idx="58384">
                  <c:v>31500</c:v>
                </c:pt>
                <c:pt idx="58385">
                  <c:v>31500</c:v>
                </c:pt>
                <c:pt idx="58386">
                  <c:v>31500</c:v>
                </c:pt>
                <c:pt idx="58387">
                  <c:v>31500</c:v>
                </c:pt>
                <c:pt idx="58388">
                  <c:v>31500</c:v>
                </c:pt>
                <c:pt idx="58389">
                  <c:v>31500</c:v>
                </c:pt>
                <c:pt idx="58390">
                  <c:v>31500</c:v>
                </c:pt>
                <c:pt idx="58391">
                  <c:v>31499</c:v>
                </c:pt>
                <c:pt idx="58392">
                  <c:v>31499</c:v>
                </c:pt>
                <c:pt idx="58393">
                  <c:v>31499</c:v>
                </c:pt>
                <c:pt idx="58394">
                  <c:v>31499</c:v>
                </c:pt>
                <c:pt idx="58395">
                  <c:v>31499</c:v>
                </c:pt>
                <c:pt idx="58396">
                  <c:v>31499</c:v>
                </c:pt>
                <c:pt idx="58397">
                  <c:v>31499</c:v>
                </c:pt>
                <c:pt idx="58398">
                  <c:v>31499</c:v>
                </c:pt>
                <c:pt idx="58399">
                  <c:v>31499</c:v>
                </c:pt>
                <c:pt idx="58400">
                  <c:v>31498</c:v>
                </c:pt>
                <c:pt idx="58401">
                  <c:v>31498</c:v>
                </c:pt>
                <c:pt idx="58402">
                  <c:v>31498</c:v>
                </c:pt>
                <c:pt idx="58403">
                  <c:v>31498</c:v>
                </c:pt>
                <c:pt idx="58404">
                  <c:v>31498</c:v>
                </c:pt>
                <c:pt idx="58405">
                  <c:v>31498</c:v>
                </c:pt>
                <c:pt idx="58406">
                  <c:v>31498</c:v>
                </c:pt>
                <c:pt idx="58407">
                  <c:v>31497</c:v>
                </c:pt>
                <c:pt idx="58408">
                  <c:v>31497</c:v>
                </c:pt>
                <c:pt idx="58409">
                  <c:v>31497</c:v>
                </c:pt>
                <c:pt idx="58410">
                  <c:v>31497</c:v>
                </c:pt>
                <c:pt idx="58411">
                  <c:v>31497</c:v>
                </c:pt>
                <c:pt idx="58412">
                  <c:v>31497</c:v>
                </c:pt>
                <c:pt idx="58413">
                  <c:v>31497</c:v>
                </c:pt>
                <c:pt idx="58414">
                  <c:v>31497</c:v>
                </c:pt>
                <c:pt idx="58415">
                  <c:v>31496</c:v>
                </c:pt>
                <c:pt idx="58416">
                  <c:v>31496</c:v>
                </c:pt>
                <c:pt idx="58417">
                  <c:v>31496</c:v>
                </c:pt>
                <c:pt idx="58418">
                  <c:v>31496</c:v>
                </c:pt>
                <c:pt idx="58419">
                  <c:v>31496</c:v>
                </c:pt>
                <c:pt idx="58420">
                  <c:v>31496</c:v>
                </c:pt>
                <c:pt idx="58421">
                  <c:v>31496</c:v>
                </c:pt>
                <c:pt idx="58422">
                  <c:v>31496</c:v>
                </c:pt>
                <c:pt idx="58423">
                  <c:v>31496</c:v>
                </c:pt>
                <c:pt idx="58424">
                  <c:v>31495</c:v>
                </c:pt>
                <c:pt idx="58425">
                  <c:v>31495</c:v>
                </c:pt>
                <c:pt idx="58426">
                  <c:v>31494</c:v>
                </c:pt>
                <c:pt idx="58427">
                  <c:v>31494</c:v>
                </c:pt>
                <c:pt idx="58428">
                  <c:v>31494</c:v>
                </c:pt>
                <c:pt idx="58429">
                  <c:v>31493</c:v>
                </c:pt>
                <c:pt idx="58430">
                  <c:v>31493</c:v>
                </c:pt>
                <c:pt idx="58431">
                  <c:v>31493</c:v>
                </c:pt>
                <c:pt idx="58432">
                  <c:v>31493</c:v>
                </c:pt>
                <c:pt idx="58433">
                  <c:v>31493</c:v>
                </c:pt>
                <c:pt idx="58434">
                  <c:v>31493</c:v>
                </c:pt>
                <c:pt idx="58435">
                  <c:v>31492</c:v>
                </c:pt>
                <c:pt idx="58436">
                  <c:v>31492</c:v>
                </c:pt>
                <c:pt idx="58437">
                  <c:v>31492</c:v>
                </c:pt>
                <c:pt idx="58438">
                  <c:v>31492</c:v>
                </c:pt>
                <c:pt idx="58439">
                  <c:v>31492</c:v>
                </c:pt>
                <c:pt idx="58440">
                  <c:v>31492</c:v>
                </c:pt>
                <c:pt idx="58441">
                  <c:v>31491</c:v>
                </c:pt>
                <c:pt idx="58442">
                  <c:v>31491</c:v>
                </c:pt>
                <c:pt idx="58443">
                  <c:v>31491</c:v>
                </c:pt>
                <c:pt idx="58444">
                  <c:v>31491</c:v>
                </c:pt>
                <c:pt idx="58445">
                  <c:v>31491</c:v>
                </c:pt>
                <c:pt idx="58446">
                  <c:v>31491</c:v>
                </c:pt>
                <c:pt idx="58447">
                  <c:v>31491</c:v>
                </c:pt>
                <c:pt idx="58448">
                  <c:v>31491</c:v>
                </c:pt>
                <c:pt idx="58449">
                  <c:v>31490</c:v>
                </c:pt>
                <c:pt idx="58450">
                  <c:v>31490</c:v>
                </c:pt>
                <c:pt idx="58451">
                  <c:v>31490</c:v>
                </c:pt>
                <c:pt idx="58452">
                  <c:v>31490</c:v>
                </c:pt>
                <c:pt idx="58453">
                  <c:v>31490</c:v>
                </c:pt>
                <c:pt idx="58454">
                  <c:v>31490</c:v>
                </c:pt>
                <c:pt idx="58455">
                  <c:v>31490</c:v>
                </c:pt>
                <c:pt idx="58456">
                  <c:v>31489</c:v>
                </c:pt>
                <c:pt idx="58457">
                  <c:v>31489</c:v>
                </c:pt>
                <c:pt idx="58458">
                  <c:v>31489</c:v>
                </c:pt>
                <c:pt idx="58459">
                  <c:v>31489</c:v>
                </c:pt>
                <c:pt idx="58460">
                  <c:v>31488</c:v>
                </c:pt>
                <c:pt idx="58461">
                  <c:v>31488</c:v>
                </c:pt>
                <c:pt idx="58462">
                  <c:v>31488</c:v>
                </c:pt>
                <c:pt idx="58463">
                  <c:v>31488</c:v>
                </c:pt>
                <c:pt idx="58464">
                  <c:v>31487</c:v>
                </c:pt>
                <c:pt idx="58465">
                  <c:v>31487</c:v>
                </c:pt>
                <c:pt idx="58466">
                  <c:v>31487</c:v>
                </c:pt>
                <c:pt idx="58467">
                  <c:v>31487</c:v>
                </c:pt>
                <c:pt idx="58468">
                  <c:v>31487</c:v>
                </c:pt>
                <c:pt idx="58469">
                  <c:v>31487</c:v>
                </c:pt>
                <c:pt idx="58470">
                  <c:v>31486</c:v>
                </c:pt>
                <c:pt idx="58471">
                  <c:v>31486</c:v>
                </c:pt>
                <c:pt idx="58472">
                  <c:v>31486</c:v>
                </c:pt>
                <c:pt idx="58473">
                  <c:v>31486</c:v>
                </c:pt>
                <c:pt idx="58474">
                  <c:v>31486</c:v>
                </c:pt>
                <c:pt idx="58475">
                  <c:v>31486</c:v>
                </c:pt>
                <c:pt idx="58476">
                  <c:v>31486</c:v>
                </c:pt>
                <c:pt idx="58477">
                  <c:v>31486</c:v>
                </c:pt>
                <c:pt idx="58478">
                  <c:v>31486</c:v>
                </c:pt>
                <c:pt idx="58479">
                  <c:v>31485</c:v>
                </c:pt>
                <c:pt idx="58480">
                  <c:v>31485</c:v>
                </c:pt>
                <c:pt idx="58481">
                  <c:v>31485</c:v>
                </c:pt>
                <c:pt idx="58482">
                  <c:v>31485</c:v>
                </c:pt>
                <c:pt idx="58483">
                  <c:v>31485</c:v>
                </c:pt>
                <c:pt idx="58484">
                  <c:v>31485</c:v>
                </c:pt>
                <c:pt idx="58485">
                  <c:v>31484</c:v>
                </c:pt>
                <c:pt idx="58486">
                  <c:v>31484</c:v>
                </c:pt>
                <c:pt idx="58487">
                  <c:v>31484</c:v>
                </c:pt>
                <c:pt idx="58488">
                  <c:v>31484</c:v>
                </c:pt>
                <c:pt idx="58489">
                  <c:v>31483</c:v>
                </c:pt>
                <c:pt idx="58490">
                  <c:v>31483</c:v>
                </c:pt>
                <c:pt idx="58491">
                  <c:v>31483</c:v>
                </c:pt>
                <c:pt idx="58492">
                  <c:v>31483</c:v>
                </c:pt>
                <c:pt idx="58493">
                  <c:v>31482</c:v>
                </c:pt>
                <c:pt idx="58494">
                  <c:v>31482</c:v>
                </c:pt>
                <c:pt idx="58495">
                  <c:v>31482</c:v>
                </c:pt>
                <c:pt idx="58496">
                  <c:v>31482</c:v>
                </c:pt>
                <c:pt idx="58497">
                  <c:v>31481</c:v>
                </c:pt>
                <c:pt idx="58498">
                  <c:v>31481</c:v>
                </c:pt>
                <c:pt idx="58499">
                  <c:v>31481</c:v>
                </c:pt>
                <c:pt idx="58500">
                  <c:v>31481</c:v>
                </c:pt>
                <c:pt idx="58501">
                  <c:v>31481</c:v>
                </c:pt>
                <c:pt idx="58502">
                  <c:v>31480</c:v>
                </c:pt>
                <c:pt idx="58503">
                  <c:v>31480</c:v>
                </c:pt>
                <c:pt idx="58504">
                  <c:v>31480</c:v>
                </c:pt>
                <c:pt idx="58505">
                  <c:v>31480</c:v>
                </c:pt>
                <c:pt idx="58506">
                  <c:v>31480</c:v>
                </c:pt>
                <c:pt idx="58507">
                  <c:v>31480</c:v>
                </c:pt>
                <c:pt idx="58508">
                  <c:v>31480</c:v>
                </c:pt>
                <c:pt idx="58509">
                  <c:v>31480</c:v>
                </c:pt>
                <c:pt idx="58510">
                  <c:v>31479</c:v>
                </c:pt>
                <c:pt idx="58511">
                  <c:v>31479</c:v>
                </c:pt>
                <c:pt idx="58512">
                  <c:v>31479</c:v>
                </c:pt>
                <c:pt idx="58513">
                  <c:v>31478</c:v>
                </c:pt>
                <c:pt idx="58514">
                  <c:v>31478</c:v>
                </c:pt>
                <c:pt idx="58515">
                  <c:v>31478</c:v>
                </c:pt>
                <c:pt idx="58516">
                  <c:v>31478</c:v>
                </c:pt>
                <c:pt idx="58517">
                  <c:v>31477</c:v>
                </c:pt>
                <c:pt idx="58518">
                  <c:v>31477</c:v>
                </c:pt>
                <c:pt idx="58519">
                  <c:v>31477</c:v>
                </c:pt>
                <c:pt idx="58520">
                  <c:v>31477</c:v>
                </c:pt>
                <c:pt idx="58521">
                  <c:v>31477</c:v>
                </c:pt>
                <c:pt idx="58522">
                  <c:v>31477</c:v>
                </c:pt>
                <c:pt idx="58523">
                  <c:v>31477</c:v>
                </c:pt>
                <c:pt idx="58524">
                  <c:v>31476</c:v>
                </c:pt>
                <c:pt idx="58525">
                  <c:v>31476</c:v>
                </c:pt>
                <c:pt idx="58526">
                  <c:v>31476</c:v>
                </c:pt>
                <c:pt idx="58527">
                  <c:v>31476</c:v>
                </c:pt>
                <c:pt idx="58528">
                  <c:v>31476</c:v>
                </c:pt>
                <c:pt idx="58529">
                  <c:v>31475</c:v>
                </c:pt>
                <c:pt idx="58530">
                  <c:v>31475</c:v>
                </c:pt>
                <c:pt idx="58531">
                  <c:v>31475</c:v>
                </c:pt>
                <c:pt idx="58532">
                  <c:v>31475</c:v>
                </c:pt>
                <c:pt idx="58533">
                  <c:v>31475</c:v>
                </c:pt>
                <c:pt idx="58534">
                  <c:v>31474</c:v>
                </c:pt>
                <c:pt idx="58535">
                  <c:v>31474</c:v>
                </c:pt>
                <c:pt idx="58536">
                  <c:v>31473</c:v>
                </c:pt>
                <c:pt idx="58537">
                  <c:v>31473</c:v>
                </c:pt>
                <c:pt idx="58538">
                  <c:v>31473</c:v>
                </c:pt>
                <c:pt idx="58539">
                  <c:v>31473</c:v>
                </c:pt>
                <c:pt idx="58540">
                  <c:v>31473</c:v>
                </c:pt>
                <c:pt idx="58541">
                  <c:v>31472</c:v>
                </c:pt>
                <c:pt idx="58542">
                  <c:v>31472</c:v>
                </c:pt>
                <c:pt idx="58543">
                  <c:v>31472</c:v>
                </c:pt>
                <c:pt idx="58544">
                  <c:v>31472</c:v>
                </c:pt>
                <c:pt idx="58545">
                  <c:v>31472</c:v>
                </c:pt>
                <c:pt idx="58546">
                  <c:v>31472</c:v>
                </c:pt>
                <c:pt idx="58547">
                  <c:v>31472</c:v>
                </c:pt>
                <c:pt idx="58548">
                  <c:v>31472</c:v>
                </c:pt>
                <c:pt idx="58549">
                  <c:v>31472</c:v>
                </c:pt>
                <c:pt idx="58550">
                  <c:v>31472</c:v>
                </c:pt>
                <c:pt idx="58551">
                  <c:v>31472</c:v>
                </c:pt>
                <c:pt idx="58552">
                  <c:v>31471</c:v>
                </c:pt>
                <c:pt idx="58553">
                  <c:v>31471</c:v>
                </c:pt>
                <c:pt idx="58554">
                  <c:v>31471</c:v>
                </c:pt>
                <c:pt idx="58555">
                  <c:v>31471</c:v>
                </c:pt>
                <c:pt idx="58556">
                  <c:v>31471</c:v>
                </c:pt>
                <c:pt idx="58557">
                  <c:v>31471</c:v>
                </c:pt>
                <c:pt idx="58558">
                  <c:v>31471</c:v>
                </c:pt>
                <c:pt idx="58559">
                  <c:v>31471</c:v>
                </c:pt>
                <c:pt idx="58560">
                  <c:v>31471</c:v>
                </c:pt>
                <c:pt idx="58561">
                  <c:v>31470</c:v>
                </c:pt>
                <c:pt idx="58562">
                  <c:v>31470</c:v>
                </c:pt>
                <c:pt idx="58563">
                  <c:v>31470</c:v>
                </c:pt>
                <c:pt idx="58564">
                  <c:v>31470</c:v>
                </c:pt>
                <c:pt idx="58565">
                  <c:v>31470</c:v>
                </c:pt>
                <c:pt idx="58566">
                  <c:v>31470</c:v>
                </c:pt>
                <c:pt idx="58567">
                  <c:v>31469</c:v>
                </c:pt>
                <c:pt idx="58568">
                  <c:v>31469</c:v>
                </c:pt>
                <c:pt idx="58569">
                  <c:v>31469</c:v>
                </c:pt>
                <c:pt idx="58570">
                  <c:v>31469</c:v>
                </c:pt>
                <c:pt idx="58571">
                  <c:v>31469</c:v>
                </c:pt>
                <c:pt idx="58572">
                  <c:v>31468</c:v>
                </c:pt>
                <c:pt idx="58573">
                  <c:v>31468</c:v>
                </c:pt>
                <c:pt idx="58574">
                  <c:v>31468</c:v>
                </c:pt>
                <c:pt idx="58575">
                  <c:v>31468</c:v>
                </c:pt>
                <c:pt idx="58576">
                  <c:v>31468</c:v>
                </c:pt>
                <c:pt idx="58577">
                  <c:v>31468</c:v>
                </c:pt>
                <c:pt idx="58578">
                  <c:v>31468</c:v>
                </c:pt>
                <c:pt idx="58579">
                  <c:v>31468</c:v>
                </c:pt>
                <c:pt idx="58580">
                  <c:v>31468</c:v>
                </c:pt>
                <c:pt idx="58581">
                  <c:v>31468</c:v>
                </c:pt>
                <c:pt idx="58582">
                  <c:v>31468</c:v>
                </c:pt>
                <c:pt idx="58583">
                  <c:v>31468</c:v>
                </c:pt>
                <c:pt idx="58584">
                  <c:v>31468</c:v>
                </c:pt>
                <c:pt idx="58585">
                  <c:v>31467</c:v>
                </c:pt>
                <c:pt idx="58586">
                  <c:v>31467</c:v>
                </c:pt>
                <c:pt idx="58587">
                  <c:v>31467</c:v>
                </c:pt>
                <c:pt idx="58588">
                  <c:v>31467</c:v>
                </c:pt>
                <c:pt idx="58589">
                  <c:v>31467</c:v>
                </c:pt>
                <c:pt idx="58590">
                  <c:v>31466</c:v>
                </c:pt>
                <c:pt idx="58591">
                  <c:v>31466</c:v>
                </c:pt>
                <c:pt idx="58592">
                  <c:v>31466</c:v>
                </c:pt>
                <c:pt idx="58593">
                  <c:v>31466</c:v>
                </c:pt>
                <c:pt idx="58594">
                  <c:v>31466</c:v>
                </c:pt>
                <c:pt idx="58595">
                  <c:v>31466</c:v>
                </c:pt>
                <c:pt idx="58596">
                  <c:v>31466</c:v>
                </c:pt>
                <c:pt idx="58597">
                  <c:v>31465</c:v>
                </c:pt>
                <c:pt idx="58598">
                  <c:v>31465</c:v>
                </c:pt>
                <c:pt idx="58599">
                  <c:v>31465</c:v>
                </c:pt>
                <c:pt idx="58600">
                  <c:v>31465</c:v>
                </c:pt>
                <c:pt idx="58601">
                  <c:v>31465</c:v>
                </c:pt>
                <c:pt idx="58602">
                  <c:v>31465</c:v>
                </c:pt>
                <c:pt idx="58603">
                  <c:v>31464</c:v>
                </c:pt>
                <c:pt idx="58604">
                  <c:v>31464</c:v>
                </c:pt>
                <c:pt idx="58605">
                  <c:v>31464</c:v>
                </c:pt>
                <c:pt idx="58606">
                  <c:v>31464</c:v>
                </c:pt>
                <c:pt idx="58607">
                  <c:v>31464</c:v>
                </c:pt>
                <c:pt idx="58608">
                  <c:v>31463</c:v>
                </c:pt>
                <c:pt idx="58609">
                  <c:v>31463</c:v>
                </c:pt>
                <c:pt idx="58610">
                  <c:v>31463</c:v>
                </c:pt>
                <c:pt idx="58611">
                  <c:v>31462</c:v>
                </c:pt>
                <c:pt idx="58612">
                  <c:v>31462</c:v>
                </c:pt>
                <c:pt idx="58613">
                  <c:v>31462</c:v>
                </c:pt>
                <c:pt idx="58614">
                  <c:v>31462</c:v>
                </c:pt>
                <c:pt idx="58615">
                  <c:v>31462</c:v>
                </c:pt>
                <c:pt idx="58616">
                  <c:v>31462</c:v>
                </c:pt>
                <c:pt idx="58617">
                  <c:v>31462</c:v>
                </c:pt>
                <c:pt idx="58618">
                  <c:v>31461</c:v>
                </c:pt>
                <c:pt idx="58619">
                  <c:v>31461</c:v>
                </c:pt>
                <c:pt idx="58620">
                  <c:v>31461</c:v>
                </c:pt>
                <c:pt idx="58621">
                  <c:v>31461</c:v>
                </c:pt>
                <c:pt idx="58622">
                  <c:v>31461</c:v>
                </c:pt>
                <c:pt idx="58623">
                  <c:v>31461</c:v>
                </c:pt>
                <c:pt idx="58624">
                  <c:v>31461</c:v>
                </c:pt>
                <c:pt idx="58625">
                  <c:v>31460</c:v>
                </c:pt>
                <c:pt idx="58626">
                  <c:v>31460</c:v>
                </c:pt>
                <c:pt idx="58627">
                  <c:v>31459</c:v>
                </c:pt>
                <c:pt idx="58628">
                  <c:v>31459</c:v>
                </c:pt>
                <c:pt idx="58629">
                  <c:v>31459</c:v>
                </c:pt>
                <c:pt idx="58630">
                  <c:v>31459</c:v>
                </c:pt>
                <c:pt idx="58631">
                  <c:v>31459</c:v>
                </c:pt>
                <c:pt idx="58632">
                  <c:v>31458</c:v>
                </c:pt>
                <c:pt idx="58633">
                  <c:v>31458</c:v>
                </c:pt>
                <c:pt idx="58634">
                  <c:v>31458</c:v>
                </c:pt>
                <c:pt idx="58635">
                  <c:v>31458</c:v>
                </c:pt>
                <c:pt idx="58636">
                  <c:v>31458</c:v>
                </c:pt>
                <c:pt idx="58637">
                  <c:v>31458</c:v>
                </c:pt>
                <c:pt idx="58638">
                  <c:v>31458</c:v>
                </c:pt>
                <c:pt idx="58639">
                  <c:v>31458</c:v>
                </c:pt>
                <c:pt idx="58640">
                  <c:v>31458</c:v>
                </c:pt>
                <c:pt idx="58641">
                  <c:v>31457</c:v>
                </c:pt>
                <c:pt idx="58642">
                  <c:v>31457</c:v>
                </c:pt>
                <c:pt idx="58643">
                  <c:v>31457</c:v>
                </c:pt>
                <c:pt idx="58644">
                  <c:v>31456</c:v>
                </c:pt>
                <c:pt idx="58645">
                  <c:v>31456</c:v>
                </c:pt>
                <c:pt idx="58646">
                  <c:v>31456</c:v>
                </c:pt>
                <c:pt idx="58647">
                  <c:v>31456</c:v>
                </c:pt>
                <c:pt idx="58648">
                  <c:v>31455</c:v>
                </c:pt>
                <c:pt idx="58649">
                  <c:v>31455</c:v>
                </c:pt>
                <c:pt idx="58650">
                  <c:v>31455</c:v>
                </c:pt>
                <c:pt idx="58651">
                  <c:v>31455</c:v>
                </c:pt>
                <c:pt idx="58652">
                  <c:v>31455</c:v>
                </c:pt>
                <c:pt idx="58653">
                  <c:v>31454</c:v>
                </c:pt>
                <c:pt idx="58654">
                  <c:v>31454</c:v>
                </c:pt>
                <c:pt idx="58655">
                  <c:v>31454</c:v>
                </c:pt>
                <c:pt idx="58656">
                  <c:v>31454</c:v>
                </c:pt>
                <c:pt idx="58657">
                  <c:v>31454</c:v>
                </c:pt>
                <c:pt idx="58658">
                  <c:v>31453</c:v>
                </c:pt>
                <c:pt idx="58659">
                  <c:v>31453</c:v>
                </c:pt>
                <c:pt idx="58660">
                  <c:v>31453</c:v>
                </c:pt>
                <c:pt idx="58661">
                  <c:v>31453</c:v>
                </c:pt>
                <c:pt idx="58662">
                  <c:v>31453</c:v>
                </c:pt>
                <c:pt idx="58663">
                  <c:v>31453</c:v>
                </c:pt>
                <c:pt idx="58664">
                  <c:v>31452</c:v>
                </c:pt>
                <c:pt idx="58665">
                  <c:v>31452</c:v>
                </c:pt>
                <c:pt idx="58666">
                  <c:v>31452</c:v>
                </c:pt>
                <c:pt idx="58667">
                  <c:v>31452</c:v>
                </c:pt>
                <c:pt idx="58668">
                  <c:v>31452</c:v>
                </c:pt>
                <c:pt idx="58669">
                  <c:v>31452</c:v>
                </c:pt>
                <c:pt idx="58670">
                  <c:v>31452</c:v>
                </c:pt>
                <c:pt idx="58671">
                  <c:v>31452</c:v>
                </c:pt>
                <c:pt idx="58672">
                  <c:v>31451</c:v>
                </c:pt>
                <c:pt idx="58673">
                  <c:v>31451</c:v>
                </c:pt>
                <c:pt idx="58674">
                  <c:v>31451</c:v>
                </c:pt>
                <c:pt idx="58675">
                  <c:v>31450</c:v>
                </c:pt>
                <c:pt idx="58676">
                  <c:v>31450</c:v>
                </c:pt>
                <c:pt idx="58677">
                  <c:v>31450</c:v>
                </c:pt>
                <c:pt idx="58678">
                  <c:v>31450</c:v>
                </c:pt>
                <c:pt idx="58679">
                  <c:v>31449</c:v>
                </c:pt>
                <c:pt idx="58680">
                  <c:v>31449</c:v>
                </c:pt>
                <c:pt idx="58681">
                  <c:v>31449</c:v>
                </c:pt>
                <c:pt idx="58682">
                  <c:v>31449</c:v>
                </c:pt>
                <c:pt idx="58683">
                  <c:v>31448</c:v>
                </c:pt>
                <c:pt idx="58684">
                  <c:v>31448</c:v>
                </c:pt>
                <c:pt idx="58685">
                  <c:v>31448</c:v>
                </c:pt>
                <c:pt idx="58686">
                  <c:v>31448</c:v>
                </c:pt>
                <c:pt idx="58687">
                  <c:v>31448</c:v>
                </c:pt>
                <c:pt idx="58688">
                  <c:v>31448</c:v>
                </c:pt>
                <c:pt idx="58689">
                  <c:v>31447</c:v>
                </c:pt>
                <c:pt idx="58690">
                  <c:v>31447</c:v>
                </c:pt>
                <c:pt idx="58691">
                  <c:v>31447</c:v>
                </c:pt>
                <c:pt idx="58692">
                  <c:v>31446</c:v>
                </c:pt>
                <c:pt idx="58693">
                  <c:v>31446</c:v>
                </c:pt>
                <c:pt idx="58694">
                  <c:v>31446</c:v>
                </c:pt>
                <c:pt idx="58695">
                  <c:v>31446</c:v>
                </c:pt>
                <c:pt idx="58696">
                  <c:v>31446</c:v>
                </c:pt>
                <c:pt idx="58697">
                  <c:v>31446</c:v>
                </c:pt>
                <c:pt idx="58698">
                  <c:v>31446</c:v>
                </c:pt>
                <c:pt idx="58699">
                  <c:v>31446</c:v>
                </c:pt>
                <c:pt idx="58700">
                  <c:v>31445</c:v>
                </c:pt>
                <c:pt idx="58701">
                  <c:v>31445</c:v>
                </c:pt>
                <c:pt idx="58702">
                  <c:v>31445</c:v>
                </c:pt>
                <c:pt idx="58703">
                  <c:v>31445</c:v>
                </c:pt>
                <c:pt idx="58704">
                  <c:v>31445</c:v>
                </c:pt>
                <c:pt idx="58705">
                  <c:v>31445</c:v>
                </c:pt>
                <c:pt idx="58706">
                  <c:v>31445</c:v>
                </c:pt>
                <c:pt idx="58707">
                  <c:v>31445</c:v>
                </c:pt>
                <c:pt idx="58708">
                  <c:v>31445</c:v>
                </c:pt>
                <c:pt idx="58709">
                  <c:v>31444</c:v>
                </c:pt>
                <c:pt idx="58710">
                  <c:v>31444</c:v>
                </c:pt>
                <c:pt idx="58711">
                  <c:v>31444</c:v>
                </c:pt>
                <c:pt idx="58712">
                  <c:v>31444</c:v>
                </c:pt>
                <c:pt idx="58713">
                  <c:v>31444</c:v>
                </c:pt>
                <c:pt idx="58714">
                  <c:v>31444</c:v>
                </c:pt>
                <c:pt idx="58715">
                  <c:v>31443</c:v>
                </c:pt>
                <c:pt idx="58716">
                  <c:v>31443</c:v>
                </c:pt>
                <c:pt idx="58717">
                  <c:v>31443</c:v>
                </c:pt>
                <c:pt idx="58718">
                  <c:v>31443</c:v>
                </c:pt>
                <c:pt idx="58719">
                  <c:v>31443</c:v>
                </c:pt>
                <c:pt idx="58720">
                  <c:v>31442</c:v>
                </c:pt>
                <c:pt idx="58721">
                  <c:v>31442</c:v>
                </c:pt>
                <c:pt idx="58722">
                  <c:v>31442</c:v>
                </c:pt>
                <c:pt idx="58723">
                  <c:v>31442</c:v>
                </c:pt>
                <c:pt idx="58724">
                  <c:v>31442</c:v>
                </c:pt>
                <c:pt idx="58725">
                  <c:v>31442</c:v>
                </c:pt>
                <c:pt idx="58726">
                  <c:v>31442</c:v>
                </c:pt>
                <c:pt idx="58727">
                  <c:v>31442</c:v>
                </c:pt>
                <c:pt idx="58728">
                  <c:v>31442</c:v>
                </c:pt>
                <c:pt idx="58729">
                  <c:v>31441</c:v>
                </c:pt>
                <c:pt idx="58730">
                  <c:v>31441</c:v>
                </c:pt>
                <c:pt idx="58731">
                  <c:v>31441</c:v>
                </c:pt>
                <c:pt idx="58732">
                  <c:v>31440</c:v>
                </c:pt>
                <c:pt idx="58733">
                  <c:v>31440</c:v>
                </c:pt>
                <c:pt idx="58734">
                  <c:v>31440</c:v>
                </c:pt>
                <c:pt idx="58735">
                  <c:v>31440</c:v>
                </c:pt>
                <c:pt idx="58736">
                  <c:v>31440</c:v>
                </c:pt>
                <c:pt idx="58737">
                  <c:v>31440</c:v>
                </c:pt>
                <c:pt idx="58738">
                  <c:v>31440</c:v>
                </c:pt>
                <c:pt idx="58739">
                  <c:v>31440</c:v>
                </c:pt>
                <c:pt idx="58740">
                  <c:v>31439</c:v>
                </c:pt>
                <c:pt idx="58741">
                  <c:v>31439</c:v>
                </c:pt>
                <c:pt idx="58742">
                  <c:v>31439</c:v>
                </c:pt>
                <c:pt idx="58743">
                  <c:v>31439</c:v>
                </c:pt>
                <c:pt idx="58744">
                  <c:v>31439</c:v>
                </c:pt>
                <c:pt idx="58745">
                  <c:v>31439</c:v>
                </c:pt>
                <c:pt idx="58746">
                  <c:v>31439</c:v>
                </c:pt>
                <c:pt idx="58747">
                  <c:v>31439</c:v>
                </c:pt>
                <c:pt idx="58748">
                  <c:v>31439</c:v>
                </c:pt>
                <c:pt idx="58749">
                  <c:v>31439</c:v>
                </c:pt>
                <c:pt idx="58750">
                  <c:v>31438</c:v>
                </c:pt>
                <c:pt idx="58751">
                  <c:v>31438</c:v>
                </c:pt>
                <c:pt idx="58752">
                  <c:v>31438</c:v>
                </c:pt>
                <c:pt idx="58753">
                  <c:v>31438</c:v>
                </c:pt>
                <c:pt idx="58754">
                  <c:v>31438</c:v>
                </c:pt>
                <c:pt idx="58755">
                  <c:v>31438</c:v>
                </c:pt>
                <c:pt idx="58756">
                  <c:v>31437</c:v>
                </c:pt>
                <c:pt idx="58757">
                  <c:v>31437</c:v>
                </c:pt>
                <c:pt idx="58758">
                  <c:v>31437</c:v>
                </c:pt>
                <c:pt idx="58759">
                  <c:v>31437</c:v>
                </c:pt>
                <c:pt idx="58760">
                  <c:v>31437</c:v>
                </c:pt>
                <c:pt idx="58761">
                  <c:v>31437</c:v>
                </c:pt>
                <c:pt idx="58762">
                  <c:v>31437</c:v>
                </c:pt>
                <c:pt idx="58763">
                  <c:v>31436</c:v>
                </c:pt>
                <c:pt idx="58764">
                  <c:v>31436</c:v>
                </c:pt>
                <c:pt idx="58765">
                  <c:v>31436</c:v>
                </c:pt>
                <c:pt idx="58766">
                  <c:v>31436</c:v>
                </c:pt>
                <c:pt idx="58767">
                  <c:v>31436</c:v>
                </c:pt>
                <c:pt idx="58768">
                  <c:v>31435</c:v>
                </c:pt>
                <c:pt idx="58769">
                  <c:v>31435</c:v>
                </c:pt>
                <c:pt idx="58770">
                  <c:v>31435</c:v>
                </c:pt>
                <c:pt idx="58771">
                  <c:v>31434</c:v>
                </c:pt>
                <c:pt idx="58772">
                  <c:v>31434</c:v>
                </c:pt>
                <c:pt idx="58773">
                  <c:v>31434</c:v>
                </c:pt>
                <c:pt idx="58774">
                  <c:v>31434</c:v>
                </c:pt>
                <c:pt idx="58775">
                  <c:v>31434</c:v>
                </c:pt>
                <c:pt idx="58776">
                  <c:v>31434</c:v>
                </c:pt>
                <c:pt idx="58777">
                  <c:v>31433</c:v>
                </c:pt>
                <c:pt idx="58778">
                  <c:v>31433</c:v>
                </c:pt>
                <c:pt idx="58779">
                  <c:v>31433</c:v>
                </c:pt>
                <c:pt idx="58780">
                  <c:v>31433</c:v>
                </c:pt>
                <c:pt idx="58781">
                  <c:v>31432</c:v>
                </c:pt>
                <c:pt idx="58782">
                  <c:v>31432</c:v>
                </c:pt>
                <c:pt idx="58783">
                  <c:v>31432</c:v>
                </c:pt>
                <c:pt idx="58784">
                  <c:v>31432</c:v>
                </c:pt>
                <c:pt idx="58785">
                  <c:v>31432</c:v>
                </c:pt>
                <c:pt idx="58786">
                  <c:v>31432</c:v>
                </c:pt>
                <c:pt idx="58787">
                  <c:v>31432</c:v>
                </c:pt>
                <c:pt idx="58788">
                  <c:v>31432</c:v>
                </c:pt>
                <c:pt idx="58789">
                  <c:v>31432</c:v>
                </c:pt>
                <c:pt idx="58790">
                  <c:v>31432</c:v>
                </c:pt>
                <c:pt idx="58791">
                  <c:v>31431</c:v>
                </c:pt>
                <c:pt idx="58792">
                  <c:v>31431</c:v>
                </c:pt>
                <c:pt idx="58793">
                  <c:v>31431</c:v>
                </c:pt>
                <c:pt idx="58794">
                  <c:v>31431</c:v>
                </c:pt>
                <c:pt idx="58795">
                  <c:v>31431</c:v>
                </c:pt>
                <c:pt idx="58796">
                  <c:v>31431</c:v>
                </c:pt>
                <c:pt idx="58797">
                  <c:v>31431</c:v>
                </c:pt>
                <c:pt idx="58798">
                  <c:v>31430</c:v>
                </c:pt>
                <c:pt idx="58799">
                  <c:v>31429</c:v>
                </c:pt>
                <c:pt idx="58800">
                  <c:v>31429</c:v>
                </c:pt>
                <c:pt idx="58801">
                  <c:v>31429</c:v>
                </c:pt>
                <c:pt idx="58802">
                  <c:v>31429</c:v>
                </c:pt>
                <c:pt idx="58803">
                  <c:v>31429</c:v>
                </c:pt>
                <c:pt idx="58804">
                  <c:v>31429</c:v>
                </c:pt>
                <c:pt idx="58805">
                  <c:v>31429</c:v>
                </c:pt>
                <c:pt idx="58806">
                  <c:v>31428</c:v>
                </c:pt>
                <c:pt idx="58807">
                  <c:v>31428</c:v>
                </c:pt>
                <c:pt idx="58808">
                  <c:v>31428</c:v>
                </c:pt>
                <c:pt idx="58809">
                  <c:v>31428</c:v>
                </c:pt>
                <c:pt idx="58810">
                  <c:v>31428</c:v>
                </c:pt>
                <c:pt idx="58811">
                  <c:v>31428</c:v>
                </c:pt>
                <c:pt idx="58812">
                  <c:v>31427</c:v>
                </c:pt>
                <c:pt idx="58813">
                  <c:v>31427</c:v>
                </c:pt>
                <c:pt idx="58814">
                  <c:v>31427</c:v>
                </c:pt>
                <c:pt idx="58815">
                  <c:v>31427</c:v>
                </c:pt>
                <c:pt idx="58816">
                  <c:v>31427</c:v>
                </c:pt>
                <c:pt idx="58817">
                  <c:v>31427</c:v>
                </c:pt>
                <c:pt idx="58818">
                  <c:v>31427</c:v>
                </c:pt>
                <c:pt idx="58819">
                  <c:v>31427</c:v>
                </c:pt>
                <c:pt idx="58820">
                  <c:v>31427</c:v>
                </c:pt>
                <c:pt idx="58821">
                  <c:v>31427</c:v>
                </c:pt>
                <c:pt idx="58822">
                  <c:v>31427</c:v>
                </c:pt>
                <c:pt idx="58823">
                  <c:v>31427</c:v>
                </c:pt>
                <c:pt idx="58824">
                  <c:v>31426</c:v>
                </c:pt>
                <c:pt idx="58825">
                  <c:v>31426</c:v>
                </c:pt>
                <c:pt idx="58826">
                  <c:v>31426</c:v>
                </c:pt>
                <c:pt idx="58827">
                  <c:v>31426</c:v>
                </c:pt>
                <c:pt idx="58828">
                  <c:v>31426</c:v>
                </c:pt>
                <c:pt idx="58829">
                  <c:v>31426</c:v>
                </c:pt>
                <c:pt idx="58830">
                  <c:v>31426</c:v>
                </c:pt>
                <c:pt idx="58831">
                  <c:v>31425</c:v>
                </c:pt>
                <c:pt idx="58832">
                  <c:v>31425</c:v>
                </c:pt>
                <c:pt idx="58833">
                  <c:v>31425</c:v>
                </c:pt>
                <c:pt idx="58834">
                  <c:v>31425</c:v>
                </c:pt>
                <c:pt idx="58835">
                  <c:v>31425</c:v>
                </c:pt>
                <c:pt idx="58836">
                  <c:v>31424</c:v>
                </c:pt>
                <c:pt idx="58837">
                  <c:v>31424</c:v>
                </c:pt>
                <c:pt idx="58838">
                  <c:v>31424</c:v>
                </c:pt>
                <c:pt idx="58839">
                  <c:v>31424</c:v>
                </c:pt>
                <c:pt idx="58840">
                  <c:v>31424</c:v>
                </c:pt>
                <c:pt idx="58841">
                  <c:v>31424</c:v>
                </c:pt>
                <c:pt idx="58842">
                  <c:v>31424</c:v>
                </c:pt>
                <c:pt idx="58843">
                  <c:v>31424</c:v>
                </c:pt>
                <c:pt idx="58844">
                  <c:v>31424</c:v>
                </c:pt>
                <c:pt idx="58845">
                  <c:v>31423</c:v>
                </c:pt>
                <c:pt idx="58846">
                  <c:v>31423</c:v>
                </c:pt>
                <c:pt idx="58847">
                  <c:v>31423</c:v>
                </c:pt>
                <c:pt idx="58848">
                  <c:v>31423</c:v>
                </c:pt>
                <c:pt idx="58849">
                  <c:v>31422</c:v>
                </c:pt>
                <c:pt idx="58850">
                  <c:v>31422</c:v>
                </c:pt>
                <c:pt idx="58851">
                  <c:v>31422</c:v>
                </c:pt>
                <c:pt idx="58852">
                  <c:v>31422</c:v>
                </c:pt>
                <c:pt idx="58853">
                  <c:v>31422</c:v>
                </c:pt>
                <c:pt idx="58854">
                  <c:v>31421</c:v>
                </c:pt>
                <c:pt idx="58855">
                  <c:v>31421</c:v>
                </c:pt>
                <c:pt idx="58856">
                  <c:v>31421</c:v>
                </c:pt>
                <c:pt idx="58857">
                  <c:v>31421</c:v>
                </c:pt>
                <c:pt idx="58858">
                  <c:v>31421</c:v>
                </c:pt>
                <c:pt idx="58859">
                  <c:v>31421</c:v>
                </c:pt>
                <c:pt idx="58860">
                  <c:v>31421</c:v>
                </c:pt>
                <c:pt idx="58861">
                  <c:v>31420</c:v>
                </c:pt>
                <c:pt idx="58862">
                  <c:v>31420</c:v>
                </c:pt>
                <c:pt idx="58863">
                  <c:v>31420</c:v>
                </c:pt>
                <c:pt idx="58864">
                  <c:v>31420</c:v>
                </c:pt>
                <c:pt idx="58865">
                  <c:v>31420</c:v>
                </c:pt>
                <c:pt idx="58866">
                  <c:v>31420</c:v>
                </c:pt>
                <c:pt idx="58867">
                  <c:v>31419</c:v>
                </c:pt>
                <c:pt idx="58868">
                  <c:v>31419</c:v>
                </c:pt>
                <c:pt idx="58869">
                  <c:v>31419</c:v>
                </c:pt>
                <c:pt idx="58870">
                  <c:v>31419</c:v>
                </c:pt>
                <c:pt idx="58871">
                  <c:v>31419</c:v>
                </c:pt>
                <c:pt idx="58872">
                  <c:v>31418</c:v>
                </c:pt>
                <c:pt idx="58873">
                  <c:v>31418</c:v>
                </c:pt>
                <c:pt idx="58874">
                  <c:v>31417</c:v>
                </c:pt>
                <c:pt idx="58875">
                  <c:v>31416</c:v>
                </c:pt>
                <c:pt idx="58876">
                  <c:v>31416</c:v>
                </c:pt>
                <c:pt idx="58877">
                  <c:v>31416</c:v>
                </c:pt>
                <c:pt idx="58878">
                  <c:v>31416</c:v>
                </c:pt>
                <c:pt idx="58879">
                  <c:v>31416</c:v>
                </c:pt>
                <c:pt idx="58880">
                  <c:v>31416</c:v>
                </c:pt>
                <c:pt idx="58881">
                  <c:v>31415</c:v>
                </c:pt>
                <c:pt idx="58882">
                  <c:v>31415</c:v>
                </c:pt>
                <c:pt idx="58883">
                  <c:v>31415</c:v>
                </c:pt>
                <c:pt idx="58884">
                  <c:v>31415</c:v>
                </c:pt>
                <c:pt idx="58885">
                  <c:v>31415</c:v>
                </c:pt>
                <c:pt idx="58886">
                  <c:v>31414</c:v>
                </c:pt>
                <c:pt idx="58887">
                  <c:v>31414</c:v>
                </c:pt>
                <c:pt idx="58888">
                  <c:v>31414</c:v>
                </c:pt>
                <c:pt idx="58889">
                  <c:v>31414</c:v>
                </c:pt>
                <c:pt idx="58890">
                  <c:v>31414</c:v>
                </c:pt>
                <c:pt idx="58891">
                  <c:v>31414</c:v>
                </c:pt>
                <c:pt idx="58892">
                  <c:v>31414</c:v>
                </c:pt>
                <c:pt idx="58893">
                  <c:v>31413</c:v>
                </c:pt>
                <c:pt idx="58894">
                  <c:v>31413</c:v>
                </c:pt>
                <c:pt idx="58895">
                  <c:v>31413</c:v>
                </c:pt>
                <c:pt idx="58896">
                  <c:v>31413</c:v>
                </c:pt>
                <c:pt idx="58897">
                  <c:v>31412</c:v>
                </c:pt>
                <c:pt idx="58898">
                  <c:v>31412</c:v>
                </c:pt>
                <c:pt idx="58899">
                  <c:v>31412</c:v>
                </c:pt>
                <c:pt idx="58900">
                  <c:v>31412</c:v>
                </c:pt>
                <c:pt idx="58901">
                  <c:v>31412</c:v>
                </c:pt>
                <c:pt idx="58902">
                  <c:v>31411</c:v>
                </c:pt>
                <c:pt idx="58903">
                  <c:v>31411</c:v>
                </c:pt>
                <c:pt idx="58904">
                  <c:v>31411</c:v>
                </c:pt>
                <c:pt idx="58905">
                  <c:v>31411</c:v>
                </c:pt>
                <c:pt idx="58906">
                  <c:v>31411</c:v>
                </c:pt>
                <c:pt idx="58907">
                  <c:v>31411</c:v>
                </c:pt>
                <c:pt idx="58908">
                  <c:v>31411</c:v>
                </c:pt>
                <c:pt idx="58909">
                  <c:v>31410</c:v>
                </c:pt>
                <c:pt idx="58910">
                  <c:v>31410</c:v>
                </c:pt>
                <c:pt idx="58911">
                  <c:v>31410</c:v>
                </c:pt>
                <c:pt idx="58912">
                  <c:v>31410</c:v>
                </c:pt>
                <c:pt idx="58913">
                  <c:v>31410</c:v>
                </c:pt>
                <c:pt idx="58914">
                  <c:v>31409</c:v>
                </c:pt>
                <c:pt idx="58915">
                  <c:v>31409</c:v>
                </c:pt>
                <c:pt idx="58916">
                  <c:v>31409</c:v>
                </c:pt>
                <c:pt idx="58917">
                  <c:v>31409</c:v>
                </c:pt>
                <c:pt idx="58918">
                  <c:v>31409</c:v>
                </c:pt>
                <c:pt idx="58919">
                  <c:v>31408</c:v>
                </c:pt>
                <c:pt idx="58920">
                  <c:v>31408</c:v>
                </c:pt>
                <c:pt idx="58921">
                  <c:v>31408</c:v>
                </c:pt>
                <c:pt idx="58922">
                  <c:v>31408</c:v>
                </c:pt>
                <c:pt idx="58923">
                  <c:v>31408</c:v>
                </c:pt>
                <c:pt idx="58924">
                  <c:v>31408</c:v>
                </c:pt>
                <c:pt idx="58925">
                  <c:v>31408</c:v>
                </c:pt>
                <c:pt idx="58926">
                  <c:v>31408</c:v>
                </c:pt>
                <c:pt idx="58927">
                  <c:v>31407</c:v>
                </c:pt>
                <c:pt idx="58928">
                  <c:v>31407</c:v>
                </c:pt>
                <c:pt idx="58929">
                  <c:v>31407</c:v>
                </c:pt>
                <c:pt idx="58930">
                  <c:v>31407</c:v>
                </c:pt>
                <c:pt idx="58931">
                  <c:v>31407</c:v>
                </c:pt>
                <c:pt idx="58932">
                  <c:v>31407</c:v>
                </c:pt>
                <c:pt idx="58933">
                  <c:v>31406</c:v>
                </c:pt>
                <c:pt idx="58934">
                  <c:v>31406</c:v>
                </c:pt>
                <c:pt idx="58935">
                  <c:v>31406</c:v>
                </c:pt>
                <c:pt idx="58936">
                  <c:v>31406</c:v>
                </c:pt>
                <c:pt idx="58937">
                  <c:v>31406</c:v>
                </c:pt>
                <c:pt idx="58938">
                  <c:v>31405</c:v>
                </c:pt>
                <c:pt idx="58939">
                  <c:v>31405</c:v>
                </c:pt>
                <c:pt idx="58940">
                  <c:v>31405</c:v>
                </c:pt>
                <c:pt idx="58941">
                  <c:v>31405</c:v>
                </c:pt>
                <c:pt idx="58942">
                  <c:v>31405</c:v>
                </c:pt>
                <c:pt idx="58943">
                  <c:v>31405</c:v>
                </c:pt>
                <c:pt idx="58944">
                  <c:v>31405</c:v>
                </c:pt>
                <c:pt idx="58945">
                  <c:v>31405</c:v>
                </c:pt>
                <c:pt idx="58946">
                  <c:v>31405</c:v>
                </c:pt>
                <c:pt idx="58947">
                  <c:v>31405</c:v>
                </c:pt>
                <c:pt idx="58948">
                  <c:v>31404</c:v>
                </c:pt>
                <c:pt idx="58949">
                  <c:v>31404</c:v>
                </c:pt>
                <c:pt idx="58950">
                  <c:v>31403</c:v>
                </c:pt>
                <c:pt idx="58951">
                  <c:v>31403</c:v>
                </c:pt>
                <c:pt idx="58952">
                  <c:v>31403</c:v>
                </c:pt>
                <c:pt idx="58953">
                  <c:v>31403</c:v>
                </c:pt>
                <c:pt idx="58954">
                  <c:v>31403</c:v>
                </c:pt>
                <c:pt idx="58955">
                  <c:v>31403</c:v>
                </c:pt>
                <c:pt idx="58956">
                  <c:v>31403</c:v>
                </c:pt>
                <c:pt idx="58957">
                  <c:v>31403</c:v>
                </c:pt>
                <c:pt idx="58958">
                  <c:v>31403</c:v>
                </c:pt>
                <c:pt idx="58959">
                  <c:v>31402</c:v>
                </c:pt>
                <c:pt idx="58960">
                  <c:v>31402</c:v>
                </c:pt>
                <c:pt idx="58961">
                  <c:v>31402</c:v>
                </c:pt>
                <c:pt idx="58962">
                  <c:v>31402</c:v>
                </c:pt>
                <c:pt idx="58963">
                  <c:v>31402</c:v>
                </c:pt>
                <c:pt idx="58964">
                  <c:v>31402</c:v>
                </c:pt>
                <c:pt idx="58965">
                  <c:v>31402</c:v>
                </c:pt>
                <c:pt idx="58966">
                  <c:v>31402</c:v>
                </c:pt>
                <c:pt idx="58967">
                  <c:v>31401</c:v>
                </c:pt>
                <c:pt idx="58968">
                  <c:v>31401</c:v>
                </c:pt>
                <c:pt idx="58969">
                  <c:v>31401</c:v>
                </c:pt>
                <c:pt idx="58970">
                  <c:v>31401</c:v>
                </c:pt>
                <c:pt idx="58971">
                  <c:v>31401</c:v>
                </c:pt>
                <c:pt idx="58972">
                  <c:v>31401</c:v>
                </c:pt>
                <c:pt idx="58973">
                  <c:v>31401</c:v>
                </c:pt>
                <c:pt idx="58974">
                  <c:v>31401</c:v>
                </c:pt>
                <c:pt idx="58975">
                  <c:v>31401</c:v>
                </c:pt>
                <c:pt idx="58976">
                  <c:v>31400</c:v>
                </c:pt>
                <c:pt idx="58977">
                  <c:v>31400</c:v>
                </c:pt>
                <c:pt idx="58978">
                  <c:v>31400</c:v>
                </c:pt>
                <c:pt idx="58979">
                  <c:v>31400</c:v>
                </c:pt>
                <c:pt idx="58980">
                  <c:v>31400</c:v>
                </c:pt>
                <c:pt idx="58981">
                  <c:v>31400</c:v>
                </c:pt>
                <c:pt idx="58982">
                  <c:v>31400</c:v>
                </c:pt>
                <c:pt idx="58983">
                  <c:v>31399</c:v>
                </c:pt>
                <c:pt idx="58984">
                  <c:v>31399</c:v>
                </c:pt>
                <c:pt idx="58985">
                  <c:v>31399</c:v>
                </c:pt>
                <c:pt idx="58986">
                  <c:v>31399</c:v>
                </c:pt>
                <c:pt idx="58987">
                  <c:v>31399</c:v>
                </c:pt>
                <c:pt idx="58988">
                  <c:v>31399</c:v>
                </c:pt>
                <c:pt idx="58989">
                  <c:v>31399</c:v>
                </c:pt>
                <c:pt idx="58990">
                  <c:v>31399</c:v>
                </c:pt>
                <c:pt idx="58991">
                  <c:v>31399</c:v>
                </c:pt>
                <c:pt idx="58992">
                  <c:v>31399</c:v>
                </c:pt>
                <c:pt idx="58993">
                  <c:v>31398</c:v>
                </c:pt>
                <c:pt idx="58994">
                  <c:v>31398</c:v>
                </c:pt>
                <c:pt idx="58995">
                  <c:v>31398</c:v>
                </c:pt>
                <c:pt idx="58996">
                  <c:v>31398</c:v>
                </c:pt>
                <c:pt idx="58997">
                  <c:v>31398</c:v>
                </c:pt>
                <c:pt idx="58998">
                  <c:v>31398</c:v>
                </c:pt>
                <c:pt idx="58999">
                  <c:v>31397</c:v>
                </c:pt>
                <c:pt idx="59000">
                  <c:v>31397</c:v>
                </c:pt>
                <c:pt idx="59001">
                  <c:v>31397</c:v>
                </c:pt>
                <c:pt idx="59002">
                  <c:v>31397</c:v>
                </c:pt>
                <c:pt idx="59003">
                  <c:v>31397</c:v>
                </c:pt>
                <c:pt idx="59004">
                  <c:v>31397</c:v>
                </c:pt>
                <c:pt idx="59005">
                  <c:v>31397</c:v>
                </c:pt>
                <c:pt idx="59006">
                  <c:v>31396</c:v>
                </c:pt>
                <c:pt idx="59007">
                  <c:v>31396</c:v>
                </c:pt>
                <c:pt idx="59008">
                  <c:v>31396</c:v>
                </c:pt>
                <c:pt idx="59009">
                  <c:v>31395</c:v>
                </c:pt>
                <c:pt idx="59010">
                  <c:v>31395</c:v>
                </c:pt>
                <c:pt idx="59011">
                  <c:v>31395</c:v>
                </c:pt>
                <c:pt idx="59012">
                  <c:v>31395</c:v>
                </c:pt>
                <c:pt idx="59013">
                  <c:v>31394</c:v>
                </c:pt>
                <c:pt idx="59014">
                  <c:v>31394</c:v>
                </c:pt>
                <c:pt idx="59015">
                  <c:v>31394</c:v>
                </c:pt>
                <c:pt idx="59016">
                  <c:v>31394</c:v>
                </c:pt>
                <c:pt idx="59017">
                  <c:v>31394</c:v>
                </c:pt>
                <c:pt idx="59018">
                  <c:v>31394</c:v>
                </c:pt>
                <c:pt idx="59019">
                  <c:v>31394</c:v>
                </c:pt>
                <c:pt idx="59020">
                  <c:v>31394</c:v>
                </c:pt>
                <c:pt idx="59021">
                  <c:v>31393</c:v>
                </c:pt>
                <c:pt idx="59022">
                  <c:v>31393</c:v>
                </c:pt>
                <c:pt idx="59023">
                  <c:v>31393</c:v>
                </c:pt>
                <c:pt idx="59024">
                  <c:v>31393</c:v>
                </c:pt>
                <c:pt idx="59025">
                  <c:v>31393</c:v>
                </c:pt>
                <c:pt idx="59026">
                  <c:v>31393</c:v>
                </c:pt>
                <c:pt idx="59027">
                  <c:v>31393</c:v>
                </c:pt>
                <c:pt idx="59028">
                  <c:v>31393</c:v>
                </c:pt>
                <c:pt idx="59029">
                  <c:v>31392</c:v>
                </c:pt>
                <c:pt idx="59030">
                  <c:v>31392</c:v>
                </c:pt>
                <c:pt idx="59031">
                  <c:v>31392</c:v>
                </c:pt>
                <c:pt idx="59032">
                  <c:v>31392</c:v>
                </c:pt>
                <c:pt idx="59033">
                  <c:v>31392</c:v>
                </c:pt>
                <c:pt idx="59034">
                  <c:v>31391</c:v>
                </c:pt>
                <c:pt idx="59035">
                  <c:v>31391</c:v>
                </c:pt>
                <c:pt idx="59036">
                  <c:v>31391</c:v>
                </c:pt>
                <c:pt idx="59037">
                  <c:v>31391</c:v>
                </c:pt>
                <c:pt idx="59038">
                  <c:v>31390</c:v>
                </c:pt>
                <c:pt idx="59039">
                  <c:v>31390</c:v>
                </c:pt>
                <c:pt idx="59040">
                  <c:v>31390</c:v>
                </c:pt>
                <c:pt idx="59041">
                  <c:v>31390</c:v>
                </c:pt>
                <c:pt idx="59042">
                  <c:v>31390</c:v>
                </c:pt>
                <c:pt idx="59043">
                  <c:v>31390</c:v>
                </c:pt>
                <c:pt idx="59044">
                  <c:v>31389</c:v>
                </c:pt>
                <c:pt idx="59045">
                  <c:v>31389</c:v>
                </c:pt>
                <c:pt idx="59046">
                  <c:v>31389</c:v>
                </c:pt>
                <c:pt idx="59047">
                  <c:v>31389</c:v>
                </c:pt>
                <c:pt idx="59048">
                  <c:v>31389</c:v>
                </c:pt>
                <c:pt idx="59049">
                  <c:v>31389</c:v>
                </c:pt>
                <c:pt idx="59050">
                  <c:v>31389</c:v>
                </c:pt>
                <c:pt idx="59051">
                  <c:v>31389</c:v>
                </c:pt>
                <c:pt idx="59052">
                  <c:v>31388</c:v>
                </c:pt>
                <c:pt idx="59053">
                  <c:v>31388</c:v>
                </c:pt>
                <c:pt idx="59054">
                  <c:v>31388</c:v>
                </c:pt>
                <c:pt idx="59055">
                  <c:v>31388</c:v>
                </c:pt>
                <c:pt idx="59056">
                  <c:v>31388</c:v>
                </c:pt>
                <c:pt idx="59057">
                  <c:v>31387</c:v>
                </c:pt>
                <c:pt idx="59058">
                  <c:v>31387</c:v>
                </c:pt>
                <c:pt idx="59059">
                  <c:v>31387</c:v>
                </c:pt>
                <c:pt idx="59060">
                  <c:v>31387</c:v>
                </c:pt>
                <c:pt idx="59061">
                  <c:v>31386</c:v>
                </c:pt>
                <c:pt idx="59062">
                  <c:v>31386</c:v>
                </c:pt>
                <c:pt idx="59063">
                  <c:v>31386</c:v>
                </c:pt>
                <c:pt idx="59064">
                  <c:v>31386</c:v>
                </c:pt>
                <c:pt idx="59065">
                  <c:v>31385</c:v>
                </c:pt>
                <c:pt idx="59066">
                  <c:v>31385</c:v>
                </c:pt>
                <c:pt idx="59067">
                  <c:v>31385</c:v>
                </c:pt>
                <c:pt idx="59068">
                  <c:v>31385</c:v>
                </c:pt>
                <c:pt idx="59069">
                  <c:v>31385</c:v>
                </c:pt>
                <c:pt idx="59070">
                  <c:v>31385</c:v>
                </c:pt>
                <c:pt idx="59071">
                  <c:v>31385</c:v>
                </c:pt>
                <c:pt idx="59072">
                  <c:v>31385</c:v>
                </c:pt>
                <c:pt idx="59073">
                  <c:v>31385</c:v>
                </c:pt>
                <c:pt idx="59074">
                  <c:v>31385</c:v>
                </c:pt>
                <c:pt idx="59075">
                  <c:v>31384</c:v>
                </c:pt>
                <c:pt idx="59076">
                  <c:v>31384</c:v>
                </c:pt>
                <c:pt idx="59077">
                  <c:v>31384</c:v>
                </c:pt>
                <c:pt idx="59078">
                  <c:v>31384</c:v>
                </c:pt>
                <c:pt idx="59079">
                  <c:v>31384</c:v>
                </c:pt>
                <c:pt idx="59080">
                  <c:v>31384</c:v>
                </c:pt>
                <c:pt idx="59081">
                  <c:v>31384</c:v>
                </c:pt>
                <c:pt idx="59082">
                  <c:v>31384</c:v>
                </c:pt>
                <c:pt idx="59083">
                  <c:v>31384</c:v>
                </c:pt>
                <c:pt idx="59084">
                  <c:v>31384</c:v>
                </c:pt>
                <c:pt idx="59085">
                  <c:v>31384</c:v>
                </c:pt>
                <c:pt idx="59086">
                  <c:v>31384</c:v>
                </c:pt>
                <c:pt idx="59087">
                  <c:v>31383</c:v>
                </c:pt>
                <c:pt idx="59088">
                  <c:v>31382</c:v>
                </c:pt>
                <c:pt idx="59089">
                  <c:v>31381</c:v>
                </c:pt>
                <c:pt idx="59090">
                  <c:v>31381</c:v>
                </c:pt>
                <c:pt idx="59091">
                  <c:v>31381</c:v>
                </c:pt>
                <c:pt idx="59092">
                  <c:v>31380</c:v>
                </c:pt>
                <c:pt idx="59093">
                  <c:v>31380</c:v>
                </c:pt>
                <c:pt idx="59094">
                  <c:v>31380</c:v>
                </c:pt>
                <c:pt idx="59095">
                  <c:v>31380</c:v>
                </c:pt>
                <c:pt idx="59096">
                  <c:v>31380</c:v>
                </c:pt>
                <c:pt idx="59097">
                  <c:v>31380</c:v>
                </c:pt>
                <c:pt idx="59098">
                  <c:v>31379</c:v>
                </c:pt>
                <c:pt idx="59099">
                  <c:v>31379</c:v>
                </c:pt>
                <c:pt idx="59100">
                  <c:v>31379</c:v>
                </c:pt>
                <c:pt idx="59101">
                  <c:v>31379</c:v>
                </c:pt>
                <c:pt idx="59102">
                  <c:v>31379</c:v>
                </c:pt>
                <c:pt idx="59103">
                  <c:v>31379</c:v>
                </c:pt>
                <c:pt idx="59104">
                  <c:v>31379</c:v>
                </c:pt>
                <c:pt idx="59105">
                  <c:v>31378</c:v>
                </c:pt>
                <c:pt idx="59106">
                  <c:v>31378</c:v>
                </c:pt>
                <c:pt idx="59107">
                  <c:v>31378</c:v>
                </c:pt>
                <c:pt idx="59108">
                  <c:v>31378</c:v>
                </c:pt>
                <c:pt idx="59109">
                  <c:v>31378</c:v>
                </c:pt>
                <c:pt idx="59110">
                  <c:v>31378</c:v>
                </c:pt>
                <c:pt idx="59111">
                  <c:v>31377</c:v>
                </c:pt>
                <c:pt idx="59112">
                  <c:v>31377</c:v>
                </c:pt>
                <c:pt idx="59113">
                  <c:v>31377</c:v>
                </c:pt>
                <c:pt idx="59114">
                  <c:v>31377</c:v>
                </c:pt>
                <c:pt idx="59115">
                  <c:v>31377</c:v>
                </c:pt>
                <c:pt idx="59116">
                  <c:v>31377</c:v>
                </c:pt>
                <c:pt idx="59117">
                  <c:v>31377</c:v>
                </c:pt>
                <c:pt idx="59118">
                  <c:v>31377</c:v>
                </c:pt>
                <c:pt idx="59119">
                  <c:v>31377</c:v>
                </c:pt>
                <c:pt idx="59120">
                  <c:v>31377</c:v>
                </c:pt>
                <c:pt idx="59121">
                  <c:v>31377</c:v>
                </c:pt>
                <c:pt idx="59122">
                  <c:v>31376</c:v>
                </c:pt>
                <c:pt idx="59123">
                  <c:v>31376</c:v>
                </c:pt>
                <c:pt idx="59124">
                  <c:v>31376</c:v>
                </c:pt>
                <c:pt idx="59125">
                  <c:v>31376</c:v>
                </c:pt>
                <c:pt idx="59126">
                  <c:v>31376</c:v>
                </c:pt>
                <c:pt idx="59127">
                  <c:v>31376</c:v>
                </c:pt>
                <c:pt idx="59128">
                  <c:v>31376</c:v>
                </c:pt>
                <c:pt idx="59129">
                  <c:v>31375</c:v>
                </c:pt>
                <c:pt idx="59130">
                  <c:v>31375</c:v>
                </c:pt>
                <c:pt idx="59131">
                  <c:v>31375</c:v>
                </c:pt>
                <c:pt idx="59132">
                  <c:v>31375</c:v>
                </c:pt>
                <c:pt idx="59133">
                  <c:v>31375</c:v>
                </c:pt>
                <c:pt idx="59134">
                  <c:v>31375</c:v>
                </c:pt>
                <c:pt idx="59135">
                  <c:v>31375</c:v>
                </c:pt>
                <c:pt idx="59136">
                  <c:v>31375</c:v>
                </c:pt>
                <c:pt idx="59137">
                  <c:v>31375</c:v>
                </c:pt>
                <c:pt idx="59138">
                  <c:v>31374</c:v>
                </c:pt>
                <c:pt idx="59139">
                  <c:v>31374</c:v>
                </c:pt>
                <c:pt idx="59140">
                  <c:v>31374</c:v>
                </c:pt>
                <c:pt idx="59141">
                  <c:v>31374</c:v>
                </c:pt>
                <c:pt idx="59142">
                  <c:v>31374</c:v>
                </c:pt>
                <c:pt idx="59143">
                  <c:v>31374</c:v>
                </c:pt>
                <c:pt idx="59144">
                  <c:v>31374</c:v>
                </c:pt>
                <c:pt idx="59145">
                  <c:v>31373</c:v>
                </c:pt>
                <c:pt idx="59146">
                  <c:v>31373</c:v>
                </c:pt>
                <c:pt idx="59147">
                  <c:v>31373</c:v>
                </c:pt>
                <c:pt idx="59148">
                  <c:v>31373</c:v>
                </c:pt>
                <c:pt idx="59149">
                  <c:v>31373</c:v>
                </c:pt>
                <c:pt idx="59150">
                  <c:v>31373</c:v>
                </c:pt>
                <c:pt idx="59151">
                  <c:v>31373</c:v>
                </c:pt>
                <c:pt idx="59152">
                  <c:v>31373</c:v>
                </c:pt>
                <c:pt idx="59153">
                  <c:v>31372</c:v>
                </c:pt>
                <c:pt idx="59154">
                  <c:v>31372</c:v>
                </c:pt>
                <c:pt idx="59155">
                  <c:v>31372</c:v>
                </c:pt>
                <c:pt idx="59156">
                  <c:v>31372</c:v>
                </c:pt>
                <c:pt idx="59157">
                  <c:v>31372</c:v>
                </c:pt>
                <c:pt idx="59158">
                  <c:v>31372</c:v>
                </c:pt>
                <c:pt idx="59159">
                  <c:v>31371</c:v>
                </c:pt>
                <c:pt idx="59160">
                  <c:v>31371</c:v>
                </c:pt>
                <c:pt idx="59161">
                  <c:v>31371</c:v>
                </c:pt>
                <c:pt idx="59162">
                  <c:v>31371</c:v>
                </c:pt>
                <c:pt idx="59163">
                  <c:v>31371</c:v>
                </c:pt>
                <c:pt idx="59164">
                  <c:v>31371</c:v>
                </c:pt>
                <c:pt idx="59165">
                  <c:v>31371</c:v>
                </c:pt>
                <c:pt idx="59166">
                  <c:v>31371</c:v>
                </c:pt>
                <c:pt idx="59167">
                  <c:v>31371</c:v>
                </c:pt>
                <c:pt idx="59168">
                  <c:v>31370</c:v>
                </c:pt>
                <c:pt idx="59169">
                  <c:v>31370</c:v>
                </c:pt>
                <c:pt idx="59170">
                  <c:v>31370</c:v>
                </c:pt>
                <c:pt idx="59171">
                  <c:v>31370</c:v>
                </c:pt>
                <c:pt idx="59172">
                  <c:v>31370</c:v>
                </c:pt>
                <c:pt idx="59173">
                  <c:v>31370</c:v>
                </c:pt>
                <c:pt idx="59174">
                  <c:v>31370</c:v>
                </c:pt>
                <c:pt idx="59175">
                  <c:v>31369</c:v>
                </c:pt>
                <c:pt idx="59176">
                  <c:v>31369</c:v>
                </c:pt>
                <c:pt idx="59177">
                  <c:v>31369</c:v>
                </c:pt>
                <c:pt idx="59178">
                  <c:v>31368</c:v>
                </c:pt>
                <c:pt idx="59179">
                  <c:v>31368</c:v>
                </c:pt>
                <c:pt idx="59180">
                  <c:v>31368</c:v>
                </c:pt>
                <c:pt idx="59181">
                  <c:v>31368</c:v>
                </c:pt>
                <c:pt idx="59182">
                  <c:v>31368</c:v>
                </c:pt>
                <c:pt idx="59183">
                  <c:v>31368</c:v>
                </c:pt>
                <c:pt idx="59184">
                  <c:v>31368</c:v>
                </c:pt>
                <c:pt idx="59185">
                  <c:v>31368</c:v>
                </c:pt>
                <c:pt idx="59186">
                  <c:v>31368</c:v>
                </c:pt>
                <c:pt idx="59187">
                  <c:v>31368</c:v>
                </c:pt>
                <c:pt idx="59188">
                  <c:v>31367</c:v>
                </c:pt>
                <c:pt idx="59189">
                  <c:v>31367</c:v>
                </c:pt>
                <c:pt idx="59190">
                  <c:v>31367</c:v>
                </c:pt>
                <c:pt idx="59191">
                  <c:v>31367</c:v>
                </c:pt>
                <c:pt idx="59192">
                  <c:v>31366</c:v>
                </c:pt>
                <c:pt idx="59193">
                  <c:v>31366</c:v>
                </c:pt>
                <c:pt idx="59194">
                  <c:v>31366</c:v>
                </c:pt>
                <c:pt idx="59195">
                  <c:v>31366</c:v>
                </c:pt>
                <c:pt idx="59196">
                  <c:v>31366</c:v>
                </c:pt>
                <c:pt idx="59197">
                  <c:v>31366</c:v>
                </c:pt>
                <c:pt idx="59198">
                  <c:v>31366</c:v>
                </c:pt>
                <c:pt idx="59199">
                  <c:v>31366</c:v>
                </c:pt>
                <c:pt idx="59200">
                  <c:v>31366</c:v>
                </c:pt>
                <c:pt idx="59201">
                  <c:v>31365</c:v>
                </c:pt>
                <c:pt idx="59202">
                  <c:v>31365</c:v>
                </c:pt>
                <c:pt idx="59203">
                  <c:v>31365</c:v>
                </c:pt>
                <c:pt idx="59204">
                  <c:v>31364</c:v>
                </c:pt>
                <c:pt idx="59205">
                  <c:v>31364</c:v>
                </c:pt>
                <c:pt idx="59206">
                  <c:v>31364</c:v>
                </c:pt>
                <c:pt idx="59207">
                  <c:v>31364</c:v>
                </c:pt>
                <c:pt idx="59208">
                  <c:v>31364</c:v>
                </c:pt>
                <c:pt idx="59209">
                  <c:v>31364</c:v>
                </c:pt>
                <c:pt idx="59210">
                  <c:v>31363</c:v>
                </c:pt>
                <c:pt idx="59211">
                  <c:v>31363</c:v>
                </c:pt>
                <c:pt idx="59212">
                  <c:v>31363</c:v>
                </c:pt>
                <c:pt idx="59213">
                  <c:v>31363</c:v>
                </c:pt>
                <c:pt idx="59214">
                  <c:v>31363</c:v>
                </c:pt>
                <c:pt idx="59215">
                  <c:v>31363</c:v>
                </c:pt>
                <c:pt idx="59216">
                  <c:v>31362</c:v>
                </c:pt>
                <c:pt idx="59217">
                  <c:v>31362</c:v>
                </c:pt>
                <c:pt idx="59218">
                  <c:v>31362</c:v>
                </c:pt>
                <c:pt idx="59219">
                  <c:v>31362</c:v>
                </c:pt>
                <c:pt idx="59220">
                  <c:v>31362</c:v>
                </c:pt>
                <c:pt idx="59221">
                  <c:v>31362</c:v>
                </c:pt>
                <c:pt idx="59222">
                  <c:v>31361</c:v>
                </c:pt>
                <c:pt idx="59223">
                  <c:v>31361</c:v>
                </c:pt>
                <c:pt idx="59224">
                  <c:v>31361</c:v>
                </c:pt>
                <c:pt idx="59225">
                  <c:v>31361</c:v>
                </c:pt>
                <c:pt idx="59226">
                  <c:v>31361</c:v>
                </c:pt>
                <c:pt idx="59227">
                  <c:v>31360</c:v>
                </c:pt>
                <c:pt idx="59228">
                  <c:v>31360</c:v>
                </c:pt>
                <c:pt idx="59229">
                  <c:v>31360</c:v>
                </c:pt>
                <c:pt idx="59230">
                  <c:v>31360</c:v>
                </c:pt>
                <c:pt idx="59231">
                  <c:v>31360</c:v>
                </c:pt>
                <c:pt idx="59232">
                  <c:v>31360</c:v>
                </c:pt>
                <c:pt idx="59233">
                  <c:v>31360</c:v>
                </c:pt>
                <c:pt idx="59234">
                  <c:v>31359</c:v>
                </c:pt>
                <c:pt idx="59235">
                  <c:v>31359</c:v>
                </c:pt>
                <c:pt idx="59236">
                  <c:v>31359</c:v>
                </c:pt>
                <c:pt idx="59237">
                  <c:v>31359</c:v>
                </c:pt>
                <c:pt idx="59238">
                  <c:v>31359</c:v>
                </c:pt>
                <c:pt idx="59239">
                  <c:v>31359</c:v>
                </c:pt>
                <c:pt idx="59240">
                  <c:v>31359</c:v>
                </c:pt>
                <c:pt idx="59241">
                  <c:v>31358</c:v>
                </c:pt>
                <c:pt idx="59242">
                  <c:v>31358</c:v>
                </c:pt>
                <c:pt idx="59243">
                  <c:v>31358</c:v>
                </c:pt>
                <c:pt idx="59244">
                  <c:v>31358</c:v>
                </c:pt>
                <c:pt idx="59245">
                  <c:v>31358</c:v>
                </c:pt>
                <c:pt idx="59246">
                  <c:v>31357</c:v>
                </c:pt>
                <c:pt idx="59247">
                  <c:v>31357</c:v>
                </c:pt>
                <c:pt idx="59248">
                  <c:v>31357</c:v>
                </c:pt>
                <c:pt idx="59249">
                  <c:v>31357</c:v>
                </c:pt>
                <c:pt idx="59250">
                  <c:v>31357</c:v>
                </c:pt>
                <c:pt idx="59251">
                  <c:v>31357</c:v>
                </c:pt>
                <c:pt idx="59252">
                  <c:v>31357</c:v>
                </c:pt>
                <c:pt idx="59253">
                  <c:v>31357</c:v>
                </c:pt>
                <c:pt idx="59254">
                  <c:v>31356</c:v>
                </c:pt>
                <c:pt idx="59255">
                  <c:v>31356</c:v>
                </c:pt>
                <c:pt idx="59256">
                  <c:v>31356</c:v>
                </c:pt>
                <c:pt idx="59257">
                  <c:v>31356</c:v>
                </c:pt>
                <c:pt idx="59258">
                  <c:v>31356</c:v>
                </c:pt>
                <c:pt idx="59259">
                  <c:v>31356</c:v>
                </c:pt>
                <c:pt idx="59260">
                  <c:v>31355</c:v>
                </c:pt>
                <c:pt idx="59261">
                  <c:v>31355</c:v>
                </c:pt>
                <c:pt idx="59262">
                  <c:v>31355</c:v>
                </c:pt>
                <c:pt idx="59263">
                  <c:v>31355</c:v>
                </c:pt>
                <c:pt idx="59264">
                  <c:v>31355</c:v>
                </c:pt>
                <c:pt idx="59265">
                  <c:v>31354</c:v>
                </c:pt>
                <c:pt idx="59266">
                  <c:v>31354</c:v>
                </c:pt>
                <c:pt idx="59267">
                  <c:v>31354</c:v>
                </c:pt>
                <c:pt idx="59268">
                  <c:v>31354</c:v>
                </c:pt>
                <c:pt idx="59269">
                  <c:v>31354</c:v>
                </c:pt>
                <c:pt idx="59270">
                  <c:v>31354</c:v>
                </c:pt>
                <c:pt idx="59271">
                  <c:v>31354</c:v>
                </c:pt>
                <c:pt idx="59272">
                  <c:v>31354</c:v>
                </c:pt>
                <c:pt idx="59273">
                  <c:v>31354</c:v>
                </c:pt>
                <c:pt idx="59274">
                  <c:v>31354</c:v>
                </c:pt>
                <c:pt idx="59275">
                  <c:v>31354</c:v>
                </c:pt>
                <c:pt idx="59276">
                  <c:v>31354</c:v>
                </c:pt>
                <c:pt idx="59277">
                  <c:v>31353</c:v>
                </c:pt>
                <c:pt idx="59278">
                  <c:v>31353</c:v>
                </c:pt>
                <c:pt idx="59279">
                  <c:v>31353</c:v>
                </c:pt>
                <c:pt idx="59280">
                  <c:v>31353</c:v>
                </c:pt>
                <c:pt idx="59281">
                  <c:v>31353</c:v>
                </c:pt>
                <c:pt idx="59282">
                  <c:v>31353</c:v>
                </c:pt>
                <c:pt idx="59283">
                  <c:v>31353</c:v>
                </c:pt>
                <c:pt idx="59284">
                  <c:v>31352</c:v>
                </c:pt>
                <c:pt idx="59285">
                  <c:v>31352</c:v>
                </c:pt>
                <c:pt idx="59286">
                  <c:v>31352</c:v>
                </c:pt>
                <c:pt idx="59287">
                  <c:v>31352</c:v>
                </c:pt>
                <c:pt idx="59288">
                  <c:v>31352</c:v>
                </c:pt>
                <c:pt idx="59289">
                  <c:v>31352</c:v>
                </c:pt>
                <c:pt idx="59290">
                  <c:v>31352</c:v>
                </c:pt>
                <c:pt idx="59291">
                  <c:v>31351</c:v>
                </c:pt>
                <c:pt idx="59292">
                  <c:v>31351</c:v>
                </c:pt>
                <c:pt idx="59293">
                  <c:v>31351</c:v>
                </c:pt>
                <c:pt idx="59294">
                  <c:v>31351</c:v>
                </c:pt>
                <c:pt idx="59295">
                  <c:v>31351</c:v>
                </c:pt>
                <c:pt idx="59296">
                  <c:v>31350</c:v>
                </c:pt>
                <c:pt idx="59297">
                  <c:v>31350</c:v>
                </c:pt>
                <c:pt idx="59298">
                  <c:v>31350</c:v>
                </c:pt>
                <c:pt idx="59299">
                  <c:v>31350</c:v>
                </c:pt>
                <c:pt idx="59300">
                  <c:v>31350</c:v>
                </c:pt>
                <c:pt idx="59301">
                  <c:v>31349</c:v>
                </c:pt>
                <c:pt idx="59302">
                  <c:v>31349</c:v>
                </c:pt>
                <c:pt idx="59303">
                  <c:v>31349</c:v>
                </c:pt>
                <c:pt idx="59304">
                  <c:v>31349</c:v>
                </c:pt>
                <c:pt idx="59305">
                  <c:v>31349</c:v>
                </c:pt>
                <c:pt idx="59306">
                  <c:v>31349</c:v>
                </c:pt>
                <c:pt idx="59307">
                  <c:v>31349</c:v>
                </c:pt>
                <c:pt idx="59308">
                  <c:v>31349</c:v>
                </c:pt>
                <c:pt idx="59309">
                  <c:v>31348</c:v>
                </c:pt>
                <c:pt idx="59310">
                  <c:v>31347</c:v>
                </c:pt>
                <c:pt idx="59311">
                  <c:v>31347</c:v>
                </c:pt>
                <c:pt idx="59312">
                  <c:v>31347</c:v>
                </c:pt>
                <c:pt idx="59313">
                  <c:v>31347</c:v>
                </c:pt>
                <c:pt idx="59314">
                  <c:v>31347</c:v>
                </c:pt>
                <c:pt idx="59315">
                  <c:v>31347</c:v>
                </c:pt>
                <c:pt idx="59316">
                  <c:v>31347</c:v>
                </c:pt>
                <c:pt idx="59317">
                  <c:v>31347</c:v>
                </c:pt>
                <c:pt idx="59318">
                  <c:v>31347</c:v>
                </c:pt>
                <c:pt idx="59319">
                  <c:v>31346</c:v>
                </c:pt>
                <c:pt idx="59320">
                  <c:v>31346</c:v>
                </c:pt>
                <c:pt idx="59321">
                  <c:v>31346</c:v>
                </c:pt>
                <c:pt idx="59322">
                  <c:v>31346</c:v>
                </c:pt>
                <c:pt idx="59323">
                  <c:v>31346</c:v>
                </c:pt>
                <c:pt idx="59324">
                  <c:v>31345</c:v>
                </c:pt>
                <c:pt idx="59325">
                  <c:v>31345</c:v>
                </c:pt>
                <c:pt idx="59326">
                  <c:v>31345</c:v>
                </c:pt>
                <c:pt idx="59327">
                  <c:v>31345</c:v>
                </c:pt>
                <c:pt idx="59328">
                  <c:v>31345</c:v>
                </c:pt>
                <c:pt idx="59329">
                  <c:v>31345</c:v>
                </c:pt>
                <c:pt idx="59330">
                  <c:v>31345</c:v>
                </c:pt>
                <c:pt idx="59331">
                  <c:v>31345</c:v>
                </c:pt>
                <c:pt idx="59332">
                  <c:v>31344</c:v>
                </c:pt>
                <c:pt idx="59333">
                  <c:v>31344</c:v>
                </c:pt>
                <c:pt idx="59334">
                  <c:v>31344</c:v>
                </c:pt>
                <c:pt idx="59335">
                  <c:v>31344</c:v>
                </c:pt>
                <c:pt idx="59336">
                  <c:v>31343</c:v>
                </c:pt>
                <c:pt idx="59337">
                  <c:v>31343</c:v>
                </c:pt>
                <c:pt idx="59338">
                  <c:v>31343</c:v>
                </c:pt>
                <c:pt idx="59339">
                  <c:v>31343</c:v>
                </c:pt>
                <c:pt idx="59340">
                  <c:v>31343</c:v>
                </c:pt>
                <c:pt idx="59341">
                  <c:v>31343</c:v>
                </c:pt>
                <c:pt idx="59342">
                  <c:v>31343</c:v>
                </c:pt>
                <c:pt idx="59343">
                  <c:v>31342</c:v>
                </c:pt>
                <c:pt idx="59344">
                  <c:v>31342</c:v>
                </c:pt>
                <c:pt idx="59345">
                  <c:v>31342</c:v>
                </c:pt>
                <c:pt idx="59346">
                  <c:v>31342</c:v>
                </c:pt>
                <c:pt idx="59347">
                  <c:v>31342</c:v>
                </c:pt>
                <c:pt idx="59348">
                  <c:v>31342</c:v>
                </c:pt>
                <c:pt idx="59349">
                  <c:v>31342</c:v>
                </c:pt>
                <c:pt idx="59350">
                  <c:v>31342</c:v>
                </c:pt>
                <c:pt idx="59351">
                  <c:v>31341</c:v>
                </c:pt>
                <c:pt idx="59352">
                  <c:v>31341</c:v>
                </c:pt>
                <c:pt idx="59353">
                  <c:v>31341</c:v>
                </c:pt>
                <c:pt idx="59354">
                  <c:v>31341</c:v>
                </c:pt>
                <c:pt idx="59355">
                  <c:v>31341</c:v>
                </c:pt>
                <c:pt idx="59356">
                  <c:v>31340</c:v>
                </c:pt>
                <c:pt idx="59357">
                  <c:v>31340</c:v>
                </c:pt>
                <c:pt idx="59358">
                  <c:v>31340</c:v>
                </c:pt>
                <c:pt idx="59359">
                  <c:v>31340</c:v>
                </c:pt>
                <c:pt idx="59360">
                  <c:v>31340</c:v>
                </c:pt>
                <c:pt idx="59361">
                  <c:v>31340</c:v>
                </c:pt>
                <c:pt idx="59362">
                  <c:v>31340</c:v>
                </c:pt>
                <c:pt idx="59363">
                  <c:v>31340</c:v>
                </c:pt>
                <c:pt idx="59364">
                  <c:v>31339</c:v>
                </c:pt>
                <c:pt idx="59365">
                  <c:v>31339</c:v>
                </c:pt>
                <c:pt idx="59366">
                  <c:v>31339</c:v>
                </c:pt>
                <c:pt idx="59367">
                  <c:v>31339</c:v>
                </c:pt>
                <c:pt idx="59368">
                  <c:v>31339</c:v>
                </c:pt>
                <c:pt idx="59369">
                  <c:v>31339</c:v>
                </c:pt>
                <c:pt idx="59370">
                  <c:v>31339</c:v>
                </c:pt>
                <c:pt idx="59371">
                  <c:v>31338</c:v>
                </c:pt>
                <c:pt idx="59372">
                  <c:v>31338</c:v>
                </c:pt>
                <c:pt idx="59373">
                  <c:v>31337</c:v>
                </c:pt>
                <c:pt idx="59374">
                  <c:v>31337</c:v>
                </c:pt>
                <c:pt idx="59375">
                  <c:v>31337</c:v>
                </c:pt>
                <c:pt idx="59376">
                  <c:v>31337</c:v>
                </c:pt>
                <c:pt idx="59377">
                  <c:v>31337</c:v>
                </c:pt>
                <c:pt idx="59378">
                  <c:v>31337</c:v>
                </c:pt>
                <c:pt idx="59379">
                  <c:v>31337</c:v>
                </c:pt>
                <c:pt idx="59380">
                  <c:v>31336</c:v>
                </c:pt>
                <c:pt idx="59381">
                  <c:v>31336</c:v>
                </c:pt>
                <c:pt idx="59382">
                  <c:v>31336</c:v>
                </c:pt>
                <c:pt idx="59383">
                  <c:v>31336</c:v>
                </c:pt>
                <c:pt idx="59384">
                  <c:v>31336</c:v>
                </c:pt>
                <c:pt idx="59385">
                  <c:v>31336</c:v>
                </c:pt>
                <c:pt idx="59386">
                  <c:v>31335</c:v>
                </c:pt>
                <c:pt idx="59387">
                  <c:v>31335</c:v>
                </c:pt>
                <c:pt idx="59388">
                  <c:v>31335</c:v>
                </c:pt>
                <c:pt idx="59389">
                  <c:v>31335</c:v>
                </c:pt>
                <c:pt idx="59390">
                  <c:v>31335</c:v>
                </c:pt>
                <c:pt idx="59391">
                  <c:v>31335</c:v>
                </c:pt>
                <c:pt idx="59392">
                  <c:v>31334</c:v>
                </c:pt>
                <c:pt idx="59393">
                  <c:v>31334</c:v>
                </c:pt>
                <c:pt idx="59394">
                  <c:v>31334</c:v>
                </c:pt>
                <c:pt idx="59395">
                  <c:v>31334</c:v>
                </c:pt>
                <c:pt idx="59396">
                  <c:v>31334</c:v>
                </c:pt>
                <c:pt idx="59397">
                  <c:v>31334</c:v>
                </c:pt>
                <c:pt idx="59398">
                  <c:v>31333</c:v>
                </c:pt>
                <c:pt idx="59399">
                  <c:v>31333</c:v>
                </c:pt>
                <c:pt idx="59400">
                  <c:v>31333</c:v>
                </c:pt>
                <c:pt idx="59401">
                  <c:v>31333</c:v>
                </c:pt>
                <c:pt idx="59402">
                  <c:v>31333</c:v>
                </c:pt>
                <c:pt idx="59403">
                  <c:v>31333</c:v>
                </c:pt>
                <c:pt idx="59404">
                  <c:v>31332</c:v>
                </c:pt>
                <c:pt idx="59405">
                  <c:v>31332</c:v>
                </c:pt>
                <c:pt idx="59406">
                  <c:v>31332</c:v>
                </c:pt>
                <c:pt idx="59407">
                  <c:v>31332</c:v>
                </c:pt>
                <c:pt idx="59408">
                  <c:v>31332</c:v>
                </c:pt>
                <c:pt idx="59409">
                  <c:v>31332</c:v>
                </c:pt>
                <c:pt idx="59410">
                  <c:v>31332</c:v>
                </c:pt>
                <c:pt idx="59411">
                  <c:v>31332</c:v>
                </c:pt>
                <c:pt idx="59412">
                  <c:v>31332</c:v>
                </c:pt>
                <c:pt idx="59413">
                  <c:v>31331</c:v>
                </c:pt>
                <c:pt idx="59414">
                  <c:v>31331</c:v>
                </c:pt>
                <c:pt idx="59415">
                  <c:v>31331</c:v>
                </c:pt>
                <c:pt idx="59416">
                  <c:v>31331</c:v>
                </c:pt>
                <c:pt idx="59417">
                  <c:v>31330</c:v>
                </c:pt>
                <c:pt idx="59418">
                  <c:v>31330</c:v>
                </c:pt>
                <c:pt idx="59419">
                  <c:v>31330</c:v>
                </c:pt>
                <c:pt idx="59420">
                  <c:v>31330</c:v>
                </c:pt>
                <c:pt idx="59421">
                  <c:v>31330</c:v>
                </c:pt>
                <c:pt idx="59422">
                  <c:v>31329</c:v>
                </c:pt>
                <c:pt idx="59423">
                  <c:v>31329</c:v>
                </c:pt>
                <c:pt idx="59424">
                  <c:v>31329</c:v>
                </c:pt>
                <c:pt idx="59425">
                  <c:v>31328</c:v>
                </c:pt>
                <c:pt idx="59426">
                  <c:v>31328</c:v>
                </c:pt>
                <c:pt idx="59427">
                  <c:v>31328</c:v>
                </c:pt>
                <c:pt idx="59428">
                  <c:v>31327</c:v>
                </c:pt>
                <c:pt idx="59429">
                  <c:v>31327</c:v>
                </c:pt>
                <c:pt idx="59430">
                  <c:v>31327</c:v>
                </c:pt>
                <c:pt idx="59431">
                  <c:v>31327</c:v>
                </c:pt>
                <c:pt idx="59432">
                  <c:v>31327</c:v>
                </c:pt>
                <c:pt idx="59433">
                  <c:v>31327</c:v>
                </c:pt>
                <c:pt idx="59434">
                  <c:v>31327</c:v>
                </c:pt>
                <c:pt idx="59435">
                  <c:v>31327</c:v>
                </c:pt>
                <c:pt idx="59436">
                  <c:v>31327</c:v>
                </c:pt>
                <c:pt idx="59437">
                  <c:v>31327</c:v>
                </c:pt>
                <c:pt idx="59438">
                  <c:v>31326</c:v>
                </c:pt>
                <c:pt idx="59439">
                  <c:v>31326</c:v>
                </c:pt>
                <c:pt idx="59440">
                  <c:v>31326</c:v>
                </c:pt>
                <c:pt idx="59441">
                  <c:v>31326</c:v>
                </c:pt>
                <c:pt idx="59442">
                  <c:v>31325</c:v>
                </c:pt>
                <c:pt idx="59443">
                  <c:v>31325</c:v>
                </c:pt>
                <c:pt idx="59444">
                  <c:v>31325</c:v>
                </c:pt>
                <c:pt idx="59445">
                  <c:v>31325</c:v>
                </c:pt>
                <c:pt idx="59446">
                  <c:v>31325</c:v>
                </c:pt>
                <c:pt idx="59447">
                  <c:v>31325</c:v>
                </c:pt>
                <c:pt idx="59448">
                  <c:v>31324</c:v>
                </c:pt>
                <c:pt idx="59449">
                  <c:v>31324</c:v>
                </c:pt>
                <c:pt idx="59450">
                  <c:v>31324</c:v>
                </c:pt>
                <c:pt idx="59451">
                  <c:v>31324</c:v>
                </c:pt>
                <c:pt idx="59452">
                  <c:v>31324</c:v>
                </c:pt>
                <c:pt idx="59453">
                  <c:v>31324</c:v>
                </c:pt>
                <c:pt idx="59454">
                  <c:v>31324</c:v>
                </c:pt>
                <c:pt idx="59455">
                  <c:v>31324</c:v>
                </c:pt>
                <c:pt idx="59456">
                  <c:v>31323</c:v>
                </c:pt>
                <c:pt idx="59457">
                  <c:v>31323</c:v>
                </c:pt>
                <c:pt idx="59458">
                  <c:v>31323</c:v>
                </c:pt>
                <c:pt idx="59459">
                  <c:v>31323</c:v>
                </c:pt>
                <c:pt idx="59460">
                  <c:v>31323</c:v>
                </c:pt>
                <c:pt idx="59461">
                  <c:v>31323</c:v>
                </c:pt>
                <c:pt idx="59462">
                  <c:v>31323</c:v>
                </c:pt>
                <c:pt idx="59463">
                  <c:v>31323</c:v>
                </c:pt>
                <c:pt idx="59464">
                  <c:v>31323</c:v>
                </c:pt>
                <c:pt idx="59465">
                  <c:v>31322</c:v>
                </c:pt>
                <c:pt idx="59466">
                  <c:v>31322</c:v>
                </c:pt>
                <c:pt idx="59467">
                  <c:v>31322</c:v>
                </c:pt>
                <c:pt idx="59468">
                  <c:v>31322</c:v>
                </c:pt>
                <c:pt idx="59469">
                  <c:v>31322</c:v>
                </c:pt>
                <c:pt idx="59470">
                  <c:v>31322</c:v>
                </c:pt>
                <c:pt idx="59471">
                  <c:v>31321</c:v>
                </c:pt>
                <c:pt idx="59472">
                  <c:v>31321</c:v>
                </c:pt>
                <c:pt idx="59473">
                  <c:v>31321</c:v>
                </c:pt>
                <c:pt idx="59474">
                  <c:v>31320</c:v>
                </c:pt>
                <c:pt idx="59475">
                  <c:v>31320</c:v>
                </c:pt>
                <c:pt idx="59476">
                  <c:v>31320</c:v>
                </c:pt>
                <c:pt idx="59477">
                  <c:v>31320</c:v>
                </c:pt>
                <c:pt idx="59478">
                  <c:v>31320</c:v>
                </c:pt>
                <c:pt idx="59479">
                  <c:v>31320</c:v>
                </c:pt>
                <c:pt idx="59480">
                  <c:v>31320</c:v>
                </c:pt>
                <c:pt idx="59481">
                  <c:v>31319</c:v>
                </c:pt>
                <c:pt idx="59482">
                  <c:v>31319</c:v>
                </c:pt>
                <c:pt idx="59483">
                  <c:v>31319</c:v>
                </c:pt>
                <c:pt idx="59484">
                  <c:v>31318</c:v>
                </c:pt>
                <c:pt idx="59485">
                  <c:v>31318</c:v>
                </c:pt>
                <c:pt idx="59486">
                  <c:v>31318</c:v>
                </c:pt>
                <c:pt idx="59487">
                  <c:v>31318</c:v>
                </c:pt>
                <c:pt idx="59488">
                  <c:v>31318</c:v>
                </c:pt>
                <c:pt idx="59489">
                  <c:v>31318</c:v>
                </c:pt>
                <c:pt idx="59490">
                  <c:v>31317</c:v>
                </c:pt>
                <c:pt idx="59491">
                  <c:v>31317</c:v>
                </c:pt>
                <c:pt idx="59492">
                  <c:v>31317</c:v>
                </c:pt>
                <c:pt idx="59493">
                  <c:v>31317</c:v>
                </c:pt>
                <c:pt idx="59494">
                  <c:v>31317</c:v>
                </c:pt>
                <c:pt idx="59495">
                  <c:v>31316</c:v>
                </c:pt>
                <c:pt idx="59496">
                  <c:v>31316</c:v>
                </c:pt>
                <c:pt idx="59497">
                  <c:v>31316</c:v>
                </c:pt>
                <c:pt idx="59498">
                  <c:v>31316</c:v>
                </c:pt>
                <c:pt idx="59499">
                  <c:v>31316</c:v>
                </c:pt>
                <c:pt idx="59500">
                  <c:v>31315</c:v>
                </c:pt>
                <c:pt idx="59501">
                  <c:v>31315</c:v>
                </c:pt>
                <c:pt idx="59502">
                  <c:v>31315</c:v>
                </c:pt>
                <c:pt idx="59503">
                  <c:v>31315</c:v>
                </c:pt>
                <c:pt idx="59504">
                  <c:v>31315</c:v>
                </c:pt>
                <c:pt idx="59505">
                  <c:v>31315</c:v>
                </c:pt>
                <c:pt idx="59506">
                  <c:v>31314</c:v>
                </c:pt>
                <c:pt idx="59507">
                  <c:v>31314</c:v>
                </c:pt>
                <c:pt idx="59508">
                  <c:v>31314</c:v>
                </c:pt>
                <c:pt idx="59509">
                  <c:v>31314</c:v>
                </c:pt>
                <c:pt idx="59510">
                  <c:v>31314</c:v>
                </c:pt>
                <c:pt idx="59511">
                  <c:v>31314</c:v>
                </c:pt>
                <c:pt idx="59512">
                  <c:v>31314</c:v>
                </c:pt>
                <c:pt idx="59513">
                  <c:v>31313</c:v>
                </c:pt>
                <c:pt idx="59514">
                  <c:v>31313</c:v>
                </c:pt>
                <c:pt idx="59515">
                  <c:v>31313</c:v>
                </c:pt>
                <c:pt idx="59516">
                  <c:v>31313</c:v>
                </c:pt>
                <c:pt idx="59517">
                  <c:v>31313</c:v>
                </c:pt>
                <c:pt idx="59518">
                  <c:v>31313</c:v>
                </c:pt>
                <c:pt idx="59519">
                  <c:v>31313</c:v>
                </c:pt>
                <c:pt idx="59520">
                  <c:v>31313</c:v>
                </c:pt>
                <c:pt idx="59521">
                  <c:v>31312</c:v>
                </c:pt>
                <c:pt idx="59522">
                  <c:v>31312</c:v>
                </c:pt>
                <c:pt idx="59523">
                  <c:v>31312</c:v>
                </c:pt>
                <c:pt idx="59524">
                  <c:v>31312</c:v>
                </c:pt>
                <c:pt idx="59525">
                  <c:v>31311</c:v>
                </c:pt>
                <c:pt idx="59526">
                  <c:v>31310</c:v>
                </c:pt>
                <c:pt idx="59527">
                  <c:v>31310</c:v>
                </c:pt>
                <c:pt idx="59528">
                  <c:v>31309</c:v>
                </c:pt>
                <c:pt idx="59529">
                  <c:v>31309</c:v>
                </c:pt>
                <c:pt idx="59530">
                  <c:v>31309</c:v>
                </c:pt>
                <c:pt idx="59531">
                  <c:v>31309</c:v>
                </c:pt>
                <c:pt idx="59532">
                  <c:v>31309</c:v>
                </c:pt>
                <c:pt idx="59533">
                  <c:v>31309</c:v>
                </c:pt>
                <c:pt idx="59534">
                  <c:v>31308</c:v>
                </c:pt>
                <c:pt idx="59535">
                  <c:v>31308</c:v>
                </c:pt>
                <c:pt idx="59536">
                  <c:v>31308</c:v>
                </c:pt>
                <c:pt idx="59537">
                  <c:v>31308</c:v>
                </c:pt>
                <c:pt idx="59538">
                  <c:v>31308</c:v>
                </c:pt>
                <c:pt idx="59539">
                  <c:v>31308</c:v>
                </c:pt>
                <c:pt idx="59540">
                  <c:v>31308</c:v>
                </c:pt>
                <c:pt idx="59541">
                  <c:v>31308</c:v>
                </c:pt>
                <c:pt idx="59542">
                  <c:v>31307</c:v>
                </c:pt>
                <c:pt idx="59543">
                  <c:v>31307</c:v>
                </c:pt>
                <c:pt idx="59544">
                  <c:v>31307</c:v>
                </c:pt>
                <c:pt idx="59545">
                  <c:v>31307</c:v>
                </c:pt>
                <c:pt idx="59546">
                  <c:v>31307</c:v>
                </c:pt>
                <c:pt idx="59547">
                  <c:v>31307</c:v>
                </c:pt>
                <c:pt idx="59548">
                  <c:v>31307</c:v>
                </c:pt>
                <c:pt idx="59549">
                  <c:v>31307</c:v>
                </c:pt>
                <c:pt idx="59550">
                  <c:v>31307</c:v>
                </c:pt>
                <c:pt idx="59551">
                  <c:v>31306</c:v>
                </c:pt>
                <c:pt idx="59552">
                  <c:v>31306</c:v>
                </c:pt>
                <c:pt idx="59553">
                  <c:v>31306</c:v>
                </c:pt>
                <c:pt idx="59554">
                  <c:v>31306</c:v>
                </c:pt>
                <c:pt idx="59555">
                  <c:v>31306</c:v>
                </c:pt>
                <c:pt idx="59556">
                  <c:v>31306</c:v>
                </c:pt>
                <c:pt idx="59557">
                  <c:v>31306</c:v>
                </c:pt>
                <c:pt idx="59558">
                  <c:v>31306</c:v>
                </c:pt>
                <c:pt idx="59559">
                  <c:v>31305</c:v>
                </c:pt>
                <c:pt idx="59560">
                  <c:v>31305</c:v>
                </c:pt>
                <c:pt idx="59561">
                  <c:v>31305</c:v>
                </c:pt>
                <c:pt idx="59562">
                  <c:v>31305</c:v>
                </c:pt>
                <c:pt idx="59563">
                  <c:v>31305</c:v>
                </c:pt>
                <c:pt idx="59564">
                  <c:v>31305</c:v>
                </c:pt>
                <c:pt idx="59565">
                  <c:v>31305</c:v>
                </c:pt>
                <c:pt idx="59566">
                  <c:v>31304</c:v>
                </c:pt>
                <c:pt idx="59567">
                  <c:v>31304</c:v>
                </c:pt>
                <c:pt idx="59568">
                  <c:v>31304</c:v>
                </c:pt>
                <c:pt idx="59569">
                  <c:v>31304</c:v>
                </c:pt>
                <c:pt idx="59570">
                  <c:v>31304</c:v>
                </c:pt>
                <c:pt idx="59571">
                  <c:v>31304</c:v>
                </c:pt>
                <c:pt idx="59572">
                  <c:v>31304</c:v>
                </c:pt>
                <c:pt idx="59573">
                  <c:v>31304</c:v>
                </c:pt>
                <c:pt idx="59574">
                  <c:v>31304</c:v>
                </c:pt>
                <c:pt idx="59575">
                  <c:v>31303</c:v>
                </c:pt>
                <c:pt idx="59576">
                  <c:v>31303</c:v>
                </c:pt>
                <c:pt idx="59577">
                  <c:v>31302</c:v>
                </c:pt>
                <c:pt idx="59578">
                  <c:v>31302</c:v>
                </c:pt>
                <c:pt idx="59579">
                  <c:v>31302</c:v>
                </c:pt>
                <c:pt idx="59580">
                  <c:v>31302</c:v>
                </c:pt>
                <c:pt idx="59581">
                  <c:v>31302</c:v>
                </c:pt>
                <c:pt idx="59582">
                  <c:v>31301</c:v>
                </c:pt>
                <c:pt idx="59583">
                  <c:v>31301</c:v>
                </c:pt>
                <c:pt idx="59584">
                  <c:v>31301</c:v>
                </c:pt>
                <c:pt idx="59585">
                  <c:v>31300</c:v>
                </c:pt>
                <c:pt idx="59586">
                  <c:v>31300</c:v>
                </c:pt>
                <c:pt idx="59587">
                  <c:v>31300</c:v>
                </c:pt>
                <c:pt idx="59588">
                  <c:v>31300</c:v>
                </c:pt>
                <c:pt idx="59589">
                  <c:v>31300</c:v>
                </c:pt>
                <c:pt idx="59590">
                  <c:v>31300</c:v>
                </c:pt>
                <c:pt idx="59591">
                  <c:v>31299</c:v>
                </c:pt>
                <c:pt idx="59592">
                  <c:v>31299</c:v>
                </c:pt>
                <c:pt idx="59593">
                  <c:v>31299</c:v>
                </c:pt>
                <c:pt idx="59594">
                  <c:v>31299</c:v>
                </c:pt>
                <c:pt idx="59595">
                  <c:v>31299</c:v>
                </c:pt>
                <c:pt idx="59596">
                  <c:v>31299</c:v>
                </c:pt>
                <c:pt idx="59597">
                  <c:v>31299</c:v>
                </c:pt>
                <c:pt idx="59598">
                  <c:v>31298</c:v>
                </c:pt>
                <c:pt idx="59599">
                  <c:v>31298</c:v>
                </c:pt>
                <c:pt idx="59600">
                  <c:v>31298</c:v>
                </c:pt>
                <c:pt idx="59601">
                  <c:v>31298</c:v>
                </c:pt>
                <c:pt idx="59602">
                  <c:v>31298</c:v>
                </c:pt>
                <c:pt idx="59603">
                  <c:v>31298</c:v>
                </c:pt>
                <c:pt idx="59604">
                  <c:v>31298</c:v>
                </c:pt>
                <c:pt idx="59605">
                  <c:v>31298</c:v>
                </c:pt>
                <c:pt idx="59606">
                  <c:v>31298</c:v>
                </c:pt>
                <c:pt idx="59607">
                  <c:v>31297</c:v>
                </c:pt>
                <c:pt idx="59608">
                  <c:v>31297</c:v>
                </c:pt>
                <c:pt idx="59609">
                  <c:v>31297</c:v>
                </c:pt>
                <c:pt idx="59610">
                  <c:v>31297</c:v>
                </c:pt>
                <c:pt idx="59611">
                  <c:v>31297</c:v>
                </c:pt>
                <c:pt idx="59612">
                  <c:v>31297</c:v>
                </c:pt>
                <c:pt idx="59613">
                  <c:v>31296</c:v>
                </c:pt>
                <c:pt idx="59614">
                  <c:v>31296</c:v>
                </c:pt>
                <c:pt idx="59615">
                  <c:v>31296</c:v>
                </c:pt>
                <c:pt idx="59616">
                  <c:v>31295</c:v>
                </c:pt>
                <c:pt idx="59617">
                  <c:v>31295</c:v>
                </c:pt>
                <c:pt idx="59618">
                  <c:v>31295</c:v>
                </c:pt>
                <c:pt idx="59619">
                  <c:v>31295</c:v>
                </c:pt>
                <c:pt idx="59620">
                  <c:v>31294</c:v>
                </c:pt>
                <c:pt idx="59621">
                  <c:v>31294</c:v>
                </c:pt>
                <c:pt idx="59622">
                  <c:v>31294</c:v>
                </c:pt>
                <c:pt idx="59623">
                  <c:v>31294</c:v>
                </c:pt>
                <c:pt idx="59624">
                  <c:v>31293</c:v>
                </c:pt>
                <c:pt idx="59625">
                  <c:v>31292</c:v>
                </c:pt>
                <c:pt idx="59626">
                  <c:v>31292</c:v>
                </c:pt>
                <c:pt idx="59627">
                  <c:v>31292</c:v>
                </c:pt>
                <c:pt idx="59628">
                  <c:v>31292</c:v>
                </c:pt>
                <c:pt idx="59629">
                  <c:v>31292</c:v>
                </c:pt>
                <c:pt idx="59630">
                  <c:v>31292</c:v>
                </c:pt>
                <c:pt idx="59631">
                  <c:v>31292</c:v>
                </c:pt>
                <c:pt idx="59632">
                  <c:v>31292</c:v>
                </c:pt>
                <c:pt idx="59633">
                  <c:v>31292</c:v>
                </c:pt>
                <c:pt idx="59634">
                  <c:v>31292</c:v>
                </c:pt>
                <c:pt idx="59635">
                  <c:v>31291</c:v>
                </c:pt>
                <c:pt idx="59636">
                  <c:v>31291</c:v>
                </c:pt>
                <c:pt idx="59637">
                  <c:v>31290</c:v>
                </c:pt>
                <c:pt idx="59638">
                  <c:v>31290</c:v>
                </c:pt>
                <c:pt idx="59639">
                  <c:v>31290</c:v>
                </c:pt>
                <c:pt idx="59640">
                  <c:v>31290</c:v>
                </c:pt>
                <c:pt idx="59641">
                  <c:v>31289</c:v>
                </c:pt>
                <c:pt idx="59642">
                  <c:v>31289</c:v>
                </c:pt>
                <c:pt idx="59643">
                  <c:v>31289</c:v>
                </c:pt>
                <c:pt idx="59644">
                  <c:v>31289</c:v>
                </c:pt>
                <c:pt idx="59645">
                  <c:v>31288</c:v>
                </c:pt>
                <c:pt idx="59646">
                  <c:v>31288</c:v>
                </c:pt>
                <c:pt idx="59647">
                  <c:v>31288</c:v>
                </c:pt>
                <c:pt idx="59648">
                  <c:v>31288</c:v>
                </c:pt>
                <c:pt idx="59649">
                  <c:v>31288</c:v>
                </c:pt>
                <c:pt idx="59650">
                  <c:v>31288</c:v>
                </c:pt>
                <c:pt idx="59651">
                  <c:v>31288</c:v>
                </c:pt>
                <c:pt idx="59652">
                  <c:v>31288</c:v>
                </c:pt>
                <c:pt idx="59653">
                  <c:v>31288</c:v>
                </c:pt>
                <c:pt idx="59654">
                  <c:v>31287</c:v>
                </c:pt>
                <c:pt idx="59655">
                  <c:v>31287</c:v>
                </c:pt>
                <c:pt idx="59656">
                  <c:v>31287</c:v>
                </c:pt>
                <c:pt idx="59657">
                  <c:v>31287</c:v>
                </c:pt>
                <c:pt idx="59658">
                  <c:v>31287</c:v>
                </c:pt>
                <c:pt idx="59659">
                  <c:v>31286</c:v>
                </c:pt>
                <c:pt idx="59660">
                  <c:v>31286</c:v>
                </c:pt>
                <c:pt idx="59661">
                  <c:v>31286</c:v>
                </c:pt>
                <c:pt idx="59662">
                  <c:v>31285</c:v>
                </c:pt>
                <c:pt idx="59663">
                  <c:v>31285</c:v>
                </c:pt>
                <c:pt idx="59664">
                  <c:v>31284</c:v>
                </c:pt>
                <c:pt idx="59665">
                  <c:v>31284</c:v>
                </c:pt>
                <c:pt idx="59666">
                  <c:v>31284</c:v>
                </c:pt>
                <c:pt idx="59667">
                  <c:v>31284</c:v>
                </c:pt>
                <c:pt idx="59668">
                  <c:v>31284</c:v>
                </c:pt>
                <c:pt idx="59669">
                  <c:v>31284</c:v>
                </c:pt>
                <c:pt idx="59670">
                  <c:v>31284</c:v>
                </c:pt>
                <c:pt idx="59671">
                  <c:v>31283</c:v>
                </c:pt>
                <c:pt idx="59672">
                  <c:v>31283</c:v>
                </c:pt>
                <c:pt idx="59673">
                  <c:v>31283</c:v>
                </c:pt>
                <c:pt idx="59674">
                  <c:v>31282</c:v>
                </c:pt>
                <c:pt idx="59675">
                  <c:v>31282</c:v>
                </c:pt>
                <c:pt idx="59676">
                  <c:v>31282</c:v>
                </c:pt>
                <c:pt idx="59677">
                  <c:v>31282</c:v>
                </c:pt>
                <c:pt idx="59678">
                  <c:v>31282</c:v>
                </c:pt>
                <c:pt idx="59679">
                  <c:v>31282</c:v>
                </c:pt>
                <c:pt idx="59680">
                  <c:v>31281</c:v>
                </c:pt>
                <c:pt idx="59681">
                  <c:v>31281</c:v>
                </c:pt>
                <c:pt idx="59682">
                  <c:v>31281</c:v>
                </c:pt>
                <c:pt idx="59683">
                  <c:v>31281</c:v>
                </c:pt>
                <c:pt idx="59684">
                  <c:v>31281</c:v>
                </c:pt>
                <c:pt idx="59685">
                  <c:v>31281</c:v>
                </c:pt>
                <c:pt idx="59686">
                  <c:v>31281</c:v>
                </c:pt>
                <c:pt idx="59687">
                  <c:v>31281</c:v>
                </c:pt>
                <c:pt idx="59688">
                  <c:v>31280</c:v>
                </c:pt>
                <c:pt idx="59689">
                  <c:v>31280</c:v>
                </c:pt>
                <c:pt idx="59690">
                  <c:v>31280</c:v>
                </c:pt>
                <c:pt idx="59691">
                  <c:v>31280</c:v>
                </c:pt>
                <c:pt idx="59692">
                  <c:v>31280</c:v>
                </c:pt>
                <c:pt idx="59693">
                  <c:v>31280</c:v>
                </c:pt>
                <c:pt idx="59694">
                  <c:v>31280</c:v>
                </c:pt>
                <c:pt idx="59695">
                  <c:v>31279</c:v>
                </c:pt>
                <c:pt idx="59696">
                  <c:v>31279</c:v>
                </c:pt>
                <c:pt idx="59697">
                  <c:v>31279</c:v>
                </c:pt>
                <c:pt idx="59698">
                  <c:v>31278</c:v>
                </c:pt>
                <c:pt idx="59699">
                  <c:v>31277</c:v>
                </c:pt>
                <c:pt idx="59700">
                  <c:v>31277</c:v>
                </c:pt>
                <c:pt idx="59701">
                  <c:v>31277</c:v>
                </c:pt>
                <c:pt idx="59702">
                  <c:v>31277</c:v>
                </c:pt>
                <c:pt idx="59703">
                  <c:v>31277</c:v>
                </c:pt>
                <c:pt idx="59704">
                  <c:v>31277</c:v>
                </c:pt>
                <c:pt idx="59705">
                  <c:v>31277</c:v>
                </c:pt>
                <c:pt idx="59706">
                  <c:v>31277</c:v>
                </c:pt>
                <c:pt idx="59707">
                  <c:v>31276</c:v>
                </c:pt>
                <c:pt idx="59708">
                  <c:v>31276</c:v>
                </c:pt>
                <c:pt idx="59709">
                  <c:v>31276</c:v>
                </c:pt>
                <c:pt idx="59710">
                  <c:v>31276</c:v>
                </c:pt>
                <c:pt idx="59711">
                  <c:v>31276</c:v>
                </c:pt>
                <c:pt idx="59712">
                  <c:v>31276</c:v>
                </c:pt>
                <c:pt idx="59713">
                  <c:v>31276</c:v>
                </c:pt>
                <c:pt idx="59714">
                  <c:v>31275</c:v>
                </c:pt>
                <c:pt idx="59715">
                  <c:v>31275</c:v>
                </c:pt>
                <c:pt idx="59716">
                  <c:v>31275</c:v>
                </c:pt>
                <c:pt idx="59717">
                  <c:v>31275</c:v>
                </c:pt>
                <c:pt idx="59718">
                  <c:v>31275</c:v>
                </c:pt>
                <c:pt idx="59719">
                  <c:v>31274</c:v>
                </c:pt>
                <c:pt idx="59720">
                  <c:v>31274</c:v>
                </c:pt>
                <c:pt idx="59721">
                  <c:v>31274</c:v>
                </c:pt>
                <c:pt idx="59722">
                  <c:v>31274</c:v>
                </c:pt>
                <c:pt idx="59723">
                  <c:v>31274</c:v>
                </c:pt>
                <c:pt idx="59724">
                  <c:v>31274</c:v>
                </c:pt>
                <c:pt idx="59725">
                  <c:v>31274</c:v>
                </c:pt>
                <c:pt idx="59726">
                  <c:v>31274</c:v>
                </c:pt>
                <c:pt idx="59727">
                  <c:v>31274</c:v>
                </c:pt>
                <c:pt idx="59728">
                  <c:v>31274</c:v>
                </c:pt>
                <c:pt idx="59729">
                  <c:v>31273</c:v>
                </c:pt>
                <c:pt idx="59730">
                  <c:v>31273</c:v>
                </c:pt>
                <c:pt idx="59731">
                  <c:v>31273</c:v>
                </c:pt>
                <c:pt idx="59732">
                  <c:v>31273</c:v>
                </c:pt>
                <c:pt idx="59733">
                  <c:v>31272</c:v>
                </c:pt>
                <c:pt idx="59734">
                  <c:v>31272</c:v>
                </c:pt>
                <c:pt idx="59735">
                  <c:v>31272</c:v>
                </c:pt>
                <c:pt idx="59736">
                  <c:v>31272</c:v>
                </c:pt>
                <c:pt idx="59737">
                  <c:v>31271</c:v>
                </c:pt>
                <c:pt idx="59738">
                  <c:v>31271</c:v>
                </c:pt>
                <c:pt idx="59739">
                  <c:v>31271</c:v>
                </c:pt>
                <c:pt idx="59740">
                  <c:v>31271</c:v>
                </c:pt>
                <c:pt idx="59741">
                  <c:v>31271</c:v>
                </c:pt>
                <c:pt idx="59742">
                  <c:v>31271</c:v>
                </c:pt>
                <c:pt idx="59743">
                  <c:v>31270</c:v>
                </c:pt>
                <c:pt idx="59744">
                  <c:v>31270</c:v>
                </c:pt>
                <c:pt idx="59745">
                  <c:v>31270</c:v>
                </c:pt>
                <c:pt idx="59746">
                  <c:v>31269</c:v>
                </c:pt>
                <c:pt idx="59747">
                  <c:v>31269</c:v>
                </c:pt>
                <c:pt idx="59748">
                  <c:v>31269</c:v>
                </c:pt>
                <c:pt idx="59749">
                  <c:v>31269</c:v>
                </c:pt>
                <c:pt idx="59750">
                  <c:v>31269</c:v>
                </c:pt>
                <c:pt idx="59751">
                  <c:v>31269</c:v>
                </c:pt>
                <c:pt idx="59752">
                  <c:v>31268</c:v>
                </c:pt>
                <c:pt idx="59753">
                  <c:v>31268</c:v>
                </c:pt>
                <c:pt idx="59754">
                  <c:v>31268</c:v>
                </c:pt>
                <c:pt idx="59755">
                  <c:v>31267</c:v>
                </c:pt>
                <c:pt idx="59756">
                  <c:v>31267</c:v>
                </c:pt>
                <c:pt idx="59757">
                  <c:v>31267</c:v>
                </c:pt>
                <c:pt idx="59758">
                  <c:v>31266</c:v>
                </c:pt>
                <c:pt idx="59759">
                  <c:v>31266</c:v>
                </c:pt>
                <c:pt idx="59760">
                  <c:v>31266</c:v>
                </c:pt>
                <c:pt idx="59761">
                  <c:v>31265</c:v>
                </c:pt>
                <c:pt idx="59762">
                  <c:v>31265</c:v>
                </c:pt>
                <c:pt idx="59763">
                  <c:v>31265</c:v>
                </c:pt>
                <c:pt idx="59764">
                  <c:v>31265</c:v>
                </c:pt>
                <c:pt idx="59765">
                  <c:v>31265</c:v>
                </c:pt>
                <c:pt idx="59766">
                  <c:v>31265</c:v>
                </c:pt>
                <c:pt idx="59767">
                  <c:v>31265</c:v>
                </c:pt>
                <c:pt idx="59768">
                  <c:v>31265</c:v>
                </c:pt>
                <c:pt idx="59769">
                  <c:v>31264</c:v>
                </c:pt>
                <c:pt idx="59770">
                  <c:v>31264</c:v>
                </c:pt>
                <c:pt idx="59771">
                  <c:v>31264</c:v>
                </c:pt>
                <c:pt idx="59772">
                  <c:v>31264</c:v>
                </c:pt>
                <c:pt idx="59773">
                  <c:v>31264</c:v>
                </c:pt>
                <c:pt idx="59774">
                  <c:v>31264</c:v>
                </c:pt>
                <c:pt idx="59775">
                  <c:v>31263</c:v>
                </c:pt>
                <c:pt idx="59776">
                  <c:v>31263</c:v>
                </c:pt>
                <c:pt idx="59777">
                  <c:v>31263</c:v>
                </c:pt>
                <c:pt idx="59778">
                  <c:v>31263</c:v>
                </c:pt>
                <c:pt idx="59779">
                  <c:v>31262</c:v>
                </c:pt>
                <c:pt idx="59780">
                  <c:v>31262</c:v>
                </c:pt>
                <c:pt idx="59781">
                  <c:v>31262</c:v>
                </c:pt>
                <c:pt idx="59782">
                  <c:v>31262</c:v>
                </c:pt>
                <c:pt idx="59783">
                  <c:v>31262</c:v>
                </c:pt>
                <c:pt idx="59784">
                  <c:v>31261</c:v>
                </c:pt>
                <c:pt idx="59785">
                  <c:v>31261</c:v>
                </c:pt>
                <c:pt idx="59786">
                  <c:v>31261</c:v>
                </c:pt>
                <c:pt idx="59787">
                  <c:v>31261</c:v>
                </c:pt>
                <c:pt idx="59788">
                  <c:v>31260</c:v>
                </c:pt>
                <c:pt idx="59789">
                  <c:v>31260</c:v>
                </c:pt>
                <c:pt idx="59790">
                  <c:v>31260</c:v>
                </c:pt>
                <c:pt idx="59791">
                  <c:v>31260</c:v>
                </c:pt>
                <c:pt idx="59792">
                  <c:v>31260</c:v>
                </c:pt>
                <c:pt idx="59793">
                  <c:v>31260</c:v>
                </c:pt>
                <c:pt idx="59794">
                  <c:v>31260</c:v>
                </c:pt>
                <c:pt idx="59795">
                  <c:v>31260</c:v>
                </c:pt>
                <c:pt idx="59796">
                  <c:v>31259</c:v>
                </c:pt>
                <c:pt idx="59797">
                  <c:v>31259</c:v>
                </c:pt>
                <c:pt idx="59798">
                  <c:v>31259</c:v>
                </c:pt>
                <c:pt idx="59799">
                  <c:v>31259</c:v>
                </c:pt>
                <c:pt idx="59800">
                  <c:v>31258</c:v>
                </c:pt>
                <c:pt idx="59801">
                  <c:v>31258</c:v>
                </c:pt>
                <c:pt idx="59802">
                  <c:v>31258</c:v>
                </c:pt>
                <c:pt idx="59803">
                  <c:v>31257</c:v>
                </c:pt>
                <c:pt idx="59804">
                  <c:v>31257</c:v>
                </c:pt>
                <c:pt idx="59805">
                  <c:v>31257</c:v>
                </c:pt>
                <c:pt idx="59806">
                  <c:v>31257</c:v>
                </c:pt>
                <c:pt idx="59807">
                  <c:v>31257</c:v>
                </c:pt>
                <c:pt idx="59808">
                  <c:v>31257</c:v>
                </c:pt>
                <c:pt idx="59809">
                  <c:v>31256</c:v>
                </c:pt>
                <c:pt idx="59810">
                  <c:v>31256</c:v>
                </c:pt>
                <c:pt idx="59811">
                  <c:v>31256</c:v>
                </c:pt>
                <c:pt idx="59812">
                  <c:v>31255</c:v>
                </c:pt>
                <c:pt idx="59813">
                  <c:v>31255</c:v>
                </c:pt>
                <c:pt idx="59814">
                  <c:v>31255</c:v>
                </c:pt>
                <c:pt idx="59815">
                  <c:v>31255</c:v>
                </c:pt>
                <c:pt idx="59816">
                  <c:v>31255</c:v>
                </c:pt>
                <c:pt idx="59817">
                  <c:v>31254</c:v>
                </c:pt>
                <c:pt idx="59818">
                  <c:v>31254</c:v>
                </c:pt>
                <c:pt idx="59819">
                  <c:v>31254</c:v>
                </c:pt>
                <c:pt idx="59820">
                  <c:v>31254</c:v>
                </c:pt>
                <c:pt idx="59821">
                  <c:v>31254</c:v>
                </c:pt>
                <c:pt idx="59822">
                  <c:v>31253</c:v>
                </c:pt>
                <c:pt idx="59823">
                  <c:v>31253</c:v>
                </c:pt>
                <c:pt idx="59824">
                  <c:v>31253</c:v>
                </c:pt>
                <c:pt idx="59825">
                  <c:v>31253</c:v>
                </c:pt>
                <c:pt idx="59826">
                  <c:v>31253</c:v>
                </c:pt>
                <c:pt idx="59827">
                  <c:v>31253</c:v>
                </c:pt>
                <c:pt idx="59828">
                  <c:v>31253</c:v>
                </c:pt>
                <c:pt idx="59829">
                  <c:v>31253</c:v>
                </c:pt>
                <c:pt idx="59830">
                  <c:v>31253</c:v>
                </c:pt>
                <c:pt idx="59831">
                  <c:v>31252</c:v>
                </c:pt>
                <c:pt idx="59832">
                  <c:v>31252</c:v>
                </c:pt>
                <c:pt idx="59833">
                  <c:v>31252</c:v>
                </c:pt>
                <c:pt idx="59834">
                  <c:v>31252</c:v>
                </c:pt>
                <c:pt idx="59835">
                  <c:v>31251</c:v>
                </c:pt>
                <c:pt idx="59836">
                  <c:v>31251</c:v>
                </c:pt>
                <c:pt idx="59837">
                  <c:v>31251</c:v>
                </c:pt>
                <c:pt idx="59838">
                  <c:v>31250</c:v>
                </c:pt>
                <c:pt idx="59839">
                  <c:v>31250</c:v>
                </c:pt>
                <c:pt idx="59840">
                  <c:v>31250</c:v>
                </c:pt>
                <c:pt idx="59841">
                  <c:v>31250</c:v>
                </c:pt>
                <c:pt idx="59842">
                  <c:v>31250</c:v>
                </c:pt>
                <c:pt idx="59843">
                  <c:v>31250</c:v>
                </c:pt>
                <c:pt idx="59844">
                  <c:v>31250</c:v>
                </c:pt>
                <c:pt idx="59845">
                  <c:v>31250</c:v>
                </c:pt>
                <c:pt idx="59846">
                  <c:v>31249</c:v>
                </c:pt>
                <c:pt idx="59847">
                  <c:v>31249</c:v>
                </c:pt>
                <c:pt idx="59848">
                  <c:v>31249</c:v>
                </c:pt>
                <c:pt idx="59849">
                  <c:v>31249</c:v>
                </c:pt>
                <c:pt idx="59850">
                  <c:v>31249</c:v>
                </c:pt>
                <c:pt idx="59851">
                  <c:v>31248</c:v>
                </c:pt>
                <c:pt idx="59852">
                  <c:v>31248</c:v>
                </c:pt>
                <c:pt idx="59853">
                  <c:v>31248</c:v>
                </c:pt>
                <c:pt idx="59854">
                  <c:v>31247</c:v>
                </c:pt>
                <c:pt idx="59855">
                  <c:v>31247</c:v>
                </c:pt>
                <c:pt idx="59856">
                  <c:v>31247</c:v>
                </c:pt>
                <c:pt idx="59857">
                  <c:v>31247</c:v>
                </c:pt>
                <c:pt idx="59858">
                  <c:v>31247</c:v>
                </c:pt>
                <c:pt idx="59859">
                  <c:v>31247</c:v>
                </c:pt>
                <c:pt idx="59860">
                  <c:v>31246</c:v>
                </c:pt>
                <c:pt idx="59861">
                  <c:v>31246</c:v>
                </c:pt>
                <c:pt idx="59862">
                  <c:v>31246</c:v>
                </c:pt>
                <c:pt idx="59863">
                  <c:v>31246</c:v>
                </c:pt>
                <c:pt idx="59864">
                  <c:v>31246</c:v>
                </c:pt>
                <c:pt idx="59865">
                  <c:v>31246</c:v>
                </c:pt>
                <c:pt idx="59866">
                  <c:v>31246</c:v>
                </c:pt>
                <c:pt idx="59867">
                  <c:v>31245</c:v>
                </c:pt>
                <c:pt idx="59868">
                  <c:v>31245</c:v>
                </c:pt>
                <c:pt idx="59869">
                  <c:v>31245</c:v>
                </c:pt>
                <c:pt idx="59870">
                  <c:v>31244</c:v>
                </c:pt>
                <c:pt idx="59871">
                  <c:v>31244</c:v>
                </c:pt>
                <c:pt idx="59872">
                  <c:v>31244</c:v>
                </c:pt>
                <c:pt idx="59873">
                  <c:v>31244</c:v>
                </c:pt>
                <c:pt idx="59874">
                  <c:v>31244</c:v>
                </c:pt>
                <c:pt idx="59875">
                  <c:v>31244</c:v>
                </c:pt>
                <c:pt idx="59876">
                  <c:v>31244</c:v>
                </c:pt>
                <c:pt idx="59877">
                  <c:v>31243</c:v>
                </c:pt>
                <c:pt idx="59878">
                  <c:v>31243</c:v>
                </c:pt>
                <c:pt idx="59879">
                  <c:v>31243</c:v>
                </c:pt>
                <c:pt idx="59880">
                  <c:v>31243</c:v>
                </c:pt>
                <c:pt idx="59881">
                  <c:v>31243</c:v>
                </c:pt>
                <c:pt idx="59882">
                  <c:v>31242</c:v>
                </c:pt>
                <c:pt idx="59883">
                  <c:v>31242</c:v>
                </c:pt>
                <c:pt idx="59884">
                  <c:v>31242</c:v>
                </c:pt>
                <c:pt idx="59885">
                  <c:v>31242</c:v>
                </c:pt>
                <c:pt idx="59886">
                  <c:v>31241</c:v>
                </c:pt>
                <c:pt idx="59887">
                  <c:v>31241</c:v>
                </c:pt>
                <c:pt idx="59888">
                  <c:v>31241</c:v>
                </c:pt>
                <c:pt idx="59889">
                  <c:v>31241</c:v>
                </c:pt>
                <c:pt idx="59890">
                  <c:v>31241</c:v>
                </c:pt>
                <c:pt idx="59891">
                  <c:v>31241</c:v>
                </c:pt>
                <c:pt idx="59892">
                  <c:v>31240</c:v>
                </c:pt>
                <c:pt idx="59893">
                  <c:v>31240</c:v>
                </c:pt>
                <c:pt idx="59894">
                  <c:v>31240</c:v>
                </c:pt>
                <c:pt idx="59895">
                  <c:v>31240</c:v>
                </c:pt>
                <c:pt idx="59896">
                  <c:v>31240</c:v>
                </c:pt>
                <c:pt idx="59897">
                  <c:v>31240</c:v>
                </c:pt>
                <c:pt idx="59898">
                  <c:v>31240</c:v>
                </c:pt>
                <c:pt idx="59899">
                  <c:v>31240</c:v>
                </c:pt>
                <c:pt idx="59900">
                  <c:v>31240</c:v>
                </c:pt>
                <c:pt idx="59901">
                  <c:v>31240</c:v>
                </c:pt>
                <c:pt idx="59902">
                  <c:v>31240</c:v>
                </c:pt>
                <c:pt idx="59903">
                  <c:v>31239</c:v>
                </c:pt>
                <c:pt idx="59904">
                  <c:v>31239</c:v>
                </c:pt>
                <c:pt idx="59905">
                  <c:v>31239</c:v>
                </c:pt>
                <c:pt idx="59906">
                  <c:v>31239</c:v>
                </c:pt>
                <c:pt idx="59907">
                  <c:v>31239</c:v>
                </c:pt>
                <c:pt idx="59908">
                  <c:v>31238</c:v>
                </c:pt>
                <c:pt idx="59909">
                  <c:v>31238</c:v>
                </c:pt>
                <c:pt idx="59910">
                  <c:v>31238</c:v>
                </c:pt>
                <c:pt idx="59911">
                  <c:v>31238</c:v>
                </c:pt>
                <c:pt idx="59912">
                  <c:v>31238</c:v>
                </c:pt>
                <c:pt idx="59913">
                  <c:v>31237</c:v>
                </c:pt>
                <c:pt idx="59914">
                  <c:v>31237</c:v>
                </c:pt>
                <c:pt idx="59915">
                  <c:v>31237</c:v>
                </c:pt>
                <c:pt idx="59916">
                  <c:v>31237</c:v>
                </c:pt>
                <c:pt idx="59917">
                  <c:v>31237</c:v>
                </c:pt>
                <c:pt idx="59918">
                  <c:v>31237</c:v>
                </c:pt>
                <c:pt idx="59919">
                  <c:v>31237</c:v>
                </c:pt>
                <c:pt idx="59920">
                  <c:v>31237</c:v>
                </c:pt>
                <c:pt idx="59921">
                  <c:v>31236</c:v>
                </c:pt>
                <c:pt idx="59922">
                  <c:v>31236</c:v>
                </c:pt>
                <c:pt idx="59923">
                  <c:v>31236</c:v>
                </c:pt>
                <c:pt idx="59924">
                  <c:v>31236</c:v>
                </c:pt>
                <c:pt idx="59925">
                  <c:v>31236</c:v>
                </c:pt>
                <c:pt idx="59926">
                  <c:v>31235</c:v>
                </c:pt>
                <c:pt idx="59927">
                  <c:v>31235</c:v>
                </c:pt>
                <c:pt idx="59928">
                  <c:v>31235</c:v>
                </c:pt>
                <c:pt idx="59929">
                  <c:v>31234</c:v>
                </c:pt>
                <c:pt idx="59930">
                  <c:v>31234</c:v>
                </c:pt>
                <c:pt idx="59931">
                  <c:v>31234</c:v>
                </c:pt>
                <c:pt idx="59932">
                  <c:v>31234</c:v>
                </c:pt>
                <c:pt idx="59933">
                  <c:v>31234</c:v>
                </c:pt>
                <c:pt idx="59934">
                  <c:v>31234</c:v>
                </c:pt>
                <c:pt idx="59935">
                  <c:v>31234</c:v>
                </c:pt>
                <c:pt idx="59936">
                  <c:v>31234</c:v>
                </c:pt>
                <c:pt idx="59937">
                  <c:v>31234</c:v>
                </c:pt>
                <c:pt idx="59938">
                  <c:v>31234</c:v>
                </c:pt>
                <c:pt idx="59939">
                  <c:v>31233</c:v>
                </c:pt>
                <c:pt idx="59940">
                  <c:v>31233</c:v>
                </c:pt>
                <c:pt idx="59941">
                  <c:v>31233</c:v>
                </c:pt>
                <c:pt idx="59942">
                  <c:v>31233</c:v>
                </c:pt>
                <c:pt idx="59943">
                  <c:v>31233</c:v>
                </c:pt>
                <c:pt idx="59944">
                  <c:v>31233</c:v>
                </c:pt>
                <c:pt idx="59945">
                  <c:v>31233</c:v>
                </c:pt>
                <c:pt idx="59946">
                  <c:v>31233</c:v>
                </c:pt>
                <c:pt idx="59947">
                  <c:v>31233</c:v>
                </c:pt>
                <c:pt idx="59948">
                  <c:v>31233</c:v>
                </c:pt>
                <c:pt idx="59949">
                  <c:v>31233</c:v>
                </c:pt>
                <c:pt idx="59950">
                  <c:v>31233</c:v>
                </c:pt>
                <c:pt idx="59951">
                  <c:v>31232</c:v>
                </c:pt>
                <c:pt idx="59952">
                  <c:v>31232</c:v>
                </c:pt>
                <c:pt idx="59953">
                  <c:v>31232</c:v>
                </c:pt>
                <c:pt idx="59954">
                  <c:v>31232</c:v>
                </c:pt>
                <c:pt idx="59955">
                  <c:v>31232</c:v>
                </c:pt>
                <c:pt idx="59956">
                  <c:v>31232</c:v>
                </c:pt>
                <c:pt idx="59957">
                  <c:v>31231</c:v>
                </c:pt>
                <c:pt idx="59958">
                  <c:v>31231</c:v>
                </c:pt>
                <c:pt idx="59959">
                  <c:v>31231</c:v>
                </c:pt>
                <c:pt idx="59960">
                  <c:v>31231</c:v>
                </c:pt>
                <c:pt idx="59961">
                  <c:v>31231</c:v>
                </c:pt>
                <c:pt idx="59962">
                  <c:v>31231</c:v>
                </c:pt>
                <c:pt idx="59963">
                  <c:v>31231</c:v>
                </c:pt>
                <c:pt idx="59964">
                  <c:v>31230</c:v>
                </c:pt>
                <c:pt idx="59965">
                  <c:v>31230</c:v>
                </c:pt>
                <c:pt idx="59966">
                  <c:v>31230</c:v>
                </c:pt>
                <c:pt idx="59967">
                  <c:v>31230</c:v>
                </c:pt>
                <c:pt idx="59968">
                  <c:v>31230</c:v>
                </c:pt>
                <c:pt idx="59969">
                  <c:v>31230</c:v>
                </c:pt>
                <c:pt idx="59970">
                  <c:v>31230</c:v>
                </c:pt>
                <c:pt idx="59971">
                  <c:v>31229</c:v>
                </c:pt>
                <c:pt idx="59972">
                  <c:v>31229</c:v>
                </c:pt>
                <c:pt idx="59973">
                  <c:v>31229</c:v>
                </c:pt>
                <c:pt idx="59974">
                  <c:v>31229</c:v>
                </c:pt>
                <c:pt idx="59975">
                  <c:v>31229</c:v>
                </c:pt>
                <c:pt idx="59976">
                  <c:v>31229</c:v>
                </c:pt>
                <c:pt idx="59977">
                  <c:v>31229</c:v>
                </c:pt>
                <c:pt idx="59978">
                  <c:v>31228</c:v>
                </c:pt>
                <c:pt idx="59979">
                  <c:v>31228</c:v>
                </c:pt>
                <c:pt idx="59980">
                  <c:v>31228</c:v>
                </c:pt>
                <c:pt idx="59981">
                  <c:v>31228</c:v>
                </c:pt>
                <c:pt idx="59982">
                  <c:v>31227</c:v>
                </c:pt>
                <c:pt idx="59983">
                  <c:v>31227</c:v>
                </c:pt>
                <c:pt idx="59984">
                  <c:v>31227</c:v>
                </c:pt>
                <c:pt idx="59985">
                  <c:v>31227</c:v>
                </c:pt>
                <c:pt idx="59986">
                  <c:v>31226</c:v>
                </c:pt>
                <c:pt idx="59987">
                  <c:v>31226</c:v>
                </c:pt>
                <c:pt idx="59988">
                  <c:v>31226</c:v>
                </c:pt>
                <c:pt idx="59989">
                  <c:v>31225</c:v>
                </c:pt>
                <c:pt idx="59990">
                  <c:v>31225</c:v>
                </c:pt>
                <c:pt idx="59991">
                  <c:v>31225</c:v>
                </c:pt>
                <c:pt idx="59992">
                  <c:v>31225</c:v>
                </c:pt>
                <c:pt idx="59993">
                  <c:v>31225</c:v>
                </c:pt>
                <c:pt idx="59994">
                  <c:v>31224</c:v>
                </c:pt>
                <c:pt idx="59995">
                  <c:v>31224</c:v>
                </c:pt>
                <c:pt idx="59996">
                  <c:v>31224</c:v>
                </c:pt>
                <c:pt idx="59997">
                  <c:v>31224</c:v>
                </c:pt>
                <c:pt idx="59998">
                  <c:v>31224</c:v>
                </c:pt>
                <c:pt idx="59999">
                  <c:v>31223</c:v>
                </c:pt>
                <c:pt idx="60000">
                  <c:v>31223</c:v>
                </c:pt>
                <c:pt idx="60001">
                  <c:v>31223</c:v>
                </c:pt>
                <c:pt idx="60002">
                  <c:v>31223</c:v>
                </c:pt>
                <c:pt idx="60003">
                  <c:v>31223</c:v>
                </c:pt>
                <c:pt idx="60004">
                  <c:v>31223</c:v>
                </c:pt>
                <c:pt idx="60005">
                  <c:v>31223</c:v>
                </c:pt>
                <c:pt idx="60006">
                  <c:v>31223</c:v>
                </c:pt>
                <c:pt idx="60007">
                  <c:v>31222</c:v>
                </c:pt>
                <c:pt idx="60008">
                  <c:v>31222</c:v>
                </c:pt>
                <c:pt idx="60009">
                  <c:v>31222</c:v>
                </c:pt>
                <c:pt idx="60010">
                  <c:v>31222</c:v>
                </c:pt>
                <c:pt idx="60011">
                  <c:v>31221</c:v>
                </c:pt>
                <c:pt idx="60012">
                  <c:v>31221</c:v>
                </c:pt>
                <c:pt idx="60013">
                  <c:v>31221</c:v>
                </c:pt>
                <c:pt idx="60014">
                  <c:v>31221</c:v>
                </c:pt>
                <c:pt idx="60015">
                  <c:v>31221</c:v>
                </c:pt>
                <c:pt idx="60016">
                  <c:v>31220</c:v>
                </c:pt>
                <c:pt idx="60017">
                  <c:v>31220</c:v>
                </c:pt>
                <c:pt idx="60018">
                  <c:v>31220</c:v>
                </c:pt>
                <c:pt idx="60019">
                  <c:v>31220</c:v>
                </c:pt>
                <c:pt idx="60020">
                  <c:v>31220</c:v>
                </c:pt>
                <c:pt idx="60021">
                  <c:v>31220</c:v>
                </c:pt>
                <c:pt idx="60022">
                  <c:v>31220</c:v>
                </c:pt>
                <c:pt idx="60023">
                  <c:v>31220</c:v>
                </c:pt>
                <c:pt idx="60024">
                  <c:v>31219</c:v>
                </c:pt>
                <c:pt idx="60025">
                  <c:v>31219</c:v>
                </c:pt>
                <c:pt idx="60026">
                  <c:v>31219</c:v>
                </c:pt>
                <c:pt idx="60027">
                  <c:v>31219</c:v>
                </c:pt>
                <c:pt idx="60028">
                  <c:v>31219</c:v>
                </c:pt>
                <c:pt idx="60029">
                  <c:v>31218</c:v>
                </c:pt>
                <c:pt idx="60030">
                  <c:v>31218</c:v>
                </c:pt>
                <c:pt idx="60031">
                  <c:v>31218</c:v>
                </c:pt>
                <c:pt idx="60032">
                  <c:v>31218</c:v>
                </c:pt>
                <c:pt idx="60033">
                  <c:v>31218</c:v>
                </c:pt>
                <c:pt idx="60034">
                  <c:v>31218</c:v>
                </c:pt>
                <c:pt idx="60035">
                  <c:v>31218</c:v>
                </c:pt>
                <c:pt idx="60036">
                  <c:v>31217</c:v>
                </c:pt>
                <c:pt idx="60037">
                  <c:v>31217</c:v>
                </c:pt>
                <c:pt idx="60038">
                  <c:v>31217</c:v>
                </c:pt>
                <c:pt idx="60039">
                  <c:v>31217</c:v>
                </c:pt>
                <c:pt idx="60040">
                  <c:v>31217</c:v>
                </c:pt>
                <c:pt idx="60041">
                  <c:v>31217</c:v>
                </c:pt>
                <c:pt idx="60042">
                  <c:v>31217</c:v>
                </c:pt>
                <c:pt idx="60043">
                  <c:v>31217</c:v>
                </c:pt>
                <c:pt idx="60044">
                  <c:v>31217</c:v>
                </c:pt>
                <c:pt idx="60045">
                  <c:v>31217</c:v>
                </c:pt>
                <c:pt idx="60046">
                  <c:v>31216</c:v>
                </c:pt>
                <c:pt idx="60047">
                  <c:v>31216</c:v>
                </c:pt>
                <c:pt idx="60048">
                  <c:v>31216</c:v>
                </c:pt>
                <c:pt idx="60049">
                  <c:v>31216</c:v>
                </c:pt>
                <c:pt idx="60050">
                  <c:v>31216</c:v>
                </c:pt>
                <c:pt idx="60051">
                  <c:v>31216</c:v>
                </c:pt>
                <c:pt idx="60052">
                  <c:v>31215</c:v>
                </c:pt>
                <c:pt idx="60053">
                  <c:v>31215</c:v>
                </c:pt>
                <c:pt idx="60054">
                  <c:v>31215</c:v>
                </c:pt>
                <c:pt idx="60055">
                  <c:v>31215</c:v>
                </c:pt>
                <c:pt idx="60056">
                  <c:v>31215</c:v>
                </c:pt>
                <c:pt idx="60057">
                  <c:v>31214</c:v>
                </c:pt>
                <c:pt idx="60058">
                  <c:v>31214</c:v>
                </c:pt>
                <c:pt idx="60059">
                  <c:v>31214</c:v>
                </c:pt>
                <c:pt idx="60060">
                  <c:v>31214</c:v>
                </c:pt>
                <c:pt idx="60061">
                  <c:v>31214</c:v>
                </c:pt>
                <c:pt idx="60062">
                  <c:v>31214</c:v>
                </c:pt>
                <c:pt idx="60063">
                  <c:v>31214</c:v>
                </c:pt>
                <c:pt idx="60064">
                  <c:v>31213</c:v>
                </c:pt>
                <c:pt idx="60065">
                  <c:v>31213</c:v>
                </c:pt>
                <c:pt idx="60066">
                  <c:v>31213</c:v>
                </c:pt>
                <c:pt idx="60067">
                  <c:v>31213</c:v>
                </c:pt>
                <c:pt idx="60068">
                  <c:v>31213</c:v>
                </c:pt>
                <c:pt idx="60069">
                  <c:v>31213</c:v>
                </c:pt>
                <c:pt idx="60070">
                  <c:v>31213</c:v>
                </c:pt>
                <c:pt idx="60071">
                  <c:v>31213</c:v>
                </c:pt>
                <c:pt idx="60072">
                  <c:v>31212</c:v>
                </c:pt>
                <c:pt idx="60073">
                  <c:v>31212</c:v>
                </c:pt>
                <c:pt idx="60074">
                  <c:v>31212</c:v>
                </c:pt>
                <c:pt idx="60075">
                  <c:v>31212</c:v>
                </c:pt>
                <c:pt idx="60076">
                  <c:v>31212</c:v>
                </c:pt>
                <c:pt idx="60077">
                  <c:v>31212</c:v>
                </c:pt>
                <c:pt idx="60078">
                  <c:v>31211</c:v>
                </c:pt>
                <c:pt idx="60079">
                  <c:v>31211</c:v>
                </c:pt>
                <c:pt idx="60080">
                  <c:v>31211</c:v>
                </c:pt>
                <c:pt idx="60081">
                  <c:v>31211</c:v>
                </c:pt>
                <c:pt idx="60082">
                  <c:v>31211</c:v>
                </c:pt>
                <c:pt idx="60083">
                  <c:v>31210</c:v>
                </c:pt>
                <c:pt idx="60084">
                  <c:v>31210</c:v>
                </c:pt>
                <c:pt idx="60085">
                  <c:v>31210</c:v>
                </c:pt>
                <c:pt idx="60086">
                  <c:v>31210</c:v>
                </c:pt>
                <c:pt idx="60087">
                  <c:v>31210</c:v>
                </c:pt>
                <c:pt idx="60088">
                  <c:v>31210</c:v>
                </c:pt>
                <c:pt idx="60089">
                  <c:v>31210</c:v>
                </c:pt>
                <c:pt idx="60090">
                  <c:v>31210</c:v>
                </c:pt>
                <c:pt idx="60091">
                  <c:v>31209</c:v>
                </c:pt>
                <c:pt idx="60092">
                  <c:v>31209</c:v>
                </c:pt>
                <c:pt idx="60093">
                  <c:v>31209</c:v>
                </c:pt>
                <c:pt idx="60094">
                  <c:v>31209</c:v>
                </c:pt>
                <c:pt idx="60095">
                  <c:v>31209</c:v>
                </c:pt>
                <c:pt idx="60096">
                  <c:v>31208</c:v>
                </c:pt>
                <c:pt idx="60097">
                  <c:v>31208</c:v>
                </c:pt>
                <c:pt idx="60098">
                  <c:v>31208</c:v>
                </c:pt>
                <c:pt idx="60099">
                  <c:v>31208</c:v>
                </c:pt>
                <c:pt idx="60100">
                  <c:v>31208</c:v>
                </c:pt>
                <c:pt idx="60101">
                  <c:v>31208</c:v>
                </c:pt>
                <c:pt idx="60102">
                  <c:v>31207</c:v>
                </c:pt>
                <c:pt idx="60103">
                  <c:v>31207</c:v>
                </c:pt>
                <c:pt idx="60104">
                  <c:v>31207</c:v>
                </c:pt>
                <c:pt idx="60105">
                  <c:v>31207</c:v>
                </c:pt>
                <c:pt idx="60106">
                  <c:v>31207</c:v>
                </c:pt>
                <c:pt idx="60107">
                  <c:v>31207</c:v>
                </c:pt>
                <c:pt idx="60108">
                  <c:v>31206</c:v>
                </c:pt>
                <c:pt idx="60109">
                  <c:v>31206</c:v>
                </c:pt>
                <c:pt idx="60110">
                  <c:v>31206</c:v>
                </c:pt>
                <c:pt idx="60111">
                  <c:v>31206</c:v>
                </c:pt>
                <c:pt idx="60112">
                  <c:v>31205</c:v>
                </c:pt>
                <c:pt idx="60113">
                  <c:v>31205</c:v>
                </c:pt>
                <c:pt idx="60114">
                  <c:v>31205</c:v>
                </c:pt>
                <c:pt idx="60115">
                  <c:v>31205</c:v>
                </c:pt>
                <c:pt idx="60116">
                  <c:v>31205</c:v>
                </c:pt>
                <c:pt idx="60117">
                  <c:v>31205</c:v>
                </c:pt>
                <c:pt idx="60118">
                  <c:v>31205</c:v>
                </c:pt>
                <c:pt idx="60119">
                  <c:v>31205</c:v>
                </c:pt>
                <c:pt idx="60120">
                  <c:v>31205</c:v>
                </c:pt>
                <c:pt idx="60121">
                  <c:v>31204</c:v>
                </c:pt>
                <c:pt idx="60122">
                  <c:v>31204</c:v>
                </c:pt>
                <c:pt idx="60123">
                  <c:v>31204</c:v>
                </c:pt>
                <c:pt idx="60124">
                  <c:v>31204</c:v>
                </c:pt>
                <c:pt idx="60125">
                  <c:v>31204</c:v>
                </c:pt>
                <c:pt idx="60126">
                  <c:v>31204</c:v>
                </c:pt>
                <c:pt idx="60127">
                  <c:v>31204</c:v>
                </c:pt>
                <c:pt idx="60128">
                  <c:v>31204</c:v>
                </c:pt>
                <c:pt idx="60129">
                  <c:v>31203</c:v>
                </c:pt>
                <c:pt idx="60130">
                  <c:v>31203</c:v>
                </c:pt>
                <c:pt idx="60131">
                  <c:v>31203</c:v>
                </c:pt>
                <c:pt idx="60132">
                  <c:v>31203</c:v>
                </c:pt>
                <c:pt idx="60133">
                  <c:v>31203</c:v>
                </c:pt>
                <c:pt idx="60134">
                  <c:v>31203</c:v>
                </c:pt>
                <c:pt idx="60135">
                  <c:v>31203</c:v>
                </c:pt>
                <c:pt idx="60136">
                  <c:v>31203</c:v>
                </c:pt>
                <c:pt idx="60137">
                  <c:v>31202</c:v>
                </c:pt>
                <c:pt idx="60138">
                  <c:v>31202</c:v>
                </c:pt>
                <c:pt idx="60139">
                  <c:v>31202</c:v>
                </c:pt>
                <c:pt idx="60140">
                  <c:v>31202</c:v>
                </c:pt>
                <c:pt idx="60141">
                  <c:v>31202</c:v>
                </c:pt>
                <c:pt idx="60142">
                  <c:v>31202</c:v>
                </c:pt>
                <c:pt idx="60143">
                  <c:v>31202</c:v>
                </c:pt>
                <c:pt idx="60144">
                  <c:v>31201</c:v>
                </c:pt>
                <c:pt idx="60145">
                  <c:v>31201</c:v>
                </c:pt>
                <c:pt idx="60146">
                  <c:v>31201</c:v>
                </c:pt>
                <c:pt idx="60147">
                  <c:v>31201</c:v>
                </c:pt>
                <c:pt idx="60148">
                  <c:v>31201</c:v>
                </c:pt>
                <c:pt idx="60149">
                  <c:v>31201</c:v>
                </c:pt>
                <c:pt idx="60150">
                  <c:v>31200</c:v>
                </c:pt>
                <c:pt idx="60151">
                  <c:v>31200</c:v>
                </c:pt>
                <c:pt idx="60152">
                  <c:v>31200</c:v>
                </c:pt>
                <c:pt idx="60153">
                  <c:v>31199</c:v>
                </c:pt>
                <c:pt idx="60154">
                  <c:v>31199</c:v>
                </c:pt>
                <c:pt idx="60155">
                  <c:v>31199</c:v>
                </c:pt>
                <c:pt idx="60156">
                  <c:v>31199</c:v>
                </c:pt>
                <c:pt idx="60157">
                  <c:v>31199</c:v>
                </c:pt>
                <c:pt idx="60158">
                  <c:v>31199</c:v>
                </c:pt>
                <c:pt idx="60159">
                  <c:v>31198</c:v>
                </c:pt>
                <c:pt idx="60160">
                  <c:v>31198</c:v>
                </c:pt>
                <c:pt idx="60161">
                  <c:v>31198</c:v>
                </c:pt>
                <c:pt idx="60162">
                  <c:v>31198</c:v>
                </c:pt>
                <c:pt idx="60163">
                  <c:v>31198</c:v>
                </c:pt>
                <c:pt idx="60164">
                  <c:v>31198</c:v>
                </c:pt>
                <c:pt idx="60165">
                  <c:v>31197</c:v>
                </c:pt>
                <c:pt idx="60166">
                  <c:v>31197</c:v>
                </c:pt>
                <c:pt idx="60167">
                  <c:v>31197</c:v>
                </c:pt>
                <c:pt idx="60168">
                  <c:v>31197</c:v>
                </c:pt>
                <c:pt idx="60169">
                  <c:v>31197</c:v>
                </c:pt>
                <c:pt idx="60170">
                  <c:v>31197</c:v>
                </c:pt>
                <c:pt idx="60171">
                  <c:v>31197</c:v>
                </c:pt>
                <c:pt idx="60172">
                  <c:v>31197</c:v>
                </c:pt>
                <c:pt idx="60173">
                  <c:v>31197</c:v>
                </c:pt>
                <c:pt idx="60174">
                  <c:v>31196</c:v>
                </c:pt>
                <c:pt idx="60175">
                  <c:v>31196</c:v>
                </c:pt>
                <c:pt idx="60176">
                  <c:v>31196</c:v>
                </c:pt>
                <c:pt idx="60177">
                  <c:v>31196</c:v>
                </c:pt>
                <c:pt idx="60178">
                  <c:v>31196</c:v>
                </c:pt>
                <c:pt idx="60179">
                  <c:v>31196</c:v>
                </c:pt>
                <c:pt idx="60180">
                  <c:v>31196</c:v>
                </c:pt>
                <c:pt idx="60181">
                  <c:v>31196</c:v>
                </c:pt>
                <c:pt idx="60182">
                  <c:v>31196</c:v>
                </c:pt>
                <c:pt idx="60183">
                  <c:v>31196</c:v>
                </c:pt>
                <c:pt idx="60184">
                  <c:v>31196</c:v>
                </c:pt>
                <c:pt idx="60185">
                  <c:v>31196</c:v>
                </c:pt>
                <c:pt idx="60186">
                  <c:v>31196</c:v>
                </c:pt>
                <c:pt idx="60187">
                  <c:v>31196</c:v>
                </c:pt>
                <c:pt idx="60188">
                  <c:v>31196</c:v>
                </c:pt>
                <c:pt idx="60189">
                  <c:v>31196</c:v>
                </c:pt>
                <c:pt idx="60190">
                  <c:v>31195</c:v>
                </c:pt>
                <c:pt idx="60191">
                  <c:v>31195</c:v>
                </c:pt>
                <c:pt idx="60192">
                  <c:v>31195</c:v>
                </c:pt>
                <c:pt idx="60193">
                  <c:v>31195</c:v>
                </c:pt>
                <c:pt idx="60194">
                  <c:v>31195</c:v>
                </c:pt>
                <c:pt idx="60195">
                  <c:v>31194</c:v>
                </c:pt>
                <c:pt idx="60196">
                  <c:v>31194</c:v>
                </c:pt>
                <c:pt idx="60197">
                  <c:v>31194</c:v>
                </c:pt>
                <c:pt idx="60198">
                  <c:v>31194</c:v>
                </c:pt>
                <c:pt idx="60199">
                  <c:v>31194</c:v>
                </c:pt>
                <c:pt idx="60200">
                  <c:v>31194</c:v>
                </c:pt>
                <c:pt idx="60201">
                  <c:v>31194</c:v>
                </c:pt>
                <c:pt idx="60202">
                  <c:v>31194</c:v>
                </c:pt>
                <c:pt idx="60203">
                  <c:v>31193</c:v>
                </c:pt>
                <c:pt idx="60204">
                  <c:v>31193</c:v>
                </c:pt>
                <c:pt idx="60205">
                  <c:v>31193</c:v>
                </c:pt>
                <c:pt idx="60206">
                  <c:v>31193</c:v>
                </c:pt>
                <c:pt idx="60207">
                  <c:v>31192</c:v>
                </c:pt>
                <c:pt idx="60208">
                  <c:v>31192</c:v>
                </c:pt>
                <c:pt idx="60209">
                  <c:v>31192</c:v>
                </c:pt>
                <c:pt idx="60210">
                  <c:v>31192</c:v>
                </c:pt>
                <c:pt idx="60211">
                  <c:v>31192</c:v>
                </c:pt>
                <c:pt idx="60212">
                  <c:v>31192</c:v>
                </c:pt>
                <c:pt idx="60213">
                  <c:v>31192</c:v>
                </c:pt>
                <c:pt idx="60214">
                  <c:v>31192</c:v>
                </c:pt>
                <c:pt idx="60215">
                  <c:v>31192</c:v>
                </c:pt>
                <c:pt idx="60216">
                  <c:v>31191</c:v>
                </c:pt>
                <c:pt idx="60217">
                  <c:v>31191</c:v>
                </c:pt>
                <c:pt idx="60218">
                  <c:v>31191</c:v>
                </c:pt>
                <c:pt idx="60219">
                  <c:v>31191</c:v>
                </c:pt>
                <c:pt idx="60220">
                  <c:v>31191</c:v>
                </c:pt>
                <c:pt idx="60221">
                  <c:v>31190</c:v>
                </c:pt>
                <c:pt idx="60222">
                  <c:v>31190</c:v>
                </c:pt>
                <c:pt idx="60223">
                  <c:v>31190</c:v>
                </c:pt>
                <c:pt idx="60224">
                  <c:v>31190</c:v>
                </c:pt>
                <c:pt idx="60225">
                  <c:v>31190</c:v>
                </c:pt>
                <c:pt idx="60226">
                  <c:v>31190</c:v>
                </c:pt>
                <c:pt idx="60227">
                  <c:v>31189</c:v>
                </c:pt>
                <c:pt idx="60228">
                  <c:v>31189</c:v>
                </c:pt>
                <c:pt idx="60229">
                  <c:v>31189</c:v>
                </c:pt>
                <c:pt idx="60230">
                  <c:v>31189</c:v>
                </c:pt>
                <c:pt idx="60231">
                  <c:v>31188</c:v>
                </c:pt>
                <c:pt idx="60232">
                  <c:v>31188</c:v>
                </c:pt>
                <c:pt idx="60233">
                  <c:v>31188</c:v>
                </c:pt>
                <c:pt idx="60234">
                  <c:v>31188</c:v>
                </c:pt>
                <c:pt idx="60235">
                  <c:v>31188</c:v>
                </c:pt>
                <c:pt idx="60236">
                  <c:v>31188</c:v>
                </c:pt>
                <c:pt idx="60237">
                  <c:v>31188</c:v>
                </c:pt>
                <c:pt idx="60238">
                  <c:v>31187</c:v>
                </c:pt>
                <c:pt idx="60239">
                  <c:v>31187</c:v>
                </c:pt>
                <c:pt idx="60240">
                  <c:v>31187</c:v>
                </c:pt>
                <c:pt idx="60241">
                  <c:v>31187</c:v>
                </c:pt>
                <c:pt idx="60242">
                  <c:v>31186</c:v>
                </c:pt>
                <c:pt idx="60243">
                  <c:v>31186</c:v>
                </c:pt>
                <c:pt idx="60244">
                  <c:v>31186</c:v>
                </c:pt>
                <c:pt idx="60245">
                  <c:v>31186</c:v>
                </c:pt>
                <c:pt idx="60246">
                  <c:v>31186</c:v>
                </c:pt>
                <c:pt idx="60247">
                  <c:v>31186</c:v>
                </c:pt>
                <c:pt idx="60248">
                  <c:v>31186</c:v>
                </c:pt>
                <c:pt idx="60249">
                  <c:v>31186</c:v>
                </c:pt>
                <c:pt idx="60250">
                  <c:v>31185</c:v>
                </c:pt>
                <c:pt idx="60251">
                  <c:v>31185</c:v>
                </c:pt>
                <c:pt idx="60252">
                  <c:v>31185</c:v>
                </c:pt>
                <c:pt idx="60253">
                  <c:v>31185</c:v>
                </c:pt>
                <c:pt idx="60254">
                  <c:v>31185</c:v>
                </c:pt>
                <c:pt idx="60255">
                  <c:v>31184</c:v>
                </c:pt>
                <c:pt idx="60256">
                  <c:v>31184</c:v>
                </c:pt>
                <c:pt idx="60257">
                  <c:v>31184</c:v>
                </c:pt>
                <c:pt idx="60258">
                  <c:v>31184</c:v>
                </c:pt>
                <c:pt idx="60259">
                  <c:v>31184</c:v>
                </c:pt>
                <c:pt idx="60260">
                  <c:v>31184</c:v>
                </c:pt>
                <c:pt idx="60261">
                  <c:v>31183</c:v>
                </c:pt>
                <c:pt idx="60262">
                  <c:v>31183</c:v>
                </c:pt>
                <c:pt idx="60263">
                  <c:v>31183</c:v>
                </c:pt>
                <c:pt idx="60264">
                  <c:v>31183</c:v>
                </c:pt>
                <c:pt idx="60265">
                  <c:v>31183</c:v>
                </c:pt>
                <c:pt idx="60266">
                  <c:v>31183</c:v>
                </c:pt>
                <c:pt idx="60267">
                  <c:v>31183</c:v>
                </c:pt>
                <c:pt idx="60268">
                  <c:v>31183</c:v>
                </c:pt>
                <c:pt idx="60269">
                  <c:v>31183</c:v>
                </c:pt>
                <c:pt idx="60270">
                  <c:v>31182</c:v>
                </c:pt>
                <c:pt idx="60271">
                  <c:v>31182</c:v>
                </c:pt>
                <c:pt idx="60272">
                  <c:v>31182</c:v>
                </c:pt>
                <c:pt idx="60273">
                  <c:v>31182</c:v>
                </c:pt>
                <c:pt idx="60274">
                  <c:v>31181</c:v>
                </c:pt>
                <c:pt idx="60275">
                  <c:v>31181</c:v>
                </c:pt>
                <c:pt idx="60276">
                  <c:v>31181</c:v>
                </c:pt>
                <c:pt idx="60277">
                  <c:v>31181</c:v>
                </c:pt>
                <c:pt idx="60278">
                  <c:v>31181</c:v>
                </c:pt>
                <c:pt idx="60279">
                  <c:v>31181</c:v>
                </c:pt>
                <c:pt idx="60280">
                  <c:v>31181</c:v>
                </c:pt>
                <c:pt idx="60281">
                  <c:v>31180</c:v>
                </c:pt>
                <c:pt idx="60282">
                  <c:v>31180</c:v>
                </c:pt>
                <c:pt idx="60283">
                  <c:v>31180</c:v>
                </c:pt>
                <c:pt idx="60284">
                  <c:v>31180</c:v>
                </c:pt>
                <c:pt idx="60285">
                  <c:v>31180</c:v>
                </c:pt>
                <c:pt idx="60286">
                  <c:v>31179</c:v>
                </c:pt>
                <c:pt idx="60287">
                  <c:v>31179</c:v>
                </c:pt>
                <c:pt idx="60288">
                  <c:v>31179</c:v>
                </c:pt>
                <c:pt idx="60289">
                  <c:v>31179</c:v>
                </c:pt>
                <c:pt idx="60290">
                  <c:v>31179</c:v>
                </c:pt>
                <c:pt idx="60291">
                  <c:v>31178</c:v>
                </c:pt>
                <c:pt idx="60292">
                  <c:v>31178</c:v>
                </c:pt>
                <c:pt idx="60293">
                  <c:v>31178</c:v>
                </c:pt>
                <c:pt idx="60294">
                  <c:v>31177</c:v>
                </c:pt>
                <c:pt idx="60295">
                  <c:v>31177</c:v>
                </c:pt>
                <c:pt idx="60296">
                  <c:v>31177</c:v>
                </c:pt>
                <c:pt idx="60297">
                  <c:v>31177</c:v>
                </c:pt>
                <c:pt idx="60298">
                  <c:v>31177</c:v>
                </c:pt>
                <c:pt idx="60299">
                  <c:v>31177</c:v>
                </c:pt>
                <c:pt idx="60300">
                  <c:v>31177</c:v>
                </c:pt>
                <c:pt idx="60301">
                  <c:v>31176</c:v>
                </c:pt>
                <c:pt idx="60302">
                  <c:v>31176</c:v>
                </c:pt>
                <c:pt idx="60303">
                  <c:v>31176</c:v>
                </c:pt>
                <c:pt idx="60304">
                  <c:v>31176</c:v>
                </c:pt>
                <c:pt idx="60305">
                  <c:v>31176</c:v>
                </c:pt>
                <c:pt idx="60306">
                  <c:v>31176</c:v>
                </c:pt>
                <c:pt idx="60307">
                  <c:v>31176</c:v>
                </c:pt>
                <c:pt idx="60308">
                  <c:v>31176</c:v>
                </c:pt>
                <c:pt idx="60309">
                  <c:v>31176</c:v>
                </c:pt>
                <c:pt idx="60310">
                  <c:v>31175</c:v>
                </c:pt>
                <c:pt idx="60311">
                  <c:v>31175</c:v>
                </c:pt>
                <c:pt idx="60312">
                  <c:v>31175</c:v>
                </c:pt>
                <c:pt idx="60313">
                  <c:v>31175</c:v>
                </c:pt>
                <c:pt idx="60314">
                  <c:v>31175</c:v>
                </c:pt>
                <c:pt idx="60315">
                  <c:v>31175</c:v>
                </c:pt>
                <c:pt idx="60316">
                  <c:v>31174</c:v>
                </c:pt>
                <c:pt idx="60317">
                  <c:v>31174</c:v>
                </c:pt>
                <c:pt idx="60318">
                  <c:v>31174</c:v>
                </c:pt>
                <c:pt idx="60319">
                  <c:v>31174</c:v>
                </c:pt>
                <c:pt idx="60320">
                  <c:v>31174</c:v>
                </c:pt>
                <c:pt idx="60321">
                  <c:v>31173</c:v>
                </c:pt>
                <c:pt idx="60322">
                  <c:v>31173</c:v>
                </c:pt>
                <c:pt idx="60323">
                  <c:v>31173</c:v>
                </c:pt>
                <c:pt idx="60324">
                  <c:v>31172</c:v>
                </c:pt>
                <c:pt idx="60325">
                  <c:v>31172</c:v>
                </c:pt>
                <c:pt idx="60326">
                  <c:v>31172</c:v>
                </c:pt>
                <c:pt idx="60327">
                  <c:v>31172</c:v>
                </c:pt>
                <c:pt idx="60328">
                  <c:v>31172</c:v>
                </c:pt>
                <c:pt idx="60329">
                  <c:v>31171</c:v>
                </c:pt>
                <c:pt idx="60330">
                  <c:v>31171</c:v>
                </c:pt>
                <c:pt idx="60331">
                  <c:v>31171</c:v>
                </c:pt>
                <c:pt idx="60332">
                  <c:v>31171</c:v>
                </c:pt>
                <c:pt idx="60333">
                  <c:v>31171</c:v>
                </c:pt>
                <c:pt idx="60334">
                  <c:v>31171</c:v>
                </c:pt>
                <c:pt idx="60335">
                  <c:v>31171</c:v>
                </c:pt>
                <c:pt idx="60336">
                  <c:v>31171</c:v>
                </c:pt>
                <c:pt idx="60337">
                  <c:v>31170</c:v>
                </c:pt>
                <c:pt idx="60338">
                  <c:v>31170</c:v>
                </c:pt>
                <c:pt idx="60339">
                  <c:v>31170</c:v>
                </c:pt>
                <c:pt idx="60340">
                  <c:v>31170</c:v>
                </c:pt>
                <c:pt idx="60341">
                  <c:v>31170</c:v>
                </c:pt>
                <c:pt idx="60342">
                  <c:v>31170</c:v>
                </c:pt>
                <c:pt idx="60343">
                  <c:v>31170</c:v>
                </c:pt>
                <c:pt idx="60344">
                  <c:v>31169</c:v>
                </c:pt>
                <c:pt idx="60345">
                  <c:v>31169</c:v>
                </c:pt>
                <c:pt idx="60346">
                  <c:v>31169</c:v>
                </c:pt>
                <c:pt idx="60347">
                  <c:v>31169</c:v>
                </c:pt>
                <c:pt idx="60348">
                  <c:v>31169</c:v>
                </c:pt>
                <c:pt idx="60349">
                  <c:v>31169</c:v>
                </c:pt>
                <c:pt idx="60350">
                  <c:v>31169</c:v>
                </c:pt>
                <c:pt idx="60351">
                  <c:v>31168</c:v>
                </c:pt>
                <c:pt idx="60352">
                  <c:v>31168</c:v>
                </c:pt>
                <c:pt idx="60353">
                  <c:v>31168</c:v>
                </c:pt>
                <c:pt idx="60354">
                  <c:v>31168</c:v>
                </c:pt>
                <c:pt idx="60355">
                  <c:v>31168</c:v>
                </c:pt>
                <c:pt idx="60356">
                  <c:v>31168</c:v>
                </c:pt>
                <c:pt idx="60357">
                  <c:v>31167</c:v>
                </c:pt>
                <c:pt idx="60358">
                  <c:v>31167</c:v>
                </c:pt>
                <c:pt idx="60359">
                  <c:v>31167</c:v>
                </c:pt>
                <c:pt idx="60360">
                  <c:v>31167</c:v>
                </c:pt>
                <c:pt idx="60361">
                  <c:v>31167</c:v>
                </c:pt>
                <c:pt idx="60362">
                  <c:v>31167</c:v>
                </c:pt>
                <c:pt idx="60363">
                  <c:v>31167</c:v>
                </c:pt>
                <c:pt idx="60364">
                  <c:v>31167</c:v>
                </c:pt>
                <c:pt idx="60365">
                  <c:v>31167</c:v>
                </c:pt>
                <c:pt idx="60366">
                  <c:v>31167</c:v>
                </c:pt>
                <c:pt idx="60367">
                  <c:v>31166</c:v>
                </c:pt>
                <c:pt idx="60368">
                  <c:v>31166</c:v>
                </c:pt>
                <c:pt idx="60369">
                  <c:v>31166</c:v>
                </c:pt>
                <c:pt idx="60370">
                  <c:v>31165</c:v>
                </c:pt>
                <c:pt idx="60371">
                  <c:v>31165</c:v>
                </c:pt>
                <c:pt idx="60372">
                  <c:v>31165</c:v>
                </c:pt>
                <c:pt idx="60373">
                  <c:v>31165</c:v>
                </c:pt>
                <c:pt idx="60374">
                  <c:v>31165</c:v>
                </c:pt>
                <c:pt idx="60375">
                  <c:v>31165</c:v>
                </c:pt>
                <c:pt idx="60376">
                  <c:v>31165</c:v>
                </c:pt>
                <c:pt idx="60377">
                  <c:v>31165</c:v>
                </c:pt>
                <c:pt idx="60378">
                  <c:v>31165</c:v>
                </c:pt>
                <c:pt idx="60379">
                  <c:v>31164</c:v>
                </c:pt>
                <c:pt idx="60380">
                  <c:v>31164</c:v>
                </c:pt>
                <c:pt idx="60381">
                  <c:v>31164</c:v>
                </c:pt>
                <c:pt idx="60382">
                  <c:v>31164</c:v>
                </c:pt>
                <c:pt idx="60383">
                  <c:v>31164</c:v>
                </c:pt>
                <c:pt idx="60384">
                  <c:v>31164</c:v>
                </c:pt>
                <c:pt idx="60385">
                  <c:v>31163</c:v>
                </c:pt>
                <c:pt idx="60386">
                  <c:v>31163</c:v>
                </c:pt>
                <c:pt idx="60387">
                  <c:v>31163</c:v>
                </c:pt>
                <c:pt idx="60388">
                  <c:v>31163</c:v>
                </c:pt>
                <c:pt idx="60389">
                  <c:v>31163</c:v>
                </c:pt>
                <c:pt idx="60390">
                  <c:v>31163</c:v>
                </c:pt>
                <c:pt idx="60391">
                  <c:v>31163</c:v>
                </c:pt>
                <c:pt idx="60392">
                  <c:v>31163</c:v>
                </c:pt>
                <c:pt idx="60393">
                  <c:v>31163</c:v>
                </c:pt>
                <c:pt idx="60394">
                  <c:v>31163</c:v>
                </c:pt>
                <c:pt idx="60395">
                  <c:v>31162</c:v>
                </c:pt>
                <c:pt idx="60396">
                  <c:v>31162</c:v>
                </c:pt>
                <c:pt idx="60397">
                  <c:v>31162</c:v>
                </c:pt>
                <c:pt idx="60398">
                  <c:v>31162</c:v>
                </c:pt>
                <c:pt idx="60399">
                  <c:v>31162</c:v>
                </c:pt>
                <c:pt idx="60400">
                  <c:v>31161</c:v>
                </c:pt>
                <c:pt idx="60401">
                  <c:v>31161</c:v>
                </c:pt>
                <c:pt idx="60402">
                  <c:v>31161</c:v>
                </c:pt>
                <c:pt idx="60403">
                  <c:v>31161</c:v>
                </c:pt>
                <c:pt idx="60404">
                  <c:v>31161</c:v>
                </c:pt>
                <c:pt idx="60405">
                  <c:v>31160</c:v>
                </c:pt>
                <c:pt idx="60406">
                  <c:v>31160</c:v>
                </c:pt>
                <c:pt idx="60407">
                  <c:v>31160</c:v>
                </c:pt>
                <c:pt idx="60408">
                  <c:v>31160</c:v>
                </c:pt>
                <c:pt idx="60409">
                  <c:v>31160</c:v>
                </c:pt>
                <c:pt idx="60410">
                  <c:v>31160</c:v>
                </c:pt>
                <c:pt idx="60411">
                  <c:v>31160</c:v>
                </c:pt>
                <c:pt idx="60412">
                  <c:v>31159</c:v>
                </c:pt>
                <c:pt idx="60413">
                  <c:v>31159</c:v>
                </c:pt>
                <c:pt idx="60414">
                  <c:v>31159</c:v>
                </c:pt>
                <c:pt idx="60415">
                  <c:v>31159</c:v>
                </c:pt>
                <c:pt idx="60416">
                  <c:v>31159</c:v>
                </c:pt>
                <c:pt idx="60417">
                  <c:v>31159</c:v>
                </c:pt>
                <c:pt idx="60418">
                  <c:v>31159</c:v>
                </c:pt>
                <c:pt idx="60419">
                  <c:v>31159</c:v>
                </c:pt>
                <c:pt idx="60420">
                  <c:v>31158</c:v>
                </c:pt>
                <c:pt idx="60421">
                  <c:v>31158</c:v>
                </c:pt>
                <c:pt idx="60422">
                  <c:v>31158</c:v>
                </c:pt>
                <c:pt idx="60423">
                  <c:v>31158</c:v>
                </c:pt>
                <c:pt idx="60424">
                  <c:v>31158</c:v>
                </c:pt>
                <c:pt idx="60425">
                  <c:v>31157</c:v>
                </c:pt>
                <c:pt idx="60426">
                  <c:v>31157</c:v>
                </c:pt>
                <c:pt idx="60427">
                  <c:v>31157</c:v>
                </c:pt>
                <c:pt idx="60428">
                  <c:v>31157</c:v>
                </c:pt>
                <c:pt idx="60429">
                  <c:v>31157</c:v>
                </c:pt>
                <c:pt idx="60430">
                  <c:v>31157</c:v>
                </c:pt>
                <c:pt idx="60431">
                  <c:v>31157</c:v>
                </c:pt>
                <c:pt idx="60432">
                  <c:v>31157</c:v>
                </c:pt>
                <c:pt idx="60433">
                  <c:v>31156</c:v>
                </c:pt>
                <c:pt idx="60434">
                  <c:v>31156</c:v>
                </c:pt>
                <c:pt idx="60435">
                  <c:v>31156</c:v>
                </c:pt>
                <c:pt idx="60436">
                  <c:v>31156</c:v>
                </c:pt>
                <c:pt idx="60437">
                  <c:v>31155</c:v>
                </c:pt>
                <c:pt idx="60438">
                  <c:v>31155</c:v>
                </c:pt>
                <c:pt idx="60439">
                  <c:v>31155</c:v>
                </c:pt>
                <c:pt idx="60440">
                  <c:v>31155</c:v>
                </c:pt>
                <c:pt idx="60441">
                  <c:v>31155</c:v>
                </c:pt>
                <c:pt idx="60442">
                  <c:v>31155</c:v>
                </c:pt>
                <c:pt idx="60443">
                  <c:v>31155</c:v>
                </c:pt>
                <c:pt idx="60444">
                  <c:v>31154</c:v>
                </c:pt>
                <c:pt idx="60445">
                  <c:v>31154</c:v>
                </c:pt>
                <c:pt idx="60446">
                  <c:v>31154</c:v>
                </c:pt>
                <c:pt idx="60447">
                  <c:v>31154</c:v>
                </c:pt>
                <c:pt idx="60448">
                  <c:v>31154</c:v>
                </c:pt>
                <c:pt idx="60449">
                  <c:v>31154</c:v>
                </c:pt>
                <c:pt idx="60450">
                  <c:v>31153</c:v>
                </c:pt>
                <c:pt idx="60451">
                  <c:v>31153</c:v>
                </c:pt>
                <c:pt idx="60452">
                  <c:v>31153</c:v>
                </c:pt>
                <c:pt idx="60453">
                  <c:v>31153</c:v>
                </c:pt>
                <c:pt idx="60454">
                  <c:v>31153</c:v>
                </c:pt>
                <c:pt idx="60455">
                  <c:v>31153</c:v>
                </c:pt>
                <c:pt idx="60456">
                  <c:v>31153</c:v>
                </c:pt>
                <c:pt idx="60457">
                  <c:v>31153</c:v>
                </c:pt>
                <c:pt idx="60458">
                  <c:v>31152</c:v>
                </c:pt>
                <c:pt idx="60459">
                  <c:v>31152</c:v>
                </c:pt>
                <c:pt idx="60460">
                  <c:v>31152</c:v>
                </c:pt>
                <c:pt idx="60461">
                  <c:v>31152</c:v>
                </c:pt>
                <c:pt idx="60462">
                  <c:v>31152</c:v>
                </c:pt>
                <c:pt idx="60463">
                  <c:v>31152</c:v>
                </c:pt>
                <c:pt idx="60464">
                  <c:v>31152</c:v>
                </c:pt>
                <c:pt idx="60465">
                  <c:v>31151</c:v>
                </c:pt>
                <c:pt idx="60466">
                  <c:v>31151</c:v>
                </c:pt>
                <c:pt idx="60467">
                  <c:v>31151</c:v>
                </c:pt>
                <c:pt idx="60468">
                  <c:v>31151</c:v>
                </c:pt>
                <c:pt idx="60469">
                  <c:v>31150</c:v>
                </c:pt>
                <c:pt idx="60470">
                  <c:v>31150</c:v>
                </c:pt>
                <c:pt idx="60471">
                  <c:v>31150</c:v>
                </c:pt>
                <c:pt idx="60472">
                  <c:v>31150</c:v>
                </c:pt>
                <c:pt idx="60473">
                  <c:v>31150</c:v>
                </c:pt>
                <c:pt idx="60474">
                  <c:v>31150</c:v>
                </c:pt>
                <c:pt idx="60475">
                  <c:v>31150</c:v>
                </c:pt>
                <c:pt idx="60476">
                  <c:v>31149</c:v>
                </c:pt>
                <c:pt idx="60477">
                  <c:v>31149</c:v>
                </c:pt>
                <c:pt idx="60478">
                  <c:v>31149</c:v>
                </c:pt>
                <c:pt idx="60479">
                  <c:v>31149</c:v>
                </c:pt>
                <c:pt idx="60480">
                  <c:v>31149</c:v>
                </c:pt>
                <c:pt idx="60481">
                  <c:v>31149</c:v>
                </c:pt>
                <c:pt idx="60482">
                  <c:v>31149</c:v>
                </c:pt>
                <c:pt idx="60483">
                  <c:v>31149</c:v>
                </c:pt>
                <c:pt idx="60484">
                  <c:v>31148</c:v>
                </c:pt>
                <c:pt idx="60485">
                  <c:v>31148</c:v>
                </c:pt>
                <c:pt idx="60486">
                  <c:v>31148</c:v>
                </c:pt>
                <c:pt idx="60487">
                  <c:v>31148</c:v>
                </c:pt>
                <c:pt idx="60488">
                  <c:v>31148</c:v>
                </c:pt>
                <c:pt idx="60489">
                  <c:v>31148</c:v>
                </c:pt>
                <c:pt idx="60490">
                  <c:v>31148</c:v>
                </c:pt>
                <c:pt idx="60491">
                  <c:v>31147</c:v>
                </c:pt>
                <c:pt idx="60492">
                  <c:v>31147</c:v>
                </c:pt>
                <c:pt idx="60493">
                  <c:v>31147</c:v>
                </c:pt>
                <c:pt idx="60494">
                  <c:v>31147</c:v>
                </c:pt>
                <c:pt idx="60495">
                  <c:v>31147</c:v>
                </c:pt>
                <c:pt idx="60496">
                  <c:v>31147</c:v>
                </c:pt>
                <c:pt idx="60497">
                  <c:v>31147</c:v>
                </c:pt>
                <c:pt idx="60498">
                  <c:v>31146</c:v>
                </c:pt>
                <c:pt idx="60499">
                  <c:v>31145</c:v>
                </c:pt>
                <c:pt idx="60500">
                  <c:v>31145</c:v>
                </c:pt>
                <c:pt idx="60501">
                  <c:v>31145</c:v>
                </c:pt>
                <c:pt idx="60502">
                  <c:v>31145</c:v>
                </c:pt>
                <c:pt idx="60503">
                  <c:v>31145</c:v>
                </c:pt>
                <c:pt idx="60504">
                  <c:v>31145</c:v>
                </c:pt>
                <c:pt idx="60505">
                  <c:v>31145</c:v>
                </c:pt>
                <c:pt idx="60506">
                  <c:v>31145</c:v>
                </c:pt>
                <c:pt idx="60507">
                  <c:v>31144</c:v>
                </c:pt>
                <c:pt idx="60508">
                  <c:v>31144</c:v>
                </c:pt>
                <c:pt idx="60509">
                  <c:v>31144</c:v>
                </c:pt>
                <c:pt idx="60510">
                  <c:v>31144</c:v>
                </c:pt>
                <c:pt idx="60511">
                  <c:v>31144</c:v>
                </c:pt>
                <c:pt idx="60512">
                  <c:v>31143</c:v>
                </c:pt>
                <c:pt idx="60513">
                  <c:v>31143</c:v>
                </c:pt>
                <c:pt idx="60514">
                  <c:v>31143</c:v>
                </c:pt>
                <c:pt idx="60515">
                  <c:v>31143</c:v>
                </c:pt>
                <c:pt idx="60516">
                  <c:v>31142</c:v>
                </c:pt>
                <c:pt idx="60517">
                  <c:v>31142</c:v>
                </c:pt>
                <c:pt idx="60518">
                  <c:v>31142</c:v>
                </c:pt>
                <c:pt idx="60519">
                  <c:v>31142</c:v>
                </c:pt>
                <c:pt idx="60520">
                  <c:v>31142</c:v>
                </c:pt>
                <c:pt idx="60521">
                  <c:v>31142</c:v>
                </c:pt>
                <c:pt idx="60522">
                  <c:v>31141</c:v>
                </c:pt>
                <c:pt idx="60523">
                  <c:v>31141</c:v>
                </c:pt>
                <c:pt idx="60524">
                  <c:v>31141</c:v>
                </c:pt>
                <c:pt idx="60525">
                  <c:v>31141</c:v>
                </c:pt>
                <c:pt idx="60526">
                  <c:v>31141</c:v>
                </c:pt>
                <c:pt idx="60527">
                  <c:v>31141</c:v>
                </c:pt>
                <c:pt idx="60528">
                  <c:v>31141</c:v>
                </c:pt>
                <c:pt idx="60529">
                  <c:v>31141</c:v>
                </c:pt>
                <c:pt idx="60530">
                  <c:v>31140</c:v>
                </c:pt>
                <c:pt idx="60531">
                  <c:v>31140</c:v>
                </c:pt>
                <c:pt idx="60532">
                  <c:v>31139</c:v>
                </c:pt>
                <c:pt idx="60533">
                  <c:v>31139</c:v>
                </c:pt>
                <c:pt idx="60534">
                  <c:v>31139</c:v>
                </c:pt>
                <c:pt idx="60535">
                  <c:v>31139</c:v>
                </c:pt>
                <c:pt idx="60536">
                  <c:v>31139</c:v>
                </c:pt>
                <c:pt idx="60537">
                  <c:v>31139</c:v>
                </c:pt>
                <c:pt idx="60538">
                  <c:v>31139</c:v>
                </c:pt>
                <c:pt idx="60539">
                  <c:v>31139</c:v>
                </c:pt>
                <c:pt idx="60540">
                  <c:v>31139</c:v>
                </c:pt>
                <c:pt idx="60541">
                  <c:v>31138</c:v>
                </c:pt>
                <c:pt idx="60542">
                  <c:v>31138</c:v>
                </c:pt>
                <c:pt idx="60543">
                  <c:v>31137</c:v>
                </c:pt>
                <c:pt idx="60544">
                  <c:v>31137</c:v>
                </c:pt>
                <c:pt idx="60545">
                  <c:v>31137</c:v>
                </c:pt>
                <c:pt idx="60546">
                  <c:v>31137</c:v>
                </c:pt>
                <c:pt idx="60547">
                  <c:v>31137</c:v>
                </c:pt>
                <c:pt idx="60548">
                  <c:v>31137</c:v>
                </c:pt>
                <c:pt idx="60549">
                  <c:v>31136</c:v>
                </c:pt>
                <c:pt idx="60550">
                  <c:v>31136</c:v>
                </c:pt>
                <c:pt idx="60551">
                  <c:v>31136</c:v>
                </c:pt>
                <c:pt idx="60552">
                  <c:v>31136</c:v>
                </c:pt>
                <c:pt idx="60553">
                  <c:v>31135</c:v>
                </c:pt>
                <c:pt idx="60554">
                  <c:v>31135</c:v>
                </c:pt>
                <c:pt idx="60555">
                  <c:v>31135</c:v>
                </c:pt>
                <c:pt idx="60556">
                  <c:v>31135</c:v>
                </c:pt>
                <c:pt idx="60557">
                  <c:v>31135</c:v>
                </c:pt>
                <c:pt idx="60558">
                  <c:v>31135</c:v>
                </c:pt>
                <c:pt idx="60559">
                  <c:v>31135</c:v>
                </c:pt>
                <c:pt idx="60560">
                  <c:v>31134</c:v>
                </c:pt>
                <c:pt idx="60561">
                  <c:v>31134</c:v>
                </c:pt>
                <c:pt idx="60562">
                  <c:v>31134</c:v>
                </c:pt>
                <c:pt idx="60563">
                  <c:v>31134</c:v>
                </c:pt>
                <c:pt idx="60564">
                  <c:v>31134</c:v>
                </c:pt>
                <c:pt idx="60565">
                  <c:v>31134</c:v>
                </c:pt>
                <c:pt idx="60566">
                  <c:v>31134</c:v>
                </c:pt>
                <c:pt idx="60567">
                  <c:v>31133</c:v>
                </c:pt>
                <c:pt idx="60568">
                  <c:v>31133</c:v>
                </c:pt>
                <c:pt idx="60569">
                  <c:v>31133</c:v>
                </c:pt>
                <c:pt idx="60570">
                  <c:v>31133</c:v>
                </c:pt>
                <c:pt idx="60571">
                  <c:v>31132</c:v>
                </c:pt>
                <c:pt idx="60572">
                  <c:v>31132</c:v>
                </c:pt>
                <c:pt idx="60573">
                  <c:v>31132</c:v>
                </c:pt>
                <c:pt idx="60574">
                  <c:v>31132</c:v>
                </c:pt>
                <c:pt idx="60575">
                  <c:v>31132</c:v>
                </c:pt>
                <c:pt idx="60576">
                  <c:v>31132</c:v>
                </c:pt>
                <c:pt idx="60577">
                  <c:v>31131</c:v>
                </c:pt>
                <c:pt idx="60578">
                  <c:v>31131</c:v>
                </c:pt>
                <c:pt idx="60579">
                  <c:v>31131</c:v>
                </c:pt>
                <c:pt idx="60580">
                  <c:v>31131</c:v>
                </c:pt>
                <c:pt idx="60581">
                  <c:v>31131</c:v>
                </c:pt>
                <c:pt idx="60582">
                  <c:v>31131</c:v>
                </c:pt>
                <c:pt idx="60583">
                  <c:v>31129</c:v>
                </c:pt>
                <c:pt idx="60584">
                  <c:v>31128</c:v>
                </c:pt>
                <c:pt idx="60585">
                  <c:v>31128</c:v>
                </c:pt>
                <c:pt idx="60586">
                  <c:v>31128</c:v>
                </c:pt>
                <c:pt idx="60587">
                  <c:v>31127</c:v>
                </c:pt>
                <c:pt idx="60588">
                  <c:v>31127</c:v>
                </c:pt>
                <c:pt idx="60589">
                  <c:v>31127</c:v>
                </c:pt>
                <c:pt idx="60590">
                  <c:v>31127</c:v>
                </c:pt>
                <c:pt idx="60591">
                  <c:v>31127</c:v>
                </c:pt>
                <c:pt idx="60592">
                  <c:v>31127</c:v>
                </c:pt>
                <c:pt idx="60593">
                  <c:v>31127</c:v>
                </c:pt>
                <c:pt idx="60594">
                  <c:v>31126</c:v>
                </c:pt>
                <c:pt idx="60595">
                  <c:v>31126</c:v>
                </c:pt>
                <c:pt idx="60596">
                  <c:v>31126</c:v>
                </c:pt>
                <c:pt idx="60597">
                  <c:v>31126</c:v>
                </c:pt>
                <c:pt idx="60598">
                  <c:v>31126</c:v>
                </c:pt>
                <c:pt idx="60599">
                  <c:v>31125</c:v>
                </c:pt>
                <c:pt idx="60600">
                  <c:v>31125</c:v>
                </c:pt>
                <c:pt idx="60601">
                  <c:v>31125</c:v>
                </c:pt>
                <c:pt idx="60602">
                  <c:v>31125</c:v>
                </c:pt>
                <c:pt idx="60603">
                  <c:v>31125</c:v>
                </c:pt>
                <c:pt idx="60604">
                  <c:v>31125</c:v>
                </c:pt>
                <c:pt idx="60605">
                  <c:v>31124</c:v>
                </c:pt>
                <c:pt idx="60606">
                  <c:v>31124</c:v>
                </c:pt>
                <c:pt idx="60607">
                  <c:v>31124</c:v>
                </c:pt>
                <c:pt idx="60608">
                  <c:v>31124</c:v>
                </c:pt>
                <c:pt idx="60609">
                  <c:v>31124</c:v>
                </c:pt>
                <c:pt idx="60610">
                  <c:v>31124</c:v>
                </c:pt>
                <c:pt idx="60611">
                  <c:v>31123</c:v>
                </c:pt>
                <c:pt idx="60612">
                  <c:v>31123</c:v>
                </c:pt>
                <c:pt idx="60613">
                  <c:v>31123</c:v>
                </c:pt>
                <c:pt idx="60614">
                  <c:v>31123</c:v>
                </c:pt>
                <c:pt idx="60615">
                  <c:v>31123</c:v>
                </c:pt>
                <c:pt idx="60616">
                  <c:v>31123</c:v>
                </c:pt>
                <c:pt idx="60617">
                  <c:v>31122</c:v>
                </c:pt>
                <c:pt idx="60618">
                  <c:v>31122</c:v>
                </c:pt>
                <c:pt idx="60619">
                  <c:v>31122</c:v>
                </c:pt>
                <c:pt idx="60620">
                  <c:v>31122</c:v>
                </c:pt>
                <c:pt idx="60621">
                  <c:v>31122</c:v>
                </c:pt>
                <c:pt idx="60622">
                  <c:v>31122</c:v>
                </c:pt>
                <c:pt idx="60623">
                  <c:v>31121</c:v>
                </c:pt>
                <c:pt idx="60624">
                  <c:v>31121</c:v>
                </c:pt>
                <c:pt idx="60625">
                  <c:v>31121</c:v>
                </c:pt>
                <c:pt idx="60626">
                  <c:v>31121</c:v>
                </c:pt>
                <c:pt idx="60627">
                  <c:v>31121</c:v>
                </c:pt>
                <c:pt idx="60628">
                  <c:v>31121</c:v>
                </c:pt>
                <c:pt idx="60629">
                  <c:v>31121</c:v>
                </c:pt>
                <c:pt idx="60630">
                  <c:v>31121</c:v>
                </c:pt>
                <c:pt idx="60631">
                  <c:v>31120</c:v>
                </c:pt>
                <c:pt idx="60632">
                  <c:v>31120</c:v>
                </c:pt>
                <c:pt idx="60633">
                  <c:v>31120</c:v>
                </c:pt>
                <c:pt idx="60634">
                  <c:v>31120</c:v>
                </c:pt>
                <c:pt idx="60635">
                  <c:v>31120</c:v>
                </c:pt>
                <c:pt idx="60636">
                  <c:v>31120</c:v>
                </c:pt>
                <c:pt idx="60637">
                  <c:v>31119</c:v>
                </c:pt>
                <c:pt idx="60638">
                  <c:v>31119</c:v>
                </c:pt>
                <c:pt idx="60639">
                  <c:v>31119</c:v>
                </c:pt>
                <c:pt idx="60640">
                  <c:v>31119</c:v>
                </c:pt>
                <c:pt idx="60641">
                  <c:v>31119</c:v>
                </c:pt>
                <c:pt idx="60642">
                  <c:v>31119</c:v>
                </c:pt>
                <c:pt idx="60643">
                  <c:v>31118</c:v>
                </c:pt>
                <c:pt idx="60644">
                  <c:v>31118</c:v>
                </c:pt>
                <c:pt idx="60645">
                  <c:v>31118</c:v>
                </c:pt>
                <c:pt idx="60646">
                  <c:v>31118</c:v>
                </c:pt>
                <c:pt idx="60647">
                  <c:v>31118</c:v>
                </c:pt>
                <c:pt idx="60648">
                  <c:v>31117</c:v>
                </c:pt>
                <c:pt idx="60649">
                  <c:v>31117</c:v>
                </c:pt>
                <c:pt idx="60650">
                  <c:v>31117</c:v>
                </c:pt>
                <c:pt idx="60651">
                  <c:v>31117</c:v>
                </c:pt>
                <c:pt idx="60652">
                  <c:v>31117</c:v>
                </c:pt>
                <c:pt idx="60653">
                  <c:v>31116</c:v>
                </c:pt>
                <c:pt idx="60654">
                  <c:v>31116</c:v>
                </c:pt>
                <c:pt idx="60655">
                  <c:v>31116</c:v>
                </c:pt>
                <c:pt idx="60656">
                  <c:v>31116</c:v>
                </c:pt>
                <c:pt idx="60657">
                  <c:v>31116</c:v>
                </c:pt>
                <c:pt idx="60658">
                  <c:v>31116</c:v>
                </c:pt>
                <c:pt idx="60659">
                  <c:v>31116</c:v>
                </c:pt>
                <c:pt idx="60660">
                  <c:v>31115</c:v>
                </c:pt>
                <c:pt idx="60661">
                  <c:v>31115</c:v>
                </c:pt>
                <c:pt idx="60662">
                  <c:v>31115</c:v>
                </c:pt>
                <c:pt idx="60663">
                  <c:v>31115</c:v>
                </c:pt>
                <c:pt idx="60664">
                  <c:v>31114</c:v>
                </c:pt>
                <c:pt idx="60665">
                  <c:v>31114</c:v>
                </c:pt>
                <c:pt idx="60666">
                  <c:v>31114</c:v>
                </c:pt>
                <c:pt idx="60667">
                  <c:v>31114</c:v>
                </c:pt>
                <c:pt idx="60668">
                  <c:v>31114</c:v>
                </c:pt>
                <c:pt idx="60669">
                  <c:v>31113</c:v>
                </c:pt>
                <c:pt idx="60670">
                  <c:v>31113</c:v>
                </c:pt>
                <c:pt idx="60671">
                  <c:v>31113</c:v>
                </c:pt>
                <c:pt idx="60672">
                  <c:v>31113</c:v>
                </c:pt>
                <c:pt idx="60673">
                  <c:v>31113</c:v>
                </c:pt>
                <c:pt idx="60674">
                  <c:v>31113</c:v>
                </c:pt>
                <c:pt idx="60675">
                  <c:v>31113</c:v>
                </c:pt>
                <c:pt idx="60676">
                  <c:v>31113</c:v>
                </c:pt>
                <c:pt idx="60677">
                  <c:v>31113</c:v>
                </c:pt>
                <c:pt idx="60678">
                  <c:v>31113</c:v>
                </c:pt>
                <c:pt idx="60679">
                  <c:v>31112</c:v>
                </c:pt>
                <c:pt idx="60680">
                  <c:v>31112</c:v>
                </c:pt>
                <c:pt idx="60681">
                  <c:v>31112</c:v>
                </c:pt>
                <c:pt idx="60682">
                  <c:v>31112</c:v>
                </c:pt>
                <c:pt idx="60683">
                  <c:v>31112</c:v>
                </c:pt>
                <c:pt idx="60684">
                  <c:v>31111</c:v>
                </c:pt>
                <c:pt idx="60685">
                  <c:v>31111</c:v>
                </c:pt>
                <c:pt idx="60686">
                  <c:v>31111</c:v>
                </c:pt>
                <c:pt idx="60687">
                  <c:v>31111</c:v>
                </c:pt>
                <c:pt idx="60688">
                  <c:v>31110</c:v>
                </c:pt>
                <c:pt idx="60689">
                  <c:v>31110</c:v>
                </c:pt>
                <c:pt idx="60690">
                  <c:v>31110</c:v>
                </c:pt>
                <c:pt idx="60691">
                  <c:v>31110</c:v>
                </c:pt>
                <c:pt idx="60692">
                  <c:v>31110</c:v>
                </c:pt>
                <c:pt idx="60693">
                  <c:v>31110</c:v>
                </c:pt>
                <c:pt idx="60694">
                  <c:v>31110</c:v>
                </c:pt>
                <c:pt idx="60695">
                  <c:v>31109</c:v>
                </c:pt>
                <c:pt idx="60696">
                  <c:v>31109</c:v>
                </c:pt>
                <c:pt idx="60697">
                  <c:v>31109</c:v>
                </c:pt>
                <c:pt idx="60698">
                  <c:v>31109</c:v>
                </c:pt>
                <c:pt idx="60699">
                  <c:v>31109</c:v>
                </c:pt>
                <c:pt idx="60700">
                  <c:v>31108</c:v>
                </c:pt>
                <c:pt idx="60701">
                  <c:v>31108</c:v>
                </c:pt>
                <c:pt idx="60702">
                  <c:v>31107</c:v>
                </c:pt>
                <c:pt idx="60703">
                  <c:v>31106</c:v>
                </c:pt>
                <c:pt idx="60704">
                  <c:v>31106</c:v>
                </c:pt>
                <c:pt idx="60705">
                  <c:v>31106</c:v>
                </c:pt>
                <c:pt idx="60706">
                  <c:v>31106</c:v>
                </c:pt>
                <c:pt idx="60707">
                  <c:v>31106</c:v>
                </c:pt>
                <c:pt idx="60708">
                  <c:v>31106</c:v>
                </c:pt>
                <c:pt idx="60709">
                  <c:v>31105</c:v>
                </c:pt>
                <c:pt idx="60710">
                  <c:v>31105</c:v>
                </c:pt>
                <c:pt idx="60711">
                  <c:v>31105</c:v>
                </c:pt>
                <c:pt idx="60712">
                  <c:v>31105</c:v>
                </c:pt>
                <c:pt idx="60713">
                  <c:v>31105</c:v>
                </c:pt>
                <c:pt idx="60714">
                  <c:v>31104</c:v>
                </c:pt>
                <c:pt idx="60715">
                  <c:v>31104</c:v>
                </c:pt>
                <c:pt idx="60716">
                  <c:v>31104</c:v>
                </c:pt>
                <c:pt idx="60717">
                  <c:v>31104</c:v>
                </c:pt>
                <c:pt idx="60718">
                  <c:v>31104</c:v>
                </c:pt>
                <c:pt idx="60719">
                  <c:v>31104</c:v>
                </c:pt>
                <c:pt idx="60720">
                  <c:v>31104</c:v>
                </c:pt>
                <c:pt idx="60721">
                  <c:v>31103</c:v>
                </c:pt>
                <c:pt idx="60722">
                  <c:v>31103</c:v>
                </c:pt>
                <c:pt idx="60723">
                  <c:v>31103</c:v>
                </c:pt>
                <c:pt idx="60724">
                  <c:v>31103</c:v>
                </c:pt>
                <c:pt idx="60725">
                  <c:v>31103</c:v>
                </c:pt>
                <c:pt idx="60726">
                  <c:v>31103</c:v>
                </c:pt>
                <c:pt idx="60727">
                  <c:v>31103</c:v>
                </c:pt>
                <c:pt idx="60728">
                  <c:v>31103</c:v>
                </c:pt>
                <c:pt idx="60729">
                  <c:v>31103</c:v>
                </c:pt>
                <c:pt idx="60730">
                  <c:v>31102</c:v>
                </c:pt>
                <c:pt idx="60731">
                  <c:v>31102</c:v>
                </c:pt>
                <c:pt idx="60732">
                  <c:v>31102</c:v>
                </c:pt>
                <c:pt idx="60733">
                  <c:v>31102</c:v>
                </c:pt>
                <c:pt idx="60734">
                  <c:v>31101</c:v>
                </c:pt>
                <c:pt idx="60735">
                  <c:v>31101</c:v>
                </c:pt>
                <c:pt idx="60736">
                  <c:v>31101</c:v>
                </c:pt>
                <c:pt idx="60737">
                  <c:v>31101</c:v>
                </c:pt>
                <c:pt idx="60738">
                  <c:v>31101</c:v>
                </c:pt>
                <c:pt idx="60739">
                  <c:v>31101</c:v>
                </c:pt>
                <c:pt idx="60740">
                  <c:v>31100</c:v>
                </c:pt>
                <c:pt idx="60741">
                  <c:v>31100</c:v>
                </c:pt>
                <c:pt idx="60742">
                  <c:v>31100</c:v>
                </c:pt>
                <c:pt idx="60743">
                  <c:v>31100</c:v>
                </c:pt>
                <c:pt idx="60744">
                  <c:v>31100</c:v>
                </c:pt>
                <c:pt idx="60745">
                  <c:v>31100</c:v>
                </c:pt>
                <c:pt idx="60746">
                  <c:v>31099</c:v>
                </c:pt>
                <c:pt idx="60747">
                  <c:v>31099</c:v>
                </c:pt>
                <c:pt idx="60748">
                  <c:v>31099</c:v>
                </c:pt>
                <c:pt idx="60749">
                  <c:v>31099</c:v>
                </c:pt>
                <c:pt idx="60750">
                  <c:v>31099</c:v>
                </c:pt>
                <c:pt idx="60751">
                  <c:v>31098</c:v>
                </c:pt>
                <c:pt idx="60752">
                  <c:v>31098</c:v>
                </c:pt>
                <c:pt idx="60753">
                  <c:v>31098</c:v>
                </c:pt>
                <c:pt idx="60754">
                  <c:v>31098</c:v>
                </c:pt>
                <c:pt idx="60755">
                  <c:v>31098</c:v>
                </c:pt>
                <c:pt idx="60756">
                  <c:v>31098</c:v>
                </c:pt>
                <c:pt idx="60757">
                  <c:v>31097</c:v>
                </c:pt>
                <c:pt idx="60758">
                  <c:v>31097</c:v>
                </c:pt>
                <c:pt idx="60759">
                  <c:v>31097</c:v>
                </c:pt>
                <c:pt idx="60760">
                  <c:v>31097</c:v>
                </c:pt>
                <c:pt idx="60761">
                  <c:v>31097</c:v>
                </c:pt>
                <c:pt idx="60762">
                  <c:v>31097</c:v>
                </c:pt>
                <c:pt idx="60763">
                  <c:v>31097</c:v>
                </c:pt>
                <c:pt idx="60764">
                  <c:v>31096</c:v>
                </c:pt>
                <c:pt idx="60765">
                  <c:v>31096</c:v>
                </c:pt>
                <c:pt idx="60766">
                  <c:v>31096</c:v>
                </c:pt>
                <c:pt idx="60767">
                  <c:v>31095</c:v>
                </c:pt>
                <c:pt idx="60768">
                  <c:v>31095</c:v>
                </c:pt>
                <c:pt idx="60769">
                  <c:v>31094</c:v>
                </c:pt>
                <c:pt idx="60770">
                  <c:v>31094</c:v>
                </c:pt>
                <c:pt idx="60771">
                  <c:v>31093</c:v>
                </c:pt>
                <c:pt idx="60772">
                  <c:v>31093</c:v>
                </c:pt>
                <c:pt idx="60773">
                  <c:v>31093</c:v>
                </c:pt>
                <c:pt idx="60774">
                  <c:v>31093</c:v>
                </c:pt>
                <c:pt idx="60775">
                  <c:v>31093</c:v>
                </c:pt>
                <c:pt idx="60776">
                  <c:v>31093</c:v>
                </c:pt>
                <c:pt idx="60777">
                  <c:v>31092</c:v>
                </c:pt>
                <c:pt idx="60778">
                  <c:v>31092</c:v>
                </c:pt>
                <c:pt idx="60779">
                  <c:v>31092</c:v>
                </c:pt>
                <c:pt idx="60780">
                  <c:v>31092</c:v>
                </c:pt>
                <c:pt idx="60781">
                  <c:v>31092</c:v>
                </c:pt>
                <c:pt idx="60782">
                  <c:v>31092</c:v>
                </c:pt>
                <c:pt idx="60783">
                  <c:v>31092</c:v>
                </c:pt>
                <c:pt idx="60784">
                  <c:v>31092</c:v>
                </c:pt>
                <c:pt idx="60785">
                  <c:v>31092</c:v>
                </c:pt>
                <c:pt idx="60786">
                  <c:v>31092</c:v>
                </c:pt>
                <c:pt idx="60787">
                  <c:v>31091</c:v>
                </c:pt>
                <c:pt idx="60788">
                  <c:v>31091</c:v>
                </c:pt>
                <c:pt idx="60789">
                  <c:v>31091</c:v>
                </c:pt>
                <c:pt idx="60790">
                  <c:v>31090</c:v>
                </c:pt>
                <c:pt idx="60791">
                  <c:v>31090</c:v>
                </c:pt>
                <c:pt idx="60792">
                  <c:v>31090</c:v>
                </c:pt>
                <c:pt idx="60793">
                  <c:v>31090</c:v>
                </c:pt>
                <c:pt idx="60794">
                  <c:v>31090</c:v>
                </c:pt>
                <c:pt idx="60795">
                  <c:v>31090</c:v>
                </c:pt>
                <c:pt idx="60796">
                  <c:v>31090</c:v>
                </c:pt>
                <c:pt idx="60797">
                  <c:v>31090</c:v>
                </c:pt>
                <c:pt idx="60798">
                  <c:v>31090</c:v>
                </c:pt>
                <c:pt idx="60799">
                  <c:v>31090</c:v>
                </c:pt>
                <c:pt idx="60800">
                  <c:v>31089</c:v>
                </c:pt>
                <c:pt idx="60801">
                  <c:v>31089</c:v>
                </c:pt>
                <c:pt idx="60802">
                  <c:v>31088</c:v>
                </c:pt>
                <c:pt idx="60803">
                  <c:v>31088</c:v>
                </c:pt>
                <c:pt idx="60804">
                  <c:v>31088</c:v>
                </c:pt>
                <c:pt idx="60805">
                  <c:v>31088</c:v>
                </c:pt>
                <c:pt idx="60806">
                  <c:v>31088</c:v>
                </c:pt>
                <c:pt idx="60807">
                  <c:v>31088</c:v>
                </c:pt>
                <c:pt idx="60808">
                  <c:v>31088</c:v>
                </c:pt>
                <c:pt idx="60809">
                  <c:v>31088</c:v>
                </c:pt>
                <c:pt idx="60810">
                  <c:v>31087</c:v>
                </c:pt>
                <c:pt idx="60811">
                  <c:v>31087</c:v>
                </c:pt>
                <c:pt idx="60812">
                  <c:v>31087</c:v>
                </c:pt>
                <c:pt idx="60813">
                  <c:v>31087</c:v>
                </c:pt>
                <c:pt idx="60814">
                  <c:v>31087</c:v>
                </c:pt>
                <c:pt idx="60815">
                  <c:v>31087</c:v>
                </c:pt>
                <c:pt idx="60816">
                  <c:v>31086</c:v>
                </c:pt>
                <c:pt idx="60817">
                  <c:v>31086</c:v>
                </c:pt>
                <c:pt idx="60818">
                  <c:v>31086</c:v>
                </c:pt>
                <c:pt idx="60819">
                  <c:v>31086</c:v>
                </c:pt>
                <c:pt idx="60820">
                  <c:v>31086</c:v>
                </c:pt>
                <c:pt idx="60821">
                  <c:v>31086</c:v>
                </c:pt>
                <c:pt idx="60822">
                  <c:v>31086</c:v>
                </c:pt>
                <c:pt idx="60823">
                  <c:v>31086</c:v>
                </c:pt>
                <c:pt idx="60824">
                  <c:v>31086</c:v>
                </c:pt>
                <c:pt idx="60825">
                  <c:v>31086</c:v>
                </c:pt>
                <c:pt idx="60826">
                  <c:v>31086</c:v>
                </c:pt>
                <c:pt idx="60827">
                  <c:v>31085</c:v>
                </c:pt>
                <c:pt idx="60828">
                  <c:v>31085</c:v>
                </c:pt>
                <c:pt idx="60829">
                  <c:v>31085</c:v>
                </c:pt>
                <c:pt idx="60830">
                  <c:v>31085</c:v>
                </c:pt>
                <c:pt idx="60831">
                  <c:v>31085</c:v>
                </c:pt>
                <c:pt idx="60832">
                  <c:v>31085</c:v>
                </c:pt>
                <c:pt idx="60833">
                  <c:v>31084</c:v>
                </c:pt>
                <c:pt idx="60834">
                  <c:v>31084</c:v>
                </c:pt>
                <c:pt idx="60835">
                  <c:v>31084</c:v>
                </c:pt>
                <c:pt idx="60836">
                  <c:v>31084</c:v>
                </c:pt>
                <c:pt idx="60837">
                  <c:v>31084</c:v>
                </c:pt>
                <c:pt idx="60838">
                  <c:v>31084</c:v>
                </c:pt>
                <c:pt idx="60839">
                  <c:v>31084</c:v>
                </c:pt>
                <c:pt idx="60840">
                  <c:v>31084</c:v>
                </c:pt>
                <c:pt idx="60841">
                  <c:v>31084</c:v>
                </c:pt>
                <c:pt idx="60842">
                  <c:v>31084</c:v>
                </c:pt>
                <c:pt idx="60843">
                  <c:v>31084</c:v>
                </c:pt>
                <c:pt idx="60844">
                  <c:v>31084</c:v>
                </c:pt>
                <c:pt idx="60845">
                  <c:v>31083</c:v>
                </c:pt>
                <c:pt idx="60846">
                  <c:v>31083</c:v>
                </c:pt>
                <c:pt idx="60847">
                  <c:v>31083</c:v>
                </c:pt>
                <c:pt idx="60848">
                  <c:v>31083</c:v>
                </c:pt>
                <c:pt idx="60849">
                  <c:v>31083</c:v>
                </c:pt>
                <c:pt idx="60850">
                  <c:v>31083</c:v>
                </c:pt>
                <c:pt idx="60851">
                  <c:v>31083</c:v>
                </c:pt>
                <c:pt idx="60852">
                  <c:v>31083</c:v>
                </c:pt>
                <c:pt idx="60853">
                  <c:v>31083</c:v>
                </c:pt>
                <c:pt idx="60854">
                  <c:v>31083</c:v>
                </c:pt>
                <c:pt idx="60855">
                  <c:v>31083</c:v>
                </c:pt>
                <c:pt idx="60856">
                  <c:v>31082</c:v>
                </c:pt>
                <c:pt idx="60857">
                  <c:v>31082</c:v>
                </c:pt>
                <c:pt idx="60858">
                  <c:v>31082</c:v>
                </c:pt>
                <c:pt idx="60859">
                  <c:v>31082</c:v>
                </c:pt>
                <c:pt idx="60860">
                  <c:v>31082</c:v>
                </c:pt>
                <c:pt idx="60861">
                  <c:v>31082</c:v>
                </c:pt>
                <c:pt idx="60862">
                  <c:v>31081</c:v>
                </c:pt>
                <c:pt idx="60863">
                  <c:v>31081</c:v>
                </c:pt>
                <c:pt idx="60864">
                  <c:v>31081</c:v>
                </c:pt>
                <c:pt idx="60865">
                  <c:v>31081</c:v>
                </c:pt>
                <c:pt idx="60866">
                  <c:v>31081</c:v>
                </c:pt>
                <c:pt idx="60867">
                  <c:v>31081</c:v>
                </c:pt>
                <c:pt idx="60868">
                  <c:v>31080</c:v>
                </c:pt>
                <c:pt idx="60869">
                  <c:v>31080</c:v>
                </c:pt>
                <c:pt idx="60870">
                  <c:v>31080</c:v>
                </c:pt>
                <c:pt idx="60871">
                  <c:v>31080</c:v>
                </c:pt>
                <c:pt idx="60872">
                  <c:v>31079</c:v>
                </c:pt>
                <c:pt idx="60873">
                  <c:v>31079</c:v>
                </c:pt>
                <c:pt idx="60874">
                  <c:v>31079</c:v>
                </c:pt>
                <c:pt idx="60875">
                  <c:v>31079</c:v>
                </c:pt>
                <c:pt idx="60876">
                  <c:v>31079</c:v>
                </c:pt>
                <c:pt idx="60877">
                  <c:v>31079</c:v>
                </c:pt>
                <c:pt idx="60878">
                  <c:v>31079</c:v>
                </c:pt>
                <c:pt idx="60879">
                  <c:v>31078</c:v>
                </c:pt>
                <c:pt idx="60880">
                  <c:v>31078</c:v>
                </c:pt>
                <c:pt idx="60881">
                  <c:v>31078</c:v>
                </c:pt>
                <c:pt idx="60882">
                  <c:v>31078</c:v>
                </c:pt>
                <c:pt idx="60883">
                  <c:v>31078</c:v>
                </c:pt>
                <c:pt idx="60884">
                  <c:v>31077</c:v>
                </c:pt>
                <c:pt idx="60885">
                  <c:v>31077</c:v>
                </c:pt>
                <c:pt idx="60886">
                  <c:v>31077</c:v>
                </c:pt>
                <c:pt idx="60887">
                  <c:v>31077</c:v>
                </c:pt>
                <c:pt idx="60888">
                  <c:v>31077</c:v>
                </c:pt>
                <c:pt idx="60889">
                  <c:v>31077</c:v>
                </c:pt>
                <c:pt idx="60890">
                  <c:v>31077</c:v>
                </c:pt>
                <c:pt idx="60891">
                  <c:v>31076</c:v>
                </c:pt>
                <c:pt idx="60892">
                  <c:v>31076</c:v>
                </c:pt>
                <c:pt idx="60893">
                  <c:v>31076</c:v>
                </c:pt>
                <c:pt idx="60894">
                  <c:v>31076</c:v>
                </c:pt>
                <c:pt idx="60895">
                  <c:v>31076</c:v>
                </c:pt>
                <c:pt idx="60896">
                  <c:v>31075</c:v>
                </c:pt>
                <c:pt idx="60897">
                  <c:v>31075</c:v>
                </c:pt>
                <c:pt idx="60898">
                  <c:v>31075</c:v>
                </c:pt>
                <c:pt idx="60899">
                  <c:v>31075</c:v>
                </c:pt>
                <c:pt idx="60900">
                  <c:v>31075</c:v>
                </c:pt>
                <c:pt idx="60901">
                  <c:v>31075</c:v>
                </c:pt>
                <c:pt idx="60902">
                  <c:v>31075</c:v>
                </c:pt>
                <c:pt idx="60903">
                  <c:v>31074</c:v>
                </c:pt>
                <c:pt idx="60904">
                  <c:v>31073</c:v>
                </c:pt>
                <c:pt idx="60905">
                  <c:v>31073</c:v>
                </c:pt>
                <c:pt idx="60906">
                  <c:v>31073</c:v>
                </c:pt>
                <c:pt idx="60907">
                  <c:v>31073</c:v>
                </c:pt>
                <c:pt idx="60908">
                  <c:v>31073</c:v>
                </c:pt>
                <c:pt idx="60909">
                  <c:v>31072</c:v>
                </c:pt>
                <c:pt idx="60910">
                  <c:v>31072</c:v>
                </c:pt>
                <c:pt idx="60911">
                  <c:v>31072</c:v>
                </c:pt>
                <c:pt idx="60912">
                  <c:v>31072</c:v>
                </c:pt>
                <c:pt idx="60913">
                  <c:v>31072</c:v>
                </c:pt>
                <c:pt idx="60914">
                  <c:v>31072</c:v>
                </c:pt>
                <c:pt idx="60915">
                  <c:v>31072</c:v>
                </c:pt>
                <c:pt idx="60916">
                  <c:v>31071</c:v>
                </c:pt>
                <c:pt idx="60917">
                  <c:v>31071</c:v>
                </c:pt>
                <c:pt idx="60918">
                  <c:v>31071</c:v>
                </c:pt>
                <c:pt idx="60919">
                  <c:v>31071</c:v>
                </c:pt>
                <c:pt idx="60920">
                  <c:v>31071</c:v>
                </c:pt>
                <c:pt idx="60921">
                  <c:v>31070</c:v>
                </c:pt>
                <c:pt idx="60922">
                  <c:v>31069</c:v>
                </c:pt>
                <c:pt idx="60923">
                  <c:v>31069</c:v>
                </c:pt>
                <c:pt idx="60924">
                  <c:v>31069</c:v>
                </c:pt>
                <c:pt idx="60925">
                  <c:v>31069</c:v>
                </c:pt>
                <c:pt idx="60926">
                  <c:v>31069</c:v>
                </c:pt>
                <c:pt idx="60927">
                  <c:v>31069</c:v>
                </c:pt>
                <c:pt idx="60928">
                  <c:v>31069</c:v>
                </c:pt>
                <c:pt idx="60929">
                  <c:v>31069</c:v>
                </c:pt>
                <c:pt idx="60930">
                  <c:v>31068</c:v>
                </c:pt>
                <c:pt idx="60931">
                  <c:v>31068</c:v>
                </c:pt>
                <c:pt idx="60932">
                  <c:v>31068</c:v>
                </c:pt>
                <c:pt idx="60933">
                  <c:v>31068</c:v>
                </c:pt>
                <c:pt idx="60934">
                  <c:v>31068</c:v>
                </c:pt>
                <c:pt idx="60935">
                  <c:v>31068</c:v>
                </c:pt>
                <c:pt idx="60936">
                  <c:v>31067</c:v>
                </c:pt>
                <c:pt idx="60937">
                  <c:v>31067</c:v>
                </c:pt>
                <c:pt idx="60938">
                  <c:v>31067</c:v>
                </c:pt>
                <c:pt idx="60939">
                  <c:v>31067</c:v>
                </c:pt>
                <c:pt idx="60940">
                  <c:v>31066</c:v>
                </c:pt>
                <c:pt idx="60941">
                  <c:v>31066</c:v>
                </c:pt>
                <c:pt idx="60942">
                  <c:v>31066</c:v>
                </c:pt>
                <c:pt idx="60943">
                  <c:v>31066</c:v>
                </c:pt>
                <c:pt idx="60944">
                  <c:v>31066</c:v>
                </c:pt>
                <c:pt idx="60945">
                  <c:v>31066</c:v>
                </c:pt>
                <c:pt idx="60946">
                  <c:v>31066</c:v>
                </c:pt>
                <c:pt idx="60947">
                  <c:v>31066</c:v>
                </c:pt>
                <c:pt idx="60948">
                  <c:v>31066</c:v>
                </c:pt>
                <c:pt idx="60949">
                  <c:v>31066</c:v>
                </c:pt>
                <c:pt idx="60950">
                  <c:v>31065</c:v>
                </c:pt>
                <c:pt idx="60951">
                  <c:v>31065</c:v>
                </c:pt>
                <c:pt idx="60952">
                  <c:v>31065</c:v>
                </c:pt>
                <c:pt idx="60953">
                  <c:v>31065</c:v>
                </c:pt>
                <c:pt idx="60954">
                  <c:v>31065</c:v>
                </c:pt>
                <c:pt idx="60955">
                  <c:v>31065</c:v>
                </c:pt>
                <c:pt idx="60956">
                  <c:v>31065</c:v>
                </c:pt>
                <c:pt idx="60957">
                  <c:v>31065</c:v>
                </c:pt>
                <c:pt idx="60958">
                  <c:v>31065</c:v>
                </c:pt>
                <c:pt idx="60959">
                  <c:v>31065</c:v>
                </c:pt>
                <c:pt idx="60960">
                  <c:v>31065</c:v>
                </c:pt>
                <c:pt idx="60961">
                  <c:v>31065</c:v>
                </c:pt>
                <c:pt idx="60962">
                  <c:v>31064</c:v>
                </c:pt>
                <c:pt idx="60963">
                  <c:v>31064</c:v>
                </c:pt>
                <c:pt idx="60964">
                  <c:v>31064</c:v>
                </c:pt>
                <c:pt idx="60965">
                  <c:v>31064</c:v>
                </c:pt>
                <c:pt idx="60966">
                  <c:v>31064</c:v>
                </c:pt>
                <c:pt idx="60967">
                  <c:v>31064</c:v>
                </c:pt>
                <c:pt idx="60968">
                  <c:v>31063</c:v>
                </c:pt>
                <c:pt idx="60969">
                  <c:v>31063</c:v>
                </c:pt>
                <c:pt idx="60970">
                  <c:v>31063</c:v>
                </c:pt>
                <c:pt idx="60971">
                  <c:v>31063</c:v>
                </c:pt>
                <c:pt idx="60972">
                  <c:v>31063</c:v>
                </c:pt>
                <c:pt idx="60973">
                  <c:v>31063</c:v>
                </c:pt>
                <c:pt idx="60974">
                  <c:v>31063</c:v>
                </c:pt>
                <c:pt idx="60975">
                  <c:v>31063</c:v>
                </c:pt>
                <c:pt idx="60976">
                  <c:v>31062</c:v>
                </c:pt>
                <c:pt idx="60977">
                  <c:v>31062</c:v>
                </c:pt>
                <c:pt idx="60978">
                  <c:v>31062</c:v>
                </c:pt>
                <c:pt idx="60979">
                  <c:v>31062</c:v>
                </c:pt>
                <c:pt idx="60980">
                  <c:v>31061</c:v>
                </c:pt>
                <c:pt idx="60981">
                  <c:v>31061</c:v>
                </c:pt>
                <c:pt idx="60982">
                  <c:v>31061</c:v>
                </c:pt>
                <c:pt idx="60983">
                  <c:v>31061</c:v>
                </c:pt>
                <c:pt idx="60984">
                  <c:v>31060</c:v>
                </c:pt>
                <c:pt idx="60985">
                  <c:v>31060</c:v>
                </c:pt>
                <c:pt idx="60986">
                  <c:v>31060</c:v>
                </c:pt>
                <c:pt idx="60987">
                  <c:v>31060</c:v>
                </c:pt>
                <c:pt idx="60988">
                  <c:v>31060</c:v>
                </c:pt>
                <c:pt idx="60989">
                  <c:v>31060</c:v>
                </c:pt>
                <c:pt idx="60990">
                  <c:v>31060</c:v>
                </c:pt>
                <c:pt idx="60991">
                  <c:v>31060</c:v>
                </c:pt>
                <c:pt idx="60992">
                  <c:v>31060</c:v>
                </c:pt>
                <c:pt idx="60993">
                  <c:v>31060</c:v>
                </c:pt>
                <c:pt idx="60994">
                  <c:v>31059</c:v>
                </c:pt>
                <c:pt idx="60995">
                  <c:v>31059</c:v>
                </c:pt>
                <c:pt idx="60996">
                  <c:v>31059</c:v>
                </c:pt>
                <c:pt idx="60997">
                  <c:v>31059</c:v>
                </c:pt>
                <c:pt idx="60998">
                  <c:v>31059</c:v>
                </c:pt>
                <c:pt idx="60999">
                  <c:v>31059</c:v>
                </c:pt>
                <c:pt idx="61000">
                  <c:v>31059</c:v>
                </c:pt>
                <c:pt idx="61001">
                  <c:v>31059</c:v>
                </c:pt>
                <c:pt idx="61002">
                  <c:v>31058</c:v>
                </c:pt>
                <c:pt idx="61003">
                  <c:v>31058</c:v>
                </c:pt>
                <c:pt idx="61004">
                  <c:v>31058</c:v>
                </c:pt>
                <c:pt idx="61005">
                  <c:v>31058</c:v>
                </c:pt>
                <c:pt idx="61006">
                  <c:v>31058</c:v>
                </c:pt>
                <c:pt idx="61007">
                  <c:v>31058</c:v>
                </c:pt>
                <c:pt idx="61008">
                  <c:v>31058</c:v>
                </c:pt>
                <c:pt idx="61009">
                  <c:v>31057</c:v>
                </c:pt>
                <c:pt idx="61010">
                  <c:v>31057</c:v>
                </c:pt>
                <c:pt idx="61011">
                  <c:v>31057</c:v>
                </c:pt>
                <c:pt idx="61012">
                  <c:v>31057</c:v>
                </c:pt>
                <c:pt idx="61013">
                  <c:v>31057</c:v>
                </c:pt>
                <c:pt idx="61014">
                  <c:v>31057</c:v>
                </c:pt>
                <c:pt idx="61015">
                  <c:v>31056</c:v>
                </c:pt>
                <c:pt idx="61016">
                  <c:v>31056</c:v>
                </c:pt>
                <c:pt idx="61017">
                  <c:v>31056</c:v>
                </c:pt>
                <c:pt idx="61018">
                  <c:v>31056</c:v>
                </c:pt>
                <c:pt idx="61019">
                  <c:v>31056</c:v>
                </c:pt>
                <c:pt idx="61020">
                  <c:v>31055</c:v>
                </c:pt>
                <c:pt idx="61021">
                  <c:v>31055</c:v>
                </c:pt>
                <c:pt idx="61022">
                  <c:v>31055</c:v>
                </c:pt>
                <c:pt idx="61023">
                  <c:v>31055</c:v>
                </c:pt>
                <c:pt idx="61024">
                  <c:v>31055</c:v>
                </c:pt>
                <c:pt idx="61025">
                  <c:v>31055</c:v>
                </c:pt>
                <c:pt idx="61026">
                  <c:v>31054</c:v>
                </c:pt>
                <c:pt idx="61027">
                  <c:v>31054</c:v>
                </c:pt>
                <c:pt idx="61028">
                  <c:v>31054</c:v>
                </c:pt>
                <c:pt idx="61029">
                  <c:v>31053</c:v>
                </c:pt>
                <c:pt idx="61030">
                  <c:v>31053</c:v>
                </c:pt>
                <c:pt idx="61031">
                  <c:v>31053</c:v>
                </c:pt>
                <c:pt idx="61032">
                  <c:v>31053</c:v>
                </c:pt>
                <c:pt idx="61033">
                  <c:v>31053</c:v>
                </c:pt>
                <c:pt idx="61034">
                  <c:v>31053</c:v>
                </c:pt>
                <c:pt idx="61035">
                  <c:v>31053</c:v>
                </c:pt>
                <c:pt idx="61036">
                  <c:v>31052</c:v>
                </c:pt>
                <c:pt idx="61037">
                  <c:v>31052</c:v>
                </c:pt>
                <c:pt idx="61038">
                  <c:v>31052</c:v>
                </c:pt>
                <c:pt idx="61039">
                  <c:v>31052</c:v>
                </c:pt>
                <c:pt idx="61040">
                  <c:v>31052</c:v>
                </c:pt>
                <c:pt idx="61041">
                  <c:v>31052</c:v>
                </c:pt>
                <c:pt idx="61042">
                  <c:v>31051</c:v>
                </c:pt>
                <c:pt idx="61043">
                  <c:v>31051</c:v>
                </c:pt>
                <c:pt idx="61044">
                  <c:v>31051</c:v>
                </c:pt>
                <c:pt idx="61045">
                  <c:v>31050</c:v>
                </c:pt>
                <c:pt idx="61046">
                  <c:v>31050</c:v>
                </c:pt>
                <c:pt idx="61047">
                  <c:v>31050</c:v>
                </c:pt>
                <c:pt idx="61048">
                  <c:v>31050</c:v>
                </c:pt>
                <c:pt idx="61049">
                  <c:v>31050</c:v>
                </c:pt>
                <c:pt idx="61050">
                  <c:v>31050</c:v>
                </c:pt>
                <c:pt idx="61051">
                  <c:v>31050</c:v>
                </c:pt>
                <c:pt idx="61052">
                  <c:v>31050</c:v>
                </c:pt>
                <c:pt idx="61053">
                  <c:v>31050</c:v>
                </c:pt>
                <c:pt idx="61054">
                  <c:v>31050</c:v>
                </c:pt>
                <c:pt idx="61055">
                  <c:v>31050</c:v>
                </c:pt>
                <c:pt idx="61056">
                  <c:v>31049</c:v>
                </c:pt>
                <c:pt idx="61057">
                  <c:v>31049</c:v>
                </c:pt>
                <c:pt idx="61058">
                  <c:v>31049</c:v>
                </c:pt>
                <c:pt idx="61059">
                  <c:v>31049</c:v>
                </c:pt>
                <c:pt idx="61060">
                  <c:v>31049</c:v>
                </c:pt>
                <c:pt idx="61061">
                  <c:v>31049</c:v>
                </c:pt>
                <c:pt idx="61062">
                  <c:v>31049</c:v>
                </c:pt>
                <c:pt idx="61063">
                  <c:v>31048</c:v>
                </c:pt>
                <c:pt idx="61064">
                  <c:v>31048</c:v>
                </c:pt>
                <c:pt idx="61065">
                  <c:v>31048</c:v>
                </c:pt>
                <c:pt idx="61066">
                  <c:v>31048</c:v>
                </c:pt>
                <c:pt idx="61067">
                  <c:v>31047</c:v>
                </c:pt>
                <c:pt idx="61068">
                  <c:v>31047</c:v>
                </c:pt>
                <c:pt idx="61069">
                  <c:v>31047</c:v>
                </c:pt>
                <c:pt idx="61070">
                  <c:v>31047</c:v>
                </c:pt>
                <c:pt idx="61071">
                  <c:v>31047</c:v>
                </c:pt>
                <c:pt idx="61072">
                  <c:v>31047</c:v>
                </c:pt>
                <c:pt idx="61073">
                  <c:v>31047</c:v>
                </c:pt>
                <c:pt idx="61074">
                  <c:v>31047</c:v>
                </c:pt>
                <c:pt idx="61075">
                  <c:v>31047</c:v>
                </c:pt>
                <c:pt idx="61076">
                  <c:v>31047</c:v>
                </c:pt>
                <c:pt idx="61077">
                  <c:v>31046</c:v>
                </c:pt>
                <c:pt idx="61078">
                  <c:v>31046</c:v>
                </c:pt>
                <c:pt idx="61079">
                  <c:v>31046</c:v>
                </c:pt>
                <c:pt idx="61080">
                  <c:v>31046</c:v>
                </c:pt>
                <c:pt idx="61081">
                  <c:v>31046</c:v>
                </c:pt>
                <c:pt idx="61082">
                  <c:v>31046</c:v>
                </c:pt>
                <c:pt idx="61083">
                  <c:v>31046</c:v>
                </c:pt>
                <c:pt idx="61084">
                  <c:v>31046</c:v>
                </c:pt>
                <c:pt idx="61085">
                  <c:v>31046</c:v>
                </c:pt>
                <c:pt idx="61086">
                  <c:v>31045</c:v>
                </c:pt>
                <c:pt idx="61087">
                  <c:v>31045</c:v>
                </c:pt>
                <c:pt idx="61088">
                  <c:v>31045</c:v>
                </c:pt>
                <c:pt idx="61089">
                  <c:v>31045</c:v>
                </c:pt>
                <c:pt idx="61090">
                  <c:v>31045</c:v>
                </c:pt>
                <c:pt idx="61091">
                  <c:v>31044</c:v>
                </c:pt>
                <c:pt idx="61092">
                  <c:v>31044</c:v>
                </c:pt>
                <c:pt idx="61093">
                  <c:v>31044</c:v>
                </c:pt>
                <c:pt idx="61094">
                  <c:v>31044</c:v>
                </c:pt>
                <c:pt idx="61095">
                  <c:v>31044</c:v>
                </c:pt>
                <c:pt idx="61096">
                  <c:v>31044</c:v>
                </c:pt>
                <c:pt idx="61097">
                  <c:v>31044</c:v>
                </c:pt>
                <c:pt idx="61098">
                  <c:v>31043</c:v>
                </c:pt>
                <c:pt idx="61099">
                  <c:v>31043</c:v>
                </c:pt>
                <c:pt idx="61100">
                  <c:v>31043</c:v>
                </c:pt>
                <c:pt idx="61101">
                  <c:v>31043</c:v>
                </c:pt>
                <c:pt idx="61102">
                  <c:v>31043</c:v>
                </c:pt>
                <c:pt idx="61103">
                  <c:v>31043</c:v>
                </c:pt>
                <c:pt idx="61104">
                  <c:v>31043</c:v>
                </c:pt>
                <c:pt idx="61105">
                  <c:v>31042</c:v>
                </c:pt>
                <c:pt idx="61106">
                  <c:v>31042</c:v>
                </c:pt>
                <c:pt idx="61107">
                  <c:v>31042</c:v>
                </c:pt>
                <c:pt idx="61108">
                  <c:v>31041</c:v>
                </c:pt>
                <c:pt idx="61109">
                  <c:v>31041</c:v>
                </c:pt>
                <c:pt idx="61110">
                  <c:v>31041</c:v>
                </c:pt>
                <c:pt idx="61111">
                  <c:v>31041</c:v>
                </c:pt>
                <c:pt idx="61112">
                  <c:v>31041</c:v>
                </c:pt>
                <c:pt idx="61113">
                  <c:v>31041</c:v>
                </c:pt>
                <c:pt idx="61114">
                  <c:v>31041</c:v>
                </c:pt>
                <c:pt idx="61115">
                  <c:v>31041</c:v>
                </c:pt>
                <c:pt idx="61116">
                  <c:v>31040</c:v>
                </c:pt>
                <c:pt idx="61117">
                  <c:v>31040</c:v>
                </c:pt>
                <c:pt idx="61118">
                  <c:v>31040</c:v>
                </c:pt>
                <c:pt idx="61119">
                  <c:v>31040</c:v>
                </c:pt>
                <c:pt idx="61120">
                  <c:v>31040</c:v>
                </c:pt>
                <c:pt idx="61121">
                  <c:v>31040</c:v>
                </c:pt>
                <c:pt idx="61122">
                  <c:v>31040</c:v>
                </c:pt>
                <c:pt idx="61123">
                  <c:v>31040</c:v>
                </c:pt>
                <c:pt idx="61124">
                  <c:v>31040</c:v>
                </c:pt>
                <c:pt idx="61125">
                  <c:v>31039</c:v>
                </c:pt>
                <c:pt idx="61126">
                  <c:v>31039</c:v>
                </c:pt>
                <c:pt idx="61127">
                  <c:v>31039</c:v>
                </c:pt>
                <c:pt idx="61128">
                  <c:v>31039</c:v>
                </c:pt>
                <c:pt idx="61129">
                  <c:v>31038</c:v>
                </c:pt>
                <c:pt idx="61130">
                  <c:v>31038</c:v>
                </c:pt>
                <c:pt idx="61131">
                  <c:v>31038</c:v>
                </c:pt>
                <c:pt idx="61132">
                  <c:v>31038</c:v>
                </c:pt>
                <c:pt idx="61133">
                  <c:v>31038</c:v>
                </c:pt>
                <c:pt idx="61134">
                  <c:v>31038</c:v>
                </c:pt>
                <c:pt idx="61135">
                  <c:v>31038</c:v>
                </c:pt>
                <c:pt idx="61136">
                  <c:v>31037</c:v>
                </c:pt>
                <c:pt idx="61137">
                  <c:v>31037</c:v>
                </c:pt>
                <c:pt idx="61138">
                  <c:v>31037</c:v>
                </c:pt>
                <c:pt idx="61139">
                  <c:v>31037</c:v>
                </c:pt>
                <c:pt idx="61140">
                  <c:v>31037</c:v>
                </c:pt>
                <c:pt idx="61141">
                  <c:v>31037</c:v>
                </c:pt>
                <c:pt idx="61142">
                  <c:v>31037</c:v>
                </c:pt>
                <c:pt idx="61143">
                  <c:v>31037</c:v>
                </c:pt>
                <c:pt idx="61144">
                  <c:v>31037</c:v>
                </c:pt>
                <c:pt idx="61145">
                  <c:v>31037</c:v>
                </c:pt>
                <c:pt idx="61146">
                  <c:v>31036</c:v>
                </c:pt>
                <c:pt idx="61147">
                  <c:v>31036</c:v>
                </c:pt>
                <c:pt idx="61148">
                  <c:v>31035</c:v>
                </c:pt>
                <c:pt idx="61149">
                  <c:v>31035</c:v>
                </c:pt>
                <c:pt idx="61150">
                  <c:v>31035</c:v>
                </c:pt>
                <c:pt idx="61151">
                  <c:v>31035</c:v>
                </c:pt>
                <c:pt idx="61152">
                  <c:v>31034</c:v>
                </c:pt>
                <c:pt idx="61153">
                  <c:v>31034</c:v>
                </c:pt>
                <c:pt idx="61154">
                  <c:v>31034</c:v>
                </c:pt>
                <c:pt idx="61155">
                  <c:v>31034</c:v>
                </c:pt>
                <c:pt idx="61156">
                  <c:v>31034</c:v>
                </c:pt>
                <c:pt idx="61157">
                  <c:v>31033</c:v>
                </c:pt>
                <c:pt idx="61158">
                  <c:v>31033</c:v>
                </c:pt>
                <c:pt idx="61159">
                  <c:v>31033</c:v>
                </c:pt>
                <c:pt idx="61160">
                  <c:v>31033</c:v>
                </c:pt>
                <c:pt idx="61161">
                  <c:v>31032</c:v>
                </c:pt>
                <c:pt idx="61162">
                  <c:v>31032</c:v>
                </c:pt>
                <c:pt idx="61163">
                  <c:v>31032</c:v>
                </c:pt>
                <c:pt idx="61164">
                  <c:v>31032</c:v>
                </c:pt>
                <c:pt idx="61165">
                  <c:v>31031</c:v>
                </c:pt>
                <c:pt idx="61166">
                  <c:v>31030</c:v>
                </c:pt>
                <c:pt idx="61167">
                  <c:v>31030</c:v>
                </c:pt>
                <c:pt idx="61168">
                  <c:v>31030</c:v>
                </c:pt>
                <c:pt idx="61169">
                  <c:v>31030</c:v>
                </c:pt>
                <c:pt idx="61170">
                  <c:v>31030</c:v>
                </c:pt>
                <c:pt idx="61171">
                  <c:v>31030</c:v>
                </c:pt>
                <c:pt idx="61172">
                  <c:v>31029</c:v>
                </c:pt>
                <c:pt idx="61173">
                  <c:v>31029</c:v>
                </c:pt>
                <c:pt idx="61174">
                  <c:v>31029</c:v>
                </c:pt>
                <c:pt idx="61175">
                  <c:v>31029</c:v>
                </c:pt>
                <c:pt idx="61176">
                  <c:v>31029</c:v>
                </c:pt>
                <c:pt idx="61177">
                  <c:v>31028</c:v>
                </c:pt>
                <c:pt idx="61178">
                  <c:v>31028</c:v>
                </c:pt>
                <c:pt idx="61179">
                  <c:v>31027</c:v>
                </c:pt>
                <c:pt idx="61180">
                  <c:v>31027</c:v>
                </c:pt>
                <c:pt idx="61181">
                  <c:v>31027</c:v>
                </c:pt>
                <c:pt idx="61182">
                  <c:v>31027</c:v>
                </c:pt>
                <c:pt idx="61183">
                  <c:v>31027</c:v>
                </c:pt>
                <c:pt idx="61184">
                  <c:v>31026</c:v>
                </c:pt>
                <c:pt idx="61185">
                  <c:v>31026</c:v>
                </c:pt>
                <c:pt idx="61186">
                  <c:v>31026</c:v>
                </c:pt>
                <c:pt idx="61187">
                  <c:v>31026</c:v>
                </c:pt>
                <c:pt idx="61188">
                  <c:v>31026</c:v>
                </c:pt>
                <c:pt idx="61189">
                  <c:v>31026</c:v>
                </c:pt>
                <c:pt idx="61190">
                  <c:v>31026</c:v>
                </c:pt>
                <c:pt idx="61191">
                  <c:v>31025</c:v>
                </c:pt>
                <c:pt idx="61192">
                  <c:v>31025</c:v>
                </c:pt>
                <c:pt idx="61193">
                  <c:v>31025</c:v>
                </c:pt>
                <c:pt idx="61194">
                  <c:v>31025</c:v>
                </c:pt>
                <c:pt idx="61195">
                  <c:v>31025</c:v>
                </c:pt>
                <c:pt idx="61196">
                  <c:v>31025</c:v>
                </c:pt>
                <c:pt idx="61197">
                  <c:v>31025</c:v>
                </c:pt>
                <c:pt idx="61198">
                  <c:v>31024</c:v>
                </c:pt>
                <c:pt idx="61199">
                  <c:v>31024</c:v>
                </c:pt>
                <c:pt idx="61200">
                  <c:v>31024</c:v>
                </c:pt>
                <c:pt idx="61201">
                  <c:v>31024</c:v>
                </c:pt>
                <c:pt idx="61202">
                  <c:v>31024</c:v>
                </c:pt>
                <c:pt idx="61203">
                  <c:v>31023</c:v>
                </c:pt>
                <c:pt idx="61204">
                  <c:v>31023</c:v>
                </c:pt>
                <c:pt idx="61205">
                  <c:v>31023</c:v>
                </c:pt>
                <c:pt idx="61206">
                  <c:v>31023</c:v>
                </c:pt>
                <c:pt idx="61207">
                  <c:v>31023</c:v>
                </c:pt>
                <c:pt idx="61208">
                  <c:v>31023</c:v>
                </c:pt>
                <c:pt idx="61209">
                  <c:v>31023</c:v>
                </c:pt>
                <c:pt idx="61210">
                  <c:v>31023</c:v>
                </c:pt>
                <c:pt idx="61211">
                  <c:v>31023</c:v>
                </c:pt>
                <c:pt idx="61212">
                  <c:v>31023</c:v>
                </c:pt>
                <c:pt idx="61213">
                  <c:v>31022</c:v>
                </c:pt>
                <c:pt idx="61214">
                  <c:v>31022</c:v>
                </c:pt>
                <c:pt idx="61215">
                  <c:v>31022</c:v>
                </c:pt>
                <c:pt idx="61216">
                  <c:v>31022</c:v>
                </c:pt>
                <c:pt idx="61217">
                  <c:v>31022</c:v>
                </c:pt>
                <c:pt idx="61218">
                  <c:v>31022</c:v>
                </c:pt>
                <c:pt idx="61219">
                  <c:v>31022</c:v>
                </c:pt>
                <c:pt idx="61220">
                  <c:v>31021</c:v>
                </c:pt>
                <c:pt idx="61221">
                  <c:v>31021</c:v>
                </c:pt>
                <c:pt idx="61222">
                  <c:v>31021</c:v>
                </c:pt>
                <c:pt idx="61223">
                  <c:v>31021</c:v>
                </c:pt>
                <c:pt idx="61224">
                  <c:v>31021</c:v>
                </c:pt>
                <c:pt idx="61225">
                  <c:v>31020</c:v>
                </c:pt>
                <c:pt idx="61226">
                  <c:v>31020</c:v>
                </c:pt>
                <c:pt idx="61227">
                  <c:v>31020</c:v>
                </c:pt>
                <c:pt idx="61228">
                  <c:v>31020</c:v>
                </c:pt>
                <c:pt idx="61229">
                  <c:v>31019</c:v>
                </c:pt>
                <c:pt idx="61230">
                  <c:v>31019</c:v>
                </c:pt>
                <c:pt idx="61231">
                  <c:v>31019</c:v>
                </c:pt>
                <c:pt idx="61232">
                  <c:v>31019</c:v>
                </c:pt>
                <c:pt idx="61233">
                  <c:v>31018</c:v>
                </c:pt>
                <c:pt idx="61234">
                  <c:v>31018</c:v>
                </c:pt>
                <c:pt idx="61235">
                  <c:v>31018</c:v>
                </c:pt>
                <c:pt idx="61236">
                  <c:v>31017</c:v>
                </c:pt>
                <c:pt idx="61237">
                  <c:v>31017</c:v>
                </c:pt>
                <c:pt idx="61238">
                  <c:v>31017</c:v>
                </c:pt>
                <c:pt idx="61239">
                  <c:v>31017</c:v>
                </c:pt>
                <c:pt idx="61240">
                  <c:v>31017</c:v>
                </c:pt>
                <c:pt idx="61241">
                  <c:v>31017</c:v>
                </c:pt>
                <c:pt idx="61242">
                  <c:v>31017</c:v>
                </c:pt>
                <c:pt idx="61243">
                  <c:v>31017</c:v>
                </c:pt>
                <c:pt idx="61244">
                  <c:v>31017</c:v>
                </c:pt>
                <c:pt idx="61245">
                  <c:v>31016</c:v>
                </c:pt>
                <c:pt idx="61246">
                  <c:v>31016</c:v>
                </c:pt>
                <c:pt idx="61247">
                  <c:v>31016</c:v>
                </c:pt>
                <c:pt idx="61248">
                  <c:v>31016</c:v>
                </c:pt>
                <c:pt idx="61249">
                  <c:v>31016</c:v>
                </c:pt>
                <c:pt idx="61250">
                  <c:v>31016</c:v>
                </c:pt>
                <c:pt idx="61251">
                  <c:v>31015</c:v>
                </c:pt>
                <c:pt idx="61252">
                  <c:v>31015</c:v>
                </c:pt>
                <c:pt idx="61253">
                  <c:v>31015</c:v>
                </c:pt>
                <c:pt idx="61254">
                  <c:v>31015</c:v>
                </c:pt>
                <c:pt idx="61255">
                  <c:v>31015</c:v>
                </c:pt>
                <c:pt idx="61256">
                  <c:v>31015</c:v>
                </c:pt>
                <c:pt idx="61257">
                  <c:v>31015</c:v>
                </c:pt>
                <c:pt idx="61258">
                  <c:v>31015</c:v>
                </c:pt>
                <c:pt idx="61259">
                  <c:v>31014</c:v>
                </c:pt>
                <c:pt idx="61260">
                  <c:v>31014</c:v>
                </c:pt>
                <c:pt idx="61261">
                  <c:v>31014</c:v>
                </c:pt>
                <c:pt idx="61262">
                  <c:v>31014</c:v>
                </c:pt>
                <c:pt idx="61263">
                  <c:v>31014</c:v>
                </c:pt>
                <c:pt idx="61264">
                  <c:v>31014</c:v>
                </c:pt>
                <c:pt idx="61265">
                  <c:v>31013</c:v>
                </c:pt>
                <c:pt idx="61266">
                  <c:v>31013</c:v>
                </c:pt>
                <c:pt idx="61267">
                  <c:v>31013</c:v>
                </c:pt>
                <c:pt idx="61268">
                  <c:v>31013</c:v>
                </c:pt>
                <c:pt idx="61269">
                  <c:v>31013</c:v>
                </c:pt>
                <c:pt idx="61270">
                  <c:v>31013</c:v>
                </c:pt>
                <c:pt idx="61271">
                  <c:v>31013</c:v>
                </c:pt>
                <c:pt idx="61272">
                  <c:v>31013</c:v>
                </c:pt>
                <c:pt idx="61273">
                  <c:v>31012</c:v>
                </c:pt>
                <c:pt idx="61274">
                  <c:v>31012</c:v>
                </c:pt>
                <c:pt idx="61275">
                  <c:v>31012</c:v>
                </c:pt>
                <c:pt idx="61276">
                  <c:v>31012</c:v>
                </c:pt>
                <c:pt idx="61277">
                  <c:v>31012</c:v>
                </c:pt>
                <c:pt idx="61278">
                  <c:v>31012</c:v>
                </c:pt>
                <c:pt idx="61279">
                  <c:v>31012</c:v>
                </c:pt>
                <c:pt idx="61280">
                  <c:v>31012</c:v>
                </c:pt>
                <c:pt idx="61281">
                  <c:v>31011</c:v>
                </c:pt>
                <c:pt idx="61282">
                  <c:v>31011</c:v>
                </c:pt>
                <c:pt idx="61283">
                  <c:v>31011</c:v>
                </c:pt>
                <c:pt idx="61284">
                  <c:v>31011</c:v>
                </c:pt>
                <c:pt idx="61285">
                  <c:v>31010</c:v>
                </c:pt>
                <c:pt idx="61286">
                  <c:v>31010</c:v>
                </c:pt>
                <c:pt idx="61287">
                  <c:v>31010</c:v>
                </c:pt>
                <c:pt idx="61288">
                  <c:v>31010</c:v>
                </c:pt>
                <c:pt idx="61289">
                  <c:v>31009</c:v>
                </c:pt>
                <c:pt idx="61290">
                  <c:v>31009</c:v>
                </c:pt>
                <c:pt idx="61291">
                  <c:v>31009</c:v>
                </c:pt>
                <c:pt idx="61292">
                  <c:v>31009</c:v>
                </c:pt>
                <c:pt idx="61293">
                  <c:v>31009</c:v>
                </c:pt>
                <c:pt idx="61294">
                  <c:v>31009</c:v>
                </c:pt>
                <c:pt idx="61295">
                  <c:v>31008</c:v>
                </c:pt>
                <c:pt idx="61296">
                  <c:v>31008</c:v>
                </c:pt>
                <c:pt idx="61297">
                  <c:v>31008</c:v>
                </c:pt>
                <c:pt idx="61298">
                  <c:v>31008</c:v>
                </c:pt>
                <c:pt idx="61299">
                  <c:v>31007</c:v>
                </c:pt>
                <c:pt idx="61300">
                  <c:v>31007</c:v>
                </c:pt>
                <c:pt idx="61301">
                  <c:v>31006</c:v>
                </c:pt>
                <c:pt idx="61302">
                  <c:v>31006</c:v>
                </c:pt>
                <c:pt idx="61303">
                  <c:v>31006</c:v>
                </c:pt>
                <c:pt idx="61304">
                  <c:v>31005</c:v>
                </c:pt>
                <c:pt idx="61305">
                  <c:v>31005</c:v>
                </c:pt>
                <c:pt idx="61306">
                  <c:v>31005</c:v>
                </c:pt>
                <c:pt idx="61307">
                  <c:v>31004</c:v>
                </c:pt>
                <c:pt idx="61308">
                  <c:v>31004</c:v>
                </c:pt>
                <c:pt idx="61309">
                  <c:v>31004</c:v>
                </c:pt>
                <c:pt idx="61310">
                  <c:v>31004</c:v>
                </c:pt>
                <c:pt idx="61311">
                  <c:v>31004</c:v>
                </c:pt>
                <c:pt idx="61312">
                  <c:v>31004</c:v>
                </c:pt>
                <c:pt idx="61313">
                  <c:v>31004</c:v>
                </c:pt>
                <c:pt idx="61314">
                  <c:v>31004</c:v>
                </c:pt>
                <c:pt idx="61315">
                  <c:v>31003</c:v>
                </c:pt>
                <c:pt idx="61316">
                  <c:v>31003</c:v>
                </c:pt>
                <c:pt idx="61317">
                  <c:v>31003</c:v>
                </c:pt>
                <c:pt idx="61318">
                  <c:v>31003</c:v>
                </c:pt>
                <c:pt idx="61319">
                  <c:v>31003</c:v>
                </c:pt>
                <c:pt idx="61320">
                  <c:v>31003</c:v>
                </c:pt>
                <c:pt idx="61321">
                  <c:v>31003</c:v>
                </c:pt>
                <c:pt idx="61322">
                  <c:v>31003</c:v>
                </c:pt>
                <c:pt idx="61323">
                  <c:v>31002</c:v>
                </c:pt>
                <c:pt idx="61324">
                  <c:v>31002</c:v>
                </c:pt>
                <c:pt idx="61325">
                  <c:v>31002</c:v>
                </c:pt>
                <c:pt idx="61326">
                  <c:v>31002</c:v>
                </c:pt>
                <c:pt idx="61327">
                  <c:v>31002</c:v>
                </c:pt>
                <c:pt idx="61328">
                  <c:v>31001</c:v>
                </c:pt>
                <c:pt idx="61329">
                  <c:v>31001</c:v>
                </c:pt>
                <c:pt idx="61330">
                  <c:v>31001</c:v>
                </c:pt>
                <c:pt idx="61331">
                  <c:v>31001</c:v>
                </c:pt>
                <c:pt idx="61332">
                  <c:v>31001</c:v>
                </c:pt>
                <c:pt idx="61333">
                  <c:v>31000</c:v>
                </c:pt>
                <c:pt idx="61334">
                  <c:v>31000</c:v>
                </c:pt>
                <c:pt idx="61335">
                  <c:v>31000</c:v>
                </c:pt>
                <c:pt idx="61336">
                  <c:v>31000</c:v>
                </c:pt>
                <c:pt idx="61337">
                  <c:v>31000</c:v>
                </c:pt>
                <c:pt idx="61338">
                  <c:v>31000</c:v>
                </c:pt>
                <c:pt idx="61339">
                  <c:v>30999</c:v>
                </c:pt>
                <c:pt idx="61340">
                  <c:v>30999</c:v>
                </c:pt>
                <c:pt idx="61341">
                  <c:v>30999</c:v>
                </c:pt>
                <c:pt idx="61342">
                  <c:v>30999</c:v>
                </c:pt>
                <c:pt idx="61343">
                  <c:v>30999</c:v>
                </c:pt>
                <c:pt idx="61344">
                  <c:v>30998</c:v>
                </c:pt>
                <c:pt idx="61345">
                  <c:v>30998</c:v>
                </c:pt>
                <c:pt idx="61346">
                  <c:v>30998</c:v>
                </c:pt>
                <c:pt idx="61347">
                  <c:v>30998</c:v>
                </c:pt>
                <c:pt idx="61348">
                  <c:v>30997</c:v>
                </c:pt>
                <c:pt idx="61349">
                  <c:v>30997</c:v>
                </c:pt>
                <c:pt idx="61350">
                  <c:v>30997</c:v>
                </c:pt>
                <c:pt idx="61351">
                  <c:v>30997</c:v>
                </c:pt>
                <c:pt idx="61352">
                  <c:v>30997</c:v>
                </c:pt>
                <c:pt idx="61353">
                  <c:v>30997</c:v>
                </c:pt>
                <c:pt idx="61354">
                  <c:v>30997</c:v>
                </c:pt>
                <c:pt idx="61355">
                  <c:v>30996</c:v>
                </c:pt>
                <c:pt idx="61356">
                  <c:v>30996</c:v>
                </c:pt>
                <c:pt idx="61357">
                  <c:v>30996</c:v>
                </c:pt>
                <c:pt idx="61358">
                  <c:v>30996</c:v>
                </c:pt>
                <c:pt idx="61359">
                  <c:v>30996</c:v>
                </c:pt>
                <c:pt idx="61360">
                  <c:v>30996</c:v>
                </c:pt>
                <c:pt idx="61361">
                  <c:v>30995</c:v>
                </c:pt>
                <c:pt idx="61362">
                  <c:v>30995</c:v>
                </c:pt>
                <c:pt idx="61363">
                  <c:v>30995</c:v>
                </c:pt>
                <c:pt idx="61364">
                  <c:v>30995</c:v>
                </c:pt>
                <c:pt idx="61365">
                  <c:v>30995</c:v>
                </c:pt>
                <c:pt idx="61366">
                  <c:v>30994</c:v>
                </c:pt>
                <c:pt idx="61367">
                  <c:v>30994</c:v>
                </c:pt>
                <c:pt idx="61368">
                  <c:v>30994</c:v>
                </c:pt>
                <c:pt idx="61369">
                  <c:v>30994</c:v>
                </c:pt>
                <c:pt idx="61370">
                  <c:v>30993</c:v>
                </c:pt>
                <c:pt idx="61371">
                  <c:v>30993</c:v>
                </c:pt>
                <c:pt idx="61372">
                  <c:v>30993</c:v>
                </c:pt>
                <c:pt idx="61373">
                  <c:v>30993</c:v>
                </c:pt>
                <c:pt idx="61374">
                  <c:v>30993</c:v>
                </c:pt>
                <c:pt idx="61375">
                  <c:v>30992</c:v>
                </c:pt>
                <c:pt idx="61376">
                  <c:v>30992</c:v>
                </c:pt>
                <c:pt idx="61377">
                  <c:v>30992</c:v>
                </c:pt>
                <c:pt idx="61378">
                  <c:v>30992</c:v>
                </c:pt>
                <c:pt idx="61379">
                  <c:v>30992</c:v>
                </c:pt>
                <c:pt idx="61380">
                  <c:v>30991</c:v>
                </c:pt>
                <c:pt idx="61381">
                  <c:v>30991</c:v>
                </c:pt>
                <c:pt idx="61382">
                  <c:v>30991</c:v>
                </c:pt>
                <c:pt idx="61383">
                  <c:v>30991</c:v>
                </c:pt>
                <c:pt idx="61384">
                  <c:v>30991</c:v>
                </c:pt>
                <c:pt idx="61385">
                  <c:v>30991</c:v>
                </c:pt>
                <c:pt idx="61386">
                  <c:v>30990</c:v>
                </c:pt>
                <c:pt idx="61387">
                  <c:v>30990</c:v>
                </c:pt>
                <c:pt idx="61388">
                  <c:v>30990</c:v>
                </c:pt>
                <c:pt idx="61389">
                  <c:v>30990</c:v>
                </c:pt>
                <c:pt idx="61390">
                  <c:v>30990</c:v>
                </c:pt>
                <c:pt idx="61391">
                  <c:v>30990</c:v>
                </c:pt>
                <c:pt idx="61392">
                  <c:v>30990</c:v>
                </c:pt>
                <c:pt idx="61393">
                  <c:v>30990</c:v>
                </c:pt>
                <c:pt idx="61394">
                  <c:v>30989</c:v>
                </c:pt>
                <c:pt idx="61395">
                  <c:v>30989</c:v>
                </c:pt>
                <c:pt idx="61396">
                  <c:v>30989</c:v>
                </c:pt>
                <c:pt idx="61397">
                  <c:v>30989</c:v>
                </c:pt>
                <c:pt idx="61398">
                  <c:v>30989</c:v>
                </c:pt>
                <c:pt idx="61399">
                  <c:v>30989</c:v>
                </c:pt>
                <c:pt idx="61400">
                  <c:v>30988</c:v>
                </c:pt>
                <c:pt idx="61401">
                  <c:v>30988</c:v>
                </c:pt>
                <c:pt idx="61402">
                  <c:v>30988</c:v>
                </c:pt>
                <c:pt idx="61403">
                  <c:v>30988</c:v>
                </c:pt>
                <c:pt idx="61404">
                  <c:v>30988</c:v>
                </c:pt>
                <c:pt idx="61405">
                  <c:v>30987</c:v>
                </c:pt>
                <c:pt idx="61406">
                  <c:v>30987</c:v>
                </c:pt>
                <c:pt idx="61407">
                  <c:v>30987</c:v>
                </c:pt>
                <c:pt idx="61408">
                  <c:v>30987</c:v>
                </c:pt>
                <c:pt idx="61409">
                  <c:v>30987</c:v>
                </c:pt>
                <c:pt idx="61410">
                  <c:v>30987</c:v>
                </c:pt>
                <c:pt idx="61411">
                  <c:v>30987</c:v>
                </c:pt>
                <c:pt idx="61412">
                  <c:v>30987</c:v>
                </c:pt>
                <c:pt idx="61413">
                  <c:v>30987</c:v>
                </c:pt>
                <c:pt idx="61414">
                  <c:v>30986</c:v>
                </c:pt>
                <c:pt idx="61415">
                  <c:v>30986</c:v>
                </c:pt>
                <c:pt idx="61416">
                  <c:v>30986</c:v>
                </c:pt>
                <c:pt idx="61417">
                  <c:v>30986</c:v>
                </c:pt>
                <c:pt idx="61418">
                  <c:v>30986</c:v>
                </c:pt>
                <c:pt idx="61419">
                  <c:v>30986</c:v>
                </c:pt>
                <c:pt idx="61420">
                  <c:v>30986</c:v>
                </c:pt>
                <c:pt idx="61421">
                  <c:v>30986</c:v>
                </c:pt>
                <c:pt idx="61422">
                  <c:v>30985</c:v>
                </c:pt>
                <c:pt idx="61423">
                  <c:v>30984</c:v>
                </c:pt>
                <c:pt idx="61424">
                  <c:v>30984</c:v>
                </c:pt>
                <c:pt idx="61425">
                  <c:v>30984</c:v>
                </c:pt>
                <c:pt idx="61426">
                  <c:v>30984</c:v>
                </c:pt>
                <c:pt idx="61427">
                  <c:v>30984</c:v>
                </c:pt>
                <c:pt idx="61428">
                  <c:v>30984</c:v>
                </c:pt>
                <c:pt idx="61429">
                  <c:v>30982</c:v>
                </c:pt>
                <c:pt idx="61430">
                  <c:v>30982</c:v>
                </c:pt>
                <c:pt idx="61431">
                  <c:v>30982</c:v>
                </c:pt>
                <c:pt idx="61432">
                  <c:v>30981</c:v>
                </c:pt>
                <c:pt idx="61433">
                  <c:v>30981</c:v>
                </c:pt>
                <c:pt idx="61434">
                  <c:v>30981</c:v>
                </c:pt>
                <c:pt idx="61435">
                  <c:v>30981</c:v>
                </c:pt>
                <c:pt idx="61436">
                  <c:v>30981</c:v>
                </c:pt>
                <c:pt idx="61437">
                  <c:v>30981</c:v>
                </c:pt>
                <c:pt idx="61438">
                  <c:v>30981</c:v>
                </c:pt>
                <c:pt idx="61439">
                  <c:v>30980</c:v>
                </c:pt>
                <c:pt idx="61440">
                  <c:v>30980</c:v>
                </c:pt>
                <c:pt idx="61441">
                  <c:v>30980</c:v>
                </c:pt>
                <c:pt idx="61442">
                  <c:v>30980</c:v>
                </c:pt>
                <c:pt idx="61443">
                  <c:v>30979</c:v>
                </c:pt>
                <c:pt idx="61444">
                  <c:v>30979</c:v>
                </c:pt>
                <c:pt idx="61445">
                  <c:v>30979</c:v>
                </c:pt>
                <c:pt idx="61446">
                  <c:v>30979</c:v>
                </c:pt>
                <c:pt idx="61447">
                  <c:v>30979</c:v>
                </c:pt>
                <c:pt idx="61448">
                  <c:v>30978</c:v>
                </c:pt>
                <c:pt idx="61449">
                  <c:v>30978</c:v>
                </c:pt>
                <c:pt idx="61450">
                  <c:v>30978</c:v>
                </c:pt>
                <c:pt idx="61451">
                  <c:v>30978</c:v>
                </c:pt>
                <c:pt idx="61452">
                  <c:v>30978</c:v>
                </c:pt>
                <c:pt idx="61453">
                  <c:v>30978</c:v>
                </c:pt>
                <c:pt idx="61454">
                  <c:v>30978</c:v>
                </c:pt>
                <c:pt idx="61455">
                  <c:v>30977</c:v>
                </c:pt>
                <c:pt idx="61456">
                  <c:v>30977</c:v>
                </c:pt>
                <c:pt idx="61457">
                  <c:v>30977</c:v>
                </c:pt>
                <c:pt idx="61458">
                  <c:v>30977</c:v>
                </c:pt>
                <c:pt idx="61459">
                  <c:v>30977</c:v>
                </c:pt>
                <c:pt idx="61460">
                  <c:v>30977</c:v>
                </c:pt>
                <c:pt idx="61461">
                  <c:v>30976</c:v>
                </c:pt>
                <c:pt idx="61462">
                  <c:v>30976</c:v>
                </c:pt>
                <c:pt idx="61463">
                  <c:v>30975</c:v>
                </c:pt>
                <c:pt idx="61464">
                  <c:v>30975</c:v>
                </c:pt>
                <c:pt idx="61465">
                  <c:v>30975</c:v>
                </c:pt>
                <c:pt idx="61466">
                  <c:v>30974</c:v>
                </c:pt>
                <c:pt idx="61467">
                  <c:v>30974</c:v>
                </c:pt>
                <c:pt idx="61468">
                  <c:v>30974</c:v>
                </c:pt>
                <c:pt idx="61469">
                  <c:v>30973</c:v>
                </c:pt>
                <c:pt idx="61470">
                  <c:v>30973</c:v>
                </c:pt>
                <c:pt idx="61471">
                  <c:v>30972</c:v>
                </c:pt>
                <c:pt idx="61472">
                  <c:v>30972</c:v>
                </c:pt>
                <c:pt idx="61473">
                  <c:v>30972</c:v>
                </c:pt>
                <c:pt idx="61474">
                  <c:v>30972</c:v>
                </c:pt>
                <c:pt idx="61475">
                  <c:v>30972</c:v>
                </c:pt>
                <c:pt idx="61476">
                  <c:v>30971</c:v>
                </c:pt>
                <c:pt idx="61477">
                  <c:v>30971</c:v>
                </c:pt>
                <c:pt idx="61478">
                  <c:v>30971</c:v>
                </c:pt>
                <c:pt idx="61479">
                  <c:v>30971</c:v>
                </c:pt>
                <c:pt idx="61480">
                  <c:v>30971</c:v>
                </c:pt>
                <c:pt idx="61481">
                  <c:v>30970</c:v>
                </c:pt>
                <c:pt idx="61482">
                  <c:v>30970</c:v>
                </c:pt>
                <c:pt idx="61483">
                  <c:v>30970</c:v>
                </c:pt>
                <c:pt idx="61484">
                  <c:v>30970</c:v>
                </c:pt>
                <c:pt idx="61485">
                  <c:v>30970</c:v>
                </c:pt>
                <c:pt idx="61486">
                  <c:v>30970</c:v>
                </c:pt>
                <c:pt idx="61487">
                  <c:v>30969</c:v>
                </c:pt>
                <c:pt idx="61488">
                  <c:v>30969</c:v>
                </c:pt>
                <c:pt idx="61489">
                  <c:v>30969</c:v>
                </c:pt>
                <c:pt idx="61490">
                  <c:v>30969</c:v>
                </c:pt>
                <c:pt idx="61491">
                  <c:v>30969</c:v>
                </c:pt>
                <c:pt idx="61492">
                  <c:v>30969</c:v>
                </c:pt>
                <c:pt idx="61493">
                  <c:v>30969</c:v>
                </c:pt>
                <c:pt idx="61494">
                  <c:v>30969</c:v>
                </c:pt>
                <c:pt idx="61495">
                  <c:v>30968</c:v>
                </c:pt>
                <c:pt idx="61496">
                  <c:v>30968</c:v>
                </c:pt>
                <c:pt idx="61497">
                  <c:v>30968</c:v>
                </c:pt>
                <c:pt idx="61498">
                  <c:v>30968</c:v>
                </c:pt>
                <c:pt idx="61499">
                  <c:v>30968</c:v>
                </c:pt>
                <c:pt idx="61500">
                  <c:v>30968</c:v>
                </c:pt>
                <c:pt idx="61501">
                  <c:v>30967</c:v>
                </c:pt>
                <c:pt idx="61502">
                  <c:v>30967</c:v>
                </c:pt>
                <c:pt idx="61503">
                  <c:v>30967</c:v>
                </c:pt>
                <c:pt idx="61504">
                  <c:v>30967</c:v>
                </c:pt>
                <c:pt idx="61505">
                  <c:v>30966</c:v>
                </c:pt>
                <c:pt idx="61506">
                  <c:v>30966</c:v>
                </c:pt>
                <c:pt idx="61507">
                  <c:v>30966</c:v>
                </c:pt>
                <c:pt idx="61508">
                  <c:v>30966</c:v>
                </c:pt>
                <c:pt idx="61509">
                  <c:v>30966</c:v>
                </c:pt>
                <c:pt idx="61510">
                  <c:v>30966</c:v>
                </c:pt>
                <c:pt idx="61511">
                  <c:v>30966</c:v>
                </c:pt>
                <c:pt idx="61512">
                  <c:v>30966</c:v>
                </c:pt>
                <c:pt idx="61513">
                  <c:v>30966</c:v>
                </c:pt>
                <c:pt idx="61514">
                  <c:v>30966</c:v>
                </c:pt>
                <c:pt idx="61515">
                  <c:v>30966</c:v>
                </c:pt>
                <c:pt idx="61516">
                  <c:v>30965</c:v>
                </c:pt>
                <c:pt idx="61517">
                  <c:v>30965</c:v>
                </c:pt>
                <c:pt idx="61518">
                  <c:v>30965</c:v>
                </c:pt>
                <c:pt idx="61519">
                  <c:v>30964</c:v>
                </c:pt>
                <c:pt idx="61520">
                  <c:v>30964</c:v>
                </c:pt>
                <c:pt idx="61521">
                  <c:v>30964</c:v>
                </c:pt>
                <c:pt idx="61522">
                  <c:v>30964</c:v>
                </c:pt>
                <c:pt idx="61523">
                  <c:v>30964</c:v>
                </c:pt>
                <c:pt idx="61524">
                  <c:v>30964</c:v>
                </c:pt>
                <c:pt idx="61525">
                  <c:v>30963</c:v>
                </c:pt>
                <c:pt idx="61526">
                  <c:v>30963</c:v>
                </c:pt>
                <c:pt idx="61527">
                  <c:v>30963</c:v>
                </c:pt>
                <c:pt idx="61528">
                  <c:v>30963</c:v>
                </c:pt>
                <c:pt idx="61529">
                  <c:v>30963</c:v>
                </c:pt>
                <c:pt idx="61530">
                  <c:v>30963</c:v>
                </c:pt>
                <c:pt idx="61531">
                  <c:v>30963</c:v>
                </c:pt>
                <c:pt idx="61532">
                  <c:v>30962</c:v>
                </c:pt>
                <c:pt idx="61533">
                  <c:v>30962</c:v>
                </c:pt>
                <c:pt idx="61534">
                  <c:v>30962</c:v>
                </c:pt>
                <c:pt idx="61535">
                  <c:v>30962</c:v>
                </c:pt>
                <c:pt idx="61536">
                  <c:v>30962</c:v>
                </c:pt>
                <c:pt idx="61537">
                  <c:v>30962</c:v>
                </c:pt>
                <c:pt idx="61538">
                  <c:v>30962</c:v>
                </c:pt>
                <c:pt idx="61539">
                  <c:v>30962</c:v>
                </c:pt>
                <c:pt idx="61540">
                  <c:v>30961</c:v>
                </c:pt>
                <c:pt idx="61541">
                  <c:v>30961</c:v>
                </c:pt>
                <c:pt idx="61542">
                  <c:v>30961</c:v>
                </c:pt>
                <c:pt idx="61543">
                  <c:v>30960</c:v>
                </c:pt>
                <c:pt idx="61544">
                  <c:v>30960</c:v>
                </c:pt>
                <c:pt idx="61545">
                  <c:v>30960</c:v>
                </c:pt>
                <c:pt idx="61546">
                  <c:v>30960</c:v>
                </c:pt>
                <c:pt idx="61547">
                  <c:v>30960</c:v>
                </c:pt>
                <c:pt idx="61548">
                  <c:v>30960</c:v>
                </c:pt>
                <c:pt idx="61549">
                  <c:v>30960</c:v>
                </c:pt>
                <c:pt idx="61550">
                  <c:v>30960</c:v>
                </c:pt>
                <c:pt idx="61551">
                  <c:v>30960</c:v>
                </c:pt>
                <c:pt idx="61552">
                  <c:v>30959</c:v>
                </c:pt>
                <c:pt idx="61553">
                  <c:v>30959</c:v>
                </c:pt>
                <c:pt idx="61554">
                  <c:v>30959</c:v>
                </c:pt>
                <c:pt idx="61555">
                  <c:v>30959</c:v>
                </c:pt>
                <c:pt idx="61556">
                  <c:v>30959</c:v>
                </c:pt>
                <c:pt idx="61557">
                  <c:v>30958</c:v>
                </c:pt>
                <c:pt idx="61558">
                  <c:v>30958</c:v>
                </c:pt>
                <c:pt idx="61559">
                  <c:v>30958</c:v>
                </c:pt>
                <c:pt idx="61560">
                  <c:v>30958</c:v>
                </c:pt>
                <c:pt idx="61561">
                  <c:v>30958</c:v>
                </c:pt>
                <c:pt idx="61562">
                  <c:v>30958</c:v>
                </c:pt>
                <c:pt idx="61563">
                  <c:v>30958</c:v>
                </c:pt>
                <c:pt idx="61564">
                  <c:v>30958</c:v>
                </c:pt>
                <c:pt idx="61565">
                  <c:v>30958</c:v>
                </c:pt>
                <c:pt idx="61566">
                  <c:v>30957</c:v>
                </c:pt>
                <c:pt idx="61567">
                  <c:v>30957</c:v>
                </c:pt>
                <c:pt idx="61568">
                  <c:v>30957</c:v>
                </c:pt>
                <c:pt idx="61569">
                  <c:v>30956</c:v>
                </c:pt>
                <c:pt idx="61570">
                  <c:v>30956</c:v>
                </c:pt>
                <c:pt idx="61571">
                  <c:v>30956</c:v>
                </c:pt>
                <c:pt idx="61572">
                  <c:v>30956</c:v>
                </c:pt>
                <c:pt idx="61573">
                  <c:v>30955</c:v>
                </c:pt>
                <c:pt idx="61574">
                  <c:v>30955</c:v>
                </c:pt>
                <c:pt idx="61575">
                  <c:v>30955</c:v>
                </c:pt>
                <c:pt idx="61576">
                  <c:v>30955</c:v>
                </c:pt>
                <c:pt idx="61577">
                  <c:v>30955</c:v>
                </c:pt>
                <c:pt idx="61578">
                  <c:v>30955</c:v>
                </c:pt>
                <c:pt idx="61579">
                  <c:v>30955</c:v>
                </c:pt>
                <c:pt idx="61580">
                  <c:v>30955</c:v>
                </c:pt>
                <c:pt idx="61581">
                  <c:v>30954</c:v>
                </c:pt>
                <c:pt idx="61582">
                  <c:v>30954</c:v>
                </c:pt>
                <c:pt idx="61583">
                  <c:v>30954</c:v>
                </c:pt>
                <c:pt idx="61584">
                  <c:v>30954</c:v>
                </c:pt>
                <c:pt idx="61585">
                  <c:v>30954</c:v>
                </c:pt>
                <c:pt idx="61586">
                  <c:v>30954</c:v>
                </c:pt>
                <c:pt idx="61587">
                  <c:v>30953</c:v>
                </c:pt>
                <c:pt idx="61588">
                  <c:v>30953</c:v>
                </c:pt>
                <c:pt idx="61589">
                  <c:v>30953</c:v>
                </c:pt>
                <c:pt idx="61590">
                  <c:v>30952</c:v>
                </c:pt>
                <c:pt idx="61591">
                  <c:v>30952</c:v>
                </c:pt>
                <c:pt idx="61592">
                  <c:v>30952</c:v>
                </c:pt>
                <c:pt idx="61593">
                  <c:v>30952</c:v>
                </c:pt>
                <c:pt idx="61594">
                  <c:v>30952</c:v>
                </c:pt>
                <c:pt idx="61595">
                  <c:v>30952</c:v>
                </c:pt>
                <c:pt idx="61596">
                  <c:v>30952</c:v>
                </c:pt>
                <c:pt idx="61597">
                  <c:v>30952</c:v>
                </c:pt>
                <c:pt idx="61598">
                  <c:v>30951</c:v>
                </c:pt>
                <c:pt idx="61599">
                  <c:v>30951</c:v>
                </c:pt>
                <c:pt idx="61600">
                  <c:v>30951</c:v>
                </c:pt>
                <c:pt idx="61601">
                  <c:v>30951</c:v>
                </c:pt>
                <c:pt idx="61602">
                  <c:v>30951</c:v>
                </c:pt>
                <c:pt idx="61603">
                  <c:v>30951</c:v>
                </c:pt>
                <c:pt idx="61604">
                  <c:v>30950</c:v>
                </c:pt>
                <c:pt idx="61605">
                  <c:v>30950</c:v>
                </c:pt>
                <c:pt idx="61606">
                  <c:v>30950</c:v>
                </c:pt>
                <c:pt idx="61607">
                  <c:v>30950</c:v>
                </c:pt>
                <c:pt idx="61608">
                  <c:v>30949</c:v>
                </c:pt>
                <c:pt idx="61609">
                  <c:v>30949</c:v>
                </c:pt>
                <c:pt idx="61610">
                  <c:v>30949</c:v>
                </c:pt>
                <c:pt idx="61611">
                  <c:v>30949</c:v>
                </c:pt>
                <c:pt idx="61612">
                  <c:v>30948</c:v>
                </c:pt>
                <c:pt idx="61613">
                  <c:v>30948</c:v>
                </c:pt>
                <c:pt idx="61614">
                  <c:v>30948</c:v>
                </c:pt>
                <c:pt idx="61615">
                  <c:v>30948</c:v>
                </c:pt>
                <c:pt idx="61616">
                  <c:v>30947</c:v>
                </c:pt>
                <c:pt idx="61617">
                  <c:v>30947</c:v>
                </c:pt>
                <c:pt idx="61618">
                  <c:v>30947</c:v>
                </c:pt>
                <c:pt idx="61619">
                  <c:v>30947</c:v>
                </c:pt>
                <c:pt idx="61620">
                  <c:v>30947</c:v>
                </c:pt>
                <c:pt idx="61621">
                  <c:v>30946</c:v>
                </c:pt>
                <c:pt idx="61622">
                  <c:v>30946</c:v>
                </c:pt>
                <c:pt idx="61623">
                  <c:v>30946</c:v>
                </c:pt>
                <c:pt idx="61624">
                  <c:v>30946</c:v>
                </c:pt>
                <c:pt idx="61625">
                  <c:v>30946</c:v>
                </c:pt>
                <c:pt idx="61626">
                  <c:v>30946</c:v>
                </c:pt>
                <c:pt idx="61627">
                  <c:v>30946</c:v>
                </c:pt>
                <c:pt idx="61628">
                  <c:v>30945</c:v>
                </c:pt>
                <c:pt idx="61629">
                  <c:v>30945</c:v>
                </c:pt>
                <c:pt idx="61630">
                  <c:v>30945</c:v>
                </c:pt>
                <c:pt idx="61631">
                  <c:v>30945</c:v>
                </c:pt>
                <c:pt idx="61632">
                  <c:v>30945</c:v>
                </c:pt>
                <c:pt idx="61633">
                  <c:v>30944</c:v>
                </c:pt>
                <c:pt idx="61634">
                  <c:v>30944</c:v>
                </c:pt>
                <c:pt idx="61635">
                  <c:v>30944</c:v>
                </c:pt>
                <c:pt idx="61636">
                  <c:v>30944</c:v>
                </c:pt>
                <c:pt idx="61637">
                  <c:v>30944</c:v>
                </c:pt>
                <c:pt idx="61638">
                  <c:v>30944</c:v>
                </c:pt>
                <c:pt idx="61639">
                  <c:v>30944</c:v>
                </c:pt>
                <c:pt idx="61640">
                  <c:v>30944</c:v>
                </c:pt>
                <c:pt idx="61641">
                  <c:v>30943</c:v>
                </c:pt>
                <c:pt idx="61642">
                  <c:v>30943</c:v>
                </c:pt>
                <c:pt idx="61643">
                  <c:v>30943</c:v>
                </c:pt>
                <c:pt idx="61644">
                  <c:v>30943</c:v>
                </c:pt>
                <c:pt idx="61645">
                  <c:v>30943</c:v>
                </c:pt>
                <c:pt idx="61646">
                  <c:v>30943</c:v>
                </c:pt>
                <c:pt idx="61647">
                  <c:v>30943</c:v>
                </c:pt>
                <c:pt idx="61648">
                  <c:v>30942</c:v>
                </c:pt>
                <c:pt idx="61649">
                  <c:v>30942</c:v>
                </c:pt>
                <c:pt idx="61650">
                  <c:v>30942</c:v>
                </c:pt>
                <c:pt idx="61651">
                  <c:v>30942</c:v>
                </c:pt>
                <c:pt idx="61652">
                  <c:v>30942</c:v>
                </c:pt>
                <c:pt idx="61653">
                  <c:v>30942</c:v>
                </c:pt>
                <c:pt idx="61654">
                  <c:v>30942</c:v>
                </c:pt>
                <c:pt idx="61655">
                  <c:v>30942</c:v>
                </c:pt>
                <c:pt idx="61656">
                  <c:v>30941</c:v>
                </c:pt>
                <c:pt idx="61657">
                  <c:v>30941</c:v>
                </c:pt>
                <c:pt idx="61658">
                  <c:v>30941</c:v>
                </c:pt>
                <c:pt idx="61659">
                  <c:v>30941</c:v>
                </c:pt>
                <c:pt idx="61660">
                  <c:v>30940</c:v>
                </c:pt>
                <c:pt idx="61661">
                  <c:v>30940</c:v>
                </c:pt>
                <c:pt idx="61662">
                  <c:v>30940</c:v>
                </c:pt>
                <c:pt idx="61663">
                  <c:v>30939</c:v>
                </c:pt>
                <c:pt idx="61664">
                  <c:v>30939</c:v>
                </c:pt>
                <c:pt idx="61665">
                  <c:v>30939</c:v>
                </c:pt>
                <c:pt idx="61666">
                  <c:v>30939</c:v>
                </c:pt>
                <c:pt idx="61667">
                  <c:v>30939</c:v>
                </c:pt>
                <c:pt idx="61668">
                  <c:v>30939</c:v>
                </c:pt>
                <c:pt idx="61669">
                  <c:v>30939</c:v>
                </c:pt>
                <c:pt idx="61670">
                  <c:v>30939</c:v>
                </c:pt>
                <c:pt idx="61671">
                  <c:v>30938</c:v>
                </c:pt>
                <c:pt idx="61672">
                  <c:v>30938</c:v>
                </c:pt>
                <c:pt idx="61673">
                  <c:v>30937</c:v>
                </c:pt>
                <c:pt idx="61674">
                  <c:v>30937</c:v>
                </c:pt>
                <c:pt idx="61675">
                  <c:v>30937</c:v>
                </c:pt>
                <c:pt idx="61676">
                  <c:v>30937</c:v>
                </c:pt>
                <c:pt idx="61677">
                  <c:v>30936</c:v>
                </c:pt>
                <c:pt idx="61678">
                  <c:v>30936</c:v>
                </c:pt>
                <c:pt idx="61679">
                  <c:v>30936</c:v>
                </c:pt>
                <c:pt idx="61680">
                  <c:v>30935</c:v>
                </c:pt>
                <c:pt idx="61681">
                  <c:v>30935</c:v>
                </c:pt>
                <c:pt idx="61682">
                  <c:v>30935</c:v>
                </c:pt>
                <c:pt idx="61683">
                  <c:v>30934</c:v>
                </c:pt>
                <c:pt idx="61684">
                  <c:v>30934</c:v>
                </c:pt>
                <c:pt idx="61685">
                  <c:v>30934</c:v>
                </c:pt>
                <c:pt idx="61686">
                  <c:v>30934</c:v>
                </c:pt>
                <c:pt idx="61687">
                  <c:v>30934</c:v>
                </c:pt>
                <c:pt idx="61688">
                  <c:v>30934</c:v>
                </c:pt>
                <c:pt idx="61689">
                  <c:v>30933</c:v>
                </c:pt>
                <c:pt idx="61690">
                  <c:v>30933</c:v>
                </c:pt>
                <c:pt idx="61691">
                  <c:v>30933</c:v>
                </c:pt>
                <c:pt idx="61692">
                  <c:v>30933</c:v>
                </c:pt>
                <c:pt idx="61693">
                  <c:v>30933</c:v>
                </c:pt>
                <c:pt idx="61694">
                  <c:v>30933</c:v>
                </c:pt>
                <c:pt idx="61695">
                  <c:v>30933</c:v>
                </c:pt>
                <c:pt idx="61696">
                  <c:v>30932</c:v>
                </c:pt>
                <c:pt idx="61697">
                  <c:v>30932</c:v>
                </c:pt>
                <c:pt idx="61698">
                  <c:v>30932</c:v>
                </c:pt>
                <c:pt idx="61699">
                  <c:v>30932</c:v>
                </c:pt>
                <c:pt idx="61700">
                  <c:v>30932</c:v>
                </c:pt>
                <c:pt idx="61701">
                  <c:v>30932</c:v>
                </c:pt>
                <c:pt idx="61702">
                  <c:v>30931</c:v>
                </c:pt>
                <c:pt idx="61703">
                  <c:v>30931</c:v>
                </c:pt>
                <c:pt idx="61704">
                  <c:v>30931</c:v>
                </c:pt>
                <c:pt idx="61705">
                  <c:v>30931</c:v>
                </c:pt>
                <c:pt idx="61706">
                  <c:v>30931</c:v>
                </c:pt>
                <c:pt idx="61707">
                  <c:v>30931</c:v>
                </c:pt>
                <c:pt idx="61708">
                  <c:v>30931</c:v>
                </c:pt>
                <c:pt idx="61709">
                  <c:v>30930</c:v>
                </c:pt>
                <c:pt idx="61710">
                  <c:v>30930</c:v>
                </c:pt>
                <c:pt idx="61711">
                  <c:v>30930</c:v>
                </c:pt>
                <c:pt idx="61712">
                  <c:v>30930</c:v>
                </c:pt>
                <c:pt idx="61713">
                  <c:v>30930</c:v>
                </c:pt>
                <c:pt idx="61714">
                  <c:v>30930</c:v>
                </c:pt>
                <c:pt idx="61715">
                  <c:v>30930</c:v>
                </c:pt>
                <c:pt idx="61716">
                  <c:v>30930</c:v>
                </c:pt>
                <c:pt idx="61717">
                  <c:v>30930</c:v>
                </c:pt>
                <c:pt idx="61718">
                  <c:v>30930</c:v>
                </c:pt>
                <c:pt idx="61719">
                  <c:v>30929</c:v>
                </c:pt>
                <c:pt idx="61720">
                  <c:v>30929</c:v>
                </c:pt>
                <c:pt idx="61721">
                  <c:v>30929</c:v>
                </c:pt>
                <c:pt idx="61722">
                  <c:v>30929</c:v>
                </c:pt>
                <c:pt idx="61723">
                  <c:v>30929</c:v>
                </c:pt>
                <c:pt idx="61724">
                  <c:v>30928</c:v>
                </c:pt>
                <c:pt idx="61725">
                  <c:v>30928</c:v>
                </c:pt>
                <c:pt idx="61726">
                  <c:v>30928</c:v>
                </c:pt>
                <c:pt idx="61727">
                  <c:v>30928</c:v>
                </c:pt>
                <c:pt idx="61728">
                  <c:v>30928</c:v>
                </c:pt>
                <c:pt idx="61729">
                  <c:v>30928</c:v>
                </c:pt>
                <c:pt idx="61730">
                  <c:v>30928</c:v>
                </c:pt>
                <c:pt idx="61731">
                  <c:v>30928</c:v>
                </c:pt>
                <c:pt idx="61732">
                  <c:v>30927</c:v>
                </c:pt>
                <c:pt idx="61733">
                  <c:v>30927</c:v>
                </c:pt>
                <c:pt idx="61734">
                  <c:v>30927</c:v>
                </c:pt>
                <c:pt idx="61735">
                  <c:v>30927</c:v>
                </c:pt>
                <c:pt idx="61736">
                  <c:v>30926</c:v>
                </c:pt>
                <c:pt idx="61737">
                  <c:v>30926</c:v>
                </c:pt>
                <c:pt idx="61738">
                  <c:v>30926</c:v>
                </c:pt>
                <c:pt idx="61739">
                  <c:v>30926</c:v>
                </c:pt>
                <c:pt idx="61740">
                  <c:v>30926</c:v>
                </c:pt>
                <c:pt idx="61741">
                  <c:v>30925</c:v>
                </c:pt>
                <c:pt idx="61742">
                  <c:v>30925</c:v>
                </c:pt>
                <c:pt idx="61743">
                  <c:v>30925</c:v>
                </c:pt>
                <c:pt idx="61744">
                  <c:v>30924</c:v>
                </c:pt>
                <c:pt idx="61745">
                  <c:v>30924</c:v>
                </c:pt>
                <c:pt idx="61746">
                  <c:v>30924</c:v>
                </c:pt>
                <c:pt idx="61747">
                  <c:v>30924</c:v>
                </c:pt>
                <c:pt idx="61748">
                  <c:v>30923</c:v>
                </c:pt>
                <c:pt idx="61749">
                  <c:v>30923</c:v>
                </c:pt>
                <c:pt idx="61750">
                  <c:v>30923</c:v>
                </c:pt>
                <c:pt idx="61751">
                  <c:v>30923</c:v>
                </c:pt>
                <c:pt idx="61752">
                  <c:v>30923</c:v>
                </c:pt>
                <c:pt idx="61753">
                  <c:v>30923</c:v>
                </c:pt>
                <c:pt idx="61754">
                  <c:v>30923</c:v>
                </c:pt>
                <c:pt idx="61755">
                  <c:v>30922</c:v>
                </c:pt>
                <c:pt idx="61756">
                  <c:v>30922</c:v>
                </c:pt>
                <c:pt idx="61757">
                  <c:v>30922</c:v>
                </c:pt>
                <c:pt idx="61758">
                  <c:v>30922</c:v>
                </c:pt>
                <c:pt idx="61759">
                  <c:v>30922</c:v>
                </c:pt>
                <c:pt idx="61760">
                  <c:v>30922</c:v>
                </c:pt>
                <c:pt idx="61761">
                  <c:v>30921</c:v>
                </c:pt>
                <c:pt idx="61762">
                  <c:v>30921</c:v>
                </c:pt>
                <c:pt idx="61763">
                  <c:v>30921</c:v>
                </c:pt>
                <c:pt idx="61764">
                  <c:v>30921</c:v>
                </c:pt>
                <c:pt idx="61765">
                  <c:v>30921</c:v>
                </c:pt>
                <c:pt idx="61766">
                  <c:v>30921</c:v>
                </c:pt>
                <c:pt idx="61767">
                  <c:v>30921</c:v>
                </c:pt>
                <c:pt idx="61768">
                  <c:v>30920</c:v>
                </c:pt>
                <c:pt idx="61769">
                  <c:v>30919</c:v>
                </c:pt>
                <c:pt idx="61770">
                  <c:v>30919</c:v>
                </c:pt>
                <c:pt idx="61771">
                  <c:v>30919</c:v>
                </c:pt>
                <c:pt idx="61772">
                  <c:v>30919</c:v>
                </c:pt>
                <c:pt idx="61773">
                  <c:v>30918</c:v>
                </c:pt>
                <c:pt idx="61774">
                  <c:v>30917</c:v>
                </c:pt>
                <c:pt idx="61775">
                  <c:v>30917</c:v>
                </c:pt>
                <c:pt idx="61776">
                  <c:v>30917</c:v>
                </c:pt>
                <c:pt idx="61777">
                  <c:v>30916</c:v>
                </c:pt>
                <c:pt idx="61778">
                  <c:v>30916</c:v>
                </c:pt>
                <c:pt idx="61779">
                  <c:v>30916</c:v>
                </c:pt>
                <c:pt idx="61780">
                  <c:v>30916</c:v>
                </c:pt>
                <c:pt idx="61781">
                  <c:v>30916</c:v>
                </c:pt>
                <c:pt idx="61782">
                  <c:v>30915</c:v>
                </c:pt>
                <c:pt idx="61783">
                  <c:v>30915</c:v>
                </c:pt>
                <c:pt idx="61784">
                  <c:v>30915</c:v>
                </c:pt>
                <c:pt idx="61785">
                  <c:v>30915</c:v>
                </c:pt>
                <c:pt idx="61786">
                  <c:v>30915</c:v>
                </c:pt>
                <c:pt idx="61787">
                  <c:v>30915</c:v>
                </c:pt>
                <c:pt idx="61788">
                  <c:v>30915</c:v>
                </c:pt>
                <c:pt idx="61789">
                  <c:v>30914</c:v>
                </c:pt>
                <c:pt idx="61790">
                  <c:v>30914</c:v>
                </c:pt>
                <c:pt idx="61791">
                  <c:v>30914</c:v>
                </c:pt>
                <c:pt idx="61792">
                  <c:v>30914</c:v>
                </c:pt>
                <c:pt idx="61793">
                  <c:v>30914</c:v>
                </c:pt>
                <c:pt idx="61794">
                  <c:v>30913</c:v>
                </c:pt>
                <c:pt idx="61795">
                  <c:v>30913</c:v>
                </c:pt>
                <c:pt idx="61796">
                  <c:v>30913</c:v>
                </c:pt>
                <c:pt idx="61797">
                  <c:v>30913</c:v>
                </c:pt>
                <c:pt idx="61798">
                  <c:v>30913</c:v>
                </c:pt>
                <c:pt idx="61799">
                  <c:v>30912</c:v>
                </c:pt>
                <c:pt idx="61800">
                  <c:v>30912</c:v>
                </c:pt>
                <c:pt idx="61801">
                  <c:v>30912</c:v>
                </c:pt>
                <c:pt idx="61802">
                  <c:v>30912</c:v>
                </c:pt>
                <c:pt idx="61803">
                  <c:v>30912</c:v>
                </c:pt>
                <c:pt idx="61804">
                  <c:v>30912</c:v>
                </c:pt>
                <c:pt idx="61805">
                  <c:v>30912</c:v>
                </c:pt>
                <c:pt idx="61806">
                  <c:v>30912</c:v>
                </c:pt>
                <c:pt idx="61807">
                  <c:v>30911</c:v>
                </c:pt>
                <c:pt idx="61808">
                  <c:v>30911</c:v>
                </c:pt>
                <c:pt idx="61809">
                  <c:v>30911</c:v>
                </c:pt>
                <c:pt idx="61810">
                  <c:v>30911</c:v>
                </c:pt>
                <c:pt idx="61811">
                  <c:v>30910</c:v>
                </c:pt>
                <c:pt idx="61812">
                  <c:v>30910</c:v>
                </c:pt>
                <c:pt idx="61813">
                  <c:v>30910</c:v>
                </c:pt>
                <c:pt idx="61814">
                  <c:v>30910</c:v>
                </c:pt>
                <c:pt idx="61815">
                  <c:v>30910</c:v>
                </c:pt>
                <c:pt idx="61816">
                  <c:v>30910</c:v>
                </c:pt>
                <c:pt idx="61817">
                  <c:v>30910</c:v>
                </c:pt>
                <c:pt idx="61818">
                  <c:v>30910</c:v>
                </c:pt>
                <c:pt idx="61819">
                  <c:v>30910</c:v>
                </c:pt>
                <c:pt idx="61820">
                  <c:v>30909</c:v>
                </c:pt>
                <c:pt idx="61821">
                  <c:v>30909</c:v>
                </c:pt>
                <c:pt idx="61822">
                  <c:v>30909</c:v>
                </c:pt>
                <c:pt idx="61823">
                  <c:v>30908</c:v>
                </c:pt>
                <c:pt idx="61824">
                  <c:v>30908</c:v>
                </c:pt>
                <c:pt idx="61825">
                  <c:v>30908</c:v>
                </c:pt>
                <c:pt idx="61826">
                  <c:v>30908</c:v>
                </c:pt>
                <c:pt idx="61827">
                  <c:v>30908</c:v>
                </c:pt>
                <c:pt idx="61828">
                  <c:v>30907</c:v>
                </c:pt>
                <c:pt idx="61829">
                  <c:v>30907</c:v>
                </c:pt>
                <c:pt idx="61830">
                  <c:v>30906</c:v>
                </c:pt>
                <c:pt idx="61831">
                  <c:v>30906</c:v>
                </c:pt>
                <c:pt idx="61832">
                  <c:v>30906</c:v>
                </c:pt>
                <c:pt idx="61833">
                  <c:v>30906</c:v>
                </c:pt>
                <c:pt idx="61834">
                  <c:v>30906</c:v>
                </c:pt>
                <c:pt idx="61835">
                  <c:v>30906</c:v>
                </c:pt>
                <c:pt idx="61836">
                  <c:v>30906</c:v>
                </c:pt>
                <c:pt idx="61837">
                  <c:v>30906</c:v>
                </c:pt>
                <c:pt idx="61838">
                  <c:v>30905</c:v>
                </c:pt>
                <c:pt idx="61839">
                  <c:v>30905</c:v>
                </c:pt>
                <c:pt idx="61840">
                  <c:v>30905</c:v>
                </c:pt>
                <c:pt idx="61841">
                  <c:v>30904</c:v>
                </c:pt>
                <c:pt idx="61842">
                  <c:v>30904</c:v>
                </c:pt>
                <c:pt idx="61843">
                  <c:v>30904</c:v>
                </c:pt>
                <c:pt idx="61844">
                  <c:v>30904</c:v>
                </c:pt>
                <c:pt idx="61845">
                  <c:v>30904</c:v>
                </c:pt>
                <c:pt idx="61846">
                  <c:v>30904</c:v>
                </c:pt>
                <c:pt idx="61847">
                  <c:v>30904</c:v>
                </c:pt>
                <c:pt idx="61848">
                  <c:v>30904</c:v>
                </c:pt>
                <c:pt idx="61849">
                  <c:v>30903</c:v>
                </c:pt>
                <c:pt idx="61850">
                  <c:v>30903</c:v>
                </c:pt>
                <c:pt idx="61851">
                  <c:v>30903</c:v>
                </c:pt>
                <c:pt idx="61852">
                  <c:v>30903</c:v>
                </c:pt>
                <c:pt idx="61853">
                  <c:v>30903</c:v>
                </c:pt>
                <c:pt idx="61854">
                  <c:v>30902</c:v>
                </c:pt>
                <c:pt idx="61855">
                  <c:v>30902</c:v>
                </c:pt>
                <c:pt idx="61856">
                  <c:v>30902</c:v>
                </c:pt>
                <c:pt idx="61857">
                  <c:v>30902</c:v>
                </c:pt>
                <c:pt idx="61858">
                  <c:v>30902</c:v>
                </c:pt>
                <c:pt idx="61859">
                  <c:v>30902</c:v>
                </c:pt>
                <c:pt idx="61860">
                  <c:v>30901</c:v>
                </c:pt>
                <c:pt idx="61861">
                  <c:v>30901</c:v>
                </c:pt>
                <c:pt idx="61862">
                  <c:v>30901</c:v>
                </c:pt>
                <c:pt idx="61863">
                  <c:v>30901</c:v>
                </c:pt>
                <c:pt idx="61864">
                  <c:v>30901</c:v>
                </c:pt>
                <c:pt idx="61865">
                  <c:v>30901</c:v>
                </c:pt>
                <c:pt idx="61866">
                  <c:v>30901</c:v>
                </c:pt>
                <c:pt idx="61867">
                  <c:v>30901</c:v>
                </c:pt>
                <c:pt idx="61868">
                  <c:v>30900</c:v>
                </c:pt>
                <c:pt idx="61869">
                  <c:v>30900</c:v>
                </c:pt>
                <c:pt idx="61870">
                  <c:v>30900</c:v>
                </c:pt>
                <c:pt idx="61871">
                  <c:v>30900</c:v>
                </c:pt>
                <c:pt idx="61872">
                  <c:v>30900</c:v>
                </c:pt>
                <c:pt idx="61873">
                  <c:v>30900</c:v>
                </c:pt>
                <c:pt idx="61874">
                  <c:v>30900</c:v>
                </c:pt>
                <c:pt idx="61875">
                  <c:v>30900</c:v>
                </c:pt>
                <c:pt idx="61876">
                  <c:v>30900</c:v>
                </c:pt>
                <c:pt idx="61877">
                  <c:v>30899</c:v>
                </c:pt>
                <c:pt idx="61878">
                  <c:v>30899</c:v>
                </c:pt>
                <c:pt idx="61879">
                  <c:v>30899</c:v>
                </c:pt>
                <c:pt idx="61880">
                  <c:v>30899</c:v>
                </c:pt>
                <c:pt idx="61881">
                  <c:v>30899</c:v>
                </c:pt>
                <c:pt idx="61882">
                  <c:v>30899</c:v>
                </c:pt>
                <c:pt idx="61883">
                  <c:v>30898</c:v>
                </c:pt>
                <c:pt idx="61884">
                  <c:v>30898</c:v>
                </c:pt>
                <c:pt idx="61885">
                  <c:v>30898</c:v>
                </c:pt>
                <c:pt idx="61886">
                  <c:v>30898</c:v>
                </c:pt>
                <c:pt idx="61887">
                  <c:v>30897</c:v>
                </c:pt>
                <c:pt idx="61888">
                  <c:v>30897</c:v>
                </c:pt>
                <c:pt idx="61889">
                  <c:v>30897</c:v>
                </c:pt>
                <c:pt idx="61890">
                  <c:v>30897</c:v>
                </c:pt>
                <c:pt idx="61891">
                  <c:v>30897</c:v>
                </c:pt>
                <c:pt idx="61892">
                  <c:v>30896</c:v>
                </c:pt>
                <c:pt idx="61893">
                  <c:v>30896</c:v>
                </c:pt>
                <c:pt idx="61894">
                  <c:v>30896</c:v>
                </c:pt>
                <c:pt idx="61895">
                  <c:v>30896</c:v>
                </c:pt>
                <c:pt idx="61896">
                  <c:v>30896</c:v>
                </c:pt>
                <c:pt idx="61897">
                  <c:v>30896</c:v>
                </c:pt>
                <c:pt idx="61898">
                  <c:v>30896</c:v>
                </c:pt>
                <c:pt idx="61899">
                  <c:v>30895</c:v>
                </c:pt>
                <c:pt idx="61900">
                  <c:v>30895</c:v>
                </c:pt>
                <c:pt idx="61901">
                  <c:v>30895</c:v>
                </c:pt>
                <c:pt idx="61902">
                  <c:v>30895</c:v>
                </c:pt>
                <c:pt idx="61903">
                  <c:v>30895</c:v>
                </c:pt>
                <c:pt idx="61904">
                  <c:v>30895</c:v>
                </c:pt>
                <c:pt idx="61905">
                  <c:v>30894</c:v>
                </c:pt>
                <c:pt idx="61906">
                  <c:v>30894</c:v>
                </c:pt>
                <c:pt idx="61907">
                  <c:v>30894</c:v>
                </c:pt>
                <c:pt idx="61908">
                  <c:v>30894</c:v>
                </c:pt>
                <c:pt idx="61909">
                  <c:v>30894</c:v>
                </c:pt>
                <c:pt idx="61910">
                  <c:v>30893</c:v>
                </c:pt>
                <c:pt idx="61911">
                  <c:v>30893</c:v>
                </c:pt>
                <c:pt idx="61912">
                  <c:v>30892</c:v>
                </c:pt>
                <c:pt idx="61913">
                  <c:v>30892</c:v>
                </c:pt>
                <c:pt idx="61914">
                  <c:v>30892</c:v>
                </c:pt>
                <c:pt idx="61915">
                  <c:v>30892</c:v>
                </c:pt>
                <c:pt idx="61916">
                  <c:v>30891</c:v>
                </c:pt>
                <c:pt idx="61917">
                  <c:v>30891</c:v>
                </c:pt>
                <c:pt idx="61918">
                  <c:v>30891</c:v>
                </c:pt>
                <c:pt idx="61919">
                  <c:v>30890</c:v>
                </c:pt>
                <c:pt idx="61920">
                  <c:v>30890</c:v>
                </c:pt>
                <c:pt idx="61921">
                  <c:v>30890</c:v>
                </c:pt>
                <c:pt idx="61922">
                  <c:v>30890</c:v>
                </c:pt>
                <c:pt idx="61923">
                  <c:v>30890</c:v>
                </c:pt>
                <c:pt idx="61924">
                  <c:v>30890</c:v>
                </c:pt>
                <c:pt idx="61925">
                  <c:v>30889</c:v>
                </c:pt>
                <c:pt idx="61926">
                  <c:v>30889</c:v>
                </c:pt>
                <c:pt idx="61927">
                  <c:v>30889</c:v>
                </c:pt>
                <c:pt idx="61928">
                  <c:v>30889</c:v>
                </c:pt>
                <c:pt idx="61929">
                  <c:v>30889</c:v>
                </c:pt>
                <c:pt idx="61930">
                  <c:v>30889</c:v>
                </c:pt>
                <c:pt idx="61931">
                  <c:v>30888</c:v>
                </c:pt>
                <c:pt idx="61932">
                  <c:v>30888</c:v>
                </c:pt>
                <c:pt idx="61933">
                  <c:v>30888</c:v>
                </c:pt>
                <c:pt idx="61934">
                  <c:v>30888</c:v>
                </c:pt>
                <c:pt idx="61935">
                  <c:v>30888</c:v>
                </c:pt>
                <c:pt idx="61936">
                  <c:v>30888</c:v>
                </c:pt>
                <c:pt idx="61937">
                  <c:v>30888</c:v>
                </c:pt>
                <c:pt idx="61938">
                  <c:v>30887</c:v>
                </c:pt>
                <c:pt idx="61939">
                  <c:v>30887</c:v>
                </c:pt>
                <c:pt idx="61940">
                  <c:v>30887</c:v>
                </c:pt>
                <c:pt idx="61941">
                  <c:v>30887</c:v>
                </c:pt>
                <c:pt idx="61942">
                  <c:v>30887</c:v>
                </c:pt>
                <c:pt idx="61943">
                  <c:v>30887</c:v>
                </c:pt>
                <c:pt idx="61944">
                  <c:v>30887</c:v>
                </c:pt>
                <c:pt idx="61945">
                  <c:v>30886</c:v>
                </c:pt>
                <c:pt idx="61946">
                  <c:v>30886</c:v>
                </c:pt>
                <c:pt idx="61947">
                  <c:v>30886</c:v>
                </c:pt>
                <c:pt idx="61948">
                  <c:v>30885</c:v>
                </c:pt>
                <c:pt idx="61949">
                  <c:v>30885</c:v>
                </c:pt>
                <c:pt idx="61950">
                  <c:v>30885</c:v>
                </c:pt>
                <c:pt idx="61951">
                  <c:v>30885</c:v>
                </c:pt>
                <c:pt idx="61952">
                  <c:v>30885</c:v>
                </c:pt>
                <c:pt idx="61953">
                  <c:v>30885</c:v>
                </c:pt>
                <c:pt idx="61954">
                  <c:v>30885</c:v>
                </c:pt>
                <c:pt idx="61955">
                  <c:v>30884</c:v>
                </c:pt>
                <c:pt idx="61956">
                  <c:v>30884</c:v>
                </c:pt>
                <c:pt idx="61957">
                  <c:v>30884</c:v>
                </c:pt>
                <c:pt idx="61958">
                  <c:v>30884</c:v>
                </c:pt>
                <c:pt idx="61959">
                  <c:v>30884</c:v>
                </c:pt>
                <c:pt idx="61960">
                  <c:v>30884</c:v>
                </c:pt>
                <c:pt idx="61961">
                  <c:v>30884</c:v>
                </c:pt>
                <c:pt idx="61962">
                  <c:v>30883</c:v>
                </c:pt>
                <c:pt idx="61963">
                  <c:v>30883</c:v>
                </c:pt>
                <c:pt idx="61964">
                  <c:v>30882</c:v>
                </c:pt>
                <c:pt idx="61965">
                  <c:v>30882</c:v>
                </c:pt>
                <c:pt idx="61966">
                  <c:v>30882</c:v>
                </c:pt>
                <c:pt idx="61967">
                  <c:v>30881</c:v>
                </c:pt>
                <c:pt idx="61968">
                  <c:v>30881</c:v>
                </c:pt>
                <c:pt idx="61969">
                  <c:v>30881</c:v>
                </c:pt>
                <c:pt idx="61970">
                  <c:v>30881</c:v>
                </c:pt>
                <c:pt idx="61971">
                  <c:v>30881</c:v>
                </c:pt>
                <c:pt idx="61972">
                  <c:v>30881</c:v>
                </c:pt>
                <c:pt idx="61973">
                  <c:v>30881</c:v>
                </c:pt>
                <c:pt idx="61974">
                  <c:v>30881</c:v>
                </c:pt>
                <c:pt idx="61975">
                  <c:v>30880</c:v>
                </c:pt>
                <c:pt idx="61976">
                  <c:v>30880</c:v>
                </c:pt>
                <c:pt idx="61977">
                  <c:v>30880</c:v>
                </c:pt>
                <c:pt idx="61978">
                  <c:v>30880</c:v>
                </c:pt>
                <c:pt idx="61979">
                  <c:v>30880</c:v>
                </c:pt>
                <c:pt idx="61980">
                  <c:v>30879</c:v>
                </c:pt>
                <c:pt idx="61981">
                  <c:v>30879</c:v>
                </c:pt>
                <c:pt idx="61982">
                  <c:v>30879</c:v>
                </c:pt>
                <c:pt idx="61983">
                  <c:v>30879</c:v>
                </c:pt>
                <c:pt idx="61984">
                  <c:v>30879</c:v>
                </c:pt>
                <c:pt idx="61985">
                  <c:v>30879</c:v>
                </c:pt>
                <c:pt idx="61986">
                  <c:v>30879</c:v>
                </c:pt>
                <c:pt idx="61987">
                  <c:v>30878</c:v>
                </c:pt>
                <c:pt idx="61988">
                  <c:v>30878</c:v>
                </c:pt>
                <c:pt idx="61989">
                  <c:v>30878</c:v>
                </c:pt>
                <c:pt idx="61990">
                  <c:v>30878</c:v>
                </c:pt>
                <c:pt idx="61991">
                  <c:v>30878</c:v>
                </c:pt>
                <c:pt idx="61992">
                  <c:v>30877</c:v>
                </c:pt>
                <c:pt idx="61993">
                  <c:v>30877</c:v>
                </c:pt>
                <c:pt idx="61994">
                  <c:v>30877</c:v>
                </c:pt>
                <c:pt idx="61995">
                  <c:v>30876</c:v>
                </c:pt>
                <c:pt idx="61996">
                  <c:v>30876</c:v>
                </c:pt>
                <c:pt idx="61997">
                  <c:v>30876</c:v>
                </c:pt>
                <c:pt idx="61998">
                  <c:v>30875</c:v>
                </c:pt>
                <c:pt idx="61999">
                  <c:v>30874</c:v>
                </c:pt>
                <c:pt idx="62000">
                  <c:v>30874</c:v>
                </c:pt>
                <c:pt idx="62001">
                  <c:v>30874</c:v>
                </c:pt>
                <c:pt idx="62002">
                  <c:v>30873</c:v>
                </c:pt>
                <c:pt idx="62003">
                  <c:v>30873</c:v>
                </c:pt>
                <c:pt idx="62004">
                  <c:v>30873</c:v>
                </c:pt>
                <c:pt idx="62005">
                  <c:v>30872</c:v>
                </c:pt>
                <c:pt idx="62006">
                  <c:v>30872</c:v>
                </c:pt>
                <c:pt idx="62007">
                  <c:v>30872</c:v>
                </c:pt>
                <c:pt idx="62008">
                  <c:v>30872</c:v>
                </c:pt>
                <c:pt idx="62009">
                  <c:v>30872</c:v>
                </c:pt>
                <c:pt idx="62010">
                  <c:v>30872</c:v>
                </c:pt>
                <c:pt idx="62011">
                  <c:v>30872</c:v>
                </c:pt>
                <c:pt idx="62012">
                  <c:v>30872</c:v>
                </c:pt>
                <c:pt idx="62013">
                  <c:v>30872</c:v>
                </c:pt>
                <c:pt idx="62014">
                  <c:v>30871</c:v>
                </c:pt>
                <c:pt idx="62015">
                  <c:v>30871</c:v>
                </c:pt>
                <c:pt idx="62016">
                  <c:v>30871</c:v>
                </c:pt>
                <c:pt idx="62017">
                  <c:v>30871</c:v>
                </c:pt>
                <c:pt idx="62018">
                  <c:v>30870</c:v>
                </c:pt>
                <c:pt idx="62019">
                  <c:v>30870</c:v>
                </c:pt>
                <c:pt idx="62020">
                  <c:v>30870</c:v>
                </c:pt>
                <c:pt idx="62021">
                  <c:v>30870</c:v>
                </c:pt>
                <c:pt idx="62022">
                  <c:v>30870</c:v>
                </c:pt>
                <c:pt idx="62023">
                  <c:v>30870</c:v>
                </c:pt>
                <c:pt idx="62024">
                  <c:v>30869</c:v>
                </c:pt>
                <c:pt idx="62025">
                  <c:v>30869</c:v>
                </c:pt>
                <c:pt idx="62026">
                  <c:v>30869</c:v>
                </c:pt>
                <c:pt idx="62027">
                  <c:v>30869</c:v>
                </c:pt>
                <c:pt idx="62028">
                  <c:v>30869</c:v>
                </c:pt>
                <c:pt idx="62029">
                  <c:v>30869</c:v>
                </c:pt>
                <c:pt idx="62030">
                  <c:v>30869</c:v>
                </c:pt>
                <c:pt idx="62031">
                  <c:v>30869</c:v>
                </c:pt>
                <c:pt idx="62032">
                  <c:v>30868</c:v>
                </c:pt>
                <c:pt idx="62033">
                  <c:v>30868</c:v>
                </c:pt>
                <c:pt idx="62034">
                  <c:v>30867</c:v>
                </c:pt>
                <c:pt idx="62035">
                  <c:v>30867</c:v>
                </c:pt>
                <c:pt idx="62036">
                  <c:v>30866</c:v>
                </c:pt>
                <c:pt idx="62037">
                  <c:v>30866</c:v>
                </c:pt>
                <c:pt idx="62038">
                  <c:v>30866</c:v>
                </c:pt>
                <c:pt idx="62039">
                  <c:v>30866</c:v>
                </c:pt>
                <c:pt idx="62040">
                  <c:v>30866</c:v>
                </c:pt>
                <c:pt idx="62041">
                  <c:v>30866</c:v>
                </c:pt>
                <c:pt idx="62042">
                  <c:v>30866</c:v>
                </c:pt>
                <c:pt idx="62043">
                  <c:v>30866</c:v>
                </c:pt>
                <c:pt idx="62044">
                  <c:v>30866</c:v>
                </c:pt>
                <c:pt idx="62045">
                  <c:v>30865</c:v>
                </c:pt>
                <c:pt idx="62046">
                  <c:v>30865</c:v>
                </c:pt>
                <c:pt idx="62047">
                  <c:v>30865</c:v>
                </c:pt>
                <c:pt idx="62048">
                  <c:v>30865</c:v>
                </c:pt>
                <c:pt idx="62049">
                  <c:v>30865</c:v>
                </c:pt>
                <c:pt idx="62050">
                  <c:v>30864</c:v>
                </c:pt>
                <c:pt idx="62051">
                  <c:v>30864</c:v>
                </c:pt>
                <c:pt idx="62052">
                  <c:v>30864</c:v>
                </c:pt>
                <c:pt idx="62053">
                  <c:v>30864</c:v>
                </c:pt>
                <c:pt idx="62054">
                  <c:v>30864</c:v>
                </c:pt>
                <c:pt idx="62055">
                  <c:v>30864</c:v>
                </c:pt>
                <c:pt idx="62056">
                  <c:v>30863</c:v>
                </c:pt>
                <c:pt idx="62057">
                  <c:v>30863</c:v>
                </c:pt>
                <c:pt idx="62058">
                  <c:v>30863</c:v>
                </c:pt>
                <c:pt idx="62059">
                  <c:v>30863</c:v>
                </c:pt>
                <c:pt idx="62060">
                  <c:v>30863</c:v>
                </c:pt>
                <c:pt idx="62061">
                  <c:v>30863</c:v>
                </c:pt>
                <c:pt idx="62062">
                  <c:v>30863</c:v>
                </c:pt>
                <c:pt idx="62063">
                  <c:v>30863</c:v>
                </c:pt>
                <c:pt idx="62064">
                  <c:v>30863</c:v>
                </c:pt>
                <c:pt idx="62065">
                  <c:v>30862</c:v>
                </c:pt>
                <c:pt idx="62066">
                  <c:v>30862</c:v>
                </c:pt>
                <c:pt idx="62067">
                  <c:v>30862</c:v>
                </c:pt>
                <c:pt idx="62068">
                  <c:v>30862</c:v>
                </c:pt>
                <c:pt idx="62069">
                  <c:v>30861</c:v>
                </c:pt>
                <c:pt idx="62070">
                  <c:v>30861</c:v>
                </c:pt>
                <c:pt idx="62071">
                  <c:v>30861</c:v>
                </c:pt>
                <c:pt idx="62072">
                  <c:v>30861</c:v>
                </c:pt>
                <c:pt idx="62073">
                  <c:v>30861</c:v>
                </c:pt>
                <c:pt idx="62074">
                  <c:v>30861</c:v>
                </c:pt>
                <c:pt idx="62075">
                  <c:v>30861</c:v>
                </c:pt>
                <c:pt idx="62076">
                  <c:v>30861</c:v>
                </c:pt>
                <c:pt idx="62077">
                  <c:v>30860</c:v>
                </c:pt>
                <c:pt idx="62078">
                  <c:v>30860</c:v>
                </c:pt>
                <c:pt idx="62079">
                  <c:v>30860</c:v>
                </c:pt>
                <c:pt idx="62080">
                  <c:v>30860</c:v>
                </c:pt>
                <c:pt idx="62081">
                  <c:v>30859</c:v>
                </c:pt>
                <c:pt idx="62082">
                  <c:v>30859</c:v>
                </c:pt>
                <c:pt idx="62083">
                  <c:v>30859</c:v>
                </c:pt>
                <c:pt idx="62084">
                  <c:v>30859</c:v>
                </c:pt>
                <c:pt idx="62085">
                  <c:v>30858</c:v>
                </c:pt>
                <c:pt idx="62086">
                  <c:v>30858</c:v>
                </c:pt>
                <c:pt idx="62087">
                  <c:v>30858</c:v>
                </c:pt>
                <c:pt idx="62088">
                  <c:v>30858</c:v>
                </c:pt>
                <c:pt idx="62089">
                  <c:v>30858</c:v>
                </c:pt>
                <c:pt idx="62090">
                  <c:v>30858</c:v>
                </c:pt>
                <c:pt idx="62091">
                  <c:v>30858</c:v>
                </c:pt>
                <c:pt idx="62092">
                  <c:v>30857</c:v>
                </c:pt>
                <c:pt idx="62093">
                  <c:v>30857</c:v>
                </c:pt>
                <c:pt idx="62094">
                  <c:v>30856</c:v>
                </c:pt>
                <c:pt idx="62095">
                  <c:v>30856</c:v>
                </c:pt>
                <c:pt idx="62096">
                  <c:v>30856</c:v>
                </c:pt>
                <c:pt idx="62097">
                  <c:v>30856</c:v>
                </c:pt>
                <c:pt idx="62098">
                  <c:v>30856</c:v>
                </c:pt>
                <c:pt idx="62099">
                  <c:v>30856</c:v>
                </c:pt>
                <c:pt idx="62100">
                  <c:v>30856</c:v>
                </c:pt>
                <c:pt idx="62101">
                  <c:v>30856</c:v>
                </c:pt>
                <c:pt idx="62102">
                  <c:v>30856</c:v>
                </c:pt>
                <c:pt idx="62103">
                  <c:v>30856</c:v>
                </c:pt>
                <c:pt idx="62104">
                  <c:v>30856</c:v>
                </c:pt>
                <c:pt idx="62105">
                  <c:v>30855</c:v>
                </c:pt>
                <c:pt idx="62106">
                  <c:v>30854</c:v>
                </c:pt>
                <c:pt idx="62107">
                  <c:v>30854</c:v>
                </c:pt>
                <c:pt idx="62108">
                  <c:v>30854</c:v>
                </c:pt>
                <c:pt idx="62109">
                  <c:v>30854</c:v>
                </c:pt>
                <c:pt idx="62110">
                  <c:v>30853</c:v>
                </c:pt>
                <c:pt idx="62111">
                  <c:v>30853</c:v>
                </c:pt>
                <c:pt idx="62112">
                  <c:v>30853</c:v>
                </c:pt>
                <c:pt idx="62113">
                  <c:v>30853</c:v>
                </c:pt>
                <c:pt idx="62114">
                  <c:v>30853</c:v>
                </c:pt>
                <c:pt idx="62115">
                  <c:v>30853</c:v>
                </c:pt>
                <c:pt idx="62116">
                  <c:v>30853</c:v>
                </c:pt>
                <c:pt idx="62117">
                  <c:v>30853</c:v>
                </c:pt>
                <c:pt idx="62118">
                  <c:v>30852</c:v>
                </c:pt>
                <c:pt idx="62119">
                  <c:v>30852</c:v>
                </c:pt>
                <c:pt idx="62120">
                  <c:v>30852</c:v>
                </c:pt>
                <c:pt idx="62121">
                  <c:v>30851</c:v>
                </c:pt>
                <c:pt idx="62122">
                  <c:v>30851</c:v>
                </c:pt>
                <c:pt idx="62123">
                  <c:v>30850</c:v>
                </c:pt>
                <c:pt idx="62124">
                  <c:v>30850</c:v>
                </c:pt>
                <c:pt idx="62125">
                  <c:v>30849</c:v>
                </c:pt>
                <c:pt idx="62126">
                  <c:v>30849</c:v>
                </c:pt>
                <c:pt idx="62127">
                  <c:v>30849</c:v>
                </c:pt>
                <c:pt idx="62128">
                  <c:v>30849</c:v>
                </c:pt>
                <c:pt idx="62129">
                  <c:v>30848</c:v>
                </c:pt>
                <c:pt idx="62130">
                  <c:v>30848</c:v>
                </c:pt>
                <c:pt idx="62131">
                  <c:v>30848</c:v>
                </c:pt>
                <c:pt idx="62132">
                  <c:v>30848</c:v>
                </c:pt>
                <c:pt idx="62133">
                  <c:v>30848</c:v>
                </c:pt>
                <c:pt idx="62134">
                  <c:v>30848</c:v>
                </c:pt>
                <c:pt idx="62135">
                  <c:v>30847</c:v>
                </c:pt>
                <c:pt idx="62136">
                  <c:v>30847</c:v>
                </c:pt>
                <c:pt idx="62137">
                  <c:v>30847</c:v>
                </c:pt>
                <c:pt idx="62138">
                  <c:v>30846</c:v>
                </c:pt>
                <c:pt idx="62139">
                  <c:v>30846</c:v>
                </c:pt>
                <c:pt idx="62140">
                  <c:v>30845</c:v>
                </c:pt>
                <c:pt idx="62141">
                  <c:v>30845</c:v>
                </c:pt>
                <c:pt idx="62142">
                  <c:v>30844</c:v>
                </c:pt>
                <c:pt idx="62143">
                  <c:v>30844</c:v>
                </c:pt>
                <c:pt idx="62144">
                  <c:v>30844</c:v>
                </c:pt>
                <c:pt idx="62145">
                  <c:v>30844</c:v>
                </c:pt>
                <c:pt idx="62146">
                  <c:v>30844</c:v>
                </c:pt>
                <c:pt idx="62147">
                  <c:v>30844</c:v>
                </c:pt>
                <c:pt idx="62148">
                  <c:v>30844</c:v>
                </c:pt>
                <c:pt idx="62149">
                  <c:v>30844</c:v>
                </c:pt>
                <c:pt idx="62150">
                  <c:v>30844</c:v>
                </c:pt>
                <c:pt idx="62151">
                  <c:v>30844</c:v>
                </c:pt>
                <c:pt idx="62152">
                  <c:v>30843</c:v>
                </c:pt>
                <c:pt idx="62153">
                  <c:v>30843</c:v>
                </c:pt>
                <c:pt idx="62154">
                  <c:v>30843</c:v>
                </c:pt>
                <c:pt idx="62155">
                  <c:v>30843</c:v>
                </c:pt>
                <c:pt idx="62156">
                  <c:v>30842</c:v>
                </c:pt>
                <c:pt idx="62157">
                  <c:v>30842</c:v>
                </c:pt>
                <c:pt idx="62158">
                  <c:v>30842</c:v>
                </c:pt>
                <c:pt idx="62159">
                  <c:v>30842</c:v>
                </c:pt>
                <c:pt idx="62160">
                  <c:v>30842</c:v>
                </c:pt>
                <c:pt idx="62161">
                  <c:v>30842</c:v>
                </c:pt>
                <c:pt idx="62162">
                  <c:v>30842</c:v>
                </c:pt>
                <c:pt idx="62163">
                  <c:v>30842</c:v>
                </c:pt>
                <c:pt idx="62164">
                  <c:v>30842</c:v>
                </c:pt>
                <c:pt idx="62165">
                  <c:v>30841</c:v>
                </c:pt>
                <c:pt idx="62166">
                  <c:v>30841</c:v>
                </c:pt>
                <c:pt idx="62167">
                  <c:v>30841</c:v>
                </c:pt>
                <c:pt idx="62168">
                  <c:v>30841</c:v>
                </c:pt>
                <c:pt idx="62169">
                  <c:v>30840</c:v>
                </c:pt>
                <c:pt idx="62170">
                  <c:v>30840</c:v>
                </c:pt>
                <c:pt idx="62171">
                  <c:v>30840</c:v>
                </c:pt>
                <c:pt idx="62172">
                  <c:v>30840</c:v>
                </c:pt>
                <c:pt idx="62173">
                  <c:v>30840</c:v>
                </c:pt>
                <c:pt idx="62174">
                  <c:v>30839</c:v>
                </c:pt>
                <c:pt idx="62175">
                  <c:v>30839</c:v>
                </c:pt>
                <c:pt idx="62176">
                  <c:v>30838</c:v>
                </c:pt>
                <c:pt idx="62177">
                  <c:v>30838</c:v>
                </c:pt>
                <c:pt idx="62178">
                  <c:v>30838</c:v>
                </c:pt>
                <c:pt idx="62179">
                  <c:v>30837</c:v>
                </c:pt>
                <c:pt idx="62180">
                  <c:v>30837</c:v>
                </c:pt>
                <c:pt idx="62181">
                  <c:v>30836</c:v>
                </c:pt>
                <c:pt idx="62182">
                  <c:v>30836</c:v>
                </c:pt>
                <c:pt idx="62183">
                  <c:v>30836</c:v>
                </c:pt>
                <c:pt idx="62184">
                  <c:v>30836</c:v>
                </c:pt>
                <c:pt idx="62185">
                  <c:v>30835</c:v>
                </c:pt>
                <c:pt idx="62186">
                  <c:v>30835</c:v>
                </c:pt>
                <c:pt idx="62187">
                  <c:v>30834</c:v>
                </c:pt>
                <c:pt idx="62188">
                  <c:v>30834</c:v>
                </c:pt>
                <c:pt idx="62189">
                  <c:v>30834</c:v>
                </c:pt>
                <c:pt idx="62190">
                  <c:v>30834</c:v>
                </c:pt>
                <c:pt idx="62191">
                  <c:v>30834</c:v>
                </c:pt>
                <c:pt idx="62192">
                  <c:v>30833</c:v>
                </c:pt>
                <c:pt idx="62193">
                  <c:v>30833</c:v>
                </c:pt>
                <c:pt idx="62194">
                  <c:v>30833</c:v>
                </c:pt>
                <c:pt idx="62195">
                  <c:v>30833</c:v>
                </c:pt>
                <c:pt idx="62196">
                  <c:v>30832</c:v>
                </c:pt>
                <c:pt idx="62197">
                  <c:v>30832</c:v>
                </c:pt>
                <c:pt idx="62198">
                  <c:v>30832</c:v>
                </c:pt>
                <c:pt idx="62199">
                  <c:v>30831</c:v>
                </c:pt>
                <c:pt idx="62200">
                  <c:v>30831</c:v>
                </c:pt>
                <c:pt idx="62201">
                  <c:v>30831</c:v>
                </c:pt>
                <c:pt idx="62202">
                  <c:v>30830</c:v>
                </c:pt>
                <c:pt idx="62203">
                  <c:v>30830</c:v>
                </c:pt>
                <c:pt idx="62204">
                  <c:v>30830</c:v>
                </c:pt>
                <c:pt idx="62205">
                  <c:v>30829</c:v>
                </c:pt>
                <c:pt idx="62206">
                  <c:v>30829</c:v>
                </c:pt>
                <c:pt idx="62207">
                  <c:v>30829</c:v>
                </c:pt>
                <c:pt idx="62208">
                  <c:v>30829</c:v>
                </c:pt>
                <c:pt idx="62209">
                  <c:v>30829</c:v>
                </c:pt>
                <c:pt idx="62210">
                  <c:v>30829</c:v>
                </c:pt>
                <c:pt idx="62211">
                  <c:v>30829</c:v>
                </c:pt>
                <c:pt idx="62212">
                  <c:v>30828</c:v>
                </c:pt>
                <c:pt idx="62213">
                  <c:v>30828</c:v>
                </c:pt>
                <c:pt idx="62214">
                  <c:v>30828</c:v>
                </c:pt>
                <c:pt idx="62215">
                  <c:v>30828</c:v>
                </c:pt>
                <c:pt idx="62216">
                  <c:v>30828</c:v>
                </c:pt>
                <c:pt idx="62217">
                  <c:v>30828</c:v>
                </c:pt>
                <c:pt idx="62218">
                  <c:v>30827</c:v>
                </c:pt>
                <c:pt idx="62219">
                  <c:v>30827</c:v>
                </c:pt>
                <c:pt idx="62220">
                  <c:v>30827</c:v>
                </c:pt>
                <c:pt idx="62221">
                  <c:v>30826</c:v>
                </c:pt>
                <c:pt idx="62222">
                  <c:v>30826</c:v>
                </c:pt>
                <c:pt idx="62223">
                  <c:v>30826</c:v>
                </c:pt>
                <c:pt idx="62224">
                  <c:v>30826</c:v>
                </c:pt>
                <c:pt idx="62225">
                  <c:v>30826</c:v>
                </c:pt>
                <c:pt idx="62226">
                  <c:v>30825</c:v>
                </c:pt>
                <c:pt idx="62227">
                  <c:v>30825</c:v>
                </c:pt>
                <c:pt idx="62228">
                  <c:v>30825</c:v>
                </c:pt>
                <c:pt idx="62229">
                  <c:v>30825</c:v>
                </c:pt>
                <c:pt idx="62230">
                  <c:v>30825</c:v>
                </c:pt>
                <c:pt idx="62231">
                  <c:v>30825</c:v>
                </c:pt>
                <c:pt idx="62232">
                  <c:v>30824</c:v>
                </c:pt>
                <c:pt idx="62233">
                  <c:v>30824</c:v>
                </c:pt>
                <c:pt idx="62234">
                  <c:v>30824</c:v>
                </c:pt>
                <c:pt idx="62235">
                  <c:v>30824</c:v>
                </c:pt>
                <c:pt idx="62236">
                  <c:v>30824</c:v>
                </c:pt>
                <c:pt idx="62237">
                  <c:v>30824</c:v>
                </c:pt>
                <c:pt idx="62238">
                  <c:v>30824</c:v>
                </c:pt>
                <c:pt idx="62239">
                  <c:v>30823</c:v>
                </c:pt>
                <c:pt idx="62240">
                  <c:v>30823</c:v>
                </c:pt>
                <c:pt idx="62241">
                  <c:v>30822</c:v>
                </c:pt>
                <c:pt idx="62242">
                  <c:v>30822</c:v>
                </c:pt>
                <c:pt idx="62243">
                  <c:v>30822</c:v>
                </c:pt>
                <c:pt idx="62244">
                  <c:v>30822</c:v>
                </c:pt>
                <c:pt idx="62245">
                  <c:v>30822</c:v>
                </c:pt>
                <c:pt idx="62246">
                  <c:v>30822</c:v>
                </c:pt>
                <c:pt idx="62247">
                  <c:v>30822</c:v>
                </c:pt>
                <c:pt idx="62248">
                  <c:v>30822</c:v>
                </c:pt>
                <c:pt idx="62249">
                  <c:v>30822</c:v>
                </c:pt>
                <c:pt idx="62250">
                  <c:v>30821</c:v>
                </c:pt>
                <c:pt idx="62251">
                  <c:v>30821</c:v>
                </c:pt>
                <c:pt idx="62252">
                  <c:v>30821</c:v>
                </c:pt>
                <c:pt idx="62253">
                  <c:v>30821</c:v>
                </c:pt>
                <c:pt idx="62254">
                  <c:v>30821</c:v>
                </c:pt>
                <c:pt idx="62255">
                  <c:v>30820</c:v>
                </c:pt>
                <c:pt idx="62256">
                  <c:v>30820</c:v>
                </c:pt>
                <c:pt idx="62257">
                  <c:v>30820</c:v>
                </c:pt>
                <c:pt idx="62258">
                  <c:v>30820</c:v>
                </c:pt>
                <c:pt idx="62259">
                  <c:v>30820</c:v>
                </c:pt>
                <c:pt idx="62260">
                  <c:v>30820</c:v>
                </c:pt>
                <c:pt idx="62261">
                  <c:v>30820</c:v>
                </c:pt>
                <c:pt idx="62262">
                  <c:v>30820</c:v>
                </c:pt>
                <c:pt idx="62263">
                  <c:v>30820</c:v>
                </c:pt>
                <c:pt idx="62264">
                  <c:v>30819</c:v>
                </c:pt>
                <c:pt idx="62265">
                  <c:v>30819</c:v>
                </c:pt>
                <c:pt idx="62266">
                  <c:v>30819</c:v>
                </c:pt>
                <c:pt idx="62267">
                  <c:v>30819</c:v>
                </c:pt>
                <c:pt idx="62268">
                  <c:v>30818</c:v>
                </c:pt>
                <c:pt idx="62269">
                  <c:v>30818</c:v>
                </c:pt>
                <c:pt idx="62270">
                  <c:v>30818</c:v>
                </c:pt>
                <c:pt idx="62271">
                  <c:v>30817</c:v>
                </c:pt>
                <c:pt idx="62272">
                  <c:v>30817</c:v>
                </c:pt>
                <c:pt idx="62273">
                  <c:v>30817</c:v>
                </c:pt>
                <c:pt idx="62274">
                  <c:v>30817</c:v>
                </c:pt>
                <c:pt idx="62275">
                  <c:v>30816</c:v>
                </c:pt>
                <c:pt idx="62276">
                  <c:v>30816</c:v>
                </c:pt>
                <c:pt idx="62277">
                  <c:v>30816</c:v>
                </c:pt>
                <c:pt idx="62278">
                  <c:v>30815</c:v>
                </c:pt>
                <c:pt idx="62279">
                  <c:v>30815</c:v>
                </c:pt>
                <c:pt idx="62280">
                  <c:v>30815</c:v>
                </c:pt>
                <c:pt idx="62281">
                  <c:v>30815</c:v>
                </c:pt>
                <c:pt idx="62282">
                  <c:v>30815</c:v>
                </c:pt>
                <c:pt idx="62283">
                  <c:v>30814</c:v>
                </c:pt>
                <c:pt idx="62284">
                  <c:v>30814</c:v>
                </c:pt>
                <c:pt idx="62285">
                  <c:v>30814</c:v>
                </c:pt>
                <c:pt idx="62286">
                  <c:v>30814</c:v>
                </c:pt>
                <c:pt idx="62287">
                  <c:v>30814</c:v>
                </c:pt>
                <c:pt idx="62288">
                  <c:v>30814</c:v>
                </c:pt>
                <c:pt idx="62289">
                  <c:v>30814</c:v>
                </c:pt>
                <c:pt idx="62290">
                  <c:v>30814</c:v>
                </c:pt>
                <c:pt idx="62291">
                  <c:v>30814</c:v>
                </c:pt>
                <c:pt idx="62292">
                  <c:v>30813</c:v>
                </c:pt>
                <c:pt idx="62293">
                  <c:v>30813</c:v>
                </c:pt>
                <c:pt idx="62294">
                  <c:v>30813</c:v>
                </c:pt>
                <c:pt idx="62295">
                  <c:v>30812</c:v>
                </c:pt>
                <c:pt idx="62296">
                  <c:v>30812</c:v>
                </c:pt>
                <c:pt idx="62297">
                  <c:v>30812</c:v>
                </c:pt>
                <c:pt idx="62298">
                  <c:v>30812</c:v>
                </c:pt>
                <c:pt idx="62299">
                  <c:v>30812</c:v>
                </c:pt>
                <c:pt idx="62300">
                  <c:v>30811</c:v>
                </c:pt>
                <c:pt idx="62301">
                  <c:v>30811</c:v>
                </c:pt>
                <c:pt idx="62302">
                  <c:v>30811</c:v>
                </c:pt>
                <c:pt idx="62303">
                  <c:v>30811</c:v>
                </c:pt>
                <c:pt idx="62304">
                  <c:v>30811</c:v>
                </c:pt>
                <c:pt idx="62305">
                  <c:v>30811</c:v>
                </c:pt>
                <c:pt idx="62306">
                  <c:v>30810</c:v>
                </c:pt>
                <c:pt idx="62307">
                  <c:v>30810</c:v>
                </c:pt>
                <c:pt idx="62308">
                  <c:v>30810</c:v>
                </c:pt>
                <c:pt idx="62309">
                  <c:v>30810</c:v>
                </c:pt>
                <c:pt idx="62310">
                  <c:v>30809</c:v>
                </c:pt>
                <c:pt idx="62311">
                  <c:v>30809</c:v>
                </c:pt>
                <c:pt idx="62312">
                  <c:v>30809</c:v>
                </c:pt>
                <c:pt idx="62313">
                  <c:v>30809</c:v>
                </c:pt>
                <c:pt idx="62314">
                  <c:v>30809</c:v>
                </c:pt>
                <c:pt idx="62315">
                  <c:v>30809</c:v>
                </c:pt>
                <c:pt idx="62316">
                  <c:v>30809</c:v>
                </c:pt>
                <c:pt idx="62317">
                  <c:v>30808</c:v>
                </c:pt>
                <c:pt idx="62318">
                  <c:v>30808</c:v>
                </c:pt>
                <c:pt idx="62319">
                  <c:v>30808</c:v>
                </c:pt>
                <c:pt idx="62320">
                  <c:v>30808</c:v>
                </c:pt>
                <c:pt idx="62321">
                  <c:v>30807</c:v>
                </c:pt>
                <c:pt idx="62322">
                  <c:v>30807</c:v>
                </c:pt>
                <c:pt idx="62323">
                  <c:v>30807</c:v>
                </c:pt>
                <c:pt idx="62324">
                  <c:v>30806</c:v>
                </c:pt>
                <c:pt idx="62325">
                  <c:v>30806</c:v>
                </c:pt>
                <c:pt idx="62326">
                  <c:v>30806</c:v>
                </c:pt>
                <c:pt idx="62327">
                  <c:v>30806</c:v>
                </c:pt>
                <c:pt idx="62328">
                  <c:v>30806</c:v>
                </c:pt>
                <c:pt idx="62329">
                  <c:v>30806</c:v>
                </c:pt>
                <c:pt idx="62330">
                  <c:v>30805</c:v>
                </c:pt>
                <c:pt idx="62331">
                  <c:v>30805</c:v>
                </c:pt>
                <c:pt idx="62332">
                  <c:v>30805</c:v>
                </c:pt>
                <c:pt idx="62333">
                  <c:v>30805</c:v>
                </c:pt>
                <c:pt idx="62334">
                  <c:v>30805</c:v>
                </c:pt>
                <c:pt idx="62335">
                  <c:v>30805</c:v>
                </c:pt>
                <c:pt idx="62336">
                  <c:v>30804</c:v>
                </c:pt>
                <c:pt idx="62337">
                  <c:v>30804</c:v>
                </c:pt>
                <c:pt idx="62338">
                  <c:v>30804</c:v>
                </c:pt>
                <c:pt idx="62339">
                  <c:v>30804</c:v>
                </c:pt>
                <c:pt idx="62340">
                  <c:v>30804</c:v>
                </c:pt>
                <c:pt idx="62341">
                  <c:v>30803</c:v>
                </c:pt>
                <c:pt idx="62342">
                  <c:v>30802</c:v>
                </c:pt>
                <c:pt idx="62343">
                  <c:v>30802</c:v>
                </c:pt>
                <c:pt idx="62344">
                  <c:v>30801</c:v>
                </c:pt>
                <c:pt idx="62345">
                  <c:v>30801</c:v>
                </c:pt>
                <c:pt idx="62346">
                  <c:v>30801</c:v>
                </c:pt>
                <c:pt idx="62347">
                  <c:v>30801</c:v>
                </c:pt>
                <c:pt idx="62348">
                  <c:v>30800</c:v>
                </c:pt>
                <c:pt idx="62349">
                  <c:v>30800</c:v>
                </c:pt>
                <c:pt idx="62350">
                  <c:v>30800</c:v>
                </c:pt>
                <c:pt idx="62351">
                  <c:v>30800</c:v>
                </c:pt>
                <c:pt idx="62352">
                  <c:v>30800</c:v>
                </c:pt>
                <c:pt idx="62353">
                  <c:v>30799</c:v>
                </c:pt>
                <c:pt idx="62354">
                  <c:v>30799</c:v>
                </c:pt>
                <c:pt idx="62355">
                  <c:v>30799</c:v>
                </c:pt>
                <c:pt idx="62356">
                  <c:v>30799</c:v>
                </c:pt>
                <c:pt idx="62357">
                  <c:v>30799</c:v>
                </c:pt>
                <c:pt idx="62358">
                  <c:v>30799</c:v>
                </c:pt>
                <c:pt idx="62359">
                  <c:v>30798</c:v>
                </c:pt>
                <c:pt idx="62360">
                  <c:v>30798</c:v>
                </c:pt>
                <c:pt idx="62361">
                  <c:v>30798</c:v>
                </c:pt>
                <c:pt idx="62362">
                  <c:v>30798</c:v>
                </c:pt>
                <c:pt idx="62363">
                  <c:v>30797</c:v>
                </c:pt>
                <c:pt idx="62364">
                  <c:v>30797</c:v>
                </c:pt>
                <c:pt idx="62365">
                  <c:v>30797</c:v>
                </c:pt>
                <c:pt idx="62366">
                  <c:v>30797</c:v>
                </c:pt>
                <c:pt idx="62367">
                  <c:v>30797</c:v>
                </c:pt>
                <c:pt idx="62368">
                  <c:v>30796</c:v>
                </c:pt>
                <c:pt idx="62369">
                  <c:v>30796</c:v>
                </c:pt>
                <c:pt idx="62370">
                  <c:v>30796</c:v>
                </c:pt>
                <c:pt idx="62371">
                  <c:v>30796</c:v>
                </c:pt>
                <c:pt idx="62372">
                  <c:v>30796</c:v>
                </c:pt>
                <c:pt idx="62373">
                  <c:v>30796</c:v>
                </c:pt>
                <c:pt idx="62374">
                  <c:v>30795</c:v>
                </c:pt>
                <c:pt idx="62375">
                  <c:v>30795</c:v>
                </c:pt>
                <c:pt idx="62376">
                  <c:v>30794</c:v>
                </c:pt>
                <c:pt idx="62377">
                  <c:v>30794</c:v>
                </c:pt>
                <c:pt idx="62378">
                  <c:v>30794</c:v>
                </c:pt>
                <c:pt idx="62379">
                  <c:v>30794</c:v>
                </c:pt>
                <c:pt idx="62380">
                  <c:v>30794</c:v>
                </c:pt>
                <c:pt idx="62381">
                  <c:v>30794</c:v>
                </c:pt>
                <c:pt idx="62382">
                  <c:v>30794</c:v>
                </c:pt>
                <c:pt idx="62383">
                  <c:v>30793</c:v>
                </c:pt>
                <c:pt idx="62384">
                  <c:v>30793</c:v>
                </c:pt>
                <c:pt idx="62385">
                  <c:v>30793</c:v>
                </c:pt>
                <c:pt idx="62386">
                  <c:v>30793</c:v>
                </c:pt>
                <c:pt idx="62387">
                  <c:v>30793</c:v>
                </c:pt>
                <c:pt idx="62388">
                  <c:v>30793</c:v>
                </c:pt>
                <c:pt idx="62389">
                  <c:v>30792</c:v>
                </c:pt>
                <c:pt idx="62390">
                  <c:v>30792</c:v>
                </c:pt>
                <c:pt idx="62391">
                  <c:v>30792</c:v>
                </c:pt>
                <c:pt idx="62392">
                  <c:v>30792</c:v>
                </c:pt>
                <c:pt idx="62393">
                  <c:v>30792</c:v>
                </c:pt>
                <c:pt idx="62394">
                  <c:v>30791</c:v>
                </c:pt>
                <c:pt idx="62395">
                  <c:v>30791</c:v>
                </c:pt>
                <c:pt idx="62396">
                  <c:v>30791</c:v>
                </c:pt>
                <c:pt idx="62397">
                  <c:v>30791</c:v>
                </c:pt>
                <c:pt idx="62398">
                  <c:v>30791</c:v>
                </c:pt>
                <c:pt idx="62399">
                  <c:v>30790</c:v>
                </c:pt>
                <c:pt idx="62400">
                  <c:v>30790</c:v>
                </c:pt>
                <c:pt idx="62401">
                  <c:v>30790</c:v>
                </c:pt>
                <c:pt idx="62402">
                  <c:v>30790</c:v>
                </c:pt>
                <c:pt idx="62403">
                  <c:v>30790</c:v>
                </c:pt>
                <c:pt idx="62404">
                  <c:v>30789</c:v>
                </c:pt>
                <c:pt idx="62405">
                  <c:v>30789</c:v>
                </c:pt>
                <c:pt idx="62406">
                  <c:v>30789</c:v>
                </c:pt>
                <c:pt idx="62407">
                  <c:v>30789</c:v>
                </c:pt>
                <c:pt idx="62408">
                  <c:v>30789</c:v>
                </c:pt>
                <c:pt idx="62409">
                  <c:v>30789</c:v>
                </c:pt>
                <c:pt idx="62410">
                  <c:v>30788</c:v>
                </c:pt>
                <c:pt idx="62411">
                  <c:v>30788</c:v>
                </c:pt>
                <c:pt idx="62412">
                  <c:v>30788</c:v>
                </c:pt>
                <c:pt idx="62413">
                  <c:v>30788</c:v>
                </c:pt>
                <c:pt idx="62414">
                  <c:v>30788</c:v>
                </c:pt>
                <c:pt idx="62415">
                  <c:v>30787</c:v>
                </c:pt>
                <c:pt idx="62416">
                  <c:v>30787</c:v>
                </c:pt>
                <c:pt idx="62417">
                  <c:v>30787</c:v>
                </c:pt>
                <c:pt idx="62418">
                  <c:v>30786</c:v>
                </c:pt>
                <c:pt idx="62419">
                  <c:v>30785</c:v>
                </c:pt>
                <c:pt idx="62420">
                  <c:v>30785</c:v>
                </c:pt>
                <c:pt idx="62421">
                  <c:v>30785</c:v>
                </c:pt>
                <c:pt idx="62422">
                  <c:v>30785</c:v>
                </c:pt>
                <c:pt idx="62423">
                  <c:v>30785</c:v>
                </c:pt>
                <c:pt idx="62424">
                  <c:v>30785</c:v>
                </c:pt>
                <c:pt idx="62425">
                  <c:v>30785</c:v>
                </c:pt>
                <c:pt idx="62426">
                  <c:v>30784</c:v>
                </c:pt>
                <c:pt idx="62427">
                  <c:v>30784</c:v>
                </c:pt>
                <c:pt idx="62428">
                  <c:v>30783</c:v>
                </c:pt>
                <c:pt idx="62429">
                  <c:v>30783</c:v>
                </c:pt>
                <c:pt idx="62430">
                  <c:v>30783</c:v>
                </c:pt>
                <c:pt idx="62431">
                  <c:v>30783</c:v>
                </c:pt>
                <c:pt idx="62432">
                  <c:v>30783</c:v>
                </c:pt>
                <c:pt idx="62433">
                  <c:v>30783</c:v>
                </c:pt>
                <c:pt idx="62434">
                  <c:v>30783</c:v>
                </c:pt>
                <c:pt idx="62435">
                  <c:v>30782</c:v>
                </c:pt>
                <c:pt idx="62436">
                  <c:v>30782</c:v>
                </c:pt>
                <c:pt idx="62437">
                  <c:v>30782</c:v>
                </c:pt>
                <c:pt idx="62438">
                  <c:v>30781</c:v>
                </c:pt>
                <c:pt idx="62439">
                  <c:v>30781</c:v>
                </c:pt>
                <c:pt idx="62440">
                  <c:v>30781</c:v>
                </c:pt>
                <c:pt idx="62441">
                  <c:v>30780</c:v>
                </c:pt>
                <c:pt idx="62442">
                  <c:v>30780</c:v>
                </c:pt>
                <c:pt idx="62443">
                  <c:v>30780</c:v>
                </c:pt>
                <c:pt idx="62444">
                  <c:v>30780</c:v>
                </c:pt>
                <c:pt idx="62445">
                  <c:v>30780</c:v>
                </c:pt>
                <c:pt idx="62446">
                  <c:v>30780</c:v>
                </c:pt>
                <c:pt idx="62447">
                  <c:v>30779</c:v>
                </c:pt>
                <c:pt idx="62448">
                  <c:v>30779</c:v>
                </c:pt>
                <c:pt idx="62449">
                  <c:v>30779</c:v>
                </c:pt>
                <c:pt idx="62450">
                  <c:v>30779</c:v>
                </c:pt>
                <c:pt idx="62451">
                  <c:v>30779</c:v>
                </c:pt>
                <c:pt idx="62452">
                  <c:v>30778</c:v>
                </c:pt>
                <c:pt idx="62453">
                  <c:v>30778</c:v>
                </c:pt>
                <c:pt idx="62454">
                  <c:v>30778</c:v>
                </c:pt>
                <c:pt idx="62455">
                  <c:v>30778</c:v>
                </c:pt>
                <c:pt idx="62456">
                  <c:v>30778</c:v>
                </c:pt>
                <c:pt idx="62457">
                  <c:v>30778</c:v>
                </c:pt>
                <c:pt idx="62458">
                  <c:v>30777</c:v>
                </c:pt>
                <c:pt idx="62459">
                  <c:v>30777</c:v>
                </c:pt>
                <c:pt idx="62460">
                  <c:v>30777</c:v>
                </c:pt>
                <c:pt idx="62461">
                  <c:v>30777</c:v>
                </c:pt>
                <c:pt idx="62462">
                  <c:v>30777</c:v>
                </c:pt>
                <c:pt idx="62463">
                  <c:v>30777</c:v>
                </c:pt>
                <c:pt idx="62464">
                  <c:v>30777</c:v>
                </c:pt>
                <c:pt idx="62465">
                  <c:v>30777</c:v>
                </c:pt>
                <c:pt idx="62466">
                  <c:v>30776</c:v>
                </c:pt>
                <c:pt idx="62467">
                  <c:v>30776</c:v>
                </c:pt>
                <c:pt idx="62468">
                  <c:v>30776</c:v>
                </c:pt>
                <c:pt idx="62469">
                  <c:v>30776</c:v>
                </c:pt>
                <c:pt idx="62470">
                  <c:v>30776</c:v>
                </c:pt>
                <c:pt idx="62471">
                  <c:v>30775</c:v>
                </c:pt>
                <c:pt idx="62472">
                  <c:v>30775</c:v>
                </c:pt>
                <c:pt idx="62473">
                  <c:v>30775</c:v>
                </c:pt>
                <c:pt idx="62474">
                  <c:v>30775</c:v>
                </c:pt>
                <c:pt idx="62475">
                  <c:v>30775</c:v>
                </c:pt>
                <c:pt idx="62476">
                  <c:v>30775</c:v>
                </c:pt>
                <c:pt idx="62477">
                  <c:v>30774</c:v>
                </c:pt>
                <c:pt idx="62478">
                  <c:v>30774</c:v>
                </c:pt>
                <c:pt idx="62479">
                  <c:v>30774</c:v>
                </c:pt>
                <c:pt idx="62480">
                  <c:v>30774</c:v>
                </c:pt>
                <c:pt idx="62481">
                  <c:v>30774</c:v>
                </c:pt>
                <c:pt idx="62482">
                  <c:v>30774</c:v>
                </c:pt>
                <c:pt idx="62483">
                  <c:v>30773</c:v>
                </c:pt>
                <c:pt idx="62484">
                  <c:v>30773</c:v>
                </c:pt>
                <c:pt idx="62485">
                  <c:v>30773</c:v>
                </c:pt>
                <c:pt idx="62486">
                  <c:v>30773</c:v>
                </c:pt>
                <c:pt idx="62487">
                  <c:v>30773</c:v>
                </c:pt>
                <c:pt idx="62488">
                  <c:v>30773</c:v>
                </c:pt>
                <c:pt idx="62489">
                  <c:v>30772</c:v>
                </c:pt>
                <c:pt idx="62490">
                  <c:v>30772</c:v>
                </c:pt>
                <c:pt idx="62491">
                  <c:v>30771</c:v>
                </c:pt>
                <c:pt idx="62492">
                  <c:v>30771</c:v>
                </c:pt>
                <c:pt idx="62493">
                  <c:v>30770</c:v>
                </c:pt>
                <c:pt idx="62494">
                  <c:v>30770</c:v>
                </c:pt>
                <c:pt idx="62495">
                  <c:v>30770</c:v>
                </c:pt>
                <c:pt idx="62496">
                  <c:v>30770</c:v>
                </c:pt>
                <c:pt idx="62497">
                  <c:v>30770</c:v>
                </c:pt>
                <c:pt idx="62498">
                  <c:v>30770</c:v>
                </c:pt>
                <c:pt idx="62499">
                  <c:v>30770</c:v>
                </c:pt>
                <c:pt idx="62500">
                  <c:v>30769</c:v>
                </c:pt>
                <c:pt idx="62501">
                  <c:v>30769</c:v>
                </c:pt>
                <c:pt idx="62502">
                  <c:v>30769</c:v>
                </c:pt>
                <c:pt idx="62503">
                  <c:v>30769</c:v>
                </c:pt>
                <c:pt idx="62504">
                  <c:v>30769</c:v>
                </c:pt>
                <c:pt idx="62505">
                  <c:v>30769</c:v>
                </c:pt>
                <c:pt idx="62506">
                  <c:v>30768</c:v>
                </c:pt>
                <c:pt idx="62507">
                  <c:v>30768</c:v>
                </c:pt>
                <c:pt idx="62508">
                  <c:v>30768</c:v>
                </c:pt>
                <c:pt idx="62509">
                  <c:v>30768</c:v>
                </c:pt>
                <c:pt idx="62510">
                  <c:v>30767</c:v>
                </c:pt>
                <c:pt idx="62511">
                  <c:v>30767</c:v>
                </c:pt>
                <c:pt idx="62512">
                  <c:v>30767</c:v>
                </c:pt>
                <c:pt idx="62513">
                  <c:v>30767</c:v>
                </c:pt>
                <c:pt idx="62514">
                  <c:v>30766</c:v>
                </c:pt>
                <c:pt idx="62515">
                  <c:v>30766</c:v>
                </c:pt>
                <c:pt idx="62516">
                  <c:v>30766</c:v>
                </c:pt>
                <c:pt idx="62517">
                  <c:v>30766</c:v>
                </c:pt>
                <c:pt idx="62518">
                  <c:v>30766</c:v>
                </c:pt>
                <c:pt idx="62519">
                  <c:v>30765</c:v>
                </c:pt>
                <c:pt idx="62520">
                  <c:v>30765</c:v>
                </c:pt>
                <c:pt idx="62521">
                  <c:v>30765</c:v>
                </c:pt>
                <c:pt idx="62522">
                  <c:v>30764</c:v>
                </c:pt>
                <c:pt idx="62523">
                  <c:v>30764</c:v>
                </c:pt>
                <c:pt idx="62524">
                  <c:v>30764</c:v>
                </c:pt>
                <c:pt idx="62525">
                  <c:v>30764</c:v>
                </c:pt>
                <c:pt idx="62526">
                  <c:v>30764</c:v>
                </c:pt>
                <c:pt idx="62527">
                  <c:v>30764</c:v>
                </c:pt>
                <c:pt idx="62528">
                  <c:v>30764</c:v>
                </c:pt>
                <c:pt idx="62529">
                  <c:v>30763</c:v>
                </c:pt>
                <c:pt idx="62530">
                  <c:v>30763</c:v>
                </c:pt>
                <c:pt idx="62531">
                  <c:v>30763</c:v>
                </c:pt>
                <c:pt idx="62532">
                  <c:v>30763</c:v>
                </c:pt>
                <c:pt idx="62533">
                  <c:v>30762</c:v>
                </c:pt>
                <c:pt idx="62534">
                  <c:v>30762</c:v>
                </c:pt>
                <c:pt idx="62535">
                  <c:v>30762</c:v>
                </c:pt>
                <c:pt idx="62536">
                  <c:v>30762</c:v>
                </c:pt>
                <c:pt idx="62537">
                  <c:v>30761</c:v>
                </c:pt>
                <c:pt idx="62538">
                  <c:v>30761</c:v>
                </c:pt>
                <c:pt idx="62539">
                  <c:v>30761</c:v>
                </c:pt>
                <c:pt idx="62540">
                  <c:v>30761</c:v>
                </c:pt>
                <c:pt idx="62541">
                  <c:v>30760</c:v>
                </c:pt>
                <c:pt idx="62542">
                  <c:v>30760</c:v>
                </c:pt>
                <c:pt idx="62543">
                  <c:v>30760</c:v>
                </c:pt>
                <c:pt idx="62544">
                  <c:v>30760</c:v>
                </c:pt>
                <c:pt idx="62545">
                  <c:v>30759</c:v>
                </c:pt>
                <c:pt idx="62546">
                  <c:v>30759</c:v>
                </c:pt>
                <c:pt idx="62547">
                  <c:v>30759</c:v>
                </c:pt>
                <c:pt idx="62548">
                  <c:v>30759</c:v>
                </c:pt>
                <c:pt idx="62549">
                  <c:v>30759</c:v>
                </c:pt>
                <c:pt idx="62550">
                  <c:v>30759</c:v>
                </c:pt>
                <c:pt idx="62551">
                  <c:v>30759</c:v>
                </c:pt>
                <c:pt idx="62552">
                  <c:v>30758</c:v>
                </c:pt>
                <c:pt idx="62553">
                  <c:v>30758</c:v>
                </c:pt>
                <c:pt idx="62554">
                  <c:v>30758</c:v>
                </c:pt>
                <c:pt idx="62555">
                  <c:v>30758</c:v>
                </c:pt>
                <c:pt idx="62556">
                  <c:v>30758</c:v>
                </c:pt>
                <c:pt idx="62557">
                  <c:v>30758</c:v>
                </c:pt>
                <c:pt idx="62558">
                  <c:v>30757</c:v>
                </c:pt>
                <c:pt idx="62559">
                  <c:v>30757</c:v>
                </c:pt>
                <c:pt idx="62560">
                  <c:v>30757</c:v>
                </c:pt>
                <c:pt idx="62561">
                  <c:v>30756</c:v>
                </c:pt>
                <c:pt idx="62562">
                  <c:v>30756</c:v>
                </c:pt>
                <c:pt idx="62563">
                  <c:v>30755</c:v>
                </c:pt>
                <c:pt idx="62564">
                  <c:v>30755</c:v>
                </c:pt>
                <c:pt idx="62565">
                  <c:v>30755</c:v>
                </c:pt>
                <c:pt idx="62566">
                  <c:v>30754</c:v>
                </c:pt>
                <c:pt idx="62567">
                  <c:v>30754</c:v>
                </c:pt>
                <c:pt idx="62568">
                  <c:v>30753</c:v>
                </c:pt>
                <c:pt idx="62569">
                  <c:v>30753</c:v>
                </c:pt>
                <c:pt idx="62570">
                  <c:v>30753</c:v>
                </c:pt>
                <c:pt idx="62571">
                  <c:v>30752</c:v>
                </c:pt>
                <c:pt idx="62572">
                  <c:v>30752</c:v>
                </c:pt>
                <c:pt idx="62573">
                  <c:v>30752</c:v>
                </c:pt>
                <c:pt idx="62574">
                  <c:v>30752</c:v>
                </c:pt>
                <c:pt idx="62575">
                  <c:v>30752</c:v>
                </c:pt>
                <c:pt idx="62576">
                  <c:v>30752</c:v>
                </c:pt>
                <c:pt idx="62577">
                  <c:v>30751</c:v>
                </c:pt>
                <c:pt idx="62578">
                  <c:v>30751</c:v>
                </c:pt>
                <c:pt idx="62579">
                  <c:v>30751</c:v>
                </c:pt>
                <c:pt idx="62580">
                  <c:v>30751</c:v>
                </c:pt>
                <c:pt idx="62581">
                  <c:v>30751</c:v>
                </c:pt>
                <c:pt idx="62582">
                  <c:v>30751</c:v>
                </c:pt>
                <c:pt idx="62583">
                  <c:v>30751</c:v>
                </c:pt>
                <c:pt idx="62584">
                  <c:v>30751</c:v>
                </c:pt>
                <c:pt idx="62585">
                  <c:v>30750</c:v>
                </c:pt>
                <c:pt idx="62586">
                  <c:v>30750</c:v>
                </c:pt>
                <c:pt idx="62587">
                  <c:v>30750</c:v>
                </c:pt>
                <c:pt idx="62588">
                  <c:v>30750</c:v>
                </c:pt>
                <c:pt idx="62589">
                  <c:v>30749</c:v>
                </c:pt>
                <c:pt idx="62590">
                  <c:v>30749</c:v>
                </c:pt>
                <c:pt idx="62591">
                  <c:v>30749</c:v>
                </c:pt>
                <c:pt idx="62592">
                  <c:v>30749</c:v>
                </c:pt>
                <c:pt idx="62593">
                  <c:v>30749</c:v>
                </c:pt>
                <c:pt idx="62594">
                  <c:v>30749</c:v>
                </c:pt>
                <c:pt idx="62595">
                  <c:v>30749</c:v>
                </c:pt>
                <c:pt idx="62596">
                  <c:v>30748</c:v>
                </c:pt>
                <c:pt idx="62597">
                  <c:v>30748</c:v>
                </c:pt>
                <c:pt idx="62598">
                  <c:v>30748</c:v>
                </c:pt>
                <c:pt idx="62599">
                  <c:v>30748</c:v>
                </c:pt>
                <c:pt idx="62600">
                  <c:v>30748</c:v>
                </c:pt>
                <c:pt idx="62601">
                  <c:v>30747</c:v>
                </c:pt>
                <c:pt idx="62602">
                  <c:v>30747</c:v>
                </c:pt>
                <c:pt idx="62603">
                  <c:v>30747</c:v>
                </c:pt>
                <c:pt idx="62604">
                  <c:v>30747</c:v>
                </c:pt>
                <c:pt idx="62605">
                  <c:v>30747</c:v>
                </c:pt>
                <c:pt idx="62606">
                  <c:v>30747</c:v>
                </c:pt>
                <c:pt idx="62607">
                  <c:v>30747</c:v>
                </c:pt>
                <c:pt idx="62608">
                  <c:v>30746</c:v>
                </c:pt>
                <c:pt idx="62609">
                  <c:v>30746</c:v>
                </c:pt>
                <c:pt idx="62610">
                  <c:v>30746</c:v>
                </c:pt>
                <c:pt idx="62611">
                  <c:v>30746</c:v>
                </c:pt>
                <c:pt idx="62612">
                  <c:v>30746</c:v>
                </c:pt>
                <c:pt idx="62613">
                  <c:v>30746</c:v>
                </c:pt>
                <c:pt idx="62614">
                  <c:v>30745</c:v>
                </c:pt>
                <c:pt idx="62615">
                  <c:v>30745</c:v>
                </c:pt>
                <c:pt idx="62616">
                  <c:v>30745</c:v>
                </c:pt>
                <c:pt idx="62617">
                  <c:v>30744</c:v>
                </c:pt>
                <c:pt idx="62618">
                  <c:v>30744</c:v>
                </c:pt>
                <c:pt idx="62619">
                  <c:v>30744</c:v>
                </c:pt>
                <c:pt idx="62620">
                  <c:v>30744</c:v>
                </c:pt>
                <c:pt idx="62621">
                  <c:v>30744</c:v>
                </c:pt>
                <c:pt idx="62622">
                  <c:v>30743</c:v>
                </c:pt>
                <c:pt idx="62623">
                  <c:v>30743</c:v>
                </c:pt>
                <c:pt idx="62624">
                  <c:v>30743</c:v>
                </c:pt>
                <c:pt idx="62625">
                  <c:v>30743</c:v>
                </c:pt>
                <c:pt idx="62626">
                  <c:v>30743</c:v>
                </c:pt>
                <c:pt idx="62627">
                  <c:v>30742</c:v>
                </c:pt>
                <c:pt idx="62628">
                  <c:v>30742</c:v>
                </c:pt>
                <c:pt idx="62629">
                  <c:v>30742</c:v>
                </c:pt>
                <c:pt idx="62630">
                  <c:v>30742</c:v>
                </c:pt>
                <c:pt idx="62631">
                  <c:v>30742</c:v>
                </c:pt>
                <c:pt idx="62632">
                  <c:v>30742</c:v>
                </c:pt>
                <c:pt idx="62633">
                  <c:v>30742</c:v>
                </c:pt>
                <c:pt idx="62634">
                  <c:v>30742</c:v>
                </c:pt>
                <c:pt idx="62635">
                  <c:v>30742</c:v>
                </c:pt>
                <c:pt idx="62636">
                  <c:v>30742</c:v>
                </c:pt>
                <c:pt idx="62637">
                  <c:v>30741</c:v>
                </c:pt>
                <c:pt idx="62638">
                  <c:v>30741</c:v>
                </c:pt>
                <c:pt idx="62639">
                  <c:v>30741</c:v>
                </c:pt>
                <c:pt idx="62640">
                  <c:v>30741</c:v>
                </c:pt>
                <c:pt idx="62641">
                  <c:v>30741</c:v>
                </c:pt>
                <c:pt idx="62642">
                  <c:v>30741</c:v>
                </c:pt>
                <c:pt idx="62643">
                  <c:v>30740</c:v>
                </c:pt>
                <c:pt idx="62644">
                  <c:v>30740</c:v>
                </c:pt>
                <c:pt idx="62645">
                  <c:v>30740</c:v>
                </c:pt>
                <c:pt idx="62646">
                  <c:v>30739</c:v>
                </c:pt>
                <c:pt idx="62647">
                  <c:v>30739</c:v>
                </c:pt>
                <c:pt idx="62648">
                  <c:v>30739</c:v>
                </c:pt>
                <c:pt idx="62649">
                  <c:v>30738</c:v>
                </c:pt>
                <c:pt idx="62650">
                  <c:v>30738</c:v>
                </c:pt>
                <c:pt idx="62651">
                  <c:v>30738</c:v>
                </c:pt>
                <c:pt idx="62652">
                  <c:v>30738</c:v>
                </c:pt>
                <c:pt idx="62653">
                  <c:v>30738</c:v>
                </c:pt>
                <c:pt idx="62654">
                  <c:v>30737</c:v>
                </c:pt>
                <c:pt idx="62655">
                  <c:v>30737</c:v>
                </c:pt>
                <c:pt idx="62656">
                  <c:v>30737</c:v>
                </c:pt>
                <c:pt idx="62657">
                  <c:v>30737</c:v>
                </c:pt>
                <c:pt idx="62658">
                  <c:v>30737</c:v>
                </c:pt>
                <c:pt idx="62659">
                  <c:v>30736</c:v>
                </c:pt>
                <c:pt idx="62660">
                  <c:v>30736</c:v>
                </c:pt>
                <c:pt idx="62661">
                  <c:v>30736</c:v>
                </c:pt>
                <c:pt idx="62662">
                  <c:v>30736</c:v>
                </c:pt>
                <c:pt idx="62663">
                  <c:v>30736</c:v>
                </c:pt>
                <c:pt idx="62664">
                  <c:v>30736</c:v>
                </c:pt>
                <c:pt idx="62665">
                  <c:v>30735</c:v>
                </c:pt>
                <c:pt idx="62666">
                  <c:v>30735</c:v>
                </c:pt>
                <c:pt idx="62667">
                  <c:v>30735</c:v>
                </c:pt>
                <c:pt idx="62668">
                  <c:v>30735</c:v>
                </c:pt>
                <c:pt idx="62669">
                  <c:v>30735</c:v>
                </c:pt>
                <c:pt idx="62670">
                  <c:v>30735</c:v>
                </c:pt>
                <c:pt idx="62671">
                  <c:v>30735</c:v>
                </c:pt>
                <c:pt idx="62672">
                  <c:v>30734</c:v>
                </c:pt>
                <c:pt idx="62673">
                  <c:v>30734</c:v>
                </c:pt>
                <c:pt idx="62674">
                  <c:v>30734</c:v>
                </c:pt>
                <c:pt idx="62675">
                  <c:v>30734</c:v>
                </c:pt>
                <c:pt idx="62676">
                  <c:v>30734</c:v>
                </c:pt>
                <c:pt idx="62677">
                  <c:v>30734</c:v>
                </c:pt>
                <c:pt idx="62678">
                  <c:v>30733</c:v>
                </c:pt>
                <c:pt idx="62679">
                  <c:v>30733</c:v>
                </c:pt>
                <c:pt idx="62680">
                  <c:v>30733</c:v>
                </c:pt>
                <c:pt idx="62681">
                  <c:v>30733</c:v>
                </c:pt>
                <c:pt idx="62682">
                  <c:v>30733</c:v>
                </c:pt>
                <c:pt idx="62683">
                  <c:v>30733</c:v>
                </c:pt>
                <c:pt idx="62684">
                  <c:v>30733</c:v>
                </c:pt>
                <c:pt idx="62685">
                  <c:v>30732</c:v>
                </c:pt>
                <c:pt idx="62686">
                  <c:v>30732</c:v>
                </c:pt>
                <c:pt idx="62687">
                  <c:v>30732</c:v>
                </c:pt>
                <c:pt idx="62688">
                  <c:v>30732</c:v>
                </c:pt>
                <c:pt idx="62689">
                  <c:v>30732</c:v>
                </c:pt>
                <c:pt idx="62690">
                  <c:v>30732</c:v>
                </c:pt>
                <c:pt idx="62691">
                  <c:v>30732</c:v>
                </c:pt>
                <c:pt idx="62692">
                  <c:v>30731</c:v>
                </c:pt>
                <c:pt idx="62693">
                  <c:v>30731</c:v>
                </c:pt>
                <c:pt idx="62694">
                  <c:v>30731</c:v>
                </c:pt>
                <c:pt idx="62695">
                  <c:v>30731</c:v>
                </c:pt>
                <c:pt idx="62696">
                  <c:v>30731</c:v>
                </c:pt>
                <c:pt idx="62697">
                  <c:v>30731</c:v>
                </c:pt>
                <c:pt idx="62698">
                  <c:v>30731</c:v>
                </c:pt>
                <c:pt idx="62699">
                  <c:v>30731</c:v>
                </c:pt>
                <c:pt idx="62700">
                  <c:v>30731</c:v>
                </c:pt>
                <c:pt idx="62701">
                  <c:v>30730</c:v>
                </c:pt>
                <c:pt idx="62702">
                  <c:v>30730</c:v>
                </c:pt>
                <c:pt idx="62703">
                  <c:v>30729</c:v>
                </c:pt>
                <c:pt idx="62704">
                  <c:v>30729</c:v>
                </c:pt>
                <c:pt idx="62705">
                  <c:v>30729</c:v>
                </c:pt>
                <c:pt idx="62706">
                  <c:v>30729</c:v>
                </c:pt>
                <c:pt idx="62707">
                  <c:v>30729</c:v>
                </c:pt>
                <c:pt idx="62708">
                  <c:v>30728</c:v>
                </c:pt>
                <c:pt idx="62709">
                  <c:v>30728</c:v>
                </c:pt>
                <c:pt idx="62710">
                  <c:v>30728</c:v>
                </c:pt>
                <c:pt idx="62711">
                  <c:v>30728</c:v>
                </c:pt>
                <c:pt idx="62712">
                  <c:v>30728</c:v>
                </c:pt>
                <c:pt idx="62713">
                  <c:v>30728</c:v>
                </c:pt>
                <c:pt idx="62714">
                  <c:v>30727</c:v>
                </c:pt>
                <c:pt idx="62715">
                  <c:v>30727</c:v>
                </c:pt>
                <c:pt idx="62716">
                  <c:v>30727</c:v>
                </c:pt>
                <c:pt idx="62717">
                  <c:v>30726</c:v>
                </c:pt>
                <c:pt idx="62718">
                  <c:v>30726</c:v>
                </c:pt>
                <c:pt idx="62719">
                  <c:v>30726</c:v>
                </c:pt>
                <c:pt idx="62720">
                  <c:v>30726</c:v>
                </c:pt>
                <c:pt idx="62721">
                  <c:v>30726</c:v>
                </c:pt>
                <c:pt idx="62722">
                  <c:v>30725</c:v>
                </c:pt>
                <c:pt idx="62723">
                  <c:v>30725</c:v>
                </c:pt>
                <c:pt idx="62724">
                  <c:v>30725</c:v>
                </c:pt>
                <c:pt idx="62725">
                  <c:v>30725</c:v>
                </c:pt>
                <c:pt idx="62726">
                  <c:v>30724</c:v>
                </c:pt>
                <c:pt idx="62727">
                  <c:v>30724</c:v>
                </c:pt>
                <c:pt idx="62728">
                  <c:v>30724</c:v>
                </c:pt>
                <c:pt idx="62729">
                  <c:v>30724</c:v>
                </c:pt>
                <c:pt idx="62730">
                  <c:v>30724</c:v>
                </c:pt>
                <c:pt idx="62731">
                  <c:v>30724</c:v>
                </c:pt>
                <c:pt idx="62732">
                  <c:v>30724</c:v>
                </c:pt>
                <c:pt idx="62733">
                  <c:v>30723</c:v>
                </c:pt>
                <c:pt idx="62734">
                  <c:v>30723</c:v>
                </c:pt>
                <c:pt idx="62735">
                  <c:v>30722</c:v>
                </c:pt>
                <c:pt idx="62736">
                  <c:v>30721</c:v>
                </c:pt>
                <c:pt idx="62737">
                  <c:v>30721</c:v>
                </c:pt>
                <c:pt idx="62738">
                  <c:v>30721</c:v>
                </c:pt>
                <c:pt idx="62739">
                  <c:v>30721</c:v>
                </c:pt>
                <c:pt idx="62740">
                  <c:v>30721</c:v>
                </c:pt>
                <c:pt idx="62741">
                  <c:v>30720</c:v>
                </c:pt>
                <c:pt idx="62742">
                  <c:v>30719</c:v>
                </c:pt>
                <c:pt idx="62743">
                  <c:v>30719</c:v>
                </c:pt>
                <c:pt idx="62744">
                  <c:v>30719</c:v>
                </c:pt>
                <c:pt idx="62745">
                  <c:v>30718</c:v>
                </c:pt>
                <c:pt idx="62746">
                  <c:v>30718</c:v>
                </c:pt>
                <c:pt idx="62747">
                  <c:v>30718</c:v>
                </c:pt>
                <c:pt idx="62748">
                  <c:v>30718</c:v>
                </c:pt>
                <c:pt idx="62749">
                  <c:v>30717</c:v>
                </c:pt>
                <c:pt idx="62750">
                  <c:v>30717</c:v>
                </c:pt>
                <c:pt idx="62751">
                  <c:v>30717</c:v>
                </c:pt>
                <c:pt idx="62752">
                  <c:v>30717</c:v>
                </c:pt>
                <c:pt idx="62753">
                  <c:v>30717</c:v>
                </c:pt>
                <c:pt idx="62754">
                  <c:v>30716</c:v>
                </c:pt>
                <c:pt idx="62755">
                  <c:v>30716</c:v>
                </c:pt>
                <c:pt idx="62756">
                  <c:v>30716</c:v>
                </c:pt>
                <c:pt idx="62757">
                  <c:v>30716</c:v>
                </c:pt>
                <c:pt idx="62758">
                  <c:v>30716</c:v>
                </c:pt>
                <c:pt idx="62759">
                  <c:v>30715</c:v>
                </c:pt>
                <c:pt idx="62760">
                  <c:v>30715</c:v>
                </c:pt>
                <c:pt idx="62761">
                  <c:v>30715</c:v>
                </c:pt>
                <c:pt idx="62762">
                  <c:v>30715</c:v>
                </c:pt>
                <c:pt idx="62763">
                  <c:v>30715</c:v>
                </c:pt>
                <c:pt idx="62764">
                  <c:v>30714</c:v>
                </c:pt>
                <c:pt idx="62765">
                  <c:v>30714</c:v>
                </c:pt>
                <c:pt idx="62766">
                  <c:v>30714</c:v>
                </c:pt>
                <c:pt idx="62767">
                  <c:v>30714</c:v>
                </c:pt>
                <c:pt idx="62768">
                  <c:v>30714</c:v>
                </c:pt>
                <c:pt idx="62769">
                  <c:v>30713</c:v>
                </c:pt>
                <c:pt idx="62770">
                  <c:v>30713</c:v>
                </c:pt>
                <c:pt idx="62771">
                  <c:v>30713</c:v>
                </c:pt>
                <c:pt idx="62772">
                  <c:v>30713</c:v>
                </c:pt>
                <c:pt idx="62773">
                  <c:v>30713</c:v>
                </c:pt>
                <c:pt idx="62774">
                  <c:v>30713</c:v>
                </c:pt>
                <c:pt idx="62775">
                  <c:v>30713</c:v>
                </c:pt>
                <c:pt idx="62776">
                  <c:v>30712</c:v>
                </c:pt>
                <c:pt idx="62777">
                  <c:v>30711</c:v>
                </c:pt>
                <c:pt idx="62778">
                  <c:v>30711</c:v>
                </c:pt>
                <c:pt idx="62779">
                  <c:v>30711</c:v>
                </c:pt>
                <c:pt idx="62780">
                  <c:v>30711</c:v>
                </c:pt>
                <c:pt idx="62781">
                  <c:v>30711</c:v>
                </c:pt>
                <c:pt idx="62782">
                  <c:v>30711</c:v>
                </c:pt>
                <c:pt idx="62783">
                  <c:v>30711</c:v>
                </c:pt>
                <c:pt idx="62784">
                  <c:v>30711</c:v>
                </c:pt>
                <c:pt idx="62785">
                  <c:v>30711</c:v>
                </c:pt>
                <c:pt idx="62786">
                  <c:v>30711</c:v>
                </c:pt>
                <c:pt idx="62787">
                  <c:v>30710</c:v>
                </c:pt>
                <c:pt idx="62788">
                  <c:v>30710</c:v>
                </c:pt>
                <c:pt idx="62789">
                  <c:v>30710</c:v>
                </c:pt>
                <c:pt idx="62790">
                  <c:v>30710</c:v>
                </c:pt>
                <c:pt idx="62791">
                  <c:v>30710</c:v>
                </c:pt>
                <c:pt idx="62792">
                  <c:v>30709</c:v>
                </c:pt>
                <c:pt idx="62793">
                  <c:v>30709</c:v>
                </c:pt>
                <c:pt idx="62794">
                  <c:v>30708</c:v>
                </c:pt>
                <c:pt idx="62795">
                  <c:v>30708</c:v>
                </c:pt>
                <c:pt idx="62796">
                  <c:v>30708</c:v>
                </c:pt>
                <c:pt idx="62797">
                  <c:v>30708</c:v>
                </c:pt>
                <c:pt idx="62798">
                  <c:v>30708</c:v>
                </c:pt>
                <c:pt idx="62799">
                  <c:v>30708</c:v>
                </c:pt>
                <c:pt idx="62800">
                  <c:v>30708</c:v>
                </c:pt>
                <c:pt idx="62801">
                  <c:v>30708</c:v>
                </c:pt>
                <c:pt idx="62802">
                  <c:v>30708</c:v>
                </c:pt>
                <c:pt idx="62803">
                  <c:v>30707</c:v>
                </c:pt>
                <c:pt idx="62804">
                  <c:v>30707</c:v>
                </c:pt>
                <c:pt idx="62805">
                  <c:v>30707</c:v>
                </c:pt>
                <c:pt idx="62806">
                  <c:v>30707</c:v>
                </c:pt>
                <c:pt idx="62807">
                  <c:v>30707</c:v>
                </c:pt>
                <c:pt idx="62808">
                  <c:v>30706</c:v>
                </c:pt>
                <c:pt idx="62809">
                  <c:v>30706</c:v>
                </c:pt>
                <c:pt idx="62810">
                  <c:v>30706</c:v>
                </c:pt>
                <c:pt idx="62811">
                  <c:v>30706</c:v>
                </c:pt>
                <c:pt idx="62812">
                  <c:v>30705</c:v>
                </c:pt>
                <c:pt idx="62813">
                  <c:v>30705</c:v>
                </c:pt>
                <c:pt idx="62814">
                  <c:v>30705</c:v>
                </c:pt>
                <c:pt idx="62815">
                  <c:v>30705</c:v>
                </c:pt>
                <c:pt idx="62816">
                  <c:v>30705</c:v>
                </c:pt>
                <c:pt idx="62817">
                  <c:v>30705</c:v>
                </c:pt>
                <c:pt idx="62818">
                  <c:v>30704</c:v>
                </c:pt>
                <c:pt idx="62819">
                  <c:v>30704</c:v>
                </c:pt>
                <c:pt idx="62820">
                  <c:v>30704</c:v>
                </c:pt>
                <c:pt idx="62821">
                  <c:v>30704</c:v>
                </c:pt>
                <c:pt idx="62822">
                  <c:v>30704</c:v>
                </c:pt>
                <c:pt idx="62823">
                  <c:v>30704</c:v>
                </c:pt>
                <c:pt idx="62824">
                  <c:v>30704</c:v>
                </c:pt>
                <c:pt idx="62825">
                  <c:v>30703</c:v>
                </c:pt>
                <c:pt idx="62826">
                  <c:v>30703</c:v>
                </c:pt>
                <c:pt idx="62827">
                  <c:v>30703</c:v>
                </c:pt>
                <c:pt idx="62828">
                  <c:v>30703</c:v>
                </c:pt>
                <c:pt idx="62829">
                  <c:v>30703</c:v>
                </c:pt>
                <c:pt idx="62830">
                  <c:v>30703</c:v>
                </c:pt>
                <c:pt idx="62831">
                  <c:v>30702</c:v>
                </c:pt>
                <c:pt idx="62832">
                  <c:v>30702</c:v>
                </c:pt>
                <c:pt idx="62833">
                  <c:v>30702</c:v>
                </c:pt>
                <c:pt idx="62834">
                  <c:v>30702</c:v>
                </c:pt>
                <c:pt idx="62835">
                  <c:v>30702</c:v>
                </c:pt>
                <c:pt idx="62836">
                  <c:v>30702</c:v>
                </c:pt>
                <c:pt idx="62837">
                  <c:v>30701</c:v>
                </c:pt>
                <c:pt idx="62838">
                  <c:v>30701</c:v>
                </c:pt>
                <c:pt idx="62839">
                  <c:v>30701</c:v>
                </c:pt>
                <c:pt idx="62840">
                  <c:v>30701</c:v>
                </c:pt>
                <c:pt idx="62841">
                  <c:v>30700</c:v>
                </c:pt>
                <c:pt idx="62842">
                  <c:v>30700</c:v>
                </c:pt>
                <c:pt idx="62843">
                  <c:v>30700</c:v>
                </c:pt>
                <c:pt idx="62844">
                  <c:v>30700</c:v>
                </c:pt>
                <c:pt idx="62845">
                  <c:v>30699</c:v>
                </c:pt>
                <c:pt idx="62846">
                  <c:v>30699</c:v>
                </c:pt>
                <c:pt idx="62847">
                  <c:v>30699</c:v>
                </c:pt>
                <c:pt idx="62848">
                  <c:v>30699</c:v>
                </c:pt>
                <c:pt idx="62849">
                  <c:v>30698</c:v>
                </c:pt>
                <c:pt idx="62850">
                  <c:v>30698</c:v>
                </c:pt>
                <c:pt idx="62851">
                  <c:v>30698</c:v>
                </c:pt>
                <c:pt idx="62852">
                  <c:v>30698</c:v>
                </c:pt>
                <c:pt idx="62853">
                  <c:v>30698</c:v>
                </c:pt>
                <c:pt idx="62854">
                  <c:v>30698</c:v>
                </c:pt>
                <c:pt idx="62855">
                  <c:v>30697</c:v>
                </c:pt>
                <c:pt idx="62856">
                  <c:v>30697</c:v>
                </c:pt>
                <c:pt idx="62857">
                  <c:v>30697</c:v>
                </c:pt>
                <c:pt idx="62858">
                  <c:v>30697</c:v>
                </c:pt>
                <c:pt idx="62859">
                  <c:v>30697</c:v>
                </c:pt>
                <c:pt idx="62860">
                  <c:v>30696</c:v>
                </c:pt>
                <c:pt idx="62861">
                  <c:v>30696</c:v>
                </c:pt>
                <c:pt idx="62862">
                  <c:v>30696</c:v>
                </c:pt>
                <c:pt idx="62863">
                  <c:v>30696</c:v>
                </c:pt>
                <c:pt idx="62864">
                  <c:v>30695</c:v>
                </c:pt>
                <c:pt idx="62865">
                  <c:v>30695</c:v>
                </c:pt>
                <c:pt idx="62866">
                  <c:v>30695</c:v>
                </c:pt>
                <c:pt idx="62867">
                  <c:v>30695</c:v>
                </c:pt>
                <c:pt idx="62868">
                  <c:v>30695</c:v>
                </c:pt>
                <c:pt idx="62869">
                  <c:v>30695</c:v>
                </c:pt>
                <c:pt idx="62870">
                  <c:v>30695</c:v>
                </c:pt>
                <c:pt idx="62871">
                  <c:v>30694</c:v>
                </c:pt>
                <c:pt idx="62872">
                  <c:v>30693</c:v>
                </c:pt>
                <c:pt idx="62873">
                  <c:v>30693</c:v>
                </c:pt>
                <c:pt idx="62874">
                  <c:v>30693</c:v>
                </c:pt>
                <c:pt idx="62875">
                  <c:v>30693</c:v>
                </c:pt>
                <c:pt idx="62876">
                  <c:v>30693</c:v>
                </c:pt>
                <c:pt idx="62877">
                  <c:v>30693</c:v>
                </c:pt>
                <c:pt idx="62878">
                  <c:v>30693</c:v>
                </c:pt>
                <c:pt idx="62879">
                  <c:v>30692</c:v>
                </c:pt>
                <c:pt idx="62880">
                  <c:v>30692</c:v>
                </c:pt>
                <c:pt idx="62881">
                  <c:v>30692</c:v>
                </c:pt>
                <c:pt idx="62882">
                  <c:v>30692</c:v>
                </c:pt>
                <c:pt idx="62883">
                  <c:v>30691</c:v>
                </c:pt>
                <c:pt idx="62884">
                  <c:v>30691</c:v>
                </c:pt>
                <c:pt idx="62885">
                  <c:v>30691</c:v>
                </c:pt>
                <c:pt idx="62886">
                  <c:v>30691</c:v>
                </c:pt>
                <c:pt idx="62887">
                  <c:v>30691</c:v>
                </c:pt>
                <c:pt idx="62888">
                  <c:v>30690</c:v>
                </c:pt>
                <c:pt idx="62889">
                  <c:v>30690</c:v>
                </c:pt>
                <c:pt idx="62890">
                  <c:v>30690</c:v>
                </c:pt>
                <c:pt idx="62891">
                  <c:v>30690</c:v>
                </c:pt>
                <c:pt idx="62892">
                  <c:v>30690</c:v>
                </c:pt>
                <c:pt idx="62893">
                  <c:v>30689</c:v>
                </c:pt>
                <c:pt idx="62894">
                  <c:v>30689</c:v>
                </c:pt>
                <c:pt idx="62895">
                  <c:v>30689</c:v>
                </c:pt>
                <c:pt idx="62896">
                  <c:v>30689</c:v>
                </c:pt>
                <c:pt idx="62897">
                  <c:v>30689</c:v>
                </c:pt>
                <c:pt idx="62898">
                  <c:v>30689</c:v>
                </c:pt>
                <c:pt idx="62899">
                  <c:v>30689</c:v>
                </c:pt>
                <c:pt idx="62900">
                  <c:v>30689</c:v>
                </c:pt>
                <c:pt idx="62901">
                  <c:v>30688</c:v>
                </c:pt>
                <c:pt idx="62902">
                  <c:v>30688</c:v>
                </c:pt>
                <c:pt idx="62903">
                  <c:v>30688</c:v>
                </c:pt>
                <c:pt idx="62904">
                  <c:v>30688</c:v>
                </c:pt>
                <c:pt idx="62905">
                  <c:v>30688</c:v>
                </c:pt>
                <c:pt idx="62906">
                  <c:v>30688</c:v>
                </c:pt>
                <c:pt idx="62907">
                  <c:v>30688</c:v>
                </c:pt>
                <c:pt idx="62908">
                  <c:v>30688</c:v>
                </c:pt>
                <c:pt idx="62909">
                  <c:v>30688</c:v>
                </c:pt>
                <c:pt idx="62910">
                  <c:v>30688</c:v>
                </c:pt>
                <c:pt idx="62911">
                  <c:v>30688</c:v>
                </c:pt>
                <c:pt idx="62912">
                  <c:v>30688</c:v>
                </c:pt>
                <c:pt idx="62913">
                  <c:v>30687</c:v>
                </c:pt>
                <c:pt idx="62914">
                  <c:v>30687</c:v>
                </c:pt>
                <c:pt idx="62915">
                  <c:v>30687</c:v>
                </c:pt>
                <c:pt idx="62916">
                  <c:v>30687</c:v>
                </c:pt>
                <c:pt idx="62917">
                  <c:v>30687</c:v>
                </c:pt>
                <c:pt idx="62918">
                  <c:v>30687</c:v>
                </c:pt>
                <c:pt idx="62919">
                  <c:v>30686</c:v>
                </c:pt>
                <c:pt idx="62920">
                  <c:v>30686</c:v>
                </c:pt>
                <c:pt idx="62921">
                  <c:v>30686</c:v>
                </c:pt>
                <c:pt idx="62922">
                  <c:v>30686</c:v>
                </c:pt>
                <c:pt idx="62923">
                  <c:v>30686</c:v>
                </c:pt>
                <c:pt idx="62924">
                  <c:v>30686</c:v>
                </c:pt>
                <c:pt idx="62925">
                  <c:v>30686</c:v>
                </c:pt>
                <c:pt idx="62926">
                  <c:v>30685</c:v>
                </c:pt>
                <c:pt idx="62927">
                  <c:v>30685</c:v>
                </c:pt>
                <c:pt idx="62928">
                  <c:v>30685</c:v>
                </c:pt>
                <c:pt idx="62929">
                  <c:v>30683</c:v>
                </c:pt>
                <c:pt idx="62930">
                  <c:v>30683</c:v>
                </c:pt>
                <c:pt idx="62931">
                  <c:v>30683</c:v>
                </c:pt>
                <c:pt idx="62932">
                  <c:v>30683</c:v>
                </c:pt>
                <c:pt idx="62933">
                  <c:v>30682</c:v>
                </c:pt>
                <c:pt idx="62934">
                  <c:v>30682</c:v>
                </c:pt>
                <c:pt idx="62935">
                  <c:v>30682</c:v>
                </c:pt>
                <c:pt idx="62936">
                  <c:v>30681</c:v>
                </c:pt>
                <c:pt idx="62937">
                  <c:v>30681</c:v>
                </c:pt>
                <c:pt idx="62938">
                  <c:v>30681</c:v>
                </c:pt>
                <c:pt idx="62939">
                  <c:v>30681</c:v>
                </c:pt>
                <c:pt idx="62940">
                  <c:v>30681</c:v>
                </c:pt>
                <c:pt idx="62941">
                  <c:v>30681</c:v>
                </c:pt>
                <c:pt idx="62942">
                  <c:v>30681</c:v>
                </c:pt>
                <c:pt idx="62943">
                  <c:v>30680</c:v>
                </c:pt>
                <c:pt idx="62944">
                  <c:v>30680</c:v>
                </c:pt>
                <c:pt idx="62945">
                  <c:v>30680</c:v>
                </c:pt>
                <c:pt idx="62946">
                  <c:v>30680</c:v>
                </c:pt>
                <c:pt idx="62947">
                  <c:v>30680</c:v>
                </c:pt>
                <c:pt idx="62948">
                  <c:v>30679</c:v>
                </c:pt>
                <c:pt idx="62949">
                  <c:v>30679</c:v>
                </c:pt>
                <c:pt idx="62950">
                  <c:v>30679</c:v>
                </c:pt>
                <c:pt idx="62951">
                  <c:v>30679</c:v>
                </c:pt>
                <c:pt idx="62952">
                  <c:v>30679</c:v>
                </c:pt>
                <c:pt idx="62953">
                  <c:v>30679</c:v>
                </c:pt>
                <c:pt idx="62954">
                  <c:v>30679</c:v>
                </c:pt>
                <c:pt idx="62955">
                  <c:v>30679</c:v>
                </c:pt>
                <c:pt idx="62956">
                  <c:v>30679</c:v>
                </c:pt>
                <c:pt idx="62957">
                  <c:v>30679</c:v>
                </c:pt>
                <c:pt idx="62958">
                  <c:v>30678</c:v>
                </c:pt>
                <c:pt idx="62959">
                  <c:v>30678</c:v>
                </c:pt>
                <c:pt idx="62960">
                  <c:v>30678</c:v>
                </c:pt>
                <c:pt idx="62961">
                  <c:v>30678</c:v>
                </c:pt>
                <c:pt idx="62962">
                  <c:v>30677</c:v>
                </c:pt>
                <c:pt idx="62963">
                  <c:v>30677</c:v>
                </c:pt>
                <c:pt idx="62964">
                  <c:v>30677</c:v>
                </c:pt>
                <c:pt idx="62965">
                  <c:v>30677</c:v>
                </c:pt>
                <c:pt idx="62966">
                  <c:v>30677</c:v>
                </c:pt>
                <c:pt idx="62967">
                  <c:v>30676</c:v>
                </c:pt>
                <c:pt idx="62968">
                  <c:v>30676</c:v>
                </c:pt>
                <c:pt idx="62969">
                  <c:v>30676</c:v>
                </c:pt>
                <c:pt idx="62970">
                  <c:v>30676</c:v>
                </c:pt>
                <c:pt idx="62971">
                  <c:v>30676</c:v>
                </c:pt>
                <c:pt idx="62972">
                  <c:v>30676</c:v>
                </c:pt>
                <c:pt idx="62973">
                  <c:v>30676</c:v>
                </c:pt>
                <c:pt idx="62974">
                  <c:v>30676</c:v>
                </c:pt>
                <c:pt idx="62975">
                  <c:v>30675</c:v>
                </c:pt>
                <c:pt idx="62976">
                  <c:v>30675</c:v>
                </c:pt>
                <c:pt idx="62977">
                  <c:v>30675</c:v>
                </c:pt>
                <c:pt idx="62978">
                  <c:v>30675</c:v>
                </c:pt>
                <c:pt idx="62979">
                  <c:v>30675</c:v>
                </c:pt>
                <c:pt idx="62980">
                  <c:v>30675</c:v>
                </c:pt>
                <c:pt idx="62981">
                  <c:v>30674</c:v>
                </c:pt>
                <c:pt idx="62982">
                  <c:v>30674</c:v>
                </c:pt>
                <c:pt idx="62983">
                  <c:v>30674</c:v>
                </c:pt>
                <c:pt idx="62984">
                  <c:v>30674</c:v>
                </c:pt>
                <c:pt idx="62985">
                  <c:v>30674</c:v>
                </c:pt>
                <c:pt idx="62986">
                  <c:v>30674</c:v>
                </c:pt>
                <c:pt idx="62987">
                  <c:v>30674</c:v>
                </c:pt>
                <c:pt idx="62988">
                  <c:v>30673</c:v>
                </c:pt>
                <c:pt idx="62989">
                  <c:v>30673</c:v>
                </c:pt>
                <c:pt idx="62990">
                  <c:v>30673</c:v>
                </c:pt>
                <c:pt idx="62991">
                  <c:v>30673</c:v>
                </c:pt>
                <c:pt idx="62992">
                  <c:v>30672</c:v>
                </c:pt>
                <c:pt idx="62993">
                  <c:v>30672</c:v>
                </c:pt>
                <c:pt idx="62994">
                  <c:v>30672</c:v>
                </c:pt>
                <c:pt idx="62995">
                  <c:v>30672</c:v>
                </c:pt>
                <c:pt idx="62996">
                  <c:v>30672</c:v>
                </c:pt>
                <c:pt idx="62997">
                  <c:v>30671</c:v>
                </c:pt>
                <c:pt idx="62998">
                  <c:v>30671</c:v>
                </c:pt>
                <c:pt idx="62999">
                  <c:v>30671</c:v>
                </c:pt>
                <c:pt idx="63000">
                  <c:v>30671</c:v>
                </c:pt>
                <c:pt idx="63001">
                  <c:v>30671</c:v>
                </c:pt>
                <c:pt idx="63002">
                  <c:v>30671</c:v>
                </c:pt>
                <c:pt idx="63003">
                  <c:v>30670</c:v>
                </c:pt>
                <c:pt idx="63004">
                  <c:v>30670</c:v>
                </c:pt>
                <c:pt idx="63005">
                  <c:v>30670</c:v>
                </c:pt>
                <c:pt idx="63006">
                  <c:v>30669</c:v>
                </c:pt>
                <c:pt idx="63007">
                  <c:v>30669</c:v>
                </c:pt>
                <c:pt idx="63008">
                  <c:v>30668</c:v>
                </c:pt>
                <c:pt idx="63009">
                  <c:v>30668</c:v>
                </c:pt>
                <c:pt idx="63010">
                  <c:v>30668</c:v>
                </c:pt>
                <c:pt idx="63011">
                  <c:v>30668</c:v>
                </c:pt>
                <c:pt idx="63012">
                  <c:v>30668</c:v>
                </c:pt>
                <c:pt idx="63013">
                  <c:v>30667</c:v>
                </c:pt>
                <c:pt idx="63014">
                  <c:v>30667</c:v>
                </c:pt>
                <c:pt idx="63015">
                  <c:v>30667</c:v>
                </c:pt>
                <c:pt idx="63016">
                  <c:v>30667</c:v>
                </c:pt>
                <c:pt idx="63017">
                  <c:v>30667</c:v>
                </c:pt>
                <c:pt idx="63018">
                  <c:v>30667</c:v>
                </c:pt>
                <c:pt idx="63019">
                  <c:v>30666</c:v>
                </c:pt>
                <c:pt idx="63020">
                  <c:v>30666</c:v>
                </c:pt>
                <c:pt idx="63021">
                  <c:v>30666</c:v>
                </c:pt>
                <c:pt idx="63022">
                  <c:v>30666</c:v>
                </c:pt>
                <c:pt idx="63023">
                  <c:v>30666</c:v>
                </c:pt>
                <c:pt idx="63024">
                  <c:v>30666</c:v>
                </c:pt>
                <c:pt idx="63025">
                  <c:v>30665</c:v>
                </c:pt>
                <c:pt idx="63026">
                  <c:v>30665</c:v>
                </c:pt>
                <c:pt idx="63027">
                  <c:v>30665</c:v>
                </c:pt>
                <c:pt idx="63028">
                  <c:v>30665</c:v>
                </c:pt>
                <c:pt idx="63029">
                  <c:v>30664</c:v>
                </c:pt>
                <c:pt idx="63030">
                  <c:v>30664</c:v>
                </c:pt>
                <c:pt idx="63031">
                  <c:v>30664</c:v>
                </c:pt>
                <c:pt idx="63032">
                  <c:v>30664</c:v>
                </c:pt>
                <c:pt idx="63033">
                  <c:v>30663</c:v>
                </c:pt>
                <c:pt idx="63034">
                  <c:v>30663</c:v>
                </c:pt>
                <c:pt idx="63035">
                  <c:v>30663</c:v>
                </c:pt>
                <c:pt idx="63036">
                  <c:v>30663</c:v>
                </c:pt>
                <c:pt idx="63037">
                  <c:v>30663</c:v>
                </c:pt>
                <c:pt idx="63038">
                  <c:v>30662</c:v>
                </c:pt>
                <c:pt idx="63039">
                  <c:v>30662</c:v>
                </c:pt>
                <c:pt idx="63040">
                  <c:v>30662</c:v>
                </c:pt>
                <c:pt idx="63041">
                  <c:v>30662</c:v>
                </c:pt>
                <c:pt idx="63042">
                  <c:v>30662</c:v>
                </c:pt>
                <c:pt idx="63043">
                  <c:v>30662</c:v>
                </c:pt>
                <c:pt idx="63044">
                  <c:v>30661</c:v>
                </c:pt>
                <c:pt idx="63045">
                  <c:v>30661</c:v>
                </c:pt>
                <c:pt idx="63046">
                  <c:v>30661</c:v>
                </c:pt>
                <c:pt idx="63047">
                  <c:v>30661</c:v>
                </c:pt>
                <c:pt idx="63048">
                  <c:v>30661</c:v>
                </c:pt>
                <c:pt idx="63049">
                  <c:v>30660</c:v>
                </c:pt>
                <c:pt idx="63050">
                  <c:v>30660</c:v>
                </c:pt>
                <c:pt idx="63051">
                  <c:v>30659</c:v>
                </c:pt>
                <c:pt idx="63052">
                  <c:v>30659</c:v>
                </c:pt>
                <c:pt idx="63053">
                  <c:v>30659</c:v>
                </c:pt>
                <c:pt idx="63054">
                  <c:v>30659</c:v>
                </c:pt>
                <c:pt idx="63055">
                  <c:v>30659</c:v>
                </c:pt>
                <c:pt idx="63056">
                  <c:v>30659</c:v>
                </c:pt>
                <c:pt idx="63057">
                  <c:v>30659</c:v>
                </c:pt>
                <c:pt idx="63058">
                  <c:v>30659</c:v>
                </c:pt>
                <c:pt idx="63059">
                  <c:v>30659</c:v>
                </c:pt>
                <c:pt idx="63060">
                  <c:v>30658</c:v>
                </c:pt>
                <c:pt idx="63061">
                  <c:v>30658</c:v>
                </c:pt>
                <c:pt idx="63062">
                  <c:v>30658</c:v>
                </c:pt>
                <c:pt idx="63063">
                  <c:v>30657</c:v>
                </c:pt>
                <c:pt idx="63064">
                  <c:v>30657</c:v>
                </c:pt>
                <c:pt idx="63065">
                  <c:v>30657</c:v>
                </c:pt>
                <c:pt idx="63066">
                  <c:v>30657</c:v>
                </c:pt>
                <c:pt idx="63067">
                  <c:v>30657</c:v>
                </c:pt>
                <c:pt idx="63068">
                  <c:v>30657</c:v>
                </c:pt>
                <c:pt idx="63069">
                  <c:v>30657</c:v>
                </c:pt>
                <c:pt idx="63070">
                  <c:v>30657</c:v>
                </c:pt>
                <c:pt idx="63071">
                  <c:v>30657</c:v>
                </c:pt>
                <c:pt idx="63072">
                  <c:v>30657</c:v>
                </c:pt>
                <c:pt idx="63073">
                  <c:v>30656</c:v>
                </c:pt>
                <c:pt idx="63074">
                  <c:v>30656</c:v>
                </c:pt>
                <c:pt idx="63075">
                  <c:v>30656</c:v>
                </c:pt>
                <c:pt idx="63076">
                  <c:v>30656</c:v>
                </c:pt>
                <c:pt idx="63077">
                  <c:v>30656</c:v>
                </c:pt>
                <c:pt idx="63078">
                  <c:v>30656</c:v>
                </c:pt>
                <c:pt idx="63079">
                  <c:v>30656</c:v>
                </c:pt>
                <c:pt idx="63080">
                  <c:v>30655</c:v>
                </c:pt>
                <c:pt idx="63081">
                  <c:v>30655</c:v>
                </c:pt>
                <c:pt idx="63082">
                  <c:v>30655</c:v>
                </c:pt>
                <c:pt idx="63083">
                  <c:v>30655</c:v>
                </c:pt>
                <c:pt idx="63084">
                  <c:v>30655</c:v>
                </c:pt>
                <c:pt idx="63085">
                  <c:v>30655</c:v>
                </c:pt>
                <c:pt idx="63086">
                  <c:v>30655</c:v>
                </c:pt>
                <c:pt idx="63087">
                  <c:v>30655</c:v>
                </c:pt>
                <c:pt idx="63088">
                  <c:v>30655</c:v>
                </c:pt>
                <c:pt idx="63089">
                  <c:v>30654</c:v>
                </c:pt>
                <c:pt idx="63090">
                  <c:v>30654</c:v>
                </c:pt>
                <c:pt idx="63091">
                  <c:v>30654</c:v>
                </c:pt>
                <c:pt idx="63092">
                  <c:v>30654</c:v>
                </c:pt>
                <c:pt idx="63093">
                  <c:v>30654</c:v>
                </c:pt>
                <c:pt idx="63094">
                  <c:v>30653</c:v>
                </c:pt>
                <c:pt idx="63095">
                  <c:v>30653</c:v>
                </c:pt>
                <c:pt idx="63096">
                  <c:v>30653</c:v>
                </c:pt>
                <c:pt idx="63097">
                  <c:v>30653</c:v>
                </c:pt>
                <c:pt idx="63098">
                  <c:v>30653</c:v>
                </c:pt>
                <c:pt idx="63099">
                  <c:v>30653</c:v>
                </c:pt>
                <c:pt idx="63100">
                  <c:v>30653</c:v>
                </c:pt>
                <c:pt idx="63101">
                  <c:v>30653</c:v>
                </c:pt>
                <c:pt idx="63102">
                  <c:v>30653</c:v>
                </c:pt>
                <c:pt idx="63103">
                  <c:v>30653</c:v>
                </c:pt>
                <c:pt idx="63104">
                  <c:v>30652</c:v>
                </c:pt>
                <c:pt idx="63105">
                  <c:v>30652</c:v>
                </c:pt>
                <c:pt idx="63106">
                  <c:v>30652</c:v>
                </c:pt>
                <c:pt idx="63107">
                  <c:v>30652</c:v>
                </c:pt>
                <c:pt idx="63108">
                  <c:v>30651</c:v>
                </c:pt>
                <c:pt idx="63109">
                  <c:v>30651</c:v>
                </c:pt>
                <c:pt idx="63110">
                  <c:v>30651</c:v>
                </c:pt>
                <c:pt idx="63111">
                  <c:v>30651</c:v>
                </c:pt>
                <c:pt idx="63112">
                  <c:v>30650</c:v>
                </c:pt>
                <c:pt idx="63113">
                  <c:v>30650</c:v>
                </c:pt>
                <c:pt idx="63114">
                  <c:v>30650</c:v>
                </c:pt>
                <c:pt idx="63115">
                  <c:v>30649</c:v>
                </c:pt>
                <c:pt idx="63116">
                  <c:v>30649</c:v>
                </c:pt>
                <c:pt idx="63117">
                  <c:v>30649</c:v>
                </c:pt>
                <c:pt idx="63118">
                  <c:v>30649</c:v>
                </c:pt>
                <c:pt idx="63119">
                  <c:v>30648</c:v>
                </c:pt>
                <c:pt idx="63120">
                  <c:v>30648</c:v>
                </c:pt>
                <c:pt idx="63121">
                  <c:v>30648</c:v>
                </c:pt>
                <c:pt idx="63122">
                  <c:v>30647</c:v>
                </c:pt>
                <c:pt idx="63123">
                  <c:v>30647</c:v>
                </c:pt>
                <c:pt idx="63124">
                  <c:v>30647</c:v>
                </c:pt>
                <c:pt idx="63125">
                  <c:v>30647</c:v>
                </c:pt>
                <c:pt idx="63126">
                  <c:v>30647</c:v>
                </c:pt>
                <c:pt idx="63127">
                  <c:v>30646</c:v>
                </c:pt>
                <c:pt idx="63128">
                  <c:v>30646</c:v>
                </c:pt>
                <c:pt idx="63129">
                  <c:v>30646</c:v>
                </c:pt>
                <c:pt idx="63130">
                  <c:v>30646</c:v>
                </c:pt>
                <c:pt idx="63131">
                  <c:v>30645</c:v>
                </c:pt>
                <c:pt idx="63132">
                  <c:v>30645</c:v>
                </c:pt>
                <c:pt idx="63133">
                  <c:v>30645</c:v>
                </c:pt>
                <c:pt idx="63134">
                  <c:v>30645</c:v>
                </c:pt>
                <c:pt idx="63135">
                  <c:v>30645</c:v>
                </c:pt>
                <c:pt idx="63136">
                  <c:v>30645</c:v>
                </c:pt>
                <c:pt idx="63137">
                  <c:v>30645</c:v>
                </c:pt>
                <c:pt idx="63138">
                  <c:v>30645</c:v>
                </c:pt>
                <c:pt idx="63139">
                  <c:v>30645</c:v>
                </c:pt>
                <c:pt idx="63140">
                  <c:v>30645</c:v>
                </c:pt>
                <c:pt idx="63141">
                  <c:v>30644</c:v>
                </c:pt>
                <c:pt idx="63142">
                  <c:v>30644</c:v>
                </c:pt>
                <c:pt idx="63143">
                  <c:v>30644</c:v>
                </c:pt>
                <c:pt idx="63144">
                  <c:v>30643</c:v>
                </c:pt>
                <c:pt idx="63145">
                  <c:v>30643</c:v>
                </c:pt>
                <c:pt idx="63146">
                  <c:v>30643</c:v>
                </c:pt>
                <c:pt idx="63147">
                  <c:v>30643</c:v>
                </c:pt>
                <c:pt idx="63148">
                  <c:v>30643</c:v>
                </c:pt>
                <c:pt idx="63149">
                  <c:v>30642</c:v>
                </c:pt>
                <c:pt idx="63150">
                  <c:v>30642</c:v>
                </c:pt>
                <c:pt idx="63151">
                  <c:v>30641</c:v>
                </c:pt>
                <c:pt idx="63152">
                  <c:v>30641</c:v>
                </c:pt>
                <c:pt idx="63153">
                  <c:v>30641</c:v>
                </c:pt>
                <c:pt idx="63154">
                  <c:v>30641</c:v>
                </c:pt>
                <c:pt idx="63155">
                  <c:v>30640</c:v>
                </c:pt>
                <c:pt idx="63156">
                  <c:v>30640</c:v>
                </c:pt>
                <c:pt idx="63157">
                  <c:v>30640</c:v>
                </c:pt>
                <c:pt idx="63158">
                  <c:v>30640</c:v>
                </c:pt>
                <c:pt idx="63159">
                  <c:v>30640</c:v>
                </c:pt>
                <c:pt idx="63160">
                  <c:v>30640</c:v>
                </c:pt>
                <c:pt idx="63161">
                  <c:v>30640</c:v>
                </c:pt>
                <c:pt idx="63162">
                  <c:v>30640</c:v>
                </c:pt>
                <c:pt idx="63163">
                  <c:v>30639</c:v>
                </c:pt>
                <c:pt idx="63164">
                  <c:v>30639</c:v>
                </c:pt>
                <c:pt idx="63165">
                  <c:v>30639</c:v>
                </c:pt>
                <c:pt idx="63166">
                  <c:v>30639</c:v>
                </c:pt>
                <c:pt idx="63167">
                  <c:v>30639</c:v>
                </c:pt>
                <c:pt idx="63168">
                  <c:v>30639</c:v>
                </c:pt>
                <c:pt idx="63169">
                  <c:v>30639</c:v>
                </c:pt>
                <c:pt idx="63170">
                  <c:v>30639</c:v>
                </c:pt>
                <c:pt idx="63171">
                  <c:v>30639</c:v>
                </c:pt>
                <c:pt idx="63172">
                  <c:v>30639</c:v>
                </c:pt>
                <c:pt idx="63173">
                  <c:v>30639</c:v>
                </c:pt>
                <c:pt idx="63174">
                  <c:v>30638</c:v>
                </c:pt>
                <c:pt idx="63175">
                  <c:v>30638</c:v>
                </c:pt>
                <c:pt idx="63176">
                  <c:v>30637</c:v>
                </c:pt>
                <c:pt idx="63177">
                  <c:v>30636</c:v>
                </c:pt>
                <c:pt idx="63178">
                  <c:v>30636</c:v>
                </c:pt>
                <c:pt idx="63179">
                  <c:v>30636</c:v>
                </c:pt>
                <c:pt idx="63180">
                  <c:v>30636</c:v>
                </c:pt>
                <c:pt idx="63181">
                  <c:v>30636</c:v>
                </c:pt>
                <c:pt idx="63182">
                  <c:v>30635</c:v>
                </c:pt>
                <c:pt idx="63183">
                  <c:v>30635</c:v>
                </c:pt>
                <c:pt idx="63184">
                  <c:v>30634</c:v>
                </c:pt>
                <c:pt idx="63185">
                  <c:v>30634</c:v>
                </c:pt>
                <c:pt idx="63186">
                  <c:v>30634</c:v>
                </c:pt>
                <c:pt idx="63187">
                  <c:v>30634</c:v>
                </c:pt>
                <c:pt idx="63188">
                  <c:v>30633</c:v>
                </c:pt>
                <c:pt idx="63189">
                  <c:v>30633</c:v>
                </c:pt>
                <c:pt idx="63190">
                  <c:v>30633</c:v>
                </c:pt>
                <c:pt idx="63191">
                  <c:v>30633</c:v>
                </c:pt>
                <c:pt idx="63192">
                  <c:v>30632</c:v>
                </c:pt>
                <c:pt idx="63193">
                  <c:v>30632</c:v>
                </c:pt>
                <c:pt idx="63194">
                  <c:v>30632</c:v>
                </c:pt>
                <c:pt idx="63195">
                  <c:v>30632</c:v>
                </c:pt>
                <c:pt idx="63196">
                  <c:v>30632</c:v>
                </c:pt>
                <c:pt idx="63197">
                  <c:v>30632</c:v>
                </c:pt>
                <c:pt idx="63198">
                  <c:v>30631</c:v>
                </c:pt>
                <c:pt idx="63199">
                  <c:v>30631</c:v>
                </c:pt>
                <c:pt idx="63200">
                  <c:v>30631</c:v>
                </c:pt>
                <c:pt idx="63201">
                  <c:v>30631</c:v>
                </c:pt>
                <c:pt idx="63202">
                  <c:v>30630</c:v>
                </c:pt>
                <c:pt idx="63203">
                  <c:v>30630</c:v>
                </c:pt>
                <c:pt idx="63204">
                  <c:v>30630</c:v>
                </c:pt>
                <c:pt idx="63205">
                  <c:v>30630</c:v>
                </c:pt>
                <c:pt idx="63206">
                  <c:v>30630</c:v>
                </c:pt>
                <c:pt idx="63207">
                  <c:v>30630</c:v>
                </c:pt>
                <c:pt idx="63208">
                  <c:v>30630</c:v>
                </c:pt>
                <c:pt idx="63209">
                  <c:v>30630</c:v>
                </c:pt>
                <c:pt idx="63210">
                  <c:v>30630</c:v>
                </c:pt>
                <c:pt idx="63211">
                  <c:v>30629</c:v>
                </c:pt>
                <c:pt idx="63212">
                  <c:v>30629</c:v>
                </c:pt>
                <c:pt idx="63213">
                  <c:v>30629</c:v>
                </c:pt>
                <c:pt idx="63214">
                  <c:v>30629</c:v>
                </c:pt>
                <c:pt idx="63215">
                  <c:v>30629</c:v>
                </c:pt>
                <c:pt idx="63216">
                  <c:v>30629</c:v>
                </c:pt>
                <c:pt idx="63217">
                  <c:v>30629</c:v>
                </c:pt>
                <c:pt idx="63218">
                  <c:v>30629</c:v>
                </c:pt>
                <c:pt idx="63219">
                  <c:v>30628</c:v>
                </c:pt>
                <c:pt idx="63220">
                  <c:v>30628</c:v>
                </c:pt>
                <c:pt idx="63221">
                  <c:v>30628</c:v>
                </c:pt>
                <c:pt idx="63222">
                  <c:v>30628</c:v>
                </c:pt>
                <c:pt idx="63223">
                  <c:v>30628</c:v>
                </c:pt>
                <c:pt idx="63224">
                  <c:v>30627</c:v>
                </c:pt>
                <c:pt idx="63225">
                  <c:v>30627</c:v>
                </c:pt>
                <c:pt idx="63226">
                  <c:v>30627</c:v>
                </c:pt>
                <c:pt idx="63227">
                  <c:v>30627</c:v>
                </c:pt>
                <c:pt idx="63228">
                  <c:v>30627</c:v>
                </c:pt>
                <c:pt idx="63229">
                  <c:v>30626</c:v>
                </c:pt>
                <c:pt idx="63230">
                  <c:v>30626</c:v>
                </c:pt>
                <c:pt idx="63231">
                  <c:v>30625</c:v>
                </c:pt>
                <c:pt idx="63232">
                  <c:v>30625</c:v>
                </c:pt>
                <c:pt idx="63233">
                  <c:v>30625</c:v>
                </c:pt>
                <c:pt idx="63234">
                  <c:v>30625</c:v>
                </c:pt>
                <c:pt idx="63235">
                  <c:v>30625</c:v>
                </c:pt>
                <c:pt idx="63236">
                  <c:v>30625</c:v>
                </c:pt>
                <c:pt idx="63237">
                  <c:v>30625</c:v>
                </c:pt>
                <c:pt idx="63238">
                  <c:v>30624</c:v>
                </c:pt>
                <c:pt idx="63239">
                  <c:v>30624</c:v>
                </c:pt>
                <c:pt idx="63240">
                  <c:v>30624</c:v>
                </c:pt>
                <c:pt idx="63241">
                  <c:v>30624</c:v>
                </c:pt>
                <c:pt idx="63242">
                  <c:v>30623</c:v>
                </c:pt>
                <c:pt idx="63243">
                  <c:v>30623</c:v>
                </c:pt>
                <c:pt idx="63244">
                  <c:v>30622</c:v>
                </c:pt>
                <c:pt idx="63245">
                  <c:v>30622</c:v>
                </c:pt>
                <c:pt idx="63246">
                  <c:v>30622</c:v>
                </c:pt>
                <c:pt idx="63247">
                  <c:v>30621</c:v>
                </c:pt>
                <c:pt idx="63248">
                  <c:v>30620</c:v>
                </c:pt>
                <c:pt idx="63249">
                  <c:v>30620</c:v>
                </c:pt>
                <c:pt idx="63250">
                  <c:v>30619</c:v>
                </c:pt>
                <c:pt idx="63251">
                  <c:v>30619</c:v>
                </c:pt>
                <c:pt idx="63252">
                  <c:v>30619</c:v>
                </c:pt>
                <c:pt idx="63253">
                  <c:v>30618</c:v>
                </c:pt>
                <c:pt idx="63254">
                  <c:v>30618</c:v>
                </c:pt>
                <c:pt idx="63255">
                  <c:v>30618</c:v>
                </c:pt>
                <c:pt idx="63256">
                  <c:v>30618</c:v>
                </c:pt>
                <c:pt idx="63257">
                  <c:v>30617</c:v>
                </c:pt>
                <c:pt idx="63258">
                  <c:v>30617</c:v>
                </c:pt>
                <c:pt idx="63259">
                  <c:v>30617</c:v>
                </c:pt>
                <c:pt idx="63260">
                  <c:v>30616</c:v>
                </c:pt>
                <c:pt idx="63261">
                  <c:v>30616</c:v>
                </c:pt>
                <c:pt idx="63262">
                  <c:v>30616</c:v>
                </c:pt>
                <c:pt idx="63263">
                  <c:v>30616</c:v>
                </c:pt>
                <c:pt idx="63264">
                  <c:v>30616</c:v>
                </c:pt>
                <c:pt idx="63265">
                  <c:v>30616</c:v>
                </c:pt>
                <c:pt idx="63266">
                  <c:v>30615</c:v>
                </c:pt>
                <c:pt idx="63267">
                  <c:v>30615</c:v>
                </c:pt>
                <c:pt idx="63268">
                  <c:v>30614</c:v>
                </c:pt>
                <c:pt idx="63269">
                  <c:v>30614</c:v>
                </c:pt>
                <c:pt idx="63270">
                  <c:v>30613</c:v>
                </c:pt>
                <c:pt idx="63271">
                  <c:v>30613</c:v>
                </c:pt>
                <c:pt idx="63272">
                  <c:v>30613</c:v>
                </c:pt>
                <c:pt idx="63273">
                  <c:v>30612</c:v>
                </c:pt>
                <c:pt idx="63274">
                  <c:v>30612</c:v>
                </c:pt>
                <c:pt idx="63275">
                  <c:v>30612</c:v>
                </c:pt>
                <c:pt idx="63276">
                  <c:v>30612</c:v>
                </c:pt>
                <c:pt idx="63277">
                  <c:v>30612</c:v>
                </c:pt>
                <c:pt idx="63278">
                  <c:v>30612</c:v>
                </c:pt>
                <c:pt idx="63279">
                  <c:v>30612</c:v>
                </c:pt>
                <c:pt idx="63280">
                  <c:v>30611</c:v>
                </c:pt>
                <c:pt idx="63281">
                  <c:v>30611</c:v>
                </c:pt>
                <c:pt idx="63282">
                  <c:v>30611</c:v>
                </c:pt>
                <c:pt idx="63283">
                  <c:v>30610</c:v>
                </c:pt>
                <c:pt idx="63284">
                  <c:v>30610</c:v>
                </c:pt>
                <c:pt idx="63285">
                  <c:v>30610</c:v>
                </c:pt>
                <c:pt idx="63286">
                  <c:v>30610</c:v>
                </c:pt>
                <c:pt idx="63287">
                  <c:v>30610</c:v>
                </c:pt>
                <c:pt idx="63288">
                  <c:v>30610</c:v>
                </c:pt>
                <c:pt idx="63289">
                  <c:v>30609</c:v>
                </c:pt>
                <c:pt idx="63290">
                  <c:v>30609</c:v>
                </c:pt>
                <c:pt idx="63291">
                  <c:v>30608</c:v>
                </c:pt>
                <c:pt idx="63292">
                  <c:v>30608</c:v>
                </c:pt>
                <c:pt idx="63293">
                  <c:v>30608</c:v>
                </c:pt>
                <c:pt idx="63294">
                  <c:v>30608</c:v>
                </c:pt>
                <c:pt idx="63295">
                  <c:v>30608</c:v>
                </c:pt>
                <c:pt idx="63296">
                  <c:v>30607</c:v>
                </c:pt>
                <c:pt idx="63297">
                  <c:v>30607</c:v>
                </c:pt>
                <c:pt idx="63298">
                  <c:v>30607</c:v>
                </c:pt>
                <c:pt idx="63299">
                  <c:v>30607</c:v>
                </c:pt>
                <c:pt idx="63300">
                  <c:v>30607</c:v>
                </c:pt>
                <c:pt idx="63301">
                  <c:v>30607</c:v>
                </c:pt>
                <c:pt idx="63302">
                  <c:v>30607</c:v>
                </c:pt>
                <c:pt idx="63303">
                  <c:v>30606</c:v>
                </c:pt>
                <c:pt idx="63304">
                  <c:v>30606</c:v>
                </c:pt>
                <c:pt idx="63305">
                  <c:v>30606</c:v>
                </c:pt>
                <c:pt idx="63306">
                  <c:v>30606</c:v>
                </c:pt>
                <c:pt idx="63307">
                  <c:v>30605</c:v>
                </c:pt>
                <c:pt idx="63308">
                  <c:v>30605</c:v>
                </c:pt>
                <c:pt idx="63309">
                  <c:v>30605</c:v>
                </c:pt>
                <c:pt idx="63310">
                  <c:v>30604</c:v>
                </c:pt>
                <c:pt idx="63311">
                  <c:v>30604</c:v>
                </c:pt>
                <c:pt idx="63312">
                  <c:v>30604</c:v>
                </c:pt>
                <c:pt idx="63313">
                  <c:v>30603</c:v>
                </c:pt>
                <c:pt idx="63314">
                  <c:v>30603</c:v>
                </c:pt>
                <c:pt idx="63315">
                  <c:v>30603</c:v>
                </c:pt>
                <c:pt idx="63316">
                  <c:v>30602</c:v>
                </c:pt>
                <c:pt idx="63317">
                  <c:v>30602</c:v>
                </c:pt>
                <c:pt idx="63318">
                  <c:v>30602</c:v>
                </c:pt>
                <c:pt idx="63319">
                  <c:v>30602</c:v>
                </c:pt>
                <c:pt idx="63320">
                  <c:v>30602</c:v>
                </c:pt>
                <c:pt idx="63321">
                  <c:v>30601</c:v>
                </c:pt>
                <c:pt idx="63322">
                  <c:v>30601</c:v>
                </c:pt>
                <c:pt idx="63323">
                  <c:v>30601</c:v>
                </c:pt>
                <c:pt idx="63324">
                  <c:v>30600</c:v>
                </c:pt>
                <c:pt idx="63325">
                  <c:v>30600</c:v>
                </c:pt>
                <c:pt idx="63326">
                  <c:v>30600</c:v>
                </c:pt>
                <c:pt idx="63327">
                  <c:v>30600</c:v>
                </c:pt>
                <c:pt idx="63328">
                  <c:v>30600</c:v>
                </c:pt>
                <c:pt idx="63329">
                  <c:v>30600</c:v>
                </c:pt>
                <c:pt idx="63330">
                  <c:v>30599</c:v>
                </c:pt>
                <c:pt idx="63331">
                  <c:v>30599</c:v>
                </c:pt>
                <c:pt idx="63332">
                  <c:v>30599</c:v>
                </c:pt>
                <c:pt idx="63333">
                  <c:v>30599</c:v>
                </c:pt>
                <c:pt idx="63334">
                  <c:v>30599</c:v>
                </c:pt>
                <c:pt idx="63335">
                  <c:v>30599</c:v>
                </c:pt>
                <c:pt idx="63336">
                  <c:v>30598</c:v>
                </c:pt>
                <c:pt idx="63337">
                  <c:v>30598</c:v>
                </c:pt>
                <c:pt idx="63338">
                  <c:v>30598</c:v>
                </c:pt>
                <c:pt idx="63339">
                  <c:v>30598</c:v>
                </c:pt>
                <c:pt idx="63340">
                  <c:v>30598</c:v>
                </c:pt>
                <c:pt idx="63341">
                  <c:v>30598</c:v>
                </c:pt>
                <c:pt idx="63342">
                  <c:v>30598</c:v>
                </c:pt>
                <c:pt idx="63343">
                  <c:v>30597</c:v>
                </c:pt>
                <c:pt idx="63344">
                  <c:v>30597</c:v>
                </c:pt>
                <c:pt idx="63345">
                  <c:v>30597</c:v>
                </c:pt>
                <c:pt idx="63346">
                  <c:v>30597</c:v>
                </c:pt>
                <c:pt idx="63347">
                  <c:v>30596</c:v>
                </c:pt>
                <c:pt idx="63348">
                  <c:v>30596</c:v>
                </c:pt>
                <c:pt idx="63349">
                  <c:v>30596</c:v>
                </c:pt>
                <c:pt idx="63350">
                  <c:v>30596</c:v>
                </c:pt>
                <c:pt idx="63351">
                  <c:v>30596</c:v>
                </c:pt>
                <c:pt idx="63352">
                  <c:v>30596</c:v>
                </c:pt>
                <c:pt idx="63353">
                  <c:v>30596</c:v>
                </c:pt>
                <c:pt idx="63354">
                  <c:v>30595</c:v>
                </c:pt>
                <c:pt idx="63355">
                  <c:v>30595</c:v>
                </c:pt>
                <c:pt idx="63356">
                  <c:v>30595</c:v>
                </c:pt>
                <c:pt idx="63357">
                  <c:v>30595</c:v>
                </c:pt>
                <c:pt idx="63358">
                  <c:v>30595</c:v>
                </c:pt>
                <c:pt idx="63359">
                  <c:v>30595</c:v>
                </c:pt>
                <c:pt idx="63360">
                  <c:v>30594</c:v>
                </c:pt>
                <c:pt idx="63361">
                  <c:v>30594</c:v>
                </c:pt>
                <c:pt idx="63362">
                  <c:v>30594</c:v>
                </c:pt>
                <c:pt idx="63363">
                  <c:v>30594</c:v>
                </c:pt>
                <c:pt idx="63364">
                  <c:v>30594</c:v>
                </c:pt>
                <c:pt idx="63365">
                  <c:v>30593</c:v>
                </c:pt>
                <c:pt idx="63366">
                  <c:v>30593</c:v>
                </c:pt>
                <c:pt idx="63367">
                  <c:v>30593</c:v>
                </c:pt>
                <c:pt idx="63368">
                  <c:v>30593</c:v>
                </c:pt>
                <c:pt idx="63369">
                  <c:v>30593</c:v>
                </c:pt>
                <c:pt idx="63370">
                  <c:v>30593</c:v>
                </c:pt>
                <c:pt idx="63371">
                  <c:v>30592</c:v>
                </c:pt>
                <c:pt idx="63372">
                  <c:v>30592</c:v>
                </c:pt>
                <c:pt idx="63373">
                  <c:v>30592</c:v>
                </c:pt>
                <c:pt idx="63374">
                  <c:v>30591</c:v>
                </c:pt>
                <c:pt idx="63375">
                  <c:v>30591</c:v>
                </c:pt>
                <c:pt idx="63376">
                  <c:v>30591</c:v>
                </c:pt>
                <c:pt idx="63377">
                  <c:v>30591</c:v>
                </c:pt>
                <c:pt idx="63378">
                  <c:v>30591</c:v>
                </c:pt>
                <c:pt idx="63379">
                  <c:v>30591</c:v>
                </c:pt>
                <c:pt idx="63380">
                  <c:v>30591</c:v>
                </c:pt>
                <c:pt idx="63381">
                  <c:v>30591</c:v>
                </c:pt>
                <c:pt idx="63382">
                  <c:v>30590</c:v>
                </c:pt>
                <c:pt idx="63383">
                  <c:v>30590</c:v>
                </c:pt>
                <c:pt idx="63384">
                  <c:v>30590</c:v>
                </c:pt>
                <c:pt idx="63385">
                  <c:v>30590</c:v>
                </c:pt>
                <c:pt idx="63386">
                  <c:v>30590</c:v>
                </c:pt>
                <c:pt idx="63387">
                  <c:v>30589</c:v>
                </c:pt>
                <c:pt idx="63388">
                  <c:v>30589</c:v>
                </c:pt>
                <c:pt idx="63389">
                  <c:v>30589</c:v>
                </c:pt>
                <c:pt idx="63390">
                  <c:v>30589</c:v>
                </c:pt>
                <c:pt idx="63391">
                  <c:v>30589</c:v>
                </c:pt>
                <c:pt idx="63392">
                  <c:v>30589</c:v>
                </c:pt>
                <c:pt idx="63393">
                  <c:v>30589</c:v>
                </c:pt>
                <c:pt idx="63394">
                  <c:v>30589</c:v>
                </c:pt>
                <c:pt idx="63395">
                  <c:v>30589</c:v>
                </c:pt>
                <c:pt idx="63396">
                  <c:v>30589</c:v>
                </c:pt>
                <c:pt idx="63397">
                  <c:v>30589</c:v>
                </c:pt>
                <c:pt idx="63398">
                  <c:v>30588</c:v>
                </c:pt>
                <c:pt idx="63399">
                  <c:v>30588</c:v>
                </c:pt>
                <c:pt idx="63400">
                  <c:v>30588</c:v>
                </c:pt>
                <c:pt idx="63401">
                  <c:v>30588</c:v>
                </c:pt>
                <c:pt idx="63402">
                  <c:v>30588</c:v>
                </c:pt>
                <c:pt idx="63403">
                  <c:v>30588</c:v>
                </c:pt>
                <c:pt idx="63404">
                  <c:v>30588</c:v>
                </c:pt>
                <c:pt idx="63405">
                  <c:v>30588</c:v>
                </c:pt>
                <c:pt idx="63406">
                  <c:v>30587</c:v>
                </c:pt>
                <c:pt idx="63407">
                  <c:v>30587</c:v>
                </c:pt>
                <c:pt idx="63408">
                  <c:v>30587</c:v>
                </c:pt>
                <c:pt idx="63409">
                  <c:v>30587</c:v>
                </c:pt>
                <c:pt idx="63410">
                  <c:v>30586</c:v>
                </c:pt>
                <c:pt idx="63411">
                  <c:v>30586</c:v>
                </c:pt>
                <c:pt idx="63412">
                  <c:v>30586</c:v>
                </c:pt>
                <c:pt idx="63413">
                  <c:v>30586</c:v>
                </c:pt>
                <c:pt idx="63414">
                  <c:v>30586</c:v>
                </c:pt>
                <c:pt idx="63415">
                  <c:v>30585</c:v>
                </c:pt>
                <c:pt idx="63416">
                  <c:v>30585</c:v>
                </c:pt>
                <c:pt idx="63417">
                  <c:v>30585</c:v>
                </c:pt>
                <c:pt idx="63418">
                  <c:v>30585</c:v>
                </c:pt>
                <c:pt idx="63419">
                  <c:v>30585</c:v>
                </c:pt>
                <c:pt idx="63420">
                  <c:v>30584</c:v>
                </c:pt>
                <c:pt idx="63421">
                  <c:v>30584</c:v>
                </c:pt>
                <c:pt idx="63422">
                  <c:v>30584</c:v>
                </c:pt>
                <c:pt idx="63423">
                  <c:v>30583</c:v>
                </c:pt>
                <c:pt idx="63424">
                  <c:v>30583</c:v>
                </c:pt>
                <c:pt idx="63425">
                  <c:v>30583</c:v>
                </c:pt>
                <c:pt idx="63426">
                  <c:v>30583</c:v>
                </c:pt>
                <c:pt idx="63427">
                  <c:v>30583</c:v>
                </c:pt>
                <c:pt idx="63428">
                  <c:v>30582</c:v>
                </c:pt>
                <c:pt idx="63429">
                  <c:v>30582</c:v>
                </c:pt>
                <c:pt idx="63430">
                  <c:v>30582</c:v>
                </c:pt>
                <c:pt idx="63431">
                  <c:v>30582</c:v>
                </c:pt>
                <c:pt idx="63432">
                  <c:v>30581</c:v>
                </c:pt>
                <c:pt idx="63433">
                  <c:v>30581</c:v>
                </c:pt>
                <c:pt idx="63434">
                  <c:v>30581</c:v>
                </c:pt>
                <c:pt idx="63435">
                  <c:v>30581</c:v>
                </c:pt>
                <c:pt idx="63436">
                  <c:v>30581</c:v>
                </c:pt>
                <c:pt idx="63437">
                  <c:v>30580</c:v>
                </c:pt>
                <c:pt idx="63438">
                  <c:v>30580</c:v>
                </c:pt>
                <c:pt idx="63439">
                  <c:v>30580</c:v>
                </c:pt>
                <c:pt idx="63440">
                  <c:v>30580</c:v>
                </c:pt>
                <c:pt idx="63441">
                  <c:v>30580</c:v>
                </c:pt>
                <c:pt idx="63442">
                  <c:v>30580</c:v>
                </c:pt>
                <c:pt idx="63443">
                  <c:v>30579</c:v>
                </c:pt>
                <c:pt idx="63444">
                  <c:v>30579</c:v>
                </c:pt>
                <c:pt idx="63445">
                  <c:v>30578</c:v>
                </c:pt>
                <c:pt idx="63446">
                  <c:v>30578</c:v>
                </c:pt>
                <c:pt idx="63447">
                  <c:v>30578</c:v>
                </c:pt>
                <c:pt idx="63448">
                  <c:v>30578</c:v>
                </c:pt>
                <c:pt idx="63449">
                  <c:v>30578</c:v>
                </c:pt>
                <c:pt idx="63450">
                  <c:v>30577</c:v>
                </c:pt>
                <c:pt idx="63451">
                  <c:v>30577</c:v>
                </c:pt>
                <c:pt idx="63452">
                  <c:v>30574</c:v>
                </c:pt>
                <c:pt idx="63453">
                  <c:v>30573</c:v>
                </c:pt>
                <c:pt idx="63454">
                  <c:v>30572</c:v>
                </c:pt>
                <c:pt idx="63455">
                  <c:v>30572</c:v>
                </c:pt>
                <c:pt idx="63456">
                  <c:v>30572</c:v>
                </c:pt>
                <c:pt idx="63457">
                  <c:v>30571</c:v>
                </c:pt>
                <c:pt idx="63458">
                  <c:v>30571</c:v>
                </c:pt>
                <c:pt idx="63459">
                  <c:v>30571</c:v>
                </c:pt>
                <c:pt idx="63460">
                  <c:v>30570</c:v>
                </c:pt>
                <c:pt idx="63461">
                  <c:v>30570</c:v>
                </c:pt>
                <c:pt idx="63462">
                  <c:v>30570</c:v>
                </c:pt>
                <c:pt idx="63463">
                  <c:v>30570</c:v>
                </c:pt>
                <c:pt idx="63464">
                  <c:v>30570</c:v>
                </c:pt>
                <c:pt idx="63465">
                  <c:v>30570</c:v>
                </c:pt>
                <c:pt idx="63466">
                  <c:v>30570</c:v>
                </c:pt>
                <c:pt idx="63467">
                  <c:v>30570</c:v>
                </c:pt>
                <c:pt idx="63468">
                  <c:v>30570</c:v>
                </c:pt>
                <c:pt idx="63469">
                  <c:v>30569</c:v>
                </c:pt>
                <c:pt idx="63470">
                  <c:v>30569</c:v>
                </c:pt>
                <c:pt idx="63471">
                  <c:v>30569</c:v>
                </c:pt>
                <c:pt idx="63472">
                  <c:v>30569</c:v>
                </c:pt>
                <c:pt idx="63473">
                  <c:v>30569</c:v>
                </c:pt>
                <c:pt idx="63474">
                  <c:v>30569</c:v>
                </c:pt>
                <c:pt idx="63475">
                  <c:v>30569</c:v>
                </c:pt>
                <c:pt idx="63476">
                  <c:v>30569</c:v>
                </c:pt>
                <c:pt idx="63477">
                  <c:v>30568</c:v>
                </c:pt>
                <c:pt idx="63478">
                  <c:v>30568</c:v>
                </c:pt>
                <c:pt idx="63479">
                  <c:v>30568</c:v>
                </c:pt>
                <c:pt idx="63480">
                  <c:v>30568</c:v>
                </c:pt>
                <c:pt idx="63481">
                  <c:v>30568</c:v>
                </c:pt>
                <c:pt idx="63482">
                  <c:v>30567</c:v>
                </c:pt>
                <c:pt idx="63483">
                  <c:v>30566</c:v>
                </c:pt>
                <c:pt idx="63484">
                  <c:v>30566</c:v>
                </c:pt>
                <c:pt idx="63485">
                  <c:v>30566</c:v>
                </c:pt>
                <c:pt idx="63486">
                  <c:v>30566</c:v>
                </c:pt>
                <c:pt idx="63487">
                  <c:v>30566</c:v>
                </c:pt>
                <c:pt idx="63488">
                  <c:v>30566</c:v>
                </c:pt>
                <c:pt idx="63489">
                  <c:v>30565</c:v>
                </c:pt>
                <c:pt idx="63490">
                  <c:v>30565</c:v>
                </c:pt>
                <c:pt idx="63491">
                  <c:v>30565</c:v>
                </c:pt>
                <c:pt idx="63492">
                  <c:v>30565</c:v>
                </c:pt>
                <c:pt idx="63493">
                  <c:v>30564</c:v>
                </c:pt>
                <c:pt idx="63494">
                  <c:v>30564</c:v>
                </c:pt>
                <c:pt idx="63495">
                  <c:v>30564</c:v>
                </c:pt>
                <c:pt idx="63496">
                  <c:v>30564</c:v>
                </c:pt>
                <c:pt idx="63497">
                  <c:v>30564</c:v>
                </c:pt>
                <c:pt idx="63498">
                  <c:v>30564</c:v>
                </c:pt>
                <c:pt idx="63499">
                  <c:v>30563</c:v>
                </c:pt>
                <c:pt idx="63500">
                  <c:v>30563</c:v>
                </c:pt>
                <c:pt idx="63501">
                  <c:v>30562</c:v>
                </c:pt>
                <c:pt idx="63502">
                  <c:v>30562</c:v>
                </c:pt>
                <c:pt idx="63503">
                  <c:v>30562</c:v>
                </c:pt>
                <c:pt idx="63504">
                  <c:v>30561</c:v>
                </c:pt>
                <c:pt idx="63505">
                  <c:v>30561</c:v>
                </c:pt>
                <c:pt idx="63506">
                  <c:v>30561</c:v>
                </c:pt>
                <c:pt idx="63507">
                  <c:v>30561</c:v>
                </c:pt>
                <c:pt idx="63508">
                  <c:v>30561</c:v>
                </c:pt>
                <c:pt idx="63509">
                  <c:v>30561</c:v>
                </c:pt>
                <c:pt idx="63510">
                  <c:v>30560</c:v>
                </c:pt>
                <c:pt idx="63511">
                  <c:v>30560</c:v>
                </c:pt>
                <c:pt idx="63512">
                  <c:v>30560</c:v>
                </c:pt>
                <c:pt idx="63513">
                  <c:v>30560</c:v>
                </c:pt>
                <c:pt idx="63514">
                  <c:v>30560</c:v>
                </c:pt>
                <c:pt idx="63515">
                  <c:v>30558</c:v>
                </c:pt>
                <c:pt idx="63516">
                  <c:v>30558</c:v>
                </c:pt>
                <c:pt idx="63517">
                  <c:v>30557</c:v>
                </c:pt>
                <c:pt idx="63518">
                  <c:v>30555</c:v>
                </c:pt>
                <c:pt idx="63519">
                  <c:v>30555</c:v>
                </c:pt>
                <c:pt idx="63520">
                  <c:v>30554</c:v>
                </c:pt>
                <c:pt idx="63521">
                  <c:v>30554</c:v>
                </c:pt>
                <c:pt idx="63522">
                  <c:v>30554</c:v>
                </c:pt>
                <c:pt idx="63523">
                  <c:v>30553</c:v>
                </c:pt>
                <c:pt idx="63524">
                  <c:v>30553</c:v>
                </c:pt>
                <c:pt idx="63525">
                  <c:v>30553</c:v>
                </c:pt>
                <c:pt idx="63526">
                  <c:v>30552</c:v>
                </c:pt>
                <c:pt idx="63527">
                  <c:v>30552</c:v>
                </c:pt>
                <c:pt idx="63528">
                  <c:v>30552</c:v>
                </c:pt>
                <c:pt idx="63529">
                  <c:v>30552</c:v>
                </c:pt>
                <c:pt idx="63530">
                  <c:v>30551</c:v>
                </c:pt>
                <c:pt idx="63531">
                  <c:v>30551</c:v>
                </c:pt>
                <c:pt idx="63532">
                  <c:v>30551</c:v>
                </c:pt>
                <c:pt idx="63533">
                  <c:v>30551</c:v>
                </c:pt>
                <c:pt idx="63534">
                  <c:v>30551</c:v>
                </c:pt>
                <c:pt idx="63535">
                  <c:v>30551</c:v>
                </c:pt>
                <c:pt idx="63536">
                  <c:v>30551</c:v>
                </c:pt>
                <c:pt idx="63537">
                  <c:v>30551</c:v>
                </c:pt>
                <c:pt idx="63538">
                  <c:v>30550</c:v>
                </c:pt>
                <c:pt idx="63539">
                  <c:v>30550</c:v>
                </c:pt>
                <c:pt idx="63540">
                  <c:v>30549</c:v>
                </c:pt>
                <c:pt idx="63541">
                  <c:v>30549</c:v>
                </c:pt>
                <c:pt idx="63542">
                  <c:v>30549</c:v>
                </c:pt>
                <c:pt idx="63543">
                  <c:v>30549</c:v>
                </c:pt>
                <c:pt idx="63544">
                  <c:v>30549</c:v>
                </c:pt>
                <c:pt idx="63545">
                  <c:v>30549</c:v>
                </c:pt>
                <c:pt idx="63546">
                  <c:v>30548</c:v>
                </c:pt>
                <c:pt idx="63547">
                  <c:v>30548</c:v>
                </c:pt>
                <c:pt idx="63548">
                  <c:v>30548</c:v>
                </c:pt>
                <c:pt idx="63549">
                  <c:v>30548</c:v>
                </c:pt>
                <c:pt idx="63550">
                  <c:v>30548</c:v>
                </c:pt>
                <c:pt idx="63551">
                  <c:v>30548</c:v>
                </c:pt>
                <c:pt idx="63552">
                  <c:v>30547</c:v>
                </c:pt>
                <c:pt idx="63553">
                  <c:v>30546</c:v>
                </c:pt>
                <c:pt idx="63554">
                  <c:v>30546</c:v>
                </c:pt>
                <c:pt idx="63555">
                  <c:v>30546</c:v>
                </c:pt>
                <c:pt idx="63556">
                  <c:v>30545</c:v>
                </c:pt>
                <c:pt idx="63557">
                  <c:v>30545</c:v>
                </c:pt>
                <c:pt idx="63558">
                  <c:v>30545</c:v>
                </c:pt>
                <c:pt idx="63559">
                  <c:v>30545</c:v>
                </c:pt>
                <c:pt idx="63560">
                  <c:v>30544</c:v>
                </c:pt>
                <c:pt idx="63561">
                  <c:v>30544</c:v>
                </c:pt>
                <c:pt idx="63562">
                  <c:v>30544</c:v>
                </c:pt>
                <c:pt idx="63563">
                  <c:v>30544</c:v>
                </c:pt>
                <c:pt idx="63564">
                  <c:v>30543</c:v>
                </c:pt>
                <c:pt idx="63565">
                  <c:v>30543</c:v>
                </c:pt>
                <c:pt idx="63566">
                  <c:v>30543</c:v>
                </c:pt>
                <c:pt idx="63567">
                  <c:v>30543</c:v>
                </c:pt>
                <c:pt idx="63568">
                  <c:v>30543</c:v>
                </c:pt>
                <c:pt idx="63569">
                  <c:v>30542</c:v>
                </c:pt>
                <c:pt idx="63570">
                  <c:v>30542</c:v>
                </c:pt>
                <c:pt idx="63571">
                  <c:v>30542</c:v>
                </c:pt>
                <c:pt idx="63572">
                  <c:v>30541</c:v>
                </c:pt>
                <c:pt idx="63573">
                  <c:v>30541</c:v>
                </c:pt>
                <c:pt idx="63574">
                  <c:v>30541</c:v>
                </c:pt>
                <c:pt idx="63575">
                  <c:v>30541</c:v>
                </c:pt>
                <c:pt idx="63576">
                  <c:v>30540</c:v>
                </c:pt>
                <c:pt idx="63577">
                  <c:v>30540</c:v>
                </c:pt>
                <c:pt idx="63578">
                  <c:v>30540</c:v>
                </c:pt>
                <c:pt idx="63579">
                  <c:v>30540</c:v>
                </c:pt>
                <c:pt idx="63580">
                  <c:v>30540</c:v>
                </c:pt>
                <c:pt idx="63581">
                  <c:v>30539</c:v>
                </c:pt>
                <c:pt idx="63582">
                  <c:v>30539</c:v>
                </c:pt>
                <c:pt idx="63583">
                  <c:v>30539</c:v>
                </c:pt>
                <c:pt idx="63584">
                  <c:v>30538</c:v>
                </c:pt>
                <c:pt idx="63585">
                  <c:v>30538</c:v>
                </c:pt>
                <c:pt idx="63586">
                  <c:v>30538</c:v>
                </c:pt>
                <c:pt idx="63587">
                  <c:v>30537</c:v>
                </c:pt>
                <c:pt idx="63588">
                  <c:v>30537</c:v>
                </c:pt>
                <c:pt idx="63589">
                  <c:v>30537</c:v>
                </c:pt>
                <c:pt idx="63590">
                  <c:v>30537</c:v>
                </c:pt>
                <c:pt idx="63591">
                  <c:v>30537</c:v>
                </c:pt>
                <c:pt idx="63592">
                  <c:v>30537</c:v>
                </c:pt>
                <c:pt idx="63593">
                  <c:v>30536</c:v>
                </c:pt>
                <c:pt idx="63594">
                  <c:v>30536</c:v>
                </c:pt>
                <c:pt idx="63595">
                  <c:v>30536</c:v>
                </c:pt>
                <c:pt idx="63596">
                  <c:v>30536</c:v>
                </c:pt>
                <c:pt idx="63597">
                  <c:v>30536</c:v>
                </c:pt>
                <c:pt idx="63598">
                  <c:v>30536</c:v>
                </c:pt>
                <c:pt idx="63599">
                  <c:v>30536</c:v>
                </c:pt>
                <c:pt idx="63600">
                  <c:v>30536</c:v>
                </c:pt>
                <c:pt idx="63601">
                  <c:v>30535</c:v>
                </c:pt>
                <c:pt idx="63602">
                  <c:v>30535</c:v>
                </c:pt>
                <c:pt idx="63603">
                  <c:v>30535</c:v>
                </c:pt>
                <c:pt idx="63604">
                  <c:v>30535</c:v>
                </c:pt>
                <c:pt idx="63605">
                  <c:v>30534</c:v>
                </c:pt>
                <c:pt idx="63606">
                  <c:v>30534</c:v>
                </c:pt>
                <c:pt idx="63607">
                  <c:v>30534</c:v>
                </c:pt>
                <c:pt idx="63608">
                  <c:v>30533</c:v>
                </c:pt>
                <c:pt idx="63609">
                  <c:v>30533</c:v>
                </c:pt>
                <c:pt idx="63610">
                  <c:v>30533</c:v>
                </c:pt>
                <c:pt idx="63611">
                  <c:v>30533</c:v>
                </c:pt>
                <c:pt idx="63612">
                  <c:v>30532</c:v>
                </c:pt>
                <c:pt idx="63613">
                  <c:v>30532</c:v>
                </c:pt>
                <c:pt idx="63614">
                  <c:v>30532</c:v>
                </c:pt>
                <c:pt idx="63615">
                  <c:v>30532</c:v>
                </c:pt>
                <c:pt idx="63616">
                  <c:v>30531</c:v>
                </c:pt>
                <c:pt idx="63617">
                  <c:v>30531</c:v>
                </c:pt>
                <c:pt idx="63618">
                  <c:v>30531</c:v>
                </c:pt>
                <c:pt idx="63619">
                  <c:v>30531</c:v>
                </c:pt>
                <c:pt idx="63620">
                  <c:v>30531</c:v>
                </c:pt>
                <c:pt idx="63621">
                  <c:v>30530</c:v>
                </c:pt>
                <c:pt idx="63622">
                  <c:v>30530</c:v>
                </c:pt>
                <c:pt idx="63623">
                  <c:v>30530</c:v>
                </c:pt>
                <c:pt idx="63624">
                  <c:v>30530</c:v>
                </c:pt>
                <c:pt idx="63625">
                  <c:v>30530</c:v>
                </c:pt>
                <c:pt idx="63626">
                  <c:v>30530</c:v>
                </c:pt>
                <c:pt idx="63627">
                  <c:v>30529</c:v>
                </c:pt>
                <c:pt idx="63628">
                  <c:v>30529</c:v>
                </c:pt>
                <c:pt idx="63629">
                  <c:v>30529</c:v>
                </c:pt>
                <c:pt idx="63630">
                  <c:v>30529</c:v>
                </c:pt>
                <c:pt idx="63631">
                  <c:v>30529</c:v>
                </c:pt>
                <c:pt idx="63632">
                  <c:v>30528</c:v>
                </c:pt>
                <c:pt idx="63633">
                  <c:v>30528</c:v>
                </c:pt>
                <c:pt idx="63634">
                  <c:v>30528</c:v>
                </c:pt>
                <c:pt idx="63635">
                  <c:v>30528</c:v>
                </c:pt>
                <c:pt idx="63636">
                  <c:v>30528</c:v>
                </c:pt>
                <c:pt idx="63637">
                  <c:v>30528</c:v>
                </c:pt>
                <c:pt idx="63638">
                  <c:v>30528</c:v>
                </c:pt>
                <c:pt idx="63639">
                  <c:v>30528</c:v>
                </c:pt>
                <c:pt idx="63640">
                  <c:v>30528</c:v>
                </c:pt>
                <c:pt idx="63641">
                  <c:v>30528</c:v>
                </c:pt>
                <c:pt idx="63642">
                  <c:v>30528</c:v>
                </c:pt>
                <c:pt idx="63643">
                  <c:v>30528</c:v>
                </c:pt>
                <c:pt idx="63644">
                  <c:v>30528</c:v>
                </c:pt>
                <c:pt idx="63645">
                  <c:v>30527</c:v>
                </c:pt>
                <c:pt idx="63646">
                  <c:v>30527</c:v>
                </c:pt>
                <c:pt idx="63647">
                  <c:v>30527</c:v>
                </c:pt>
                <c:pt idx="63648">
                  <c:v>30526</c:v>
                </c:pt>
                <c:pt idx="63649">
                  <c:v>30526</c:v>
                </c:pt>
                <c:pt idx="63650">
                  <c:v>30525</c:v>
                </c:pt>
                <c:pt idx="63651">
                  <c:v>30525</c:v>
                </c:pt>
                <c:pt idx="63652">
                  <c:v>30525</c:v>
                </c:pt>
                <c:pt idx="63653">
                  <c:v>30525</c:v>
                </c:pt>
                <c:pt idx="63654">
                  <c:v>30525</c:v>
                </c:pt>
                <c:pt idx="63655">
                  <c:v>30524</c:v>
                </c:pt>
                <c:pt idx="63656">
                  <c:v>30524</c:v>
                </c:pt>
                <c:pt idx="63657">
                  <c:v>30524</c:v>
                </c:pt>
                <c:pt idx="63658">
                  <c:v>30524</c:v>
                </c:pt>
                <c:pt idx="63659">
                  <c:v>30524</c:v>
                </c:pt>
                <c:pt idx="63660">
                  <c:v>30523</c:v>
                </c:pt>
                <c:pt idx="63661">
                  <c:v>30523</c:v>
                </c:pt>
                <c:pt idx="63662">
                  <c:v>30523</c:v>
                </c:pt>
                <c:pt idx="63663">
                  <c:v>30523</c:v>
                </c:pt>
                <c:pt idx="63664">
                  <c:v>30523</c:v>
                </c:pt>
                <c:pt idx="63665">
                  <c:v>30522</c:v>
                </c:pt>
                <c:pt idx="63666">
                  <c:v>30522</c:v>
                </c:pt>
                <c:pt idx="63667">
                  <c:v>30522</c:v>
                </c:pt>
                <c:pt idx="63668">
                  <c:v>30521</c:v>
                </c:pt>
                <c:pt idx="63669">
                  <c:v>30521</c:v>
                </c:pt>
                <c:pt idx="63670">
                  <c:v>30521</c:v>
                </c:pt>
                <c:pt idx="63671">
                  <c:v>30521</c:v>
                </c:pt>
                <c:pt idx="63672">
                  <c:v>30519</c:v>
                </c:pt>
                <c:pt idx="63673">
                  <c:v>30519</c:v>
                </c:pt>
                <c:pt idx="63674">
                  <c:v>30519</c:v>
                </c:pt>
                <c:pt idx="63675">
                  <c:v>30519</c:v>
                </c:pt>
                <c:pt idx="63676">
                  <c:v>30519</c:v>
                </c:pt>
                <c:pt idx="63677">
                  <c:v>30519</c:v>
                </c:pt>
                <c:pt idx="63678">
                  <c:v>30518</c:v>
                </c:pt>
                <c:pt idx="63679">
                  <c:v>30518</c:v>
                </c:pt>
                <c:pt idx="63680">
                  <c:v>30518</c:v>
                </c:pt>
                <c:pt idx="63681">
                  <c:v>30518</c:v>
                </c:pt>
                <c:pt idx="63682">
                  <c:v>30518</c:v>
                </c:pt>
                <c:pt idx="63683">
                  <c:v>30517</c:v>
                </c:pt>
                <c:pt idx="63684">
                  <c:v>30517</c:v>
                </c:pt>
                <c:pt idx="63685">
                  <c:v>30517</c:v>
                </c:pt>
                <c:pt idx="63686">
                  <c:v>30516</c:v>
                </c:pt>
                <c:pt idx="63687">
                  <c:v>30516</c:v>
                </c:pt>
                <c:pt idx="63688">
                  <c:v>30516</c:v>
                </c:pt>
                <c:pt idx="63689">
                  <c:v>30515</c:v>
                </c:pt>
                <c:pt idx="63690">
                  <c:v>30515</c:v>
                </c:pt>
                <c:pt idx="63691">
                  <c:v>30514</c:v>
                </c:pt>
                <c:pt idx="63692">
                  <c:v>30514</c:v>
                </c:pt>
                <c:pt idx="63693">
                  <c:v>30514</c:v>
                </c:pt>
                <c:pt idx="63694">
                  <c:v>30514</c:v>
                </c:pt>
                <c:pt idx="63695">
                  <c:v>30514</c:v>
                </c:pt>
                <c:pt idx="63696">
                  <c:v>30514</c:v>
                </c:pt>
                <c:pt idx="63697">
                  <c:v>30514</c:v>
                </c:pt>
                <c:pt idx="63698">
                  <c:v>30513</c:v>
                </c:pt>
                <c:pt idx="63699">
                  <c:v>30513</c:v>
                </c:pt>
                <c:pt idx="63700">
                  <c:v>30513</c:v>
                </c:pt>
                <c:pt idx="63701">
                  <c:v>30513</c:v>
                </c:pt>
                <c:pt idx="63702">
                  <c:v>30513</c:v>
                </c:pt>
                <c:pt idx="63703">
                  <c:v>30513</c:v>
                </c:pt>
                <c:pt idx="63704">
                  <c:v>30512</c:v>
                </c:pt>
                <c:pt idx="63705">
                  <c:v>30512</c:v>
                </c:pt>
                <c:pt idx="63706">
                  <c:v>30512</c:v>
                </c:pt>
                <c:pt idx="63707">
                  <c:v>30511</c:v>
                </c:pt>
                <c:pt idx="63708">
                  <c:v>30511</c:v>
                </c:pt>
                <c:pt idx="63709">
                  <c:v>30511</c:v>
                </c:pt>
                <c:pt idx="63710">
                  <c:v>30510</c:v>
                </c:pt>
                <c:pt idx="63711">
                  <c:v>30510</c:v>
                </c:pt>
                <c:pt idx="63712">
                  <c:v>30510</c:v>
                </c:pt>
                <c:pt idx="63713">
                  <c:v>30510</c:v>
                </c:pt>
                <c:pt idx="63714">
                  <c:v>30510</c:v>
                </c:pt>
                <c:pt idx="63715">
                  <c:v>30510</c:v>
                </c:pt>
                <c:pt idx="63716">
                  <c:v>30510</c:v>
                </c:pt>
                <c:pt idx="63717">
                  <c:v>30510</c:v>
                </c:pt>
                <c:pt idx="63718">
                  <c:v>30509</c:v>
                </c:pt>
                <c:pt idx="63719">
                  <c:v>30509</c:v>
                </c:pt>
                <c:pt idx="63720">
                  <c:v>30509</c:v>
                </c:pt>
                <c:pt idx="63721">
                  <c:v>30508</c:v>
                </c:pt>
                <c:pt idx="63722">
                  <c:v>30508</c:v>
                </c:pt>
                <c:pt idx="63723">
                  <c:v>30508</c:v>
                </c:pt>
                <c:pt idx="63724">
                  <c:v>30507</c:v>
                </c:pt>
                <c:pt idx="63725">
                  <c:v>30507</c:v>
                </c:pt>
                <c:pt idx="63726">
                  <c:v>30507</c:v>
                </c:pt>
                <c:pt idx="63727">
                  <c:v>30507</c:v>
                </c:pt>
                <c:pt idx="63728">
                  <c:v>30507</c:v>
                </c:pt>
                <c:pt idx="63729">
                  <c:v>30506</c:v>
                </c:pt>
                <c:pt idx="63730">
                  <c:v>30506</c:v>
                </c:pt>
                <c:pt idx="63731">
                  <c:v>30506</c:v>
                </c:pt>
                <c:pt idx="63732">
                  <c:v>30506</c:v>
                </c:pt>
                <c:pt idx="63733">
                  <c:v>30506</c:v>
                </c:pt>
                <c:pt idx="63734">
                  <c:v>30505</c:v>
                </c:pt>
                <c:pt idx="63735">
                  <c:v>30505</c:v>
                </c:pt>
                <c:pt idx="63736">
                  <c:v>30504</c:v>
                </c:pt>
                <c:pt idx="63737">
                  <c:v>30504</c:v>
                </c:pt>
                <c:pt idx="63738">
                  <c:v>30504</c:v>
                </c:pt>
                <c:pt idx="63739">
                  <c:v>30504</c:v>
                </c:pt>
                <c:pt idx="63740">
                  <c:v>30504</c:v>
                </c:pt>
                <c:pt idx="63741">
                  <c:v>30504</c:v>
                </c:pt>
                <c:pt idx="63742">
                  <c:v>30503</c:v>
                </c:pt>
                <c:pt idx="63743">
                  <c:v>30503</c:v>
                </c:pt>
                <c:pt idx="63744">
                  <c:v>30503</c:v>
                </c:pt>
                <c:pt idx="63745">
                  <c:v>30503</c:v>
                </c:pt>
                <c:pt idx="63746">
                  <c:v>30503</c:v>
                </c:pt>
                <c:pt idx="63747">
                  <c:v>30502</c:v>
                </c:pt>
                <c:pt idx="63748">
                  <c:v>30502</c:v>
                </c:pt>
                <c:pt idx="63749">
                  <c:v>30502</c:v>
                </c:pt>
                <c:pt idx="63750">
                  <c:v>30502</c:v>
                </c:pt>
                <c:pt idx="63751">
                  <c:v>30502</c:v>
                </c:pt>
                <c:pt idx="63752">
                  <c:v>30502</c:v>
                </c:pt>
                <c:pt idx="63753">
                  <c:v>30502</c:v>
                </c:pt>
                <c:pt idx="63754">
                  <c:v>30502</c:v>
                </c:pt>
                <c:pt idx="63755">
                  <c:v>30501</c:v>
                </c:pt>
                <c:pt idx="63756">
                  <c:v>30501</c:v>
                </c:pt>
                <c:pt idx="63757">
                  <c:v>30501</c:v>
                </c:pt>
                <c:pt idx="63758">
                  <c:v>30501</c:v>
                </c:pt>
                <c:pt idx="63759">
                  <c:v>30501</c:v>
                </c:pt>
                <c:pt idx="63760">
                  <c:v>30501</c:v>
                </c:pt>
                <c:pt idx="63761">
                  <c:v>30501</c:v>
                </c:pt>
                <c:pt idx="63762">
                  <c:v>30501</c:v>
                </c:pt>
                <c:pt idx="63763">
                  <c:v>30501</c:v>
                </c:pt>
                <c:pt idx="63764">
                  <c:v>30500</c:v>
                </c:pt>
                <c:pt idx="63765">
                  <c:v>30500</c:v>
                </c:pt>
                <c:pt idx="63766">
                  <c:v>30500</c:v>
                </c:pt>
                <c:pt idx="63767">
                  <c:v>30499</c:v>
                </c:pt>
                <c:pt idx="63768">
                  <c:v>30499</c:v>
                </c:pt>
                <c:pt idx="63769">
                  <c:v>30499</c:v>
                </c:pt>
                <c:pt idx="63770">
                  <c:v>30498</c:v>
                </c:pt>
                <c:pt idx="63771">
                  <c:v>30498</c:v>
                </c:pt>
                <c:pt idx="63772">
                  <c:v>30498</c:v>
                </c:pt>
                <c:pt idx="63773">
                  <c:v>30498</c:v>
                </c:pt>
                <c:pt idx="63774">
                  <c:v>30498</c:v>
                </c:pt>
                <c:pt idx="63775">
                  <c:v>30498</c:v>
                </c:pt>
                <c:pt idx="63776">
                  <c:v>30498</c:v>
                </c:pt>
                <c:pt idx="63777">
                  <c:v>30498</c:v>
                </c:pt>
                <c:pt idx="63778">
                  <c:v>30498</c:v>
                </c:pt>
                <c:pt idx="63779">
                  <c:v>30497</c:v>
                </c:pt>
                <c:pt idx="63780">
                  <c:v>30497</c:v>
                </c:pt>
                <c:pt idx="63781">
                  <c:v>30497</c:v>
                </c:pt>
                <c:pt idx="63782">
                  <c:v>30496</c:v>
                </c:pt>
                <c:pt idx="63783">
                  <c:v>30496</c:v>
                </c:pt>
                <c:pt idx="63784">
                  <c:v>30496</c:v>
                </c:pt>
                <c:pt idx="63785">
                  <c:v>30496</c:v>
                </c:pt>
                <c:pt idx="63786">
                  <c:v>30496</c:v>
                </c:pt>
                <c:pt idx="63787">
                  <c:v>30496</c:v>
                </c:pt>
                <c:pt idx="63788">
                  <c:v>30495</c:v>
                </c:pt>
                <c:pt idx="63789">
                  <c:v>30495</c:v>
                </c:pt>
                <c:pt idx="63790">
                  <c:v>30495</c:v>
                </c:pt>
                <c:pt idx="63791">
                  <c:v>30494</c:v>
                </c:pt>
                <c:pt idx="63792">
                  <c:v>30494</c:v>
                </c:pt>
                <c:pt idx="63793">
                  <c:v>30494</c:v>
                </c:pt>
                <c:pt idx="63794">
                  <c:v>30493</c:v>
                </c:pt>
                <c:pt idx="63795">
                  <c:v>30493</c:v>
                </c:pt>
                <c:pt idx="63796">
                  <c:v>30493</c:v>
                </c:pt>
                <c:pt idx="63797">
                  <c:v>30493</c:v>
                </c:pt>
                <c:pt idx="63798">
                  <c:v>30493</c:v>
                </c:pt>
                <c:pt idx="63799">
                  <c:v>30493</c:v>
                </c:pt>
                <c:pt idx="63800">
                  <c:v>30493</c:v>
                </c:pt>
                <c:pt idx="63801">
                  <c:v>30493</c:v>
                </c:pt>
                <c:pt idx="63802">
                  <c:v>30493</c:v>
                </c:pt>
                <c:pt idx="63803">
                  <c:v>30492</c:v>
                </c:pt>
                <c:pt idx="63804">
                  <c:v>30492</c:v>
                </c:pt>
                <c:pt idx="63805">
                  <c:v>30492</c:v>
                </c:pt>
                <c:pt idx="63806">
                  <c:v>30491</c:v>
                </c:pt>
                <c:pt idx="63807">
                  <c:v>30491</c:v>
                </c:pt>
                <c:pt idx="63808">
                  <c:v>30491</c:v>
                </c:pt>
                <c:pt idx="63809">
                  <c:v>30491</c:v>
                </c:pt>
                <c:pt idx="63810">
                  <c:v>30491</c:v>
                </c:pt>
                <c:pt idx="63811">
                  <c:v>30491</c:v>
                </c:pt>
                <c:pt idx="63812">
                  <c:v>30491</c:v>
                </c:pt>
                <c:pt idx="63813">
                  <c:v>30490</c:v>
                </c:pt>
                <c:pt idx="63814">
                  <c:v>30490</c:v>
                </c:pt>
                <c:pt idx="63815">
                  <c:v>30490</c:v>
                </c:pt>
                <c:pt idx="63816">
                  <c:v>30490</c:v>
                </c:pt>
                <c:pt idx="63817">
                  <c:v>30490</c:v>
                </c:pt>
                <c:pt idx="63818">
                  <c:v>30489</c:v>
                </c:pt>
                <c:pt idx="63819">
                  <c:v>30489</c:v>
                </c:pt>
                <c:pt idx="63820">
                  <c:v>30489</c:v>
                </c:pt>
                <c:pt idx="63821">
                  <c:v>30489</c:v>
                </c:pt>
                <c:pt idx="63822">
                  <c:v>30488</c:v>
                </c:pt>
                <c:pt idx="63823">
                  <c:v>30488</c:v>
                </c:pt>
                <c:pt idx="63824">
                  <c:v>30488</c:v>
                </c:pt>
                <c:pt idx="63825">
                  <c:v>30487</c:v>
                </c:pt>
                <c:pt idx="63826">
                  <c:v>30487</c:v>
                </c:pt>
                <c:pt idx="63827">
                  <c:v>30487</c:v>
                </c:pt>
                <c:pt idx="63828">
                  <c:v>30487</c:v>
                </c:pt>
                <c:pt idx="63829">
                  <c:v>30486</c:v>
                </c:pt>
                <c:pt idx="63830">
                  <c:v>30486</c:v>
                </c:pt>
                <c:pt idx="63831">
                  <c:v>30486</c:v>
                </c:pt>
                <c:pt idx="63832">
                  <c:v>30486</c:v>
                </c:pt>
                <c:pt idx="63833">
                  <c:v>30486</c:v>
                </c:pt>
                <c:pt idx="63834">
                  <c:v>30486</c:v>
                </c:pt>
                <c:pt idx="63835">
                  <c:v>30486</c:v>
                </c:pt>
                <c:pt idx="63836">
                  <c:v>30485</c:v>
                </c:pt>
                <c:pt idx="63837">
                  <c:v>30485</c:v>
                </c:pt>
                <c:pt idx="63838">
                  <c:v>30485</c:v>
                </c:pt>
                <c:pt idx="63839">
                  <c:v>30485</c:v>
                </c:pt>
                <c:pt idx="63840">
                  <c:v>30485</c:v>
                </c:pt>
                <c:pt idx="63841">
                  <c:v>30485</c:v>
                </c:pt>
                <c:pt idx="63842">
                  <c:v>30485</c:v>
                </c:pt>
                <c:pt idx="63843">
                  <c:v>30485</c:v>
                </c:pt>
                <c:pt idx="63844">
                  <c:v>30485</c:v>
                </c:pt>
                <c:pt idx="63845">
                  <c:v>30485</c:v>
                </c:pt>
                <c:pt idx="63846">
                  <c:v>30484</c:v>
                </c:pt>
                <c:pt idx="63847">
                  <c:v>30484</c:v>
                </c:pt>
                <c:pt idx="63848">
                  <c:v>30484</c:v>
                </c:pt>
                <c:pt idx="63849">
                  <c:v>30484</c:v>
                </c:pt>
                <c:pt idx="63850">
                  <c:v>30483</c:v>
                </c:pt>
                <c:pt idx="63851">
                  <c:v>30483</c:v>
                </c:pt>
                <c:pt idx="63852">
                  <c:v>30483</c:v>
                </c:pt>
                <c:pt idx="63853">
                  <c:v>30483</c:v>
                </c:pt>
                <c:pt idx="63854">
                  <c:v>30482</c:v>
                </c:pt>
                <c:pt idx="63855">
                  <c:v>30482</c:v>
                </c:pt>
                <c:pt idx="63856">
                  <c:v>30482</c:v>
                </c:pt>
                <c:pt idx="63857">
                  <c:v>30482</c:v>
                </c:pt>
                <c:pt idx="63858">
                  <c:v>30482</c:v>
                </c:pt>
                <c:pt idx="63859">
                  <c:v>30482</c:v>
                </c:pt>
                <c:pt idx="63860">
                  <c:v>30482</c:v>
                </c:pt>
                <c:pt idx="63861">
                  <c:v>30482</c:v>
                </c:pt>
                <c:pt idx="63862">
                  <c:v>30481</c:v>
                </c:pt>
                <c:pt idx="63863">
                  <c:v>30481</c:v>
                </c:pt>
                <c:pt idx="63864">
                  <c:v>30481</c:v>
                </c:pt>
                <c:pt idx="63865">
                  <c:v>30480</c:v>
                </c:pt>
                <c:pt idx="63866">
                  <c:v>30480</c:v>
                </c:pt>
                <c:pt idx="63867">
                  <c:v>30480</c:v>
                </c:pt>
                <c:pt idx="63868">
                  <c:v>30479</c:v>
                </c:pt>
                <c:pt idx="63869">
                  <c:v>30478</c:v>
                </c:pt>
                <c:pt idx="63870">
                  <c:v>30478</c:v>
                </c:pt>
                <c:pt idx="63871">
                  <c:v>30477</c:v>
                </c:pt>
                <c:pt idx="63872">
                  <c:v>30477</c:v>
                </c:pt>
                <c:pt idx="63873">
                  <c:v>30477</c:v>
                </c:pt>
                <c:pt idx="63874">
                  <c:v>30477</c:v>
                </c:pt>
                <c:pt idx="63875">
                  <c:v>30477</c:v>
                </c:pt>
                <c:pt idx="63876">
                  <c:v>30477</c:v>
                </c:pt>
                <c:pt idx="63877">
                  <c:v>30477</c:v>
                </c:pt>
                <c:pt idx="63878">
                  <c:v>30477</c:v>
                </c:pt>
                <c:pt idx="63879">
                  <c:v>30477</c:v>
                </c:pt>
                <c:pt idx="63880">
                  <c:v>30477</c:v>
                </c:pt>
                <c:pt idx="63881">
                  <c:v>30476</c:v>
                </c:pt>
                <c:pt idx="63882">
                  <c:v>30476</c:v>
                </c:pt>
                <c:pt idx="63883">
                  <c:v>30476</c:v>
                </c:pt>
                <c:pt idx="63884">
                  <c:v>30475</c:v>
                </c:pt>
                <c:pt idx="63885">
                  <c:v>30475</c:v>
                </c:pt>
                <c:pt idx="63886">
                  <c:v>30475</c:v>
                </c:pt>
                <c:pt idx="63887">
                  <c:v>30475</c:v>
                </c:pt>
                <c:pt idx="63888">
                  <c:v>30474</c:v>
                </c:pt>
                <c:pt idx="63889">
                  <c:v>30474</c:v>
                </c:pt>
                <c:pt idx="63890">
                  <c:v>30474</c:v>
                </c:pt>
                <c:pt idx="63891">
                  <c:v>30474</c:v>
                </c:pt>
                <c:pt idx="63892">
                  <c:v>30474</c:v>
                </c:pt>
                <c:pt idx="63893">
                  <c:v>30474</c:v>
                </c:pt>
                <c:pt idx="63894">
                  <c:v>30474</c:v>
                </c:pt>
                <c:pt idx="63895">
                  <c:v>30474</c:v>
                </c:pt>
                <c:pt idx="63896">
                  <c:v>30473</c:v>
                </c:pt>
                <c:pt idx="63897">
                  <c:v>30473</c:v>
                </c:pt>
                <c:pt idx="63898">
                  <c:v>30473</c:v>
                </c:pt>
                <c:pt idx="63899">
                  <c:v>30473</c:v>
                </c:pt>
                <c:pt idx="63900">
                  <c:v>30472</c:v>
                </c:pt>
                <c:pt idx="63901">
                  <c:v>30472</c:v>
                </c:pt>
                <c:pt idx="63902">
                  <c:v>30472</c:v>
                </c:pt>
                <c:pt idx="63903">
                  <c:v>30472</c:v>
                </c:pt>
                <c:pt idx="63904">
                  <c:v>30472</c:v>
                </c:pt>
                <c:pt idx="63905">
                  <c:v>30471</c:v>
                </c:pt>
                <c:pt idx="63906">
                  <c:v>30471</c:v>
                </c:pt>
                <c:pt idx="63907">
                  <c:v>30471</c:v>
                </c:pt>
                <c:pt idx="63908">
                  <c:v>30470</c:v>
                </c:pt>
                <c:pt idx="63909">
                  <c:v>30470</c:v>
                </c:pt>
                <c:pt idx="63910">
                  <c:v>30470</c:v>
                </c:pt>
                <c:pt idx="63911">
                  <c:v>30470</c:v>
                </c:pt>
                <c:pt idx="63912">
                  <c:v>30469</c:v>
                </c:pt>
                <c:pt idx="63913">
                  <c:v>30469</c:v>
                </c:pt>
                <c:pt idx="63914">
                  <c:v>30469</c:v>
                </c:pt>
                <c:pt idx="63915">
                  <c:v>30469</c:v>
                </c:pt>
                <c:pt idx="63916">
                  <c:v>30469</c:v>
                </c:pt>
                <c:pt idx="63917">
                  <c:v>30469</c:v>
                </c:pt>
                <c:pt idx="63918">
                  <c:v>30469</c:v>
                </c:pt>
                <c:pt idx="63919">
                  <c:v>30468</c:v>
                </c:pt>
                <c:pt idx="63920">
                  <c:v>30468</c:v>
                </c:pt>
                <c:pt idx="63921">
                  <c:v>30468</c:v>
                </c:pt>
                <c:pt idx="63922">
                  <c:v>30467</c:v>
                </c:pt>
                <c:pt idx="63923">
                  <c:v>30467</c:v>
                </c:pt>
                <c:pt idx="63924">
                  <c:v>30466</c:v>
                </c:pt>
                <c:pt idx="63925">
                  <c:v>30466</c:v>
                </c:pt>
                <c:pt idx="63926">
                  <c:v>30466</c:v>
                </c:pt>
                <c:pt idx="63927">
                  <c:v>30466</c:v>
                </c:pt>
                <c:pt idx="63928">
                  <c:v>30466</c:v>
                </c:pt>
                <c:pt idx="63929">
                  <c:v>30465</c:v>
                </c:pt>
                <c:pt idx="63930">
                  <c:v>30465</c:v>
                </c:pt>
                <c:pt idx="63931">
                  <c:v>30465</c:v>
                </c:pt>
                <c:pt idx="63932">
                  <c:v>30464</c:v>
                </c:pt>
                <c:pt idx="63933">
                  <c:v>30464</c:v>
                </c:pt>
                <c:pt idx="63934">
                  <c:v>30464</c:v>
                </c:pt>
                <c:pt idx="63935">
                  <c:v>30464</c:v>
                </c:pt>
                <c:pt idx="63936">
                  <c:v>30464</c:v>
                </c:pt>
                <c:pt idx="63937">
                  <c:v>30463</c:v>
                </c:pt>
                <c:pt idx="63938">
                  <c:v>30463</c:v>
                </c:pt>
                <c:pt idx="63939">
                  <c:v>30463</c:v>
                </c:pt>
                <c:pt idx="63940">
                  <c:v>30462</c:v>
                </c:pt>
                <c:pt idx="63941">
                  <c:v>30462</c:v>
                </c:pt>
                <c:pt idx="63942">
                  <c:v>30462</c:v>
                </c:pt>
                <c:pt idx="63943">
                  <c:v>30462</c:v>
                </c:pt>
                <c:pt idx="63944">
                  <c:v>30462</c:v>
                </c:pt>
                <c:pt idx="63945">
                  <c:v>30462</c:v>
                </c:pt>
                <c:pt idx="63946">
                  <c:v>30462</c:v>
                </c:pt>
                <c:pt idx="63947">
                  <c:v>30462</c:v>
                </c:pt>
                <c:pt idx="63948">
                  <c:v>30461</c:v>
                </c:pt>
                <c:pt idx="63949">
                  <c:v>30461</c:v>
                </c:pt>
                <c:pt idx="63950">
                  <c:v>30461</c:v>
                </c:pt>
                <c:pt idx="63951">
                  <c:v>30461</c:v>
                </c:pt>
                <c:pt idx="63952">
                  <c:v>30461</c:v>
                </c:pt>
                <c:pt idx="63953">
                  <c:v>30461</c:v>
                </c:pt>
                <c:pt idx="63954">
                  <c:v>30461</c:v>
                </c:pt>
                <c:pt idx="63955">
                  <c:v>30460</c:v>
                </c:pt>
                <c:pt idx="63956">
                  <c:v>30460</c:v>
                </c:pt>
                <c:pt idx="63957">
                  <c:v>30460</c:v>
                </c:pt>
                <c:pt idx="63958">
                  <c:v>30460</c:v>
                </c:pt>
                <c:pt idx="63959">
                  <c:v>30460</c:v>
                </c:pt>
                <c:pt idx="63960">
                  <c:v>30459</c:v>
                </c:pt>
                <c:pt idx="63961">
                  <c:v>30459</c:v>
                </c:pt>
                <c:pt idx="63962">
                  <c:v>30459</c:v>
                </c:pt>
                <c:pt idx="63963">
                  <c:v>30459</c:v>
                </c:pt>
                <c:pt idx="63964">
                  <c:v>30459</c:v>
                </c:pt>
                <c:pt idx="63965">
                  <c:v>30459</c:v>
                </c:pt>
                <c:pt idx="63966">
                  <c:v>30458</c:v>
                </c:pt>
                <c:pt idx="63967">
                  <c:v>30458</c:v>
                </c:pt>
                <c:pt idx="63968">
                  <c:v>30458</c:v>
                </c:pt>
                <c:pt idx="63969">
                  <c:v>30457</c:v>
                </c:pt>
                <c:pt idx="63970">
                  <c:v>30457</c:v>
                </c:pt>
                <c:pt idx="63971">
                  <c:v>30457</c:v>
                </c:pt>
                <c:pt idx="63972">
                  <c:v>30457</c:v>
                </c:pt>
                <c:pt idx="63973">
                  <c:v>30456</c:v>
                </c:pt>
                <c:pt idx="63974">
                  <c:v>30456</c:v>
                </c:pt>
                <c:pt idx="63975">
                  <c:v>30455</c:v>
                </c:pt>
                <c:pt idx="63976">
                  <c:v>30455</c:v>
                </c:pt>
                <c:pt idx="63977">
                  <c:v>30455</c:v>
                </c:pt>
                <c:pt idx="63978">
                  <c:v>30454</c:v>
                </c:pt>
                <c:pt idx="63979">
                  <c:v>30454</c:v>
                </c:pt>
                <c:pt idx="63980">
                  <c:v>30454</c:v>
                </c:pt>
                <c:pt idx="63981">
                  <c:v>30454</c:v>
                </c:pt>
                <c:pt idx="63982">
                  <c:v>30454</c:v>
                </c:pt>
                <c:pt idx="63983">
                  <c:v>30454</c:v>
                </c:pt>
                <c:pt idx="63984">
                  <c:v>30453</c:v>
                </c:pt>
                <c:pt idx="63985">
                  <c:v>30453</c:v>
                </c:pt>
                <c:pt idx="63986">
                  <c:v>30453</c:v>
                </c:pt>
                <c:pt idx="63987">
                  <c:v>30453</c:v>
                </c:pt>
                <c:pt idx="63988">
                  <c:v>30453</c:v>
                </c:pt>
                <c:pt idx="63989">
                  <c:v>30453</c:v>
                </c:pt>
                <c:pt idx="63990">
                  <c:v>30453</c:v>
                </c:pt>
                <c:pt idx="63991">
                  <c:v>30453</c:v>
                </c:pt>
                <c:pt idx="63992">
                  <c:v>30452</c:v>
                </c:pt>
                <c:pt idx="63993">
                  <c:v>30452</c:v>
                </c:pt>
                <c:pt idx="63994">
                  <c:v>30452</c:v>
                </c:pt>
                <c:pt idx="63995">
                  <c:v>30451</c:v>
                </c:pt>
                <c:pt idx="63996">
                  <c:v>30451</c:v>
                </c:pt>
                <c:pt idx="63997">
                  <c:v>30451</c:v>
                </c:pt>
                <c:pt idx="63998">
                  <c:v>30451</c:v>
                </c:pt>
                <c:pt idx="63999">
                  <c:v>30451</c:v>
                </c:pt>
                <c:pt idx="64000">
                  <c:v>30451</c:v>
                </c:pt>
                <c:pt idx="64001">
                  <c:v>30451</c:v>
                </c:pt>
                <c:pt idx="64002">
                  <c:v>30451</c:v>
                </c:pt>
                <c:pt idx="64003">
                  <c:v>30450</c:v>
                </c:pt>
                <c:pt idx="64004">
                  <c:v>30450</c:v>
                </c:pt>
                <c:pt idx="64005">
                  <c:v>30450</c:v>
                </c:pt>
                <c:pt idx="64006">
                  <c:v>30450</c:v>
                </c:pt>
                <c:pt idx="64007">
                  <c:v>30450</c:v>
                </c:pt>
                <c:pt idx="64008">
                  <c:v>30449</c:v>
                </c:pt>
                <c:pt idx="64009">
                  <c:v>30449</c:v>
                </c:pt>
                <c:pt idx="64010">
                  <c:v>30449</c:v>
                </c:pt>
                <c:pt idx="64011">
                  <c:v>30449</c:v>
                </c:pt>
                <c:pt idx="64012">
                  <c:v>30449</c:v>
                </c:pt>
                <c:pt idx="64013">
                  <c:v>30448</c:v>
                </c:pt>
                <c:pt idx="64014">
                  <c:v>30448</c:v>
                </c:pt>
                <c:pt idx="64015">
                  <c:v>30448</c:v>
                </c:pt>
                <c:pt idx="64016">
                  <c:v>30448</c:v>
                </c:pt>
                <c:pt idx="64017">
                  <c:v>30448</c:v>
                </c:pt>
                <c:pt idx="64018">
                  <c:v>30448</c:v>
                </c:pt>
                <c:pt idx="64019">
                  <c:v>30447</c:v>
                </c:pt>
                <c:pt idx="64020">
                  <c:v>30447</c:v>
                </c:pt>
                <c:pt idx="64021">
                  <c:v>30447</c:v>
                </c:pt>
                <c:pt idx="64022">
                  <c:v>30447</c:v>
                </c:pt>
                <c:pt idx="64023">
                  <c:v>30447</c:v>
                </c:pt>
                <c:pt idx="64024">
                  <c:v>30446</c:v>
                </c:pt>
                <c:pt idx="64025">
                  <c:v>30446</c:v>
                </c:pt>
                <c:pt idx="64026">
                  <c:v>30446</c:v>
                </c:pt>
                <c:pt idx="64027">
                  <c:v>30446</c:v>
                </c:pt>
                <c:pt idx="64028">
                  <c:v>30446</c:v>
                </c:pt>
                <c:pt idx="64029">
                  <c:v>30445</c:v>
                </c:pt>
                <c:pt idx="64030">
                  <c:v>30445</c:v>
                </c:pt>
                <c:pt idx="64031">
                  <c:v>30445</c:v>
                </c:pt>
                <c:pt idx="64032">
                  <c:v>30444</c:v>
                </c:pt>
                <c:pt idx="64033">
                  <c:v>30444</c:v>
                </c:pt>
                <c:pt idx="64034">
                  <c:v>30444</c:v>
                </c:pt>
                <c:pt idx="64035">
                  <c:v>30444</c:v>
                </c:pt>
                <c:pt idx="64036">
                  <c:v>30444</c:v>
                </c:pt>
                <c:pt idx="64037">
                  <c:v>30444</c:v>
                </c:pt>
                <c:pt idx="64038">
                  <c:v>30444</c:v>
                </c:pt>
                <c:pt idx="64039">
                  <c:v>30444</c:v>
                </c:pt>
                <c:pt idx="64040">
                  <c:v>30443</c:v>
                </c:pt>
                <c:pt idx="64041">
                  <c:v>30443</c:v>
                </c:pt>
                <c:pt idx="64042">
                  <c:v>30443</c:v>
                </c:pt>
                <c:pt idx="64043">
                  <c:v>30443</c:v>
                </c:pt>
                <c:pt idx="64044">
                  <c:v>30442</c:v>
                </c:pt>
                <c:pt idx="64045">
                  <c:v>30442</c:v>
                </c:pt>
                <c:pt idx="64046">
                  <c:v>30442</c:v>
                </c:pt>
                <c:pt idx="64047">
                  <c:v>30442</c:v>
                </c:pt>
                <c:pt idx="64048">
                  <c:v>30442</c:v>
                </c:pt>
                <c:pt idx="64049">
                  <c:v>30441</c:v>
                </c:pt>
                <c:pt idx="64050">
                  <c:v>30441</c:v>
                </c:pt>
                <c:pt idx="64051">
                  <c:v>30441</c:v>
                </c:pt>
                <c:pt idx="64052">
                  <c:v>30441</c:v>
                </c:pt>
                <c:pt idx="64053">
                  <c:v>30440</c:v>
                </c:pt>
                <c:pt idx="64054">
                  <c:v>30440</c:v>
                </c:pt>
                <c:pt idx="64055">
                  <c:v>30440</c:v>
                </c:pt>
                <c:pt idx="64056">
                  <c:v>30440</c:v>
                </c:pt>
                <c:pt idx="64057">
                  <c:v>30440</c:v>
                </c:pt>
                <c:pt idx="64058">
                  <c:v>30439</c:v>
                </c:pt>
                <c:pt idx="64059">
                  <c:v>30439</c:v>
                </c:pt>
                <c:pt idx="64060">
                  <c:v>30439</c:v>
                </c:pt>
                <c:pt idx="64061">
                  <c:v>30439</c:v>
                </c:pt>
                <c:pt idx="64062">
                  <c:v>30438</c:v>
                </c:pt>
                <c:pt idx="64063">
                  <c:v>30438</c:v>
                </c:pt>
                <c:pt idx="64064">
                  <c:v>30438</c:v>
                </c:pt>
                <c:pt idx="64065">
                  <c:v>30438</c:v>
                </c:pt>
                <c:pt idx="64066">
                  <c:v>30437</c:v>
                </c:pt>
                <c:pt idx="64067">
                  <c:v>30437</c:v>
                </c:pt>
                <c:pt idx="64068">
                  <c:v>30437</c:v>
                </c:pt>
                <c:pt idx="64069">
                  <c:v>30437</c:v>
                </c:pt>
                <c:pt idx="64070">
                  <c:v>30436</c:v>
                </c:pt>
                <c:pt idx="64071">
                  <c:v>30436</c:v>
                </c:pt>
                <c:pt idx="64072">
                  <c:v>30436</c:v>
                </c:pt>
                <c:pt idx="64073">
                  <c:v>30436</c:v>
                </c:pt>
                <c:pt idx="64074">
                  <c:v>30436</c:v>
                </c:pt>
                <c:pt idx="64075">
                  <c:v>30435</c:v>
                </c:pt>
                <c:pt idx="64076">
                  <c:v>30435</c:v>
                </c:pt>
                <c:pt idx="64077">
                  <c:v>30435</c:v>
                </c:pt>
                <c:pt idx="64078">
                  <c:v>30434</c:v>
                </c:pt>
                <c:pt idx="64079">
                  <c:v>30434</c:v>
                </c:pt>
                <c:pt idx="64080">
                  <c:v>30434</c:v>
                </c:pt>
                <c:pt idx="64081">
                  <c:v>30434</c:v>
                </c:pt>
                <c:pt idx="64082">
                  <c:v>30433</c:v>
                </c:pt>
                <c:pt idx="64083">
                  <c:v>30433</c:v>
                </c:pt>
                <c:pt idx="64084">
                  <c:v>30433</c:v>
                </c:pt>
                <c:pt idx="64085">
                  <c:v>30433</c:v>
                </c:pt>
                <c:pt idx="64086">
                  <c:v>30433</c:v>
                </c:pt>
                <c:pt idx="64087">
                  <c:v>30433</c:v>
                </c:pt>
                <c:pt idx="64088">
                  <c:v>30432</c:v>
                </c:pt>
                <c:pt idx="64089">
                  <c:v>30432</c:v>
                </c:pt>
                <c:pt idx="64090">
                  <c:v>30432</c:v>
                </c:pt>
                <c:pt idx="64091">
                  <c:v>30432</c:v>
                </c:pt>
                <c:pt idx="64092">
                  <c:v>30432</c:v>
                </c:pt>
                <c:pt idx="64093">
                  <c:v>30432</c:v>
                </c:pt>
                <c:pt idx="64094">
                  <c:v>30431</c:v>
                </c:pt>
                <c:pt idx="64095">
                  <c:v>30431</c:v>
                </c:pt>
                <c:pt idx="64096">
                  <c:v>30431</c:v>
                </c:pt>
                <c:pt idx="64097">
                  <c:v>30430</c:v>
                </c:pt>
                <c:pt idx="64098">
                  <c:v>30430</c:v>
                </c:pt>
                <c:pt idx="64099">
                  <c:v>30430</c:v>
                </c:pt>
                <c:pt idx="64100">
                  <c:v>30430</c:v>
                </c:pt>
                <c:pt idx="64101">
                  <c:v>30429</c:v>
                </c:pt>
                <c:pt idx="64102">
                  <c:v>30429</c:v>
                </c:pt>
                <c:pt idx="64103">
                  <c:v>30429</c:v>
                </c:pt>
                <c:pt idx="64104">
                  <c:v>30429</c:v>
                </c:pt>
                <c:pt idx="64105">
                  <c:v>30429</c:v>
                </c:pt>
                <c:pt idx="64106">
                  <c:v>30428</c:v>
                </c:pt>
                <c:pt idx="64107">
                  <c:v>30428</c:v>
                </c:pt>
                <c:pt idx="64108">
                  <c:v>30428</c:v>
                </c:pt>
                <c:pt idx="64109">
                  <c:v>30428</c:v>
                </c:pt>
                <c:pt idx="64110">
                  <c:v>30428</c:v>
                </c:pt>
                <c:pt idx="64111">
                  <c:v>30428</c:v>
                </c:pt>
                <c:pt idx="64112">
                  <c:v>30428</c:v>
                </c:pt>
                <c:pt idx="64113">
                  <c:v>30426</c:v>
                </c:pt>
                <c:pt idx="64114">
                  <c:v>30426</c:v>
                </c:pt>
                <c:pt idx="64115">
                  <c:v>30426</c:v>
                </c:pt>
                <c:pt idx="64116">
                  <c:v>30426</c:v>
                </c:pt>
                <c:pt idx="64117">
                  <c:v>30425</c:v>
                </c:pt>
                <c:pt idx="64118">
                  <c:v>30425</c:v>
                </c:pt>
                <c:pt idx="64119">
                  <c:v>30424</c:v>
                </c:pt>
                <c:pt idx="64120">
                  <c:v>30424</c:v>
                </c:pt>
                <c:pt idx="64121">
                  <c:v>30424</c:v>
                </c:pt>
                <c:pt idx="64122">
                  <c:v>30424</c:v>
                </c:pt>
                <c:pt idx="64123">
                  <c:v>30424</c:v>
                </c:pt>
                <c:pt idx="64124">
                  <c:v>30423</c:v>
                </c:pt>
                <c:pt idx="64125">
                  <c:v>30423</c:v>
                </c:pt>
                <c:pt idx="64126">
                  <c:v>30423</c:v>
                </c:pt>
                <c:pt idx="64127">
                  <c:v>30423</c:v>
                </c:pt>
                <c:pt idx="64128">
                  <c:v>30422</c:v>
                </c:pt>
                <c:pt idx="64129">
                  <c:v>30422</c:v>
                </c:pt>
                <c:pt idx="64130">
                  <c:v>30422</c:v>
                </c:pt>
                <c:pt idx="64131">
                  <c:v>30421</c:v>
                </c:pt>
                <c:pt idx="64132">
                  <c:v>30420</c:v>
                </c:pt>
                <c:pt idx="64133">
                  <c:v>30420</c:v>
                </c:pt>
                <c:pt idx="64134">
                  <c:v>30420</c:v>
                </c:pt>
                <c:pt idx="64135">
                  <c:v>30420</c:v>
                </c:pt>
                <c:pt idx="64136">
                  <c:v>30420</c:v>
                </c:pt>
                <c:pt idx="64137">
                  <c:v>30420</c:v>
                </c:pt>
                <c:pt idx="64138">
                  <c:v>30420</c:v>
                </c:pt>
                <c:pt idx="64139">
                  <c:v>30420</c:v>
                </c:pt>
                <c:pt idx="64140">
                  <c:v>30420</c:v>
                </c:pt>
                <c:pt idx="64141">
                  <c:v>30419</c:v>
                </c:pt>
                <c:pt idx="64142">
                  <c:v>30419</c:v>
                </c:pt>
                <c:pt idx="64143">
                  <c:v>30418</c:v>
                </c:pt>
                <c:pt idx="64144">
                  <c:v>30417</c:v>
                </c:pt>
                <c:pt idx="64145">
                  <c:v>30417</c:v>
                </c:pt>
                <c:pt idx="64146">
                  <c:v>30416</c:v>
                </c:pt>
                <c:pt idx="64147">
                  <c:v>30416</c:v>
                </c:pt>
                <c:pt idx="64148">
                  <c:v>30416</c:v>
                </c:pt>
                <c:pt idx="64149">
                  <c:v>30416</c:v>
                </c:pt>
                <c:pt idx="64150">
                  <c:v>30415</c:v>
                </c:pt>
                <c:pt idx="64151">
                  <c:v>30415</c:v>
                </c:pt>
                <c:pt idx="64152">
                  <c:v>30414</c:v>
                </c:pt>
                <c:pt idx="64153">
                  <c:v>30414</c:v>
                </c:pt>
                <c:pt idx="64154">
                  <c:v>30414</c:v>
                </c:pt>
                <c:pt idx="64155">
                  <c:v>30414</c:v>
                </c:pt>
                <c:pt idx="64156">
                  <c:v>30413</c:v>
                </c:pt>
                <c:pt idx="64157">
                  <c:v>30413</c:v>
                </c:pt>
                <c:pt idx="64158">
                  <c:v>30413</c:v>
                </c:pt>
                <c:pt idx="64159">
                  <c:v>30412</c:v>
                </c:pt>
                <c:pt idx="64160">
                  <c:v>30412</c:v>
                </c:pt>
                <c:pt idx="64161">
                  <c:v>30412</c:v>
                </c:pt>
                <c:pt idx="64162">
                  <c:v>30412</c:v>
                </c:pt>
                <c:pt idx="64163">
                  <c:v>30411</c:v>
                </c:pt>
                <c:pt idx="64164">
                  <c:v>30411</c:v>
                </c:pt>
                <c:pt idx="64165">
                  <c:v>30410</c:v>
                </c:pt>
                <c:pt idx="64166">
                  <c:v>30410</c:v>
                </c:pt>
                <c:pt idx="64167">
                  <c:v>30410</c:v>
                </c:pt>
                <c:pt idx="64168">
                  <c:v>30410</c:v>
                </c:pt>
                <c:pt idx="64169">
                  <c:v>30410</c:v>
                </c:pt>
                <c:pt idx="64170">
                  <c:v>30410</c:v>
                </c:pt>
                <c:pt idx="64171">
                  <c:v>30409</c:v>
                </c:pt>
                <c:pt idx="64172">
                  <c:v>30409</c:v>
                </c:pt>
                <c:pt idx="64173">
                  <c:v>30409</c:v>
                </c:pt>
                <c:pt idx="64174">
                  <c:v>30409</c:v>
                </c:pt>
                <c:pt idx="64175">
                  <c:v>30409</c:v>
                </c:pt>
                <c:pt idx="64176">
                  <c:v>30409</c:v>
                </c:pt>
                <c:pt idx="64177">
                  <c:v>30408</c:v>
                </c:pt>
                <c:pt idx="64178">
                  <c:v>30408</c:v>
                </c:pt>
                <c:pt idx="64179">
                  <c:v>30408</c:v>
                </c:pt>
                <c:pt idx="64180">
                  <c:v>30408</c:v>
                </c:pt>
                <c:pt idx="64181">
                  <c:v>30407</c:v>
                </c:pt>
                <c:pt idx="64182">
                  <c:v>30407</c:v>
                </c:pt>
                <c:pt idx="64183">
                  <c:v>30407</c:v>
                </c:pt>
                <c:pt idx="64184">
                  <c:v>30406</c:v>
                </c:pt>
                <c:pt idx="64185">
                  <c:v>30406</c:v>
                </c:pt>
                <c:pt idx="64186">
                  <c:v>30406</c:v>
                </c:pt>
                <c:pt idx="64187">
                  <c:v>30406</c:v>
                </c:pt>
                <c:pt idx="64188">
                  <c:v>30406</c:v>
                </c:pt>
                <c:pt idx="64189">
                  <c:v>30406</c:v>
                </c:pt>
                <c:pt idx="64190">
                  <c:v>30405</c:v>
                </c:pt>
                <c:pt idx="64191">
                  <c:v>30405</c:v>
                </c:pt>
                <c:pt idx="64192">
                  <c:v>30405</c:v>
                </c:pt>
                <c:pt idx="64193">
                  <c:v>30405</c:v>
                </c:pt>
                <c:pt idx="64194">
                  <c:v>30405</c:v>
                </c:pt>
                <c:pt idx="64195">
                  <c:v>30405</c:v>
                </c:pt>
                <c:pt idx="64196">
                  <c:v>30405</c:v>
                </c:pt>
                <c:pt idx="64197">
                  <c:v>30405</c:v>
                </c:pt>
                <c:pt idx="64198">
                  <c:v>30405</c:v>
                </c:pt>
                <c:pt idx="64199">
                  <c:v>30404</c:v>
                </c:pt>
                <c:pt idx="64200">
                  <c:v>30404</c:v>
                </c:pt>
                <c:pt idx="64201">
                  <c:v>30404</c:v>
                </c:pt>
                <c:pt idx="64202">
                  <c:v>30404</c:v>
                </c:pt>
                <c:pt idx="64203">
                  <c:v>30404</c:v>
                </c:pt>
                <c:pt idx="64204">
                  <c:v>30404</c:v>
                </c:pt>
                <c:pt idx="64205">
                  <c:v>30404</c:v>
                </c:pt>
                <c:pt idx="64206">
                  <c:v>30404</c:v>
                </c:pt>
                <c:pt idx="64207">
                  <c:v>30403</c:v>
                </c:pt>
                <c:pt idx="64208">
                  <c:v>30403</c:v>
                </c:pt>
                <c:pt idx="64209">
                  <c:v>30403</c:v>
                </c:pt>
                <c:pt idx="64210">
                  <c:v>30403</c:v>
                </c:pt>
                <c:pt idx="64211">
                  <c:v>30403</c:v>
                </c:pt>
                <c:pt idx="64212">
                  <c:v>30402</c:v>
                </c:pt>
                <c:pt idx="64213">
                  <c:v>30402</c:v>
                </c:pt>
                <c:pt idx="64214">
                  <c:v>30402</c:v>
                </c:pt>
                <c:pt idx="64215">
                  <c:v>30402</c:v>
                </c:pt>
                <c:pt idx="64216">
                  <c:v>30402</c:v>
                </c:pt>
                <c:pt idx="64217">
                  <c:v>30402</c:v>
                </c:pt>
                <c:pt idx="64218">
                  <c:v>30402</c:v>
                </c:pt>
                <c:pt idx="64219">
                  <c:v>30401</c:v>
                </c:pt>
                <c:pt idx="64220">
                  <c:v>30400</c:v>
                </c:pt>
                <c:pt idx="64221">
                  <c:v>30400</c:v>
                </c:pt>
                <c:pt idx="64222">
                  <c:v>30399</c:v>
                </c:pt>
                <c:pt idx="64223">
                  <c:v>30399</c:v>
                </c:pt>
                <c:pt idx="64224">
                  <c:v>30399</c:v>
                </c:pt>
                <c:pt idx="64225">
                  <c:v>30399</c:v>
                </c:pt>
                <c:pt idx="64226">
                  <c:v>30399</c:v>
                </c:pt>
                <c:pt idx="64227">
                  <c:v>30398</c:v>
                </c:pt>
                <c:pt idx="64228">
                  <c:v>30398</c:v>
                </c:pt>
                <c:pt idx="64229">
                  <c:v>30397</c:v>
                </c:pt>
                <c:pt idx="64230">
                  <c:v>30397</c:v>
                </c:pt>
                <c:pt idx="64231">
                  <c:v>30397</c:v>
                </c:pt>
                <c:pt idx="64232">
                  <c:v>30397</c:v>
                </c:pt>
                <c:pt idx="64233">
                  <c:v>30397</c:v>
                </c:pt>
                <c:pt idx="64234">
                  <c:v>30397</c:v>
                </c:pt>
                <c:pt idx="64235">
                  <c:v>30396</c:v>
                </c:pt>
                <c:pt idx="64236">
                  <c:v>30396</c:v>
                </c:pt>
                <c:pt idx="64237">
                  <c:v>30396</c:v>
                </c:pt>
                <c:pt idx="64238">
                  <c:v>30396</c:v>
                </c:pt>
                <c:pt idx="64239">
                  <c:v>30395</c:v>
                </c:pt>
                <c:pt idx="64240">
                  <c:v>30395</c:v>
                </c:pt>
                <c:pt idx="64241">
                  <c:v>30395</c:v>
                </c:pt>
                <c:pt idx="64242">
                  <c:v>30395</c:v>
                </c:pt>
                <c:pt idx="64243">
                  <c:v>30394</c:v>
                </c:pt>
                <c:pt idx="64244">
                  <c:v>30393</c:v>
                </c:pt>
                <c:pt idx="64245">
                  <c:v>30393</c:v>
                </c:pt>
                <c:pt idx="64246">
                  <c:v>30393</c:v>
                </c:pt>
                <c:pt idx="64247">
                  <c:v>30393</c:v>
                </c:pt>
                <c:pt idx="64248">
                  <c:v>30393</c:v>
                </c:pt>
                <c:pt idx="64249">
                  <c:v>30392</c:v>
                </c:pt>
                <c:pt idx="64250">
                  <c:v>30392</c:v>
                </c:pt>
                <c:pt idx="64251">
                  <c:v>30392</c:v>
                </c:pt>
                <c:pt idx="64252">
                  <c:v>30391</c:v>
                </c:pt>
                <c:pt idx="64253">
                  <c:v>30391</c:v>
                </c:pt>
                <c:pt idx="64254">
                  <c:v>30390</c:v>
                </c:pt>
                <c:pt idx="64255">
                  <c:v>30390</c:v>
                </c:pt>
                <c:pt idx="64256">
                  <c:v>30389</c:v>
                </c:pt>
                <c:pt idx="64257">
                  <c:v>30389</c:v>
                </c:pt>
                <c:pt idx="64258">
                  <c:v>30389</c:v>
                </c:pt>
                <c:pt idx="64259">
                  <c:v>30389</c:v>
                </c:pt>
                <c:pt idx="64260">
                  <c:v>30389</c:v>
                </c:pt>
                <c:pt idx="64261">
                  <c:v>30388</c:v>
                </c:pt>
                <c:pt idx="64262">
                  <c:v>30388</c:v>
                </c:pt>
                <c:pt idx="64263">
                  <c:v>30388</c:v>
                </c:pt>
                <c:pt idx="64264">
                  <c:v>30388</c:v>
                </c:pt>
                <c:pt idx="64265">
                  <c:v>30387</c:v>
                </c:pt>
                <c:pt idx="64266">
                  <c:v>30386</c:v>
                </c:pt>
                <c:pt idx="64267">
                  <c:v>30386</c:v>
                </c:pt>
                <c:pt idx="64268">
                  <c:v>30386</c:v>
                </c:pt>
                <c:pt idx="64269">
                  <c:v>30386</c:v>
                </c:pt>
                <c:pt idx="64270">
                  <c:v>30386</c:v>
                </c:pt>
                <c:pt idx="64271">
                  <c:v>30385</c:v>
                </c:pt>
                <c:pt idx="64272">
                  <c:v>30385</c:v>
                </c:pt>
                <c:pt idx="64273">
                  <c:v>30385</c:v>
                </c:pt>
                <c:pt idx="64274">
                  <c:v>30385</c:v>
                </c:pt>
                <c:pt idx="64275">
                  <c:v>30385</c:v>
                </c:pt>
                <c:pt idx="64276">
                  <c:v>30385</c:v>
                </c:pt>
                <c:pt idx="64277">
                  <c:v>30385</c:v>
                </c:pt>
                <c:pt idx="64278">
                  <c:v>30384</c:v>
                </c:pt>
                <c:pt idx="64279">
                  <c:v>30384</c:v>
                </c:pt>
                <c:pt idx="64280">
                  <c:v>30384</c:v>
                </c:pt>
                <c:pt idx="64281">
                  <c:v>30384</c:v>
                </c:pt>
                <c:pt idx="64282">
                  <c:v>30384</c:v>
                </c:pt>
                <c:pt idx="64283">
                  <c:v>30384</c:v>
                </c:pt>
                <c:pt idx="64284">
                  <c:v>30384</c:v>
                </c:pt>
                <c:pt idx="64285">
                  <c:v>30383</c:v>
                </c:pt>
                <c:pt idx="64286">
                  <c:v>30382</c:v>
                </c:pt>
                <c:pt idx="64287">
                  <c:v>30381</c:v>
                </c:pt>
                <c:pt idx="64288">
                  <c:v>30381</c:v>
                </c:pt>
                <c:pt idx="64289">
                  <c:v>30381</c:v>
                </c:pt>
                <c:pt idx="64290">
                  <c:v>30380</c:v>
                </c:pt>
                <c:pt idx="64291">
                  <c:v>30380</c:v>
                </c:pt>
                <c:pt idx="64292">
                  <c:v>30379</c:v>
                </c:pt>
                <c:pt idx="64293">
                  <c:v>30379</c:v>
                </c:pt>
                <c:pt idx="64294">
                  <c:v>30379</c:v>
                </c:pt>
                <c:pt idx="64295">
                  <c:v>30379</c:v>
                </c:pt>
                <c:pt idx="64296">
                  <c:v>30378</c:v>
                </c:pt>
                <c:pt idx="64297">
                  <c:v>30378</c:v>
                </c:pt>
                <c:pt idx="64298">
                  <c:v>30378</c:v>
                </c:pt>
                <c:pt idx="64299">
                  <c:v>30378</c:v>
                </c:pt>
                <c:pt idx="64300">
                  <c:v>30378</c:v>
                </c:pt>
                <c:pt idx="64301">
                  <c:v>30377</c:v>
                </c:pt>
                <c:pt idx="64302">
                  <c:v>30377</c:v>
                </c:pt>
                <c:pt idx="64303">
                  <c:v>30377</c:v>
                </c:pt>
                <c:pt idx="64304">
                  <c:v>30377</c:v>
                </c:pt>
                <c:pt idx="64305">
                  <c:v>30376</c:v>
                </c:pt>
                <c:pt idx="64306">
                  <c:v>30376</c:v>
                </c:pt>
                <c:pt idx="64307">
                  <c:v>30376</c:v>
                </c:pt>
                <c:pt idx="64308">
                  <c:v>30376</c:v>
                </c:pt>
                <c:pt idx="64309">
                  <c:v>30375</c:v>
                </c:pt>
                <c:pt idx="64310">
                  <c:v>30375</c:v>
                </c:pt>
                <c:pt idx="64311">
                  <c:v>30375</c:v>
                </c:pt>
                <c:pt idx="64312">
                  <c:v>30375</c:v>
                </c:pt>
                <c:pt idx="64313">
                  <c:v>30375</c:v>
                </c:pt>
                <c:pt idx="64314">
                  <c:v>30374</c:v>
                </c:pt>
                <c:pt idx="64315">
                  <c:v>30374</c:v>
                </c:pt>
                <c:pt idx="64316">
                  <c:v>30374</c:v>
                </c:pt>
                <c:pt idx="64317">
                  <c:v>30374</c:v>
                </c:pt>
                <c:pt idx="64318">
                  <c:v>30374</c:v>
                </c:pt>
                <c:pt idx="64319">
                  <c:v>30374</c:v>
                </c:pt>
                <c:pt idx="64320">
                  <c:v>30374</c:v>
                </c:pt>
                <c:pt idx="64321">
                  <c:v>30374</c:v>
                </c:pt>
                <c:pt idx="64322">
                  <c:v>30373</c:v>
                </c:pt>
                <c:pt idx="64323">
                  <c:v>30373</c:v>
                </c:pt>
                <c:pt idx="64324">
                  <c:v>30373</c:v>
                </c:pt>
                <c:pt idx="64325">
                  <c:v>30373</c:v>
                </c:pt>
                <c:pt idx="64326">
                  <c:v>30373</c:v>
                </c:pt>
                <c:pt idx="64327">
                  <c:v>30373</c:v>
                </c:pt>
                <c:pt idx="64328">
                  <c:v>30372</c:v>
                </c:pt>
                <c:pt idx="64329">
                  <c:v>30372</c:v>
                </c:pt>
                <c:pt idx="64330">
                  <c:v>30371</c:v>
                </c:pt>
                <c:pt idx="64331">
                  <c:v>30371</c:v>
                </c:pt>
                <c:pt idx="64332">
                  <c:v>30371</c:v>
                </c:pt>
                <c:pt idx="64333">
                  <c:v>30371</c:v>
                </c:pt>
                <c:pt idx="64334">
                  <c:v>30370</c:v>
                </c:pt>
                <c:pt idx="64335">
                  <c:v>30370</c:v>
                </c:pt>
                <c:pt idx="64336">
                  <c:v>30370</c:v>
                </c:pt>
                <c:pt idx="64337">
                  <c:v>30370</c:v>
                </c:pt>
                <c:pt idx="64338">
                  <c:v>30370</c:v>
                </c:pt>
                <c:pt idx="64339">
                  <c:v>30370</c:v>
                </c:pt>
                <c:pt idx="64340">
                  <c:v>30369</c:v>
                </c:pt>
                <c:pt idx="64341">
                  <c:v>30369</c:v>
                </c:pt>
                <c:pt idx="64342">
                  <c:v>30369</c:v>
                </c:pt>
                <c:pt idx="64343">
                  <c:v>30369</c:v>
                </c:pt>
                <c:pt idx="64344">
                  <c:v>30369</c:v>
                </c:pt>
                <c:pt idx="64345">
                  <c:v>30369</c:v>
                </c:pt>
                <c:pt idx="64346">
                  <c:v>30369</c:v>
                </c:pt>
                <c:pt idx="64347">
                  <c:v>30369</c:v>
                </c:pt>
                <c:pt idx="64348">
                  <c:v>30369</c:v>
                </c:pt>
                <c:pt idx="64349">
                  <c:v>30368</c:v>
                </c:pt>
                <c:pt idx="64350">
                  <c:v>30368</c:v>
                </c:pt>
                <c:pt idx="64351">
                  <c:v>30368</c:v>
                </c:pt>
                <c:pt idx="64352">
                  <c:v>30367</c:v>
                </c:pt>
                <c:pt idx="64353">
                  <c:v>30367</c:v>
                </c:pt>
                <c:pt idx="64354">
                  <c:v>30367</c:v>
                </c:pt>
                <c:pt idx="64355">
                  <c:v>30367</c:v>
                </c:pt>
                <c:pt idx="64356">
                  <c:v>30367</c:v>
                </c:pt>
                <c:pt idx="64357">
                  <c:v>30367</c:v>
                </c:pt>
                <c:pt idx="64358">
                  <c:v>30367</c:v>
                </c:pt>
                <c:pt idx="64359">
                  <c:v>30367</c:v>
                </c:pt>
                <c:pt idx="64360">
                  <c:v>30366</c:v>
                </c:pt>
                <c:pt idx="64361">
                  <c:v>30366</c:v>
                </c:pt>
                <c:pt idx="64362">
                  <c:v>30365</c:v>
                </c:pt>
                <c:pt idx="64363">
                  <c:v>30365</c:v>
                </c:pt>
                <c:pt idx="64364">
                  <c:v>30365</c:v>
                </c:pt>
                <c:pt idx="64365">
                  <c:v>30365</c:v>
                </c:pt>
                <c:pt idx="64366">
                  <c:v>30364</c:v>
                </c:pt>
                <c:pt idx="64367">
                  <c:v>30364</c:v>
                </c:pt>
                <c:pt idx="64368">
                  <c:v>30364</c:v>
                </c:pt>
                <c:pt idx="64369">
                  <c:v>30364</c:v>
                </c:pt>
                <c:pt idx="64370">
                  <c:v>30364</c:v>
                </c:pt>
                <c:pt idx="64371">
                  <c:v>30364</c:v>
                </c:pt>
                <c:pt idx="64372">
                  <c:v>30363</c:v>
                </c:pt>
                <c:pt idx="64373">
                  <c:v>30362</c:v>
                </c:pt>
                <c:pt idx="64374">
                  <c:v>30362</c:v>
                </c:pt>
                <c:pt idx="64375">
                  <c:v>30362</c:v>
                </c:pt>
                <c:pt idx="64376">
                  <c:v>30362</c:v>
                </c:pt>
                <c:pt idx="64377">
                  <c:v>30362</c:v>
                </c:pt>
                <c:pt idx="64378">
                  <c:v>30362</c:v>
                </c:pt>
                <c:pt idx="64379">
                  <c:v>30361</c:v>
                </c:pt>
                <c:pt idx="64380">
                  <c:v>30361</c:v>
                </c:pt>
                <c:pt idx="64381">
                  <c:v>30361</c:v>
                </c:pt>
                <c:pt idx="64382">
                  <c:v>30361</c:v>
                </c:pt>
                <c:pt idx="64383">
                  <c:v>30361</c:v>
                </c:pt>
                <c:pt idx="64384">
                  <c:v>30360</c:v>
                </c:pt>
                <c:pt idx="64385">
                  <c:v>30360</c:v>
                </c:pt>
                <c:pt idx="64386">
                  <c:v>30360</c:v>
                </c:pt>
                <c:pt idx="64387">
                  <c:v>30360</c:v>
                </c:pt>
                <c:pt idx="64388">
                  <c:v>30359</c:v>
                </c:pt>
                <c:pt idx="64389">
                  <c:v>30359</c:v>
                </c:pt>
                <c:pt idx="64390">
                  <c:v>30359</c:v>
                </c:pt>
                <c:pt idx="64391">
                  <c:v>30358</c:v>
                </c:pt>
                <c:pt idx="64392">
                  <c:v>30357</c:v>
                </c:pt>
                <c:pt idx="64393">
                  <c:v>30357</c:v>
                </c:pt>
                <c:pt idx="64394">
                  <c:v>30356</c:v>
                </c:pt>
                <c:pt idx="64395">
                  <c:v>30356</c:v>
                </c:pt>
                <c:pt idx="64396">
                  <c:v>30356</c:v>
                </c:pt>
                <c:pt idx="64397">
                  <c:v>30355</c:v>
                </c:pt>
                <c:pt idx="64398">
                  <c:v>30355</c:v>
                </c:pt>
                <c:pt idx="64399">
                  <c:v>30354</c:v>
                </c:pt>
                <c:pt idx="64400">
                  <c:v>30354</c:v>
                </c:pt>
                <c:pt idx="64401">
                  <c:v>30353</c:v>
                </c:pt>
                <c:pt idx="64402">
                  <c:v>30353</c:v>
                </c:pt>
                <c:pt idx="64403">
                  <c:v>30353</c:v>
                </c:pt>
                <c:pt idx="64404">
                  <c:v>30353</c:v>
                </c:pt>
                <c:pt idx="64405">
                  <c:v>30353</c:v>
                </c:pt>
                <c:pt idx="64406">
                  <c:v>30353</c:v>
                </c:pt>
                <c:pt idx="64407">
                  <c:v>30352</c:v>
                </c:pt>
                <c:pt idx="64408">
                  <c:v>30352</c:v>
                </c:pt>
                <c:pt idx="64409">
                  <c:v>30352</c:v>
                </c:pt>
                <c:pt idx="64410">
                  <c:v>30352</c:v>
                </c:pt>
                <c:pt idx="64411">
                  <c:v>30352</c:v>
                </c:pt>
                <c:pt idx="64412">
                  <c:v>30351</c:v>
                </c:pt>
                <c:pt idx="64413">
                  <c:v>30351</c:v>
                </c:pt>
                <c:pt idx="64414">
                  <c:v>30351</c:v>
                </c:pt>
                <c:pt idx="64415">
                  <c:v>30351</c:v>
                </c:pt>
                <c:pt idx="64416">
                  <c:v>30350</c:v>
                </c:pt>
                <c:pt idx="64417">
                  <c:v>30350</c:v>
                </c:pt>
                <c:pt idx="64418">
                  <c:v>30349</c:v>
                </c:pt>
                <c:pt idx="64419">
                  <c:v>30349</c:v>
                </c:pt>
                <c:pt idx="64420">
                  <c:v>30349</c:v>
                </c:pt>
                <c:pt idx="64421">
                  <c:v>30349</c:v>
                </c:pt>
                <c:pt idx="64422">
                  <c:v>30348</c:v>
                </c:pt>
                <c:pt idx="64423">
                  <c:v>30348</c:v>
                </c:pt>
                <c:pt idx="64424">
                  <c:v>30348</c:v>
                </c:pt>
                <c:pt idx="64425">
                  <c:v>30347</c:v>
                </c:pt>
                <c:pt idx="64426">
                  <c:v>30347</c:v>
                </c:pt>
                <c:pt idx="64427">
                  <c:v>30347</c:v>
                </c:pt>
                <c:pt idx="64428">
                  <c:v>30346</c:v>
                </c:pt>
                <c:pt idx="64429">
                  <c:v>30346</c:v>
                </c:pt>
                <c:pt idx="64430">
                  <c:v>30346</c:v>
                </c:pt>
                <c:pt idx="64431">
                  <c:v>30346</c:v>
                </c:pt>
                <c:pt idx="64432">
                  <c:v>30346</c:v>
                </c:pt>
                <c:pt idx="64433">
                  <c:v>30345</c:v>
                </c:pt>
                <c:pt idx="64434">
                  <c:v>30345</c:v>
                </c:pt>
                <c:pt idx="64435">
                  <c:v>30345</c:v>
                </c:pt>
                <c:pt idx="64436">
                  <c:v>30345</c:v>
                </c:pt>
                <c:pt idx="64437">
                  <c:v>30345</c:v>
                </c:pt>
                <c:pt idx="64438">
                  <c:v>30345</c:v>
                </c:pt>
                <c:pt idx="64439">
                  <c:v>30345</c:v>
                </c:pt>
                <c:pt idx="64440">
                  <c:v>30345</c:v>
                </c:pt>
                <c:pt idx="64441">
                  <c:v>30344</c:v>
                </c:pt>
                <c:pt idx="64442">
                  <c:v>30344</c:v>
                </c:pt>
                <c:pt idx="64443">
                  <c:v>30343</c:v>
                </c:pt>
                <c:pt idx="64444">
                  <c:v>30343</c:v>
                </c:pt>
                <c:pt idx="64445">
                  <c:v>30343</c:v>
                </c:pt>
                <c:pt idx="64446">
                  <c:v>30343</c:v>
                </c:pt>
                <c:pt idx="64447">
                  <c:v>30343</c:v>
                </c:pt>
                <c:pt idx="64448">
                  <c:v>30342</c:v>
                </c:pt>
                <c:pt idx="64449">
                  <c:v>30341</c:v>
                </c:pt>
                <c:pt idx="64450">
                  <c:v>30341</c:v>
                </c:pt>
                <c:pt idx="64451">
                  <c:v>30341</c:v>
                </c:pt>
                <c:pt idx="64452">
                  <c:v>30341</c:v>
                </c:pt>
                <c:pt idx="64453">
                  <c:v>30341</c:v>
                </c:pt>
                <c:pt idx="64454">
                  <c:v>30340</c:v>
                </c:pt>
                <c:pt idx="64455">
                  <c:v>30340</c:v>
                </c:pt>
                <c:pt idx="64456">
                  <c:v>30340</c:v>
                </c:pt>
                <c:pt idx="64457">
                  <c:v>30340</c:v>
                </c:pt>
                <c:pt idx="64458">
                  <c:v>30339</c:v>
                </c:pt>
                <c:pt idx="64459">
                  <c:v>30339</c:v>
                </c:pt>
                <c:pt idx="64460">
                  <c:v>30339</c:v>
                </c:pt>
                <c:pt idx="64461">
                  <c:v>30339</c:v>
                </c:pt>
                <c:pt idx="64462">
                  <c:v>30339</c:v>
                </c:pt>
                <c:pt idx="64463">
                  <c:v>30339</c:v>
                </c:pt>
                <c:pt idx="64464">
                  <c:v>30338</c:v>
                </c:pt>
                <c:pt idx="64465">
                  <c:v>30337</c:v>
                </c:pt>
                <c:pt idx="64466">
                  <c:v>30337</c:v>
                </c:pt>
                <c:pt idx="64467">
                  <c:v>30336</c:v>
                </c:pt>
                <c:pt idx="64468">
                  <c:v>30336</c:v>
                </c:pt>
                <c:pt idx="64469">
                  <c:v>30336</c:v>
                </c:pt>
                <c:pt idx="64470">
                  <c:v>30336</c:v>
                </c:pt>
                <c:pt idx="64471">
                  <c:v>30336</c:v>
                </c:pt>
                <c:pt idx="64472">
                  <c:v>30335</c:v>
                </c:pt>
                <c:pt idx="64473">
                  <c:v>30335</c:v>
                </c:pt>
                <c:pt idx="64474">
                  <c:v>30335</c:v>
                </c:pt>
                <c:pt idx="64475">
                  <c:v>30335</c:v>
                </c:pt>
                <c:pt idx="64476">
                  <c:v>30335</c:v>
                </c:pt>
                <c:pt idx="64477">
                  <c:v>30334</c:v>
                </c:pt>
                <c:pt idx="64478">
                  <c:v>30333</c:v>
                </c:pt>
                <c:pt idx="64479">
                  <c:v>30333</c:v>
                </c:pt>
                <c:pt idx="64480">
                  <c:v>30333</c:v>
                </c:pt>
                <c:pt idx="64481">
                  <c:v>30333</c:v>
                </c:pt>
                <c:pt idx="64482">
                  <c:v>30331</c:v>
                </c:pt>
                <c:pt idx="64483">
                  <c:v>30331</c:v>
                </c:pt>
                <c:pt idx="64484">
                  <c:v>30330</c:v>
                </c:pt>
                <c:pt idx="64485">
                  <c:v>30330</c:v>
                </c:pt>
                <c:pt idx="64486">
                  <c:v>30329</c:v>
                </c:pt>
                <c:pt idx="64487">
                  <c:v>30329</c:v>
                </c:pt>
                <c:pt idx="64488">
                  <c:v>30329</c:v>
                </c:pt>
                <c:pt idx="64489">
                  <c:v>30329</c:v>
                </c:pt>
                <c:pt idx="64490">
                  <c:v>30329</c:v>
                </c:pt>
                <c:pt idx="64491">
                  <c:v>30329</c:v>
                </c:pt>
                <c:pt idx="64492">
                  <c:v>30329</c:v>
                </c:pt>
                <c:pt idx="64493">
                  <c:v>30329</c:v>
                </c:pt>
                <c:pt idx="64494">
                  <c:v>30328</c:v>
                </c:pt>
                <c:pt idx="64495">
                  <c:v>30328</c:v>
                </c:pt>
                <c:pt idx="64496">
                  <c:v>30328</c:v>
                </c:pt>
                <c:pt idx="64497">
                  <c:v>30327</c:v>
                </c:pt>
                <c:pt idx="64498">
                  <c:v>30327</c:v>
                </c:pt>
                <c:pt idx="64499">
                  <c:v>30327</c:v>
                </c:pt>
                <c:pt idx="64500">
                  <c:v>30326</c:v>
                </c:pt>
                <c:pt idx="64501">
                  <c:v>30326</c:v>
                </c:pt>
                <c:pt idx="64502">
                  <c:v>30326</c:v>
                </c:pt>
                <c:pt idx="64503">
                  <c:v>30326</c:v>
                </c:pt>
                <c:pt idx="64504">
                  <c:v>30326</c:v>
                </c:pt>
                <c:pt idx="64505">
                  <c:v>30326</c:v>
                </c:pt>
                <c:pt idx="64506">
                  <c:v>30326</c:v>
                </c:pt>
                <c:pt idx="64507">
                  <c:v>30325</c:v>
                </c:pt>
                <c:pt idx="64508">
                  <c:v>30325</c:v>
                </c:pt>
                <c:pt idx="64509">
                  <c:v>30325</c:v>
                </c:pt>
                <c:pt idx="64510">
                  <c:v>30325</c:v>
                </c:pt>
                <c:pt idx="64511">
                  <c:v>30325</c:v>
                </c:pt>
                <c:pt idx="64512">
                  <c:v>30325</c:v>
                </c:pt>
                <c:pt idx="64513">
                  <c:v>30325</c:v>
                </c:pt>
                <c:pt idx="64514">
                  <c:v>30324</c:v>
                </c:pt>
                <c:pt idx="64515">
                  <c:v>30324</c:v>
                </c:pt>
                <c:pt idx="64516">
                  <c:v>30324</c:v>
                </c:pt>
                <c:pt idx="64517">
                  <c:v>30324</c:v>
                </c:pt>
                <c:pt idx="64518">
                  <c:v>30324</c:v>
                </c:pt>
                <c:pt idx="64519">
                  <c:v>30324</c:v>
                </c:pt>
                <c:pt idx="64520">
                  <c:v>30323</c:v>
                </c:pt>
                <c:pt idx="64521">
                  <c:v>30323</c:v>
                </c:pt>
                <c:pt idx="64522">
                  <c:v>30323</c:v>
                </c:pt>
                <c:pt idx="64523">
                  <c:v>30323</c:v>
                </c:pt>
                <c:pt idx="64524">
                  <c:v>30322</c:v>
                </c:pt>
                <c:pt idx="64525">
                  <c:v>30322</c:v>
                </c:pt>
                <c:pt idx="64526">
                  <c:v>30322</c:v>
                </c:pt>
                <c:pt idx="64527">
                  <c:v>30322</c:v>
                </c:pt>
                <c:pt idx="64528">
                  <c:v>30322</c:v>
                </c:pt>
                <c:pt idx="64529">
                  <c:v>30322</c:v>
                </c:pt>
                <c:pt idx="64530">
                  <c:v>30321</c:v>
                </c:pt>
                <c:pt idx="64531">
                  <c:v>30321</c:v>
                </c:pt>
                <c:pt idx="64532">
                  <c:v>30321</c:v>
                </c:pt>
                <c:pt idx="64533">
                  <c:v>30321</c:v>
                </c:pt>
                <c:pt idx="64534">
                  <c:v>30321</c:v>
                </c:pt>
                <c:pt idx="64535">
                  <c:v>30320</c:v>
                </c:pt>
                <c:pt idx="64536">
                  <c:v>30320</c:v>
                </c:pt>
                <c:pt idx="64537">
                  <c:v>30320</c:v>
                </c:pt>
                <c:pt idx="64538">
                  <c:v>30320</c:v>
                </c:pt>
                <c:pt idx="64539">
                  <c:v>30319</c:v>
                </c:pt>
                <c:pt idx="64540">
                  <c:v>30319</c:v>
                </c:pt>
                <c:pt idx="64541">
                  <c:v>30319</c:v>
                </c:pt>
                <c:pt idx="64542">
                  <c:v>30319</c:v>
                </c:pt>
                <c:pt idx="64543">
                  <c:v>30319</c:v>
                </c:pt>
                <c:pt idx="64544">
                  <c:v>30318</c:v>
                </c:pt>
                <c:pt idx="64545">
                  <c:v>30318</c:v>
                </c:pt>
                <c:pt idx="64546">
                  <c:v>30318</c:v>
                </c:pt>
                <c:pt idx="64547">
                  <c:v>30317</c:v>
                </c:pt>
                <c:pt idx="64548">
                  <c:v>30317</c:v>
                </c:pt>
                <c:pt idx="64549">
                  <c:v>30317</c:v>
                </c:pt>
                <c:pt idx="64550">
                  <c:v>30316</c:v>
                </c:pt>
                <c:pt idx="64551">
                  <c:v>30316</c:v>
                </c:pt>
                <c:pt idx="64552">
                  <c:v>30316</c:v>
                </c:pt>
                <c:pt idx="64553">
                  <c:v>30316</c:v>
                </c:pt>
                <c:pt idx="64554">
                  <c:v>30316</c:v>
                </c:pt>
                <c:pt idx="64555">
                  <c:v>30315</c:v>
                </c:pt>
                <c:pt idx="64556">
                  <c:v>30315</c:v>
                </c:pt>
                <c:pt idx="64557">
                  <c:v>30315</c:v>
                </c:pt>
                <c:pt idx="64558">
                  <c:v>30315</c:v>
                </c:pt>
                <c:pt idx="64559">
                  <c:v>30314</c:v>
                </c:pt>
                <c:pt idx="64560">
                  <c:v>30314</c:v>
                </c:pt>
                <c:pt idx="64561">
                  <c:v>30314</c:v>
                </c:pt>
                <c:pt idx="64562">
                  <c:v>30313</c:v>
                </c:pt>
                <c:pt idx="64563">
                  <c:v>30313</c:v>
                </c:pt>
                <c:pt idx="64564">
                  <c:v>30312</c:v>
                </c:pt>
                <c:pt idx="64565">
                  <c:v>30312</c:v>
                </c:pt>
                <c:pt idx="64566">
                  <c:v>30312</c:v>
                </c:pt>
                <c:pt idx="64567">
                  <c:v>30311</c:v>
                </c:pt>
                <c:pt idx="64568">
                  <c:v>30311</c:v>
                </c:pt>
                <c:pt idx="64569">
                  <c:v>30311</c:v>
                </c:pt>
                <c:pt idx="64570">
                  <c:v>30310</c:v>
                </c:pt>
                <c:pt idx="64571">
                  <c:v>30310</c:v>
                </c:pt>
                <c:pt idx="64572">
                  <c:v>30310</c:v>
                </c:pt>
                <c:pt idx="64573">
                  <c:v>30309</c:v>
                </c:pt>
                <c:pt idx="64574">
                  <c:v>30309</c:v>
                </c:pt>
                <c:pt idx="64575">
                  <c:v>30309</c:v>
                </c:pt>
                <c:pt idx="64576">
                  <c:v>30309</c:v>
                </c:pt>
                <c:pt idx="64577">
                  <c:v>30309</c:v>
                </c:pt>
                <c:pt idx="64578">
                  <c:v>30308</c:v>
                </c:pt>
                <c:pt idx="64579">
                  <c:v>30308</c:v>
                </c:pt>
                <c:pt idx="64580">
                  <c:v>30308</c:v>
                </c:pt>
                <c:pt idx="64581">
                  <c:v>30307</c:v>
                </c:pt>
                <c:pt idx="64582">
                  <c:v>30307</c:v>
                </c:pt>
                <c:pt idx="64583">
                  <c:v>30307</c:v>
                </c:pt>
                <c:pt idx="64584">
                  <c:v>30307</c:v>
                </c:pt>
                <c:pt idx="64585">
                  <c:v>30307</c:v>
                </c:pt>
                <c:pt idx="64586">
                  <c:v>30307</c:v>
                </c:pt>
                <c:pt idx="64587">
                  <c:v>30306</c:v>
                </c:pt>
                <c:pt idx="64588">
                  <c:v>30306</c:v>
                </c:pt>
                <c:pt idx="64589">
                  <c:v>30306</c:v>
                </c:pt>
                <c:pt idx="64590">
                  <c:v>30306</c:v>
                </c:pt>
                <c:pt idx="64591">
                  <c:v>30306</c:v>
                </c:pt>
                <c:pt idx="64592">
                  <c:v>30306</c:v>
                </c:pt>
                <c:pt idx="64593">
                  <c:v>30306</c:v>
                </c:pt>
                <c:pt idx="64594">
                  <c:v>30306</c:v>
                </c:pt>
                <c:pt idx="64595">
                  <c:v>30306</c:v>
                </c:pt>
                <c:pt idx="64596">
                  <c:v>30305</c:v>
                </c:pt>
                <c:pt idx="64597">
                  <c:v>30305</c:v>
                </c:pt>
                <c:pt idx="64598">
                  <c:v>30305</c:v>
                </c:pt>
                <c:pt idx="64599">
                  <c:v>30305</c:v>
                </c:pt>
                <c:pt idx="64600">
                  <c:v>30305</c:v>
                </c:pt>
                <c:pt idx="64601">
                  <c:v>30304</c:v>
                </c:pt>
                <c:pt idx="64602">
                  <c:v>30304</c:v>
                </c:pt>
                <c:pt idx="64603">
                  <c:v>30304</c:v>
                </c:pt>
                <c:pt idx="64604">
                  <c:v>30304</c:v>
                </c:pt>
                <c:pt idx="64605">
                  <c:v>30303</c:v>
                </c:pt>
                <c:pt idx="64606">
                  <c:v>30303</c:v>
                </c:pt>
                <c:pt idx="64607">
                  <c:v>30303</c:v>
                </c:pt>
                <c:pt idx="64608">
                  <c:v>30303</c:v>
                </c:pt>
                <c:pt idx="64609">
                  <c:v>30303</c:v>
                </c:pt>
                <c:pt idx="64610">
                  <c:v>30303</c:v>
                </c:pt>
                <c:pt idx="64611">
                  <c:v>30302</c:v>
                </c:pt>
                <c:pt idx="64612">
                  <c:v>30302</c:v>
                </c:pt>
                <c:pt idx="64613">
                  <c:v>30302</c:v>
                </c:pt>
                <c:pt idx="64614">
                  <c:v>30301</c:v>
                </c:pt>
                <c:pt idx="64615">
                  <c:v>30301</c:v>
                </c:pt>
                <c:pt idx="64616">
                  <c:v>30301</c:v>
                </c:pt>
                <c:pt idx="64617">
                  <c:v>30301</c:v>
                </c:pt>
                <c:pt idx="64618">
                  <c:v>30301</c:v>
                </c:pt>
                <c:pt idx="64619">
                  <c:v>30300</c:v>
                </c:pt>
                <c:pt idx="64620">
                  <c:v>30300</c:v>
                </c:pt>
                <c:pt idx="64621">
                  <c:v>30299</c:v>
                </c:pt>
                <c:pt idx="64622">
                  <c:v>30299</c:v>
                </c:pt>
                <c:pt idx="64623">
                  <c:v>30298</c:v>
                </c:pt>
                <c:pt idx="64624">
                  <c:v>30298</c:v>
                </c:pt>
                <c:pt idx="64625">
                  <c:v>30298</c:v>
                </c:pt>
                <c:pt idx="64626">
                  <c:v>30298</c:v>
                </c:pt>
                <c:pt idx="64627">
                  <c:v>30298</c:v>
                </c:pt>
                <c:pt idx="64628">
                  <c:v>30297</c:v>
                </c:pt>
                <c:pt idx="64629">
                  <c:v>30296</c:v>
                </c:pt>
                <c:pt idx="64630">
                  <c:v>30296</c:v>
                </c:pt>
                <c:pt idx="64631">
                  <c:v>30296</c:v>
                </c:pt>
                <c:pt idx="64632">
                  <c:v>30296</c:v>
                </c:pt>
                <c:pt idx="64633">
                  <c:v>30296</c:v>
                </c:pt>
                <c:pt idx="64634">
                  <c:v>30295</c:v>
                </c:pt>
                <c:pt idx="64635">
                  <c:v>30295</c:v>
                </c:pt>
                <c:pt idx="64636">
                  <c:v>30294</c:v>
                </c:pt>
                <c:pt idx="64637">
                  <c:v>30294</c:v>
                </c:pt>
                <c:pt idx="64638">
                  <c:v>30294</c:v>
                </c:pt>
                <c:pt idx="64639">
                  <c:v>30294</c:v>
                </c:pt>
                <c:pt idx="64640">
                  <c:v>30293</c:v>
                </c:pt>
                <c:pt idx="64641">
                  <c:v>30293</c:v>
                </c:pt>
                <c:pt idx="64642">
                  <c:v>30293</c:v>
                </c:pt>
                <c:pt idx="64643">
                  <c:v>30292</c:v>
                </c:pt>
                <c:pt idx="64644">
                  <c:v>30292</c:v>
                </c:pt>
                <c:pt idx="64645">
                  <c:v>30291</c:v>
                </c:pt>
                <c:pt idx="64646">
                  <c:v>30291</c:v>
                </c:pt>
                <c:pt idx="64647">
                  <c:v>30290</c:v>
                </c:pt>
                <c:pt idx="64648">
                  <c:v>30290</c:v>
                </c:pt>
                <c:pt idx="64649">
                  <c:v>30290</c:v>
                </c:pt>
                <c:pt idx="64650">
                  <c:v>30289</c:v>
                </c:pt>
                <c:pt idx="64651">
                  <c:v>30289</c:v>
                </c:pt>
                <c:pt idx="64652">
                  <c:v>30289</c:v>
                </c:pt>
                <c:pt idx="64653">
                  <c:v>30289</c:v>
                </c:pt>
                <c:pt idx="64654">
                  <c:v>30288</c:v>
                </c:pt>
                <c:pt idx="64655">
                  <c:v>30288</c:v>
                </c:pt>
                <c:pt idx="64656">
                  <c:v>30288</c:v>
                </c:pt>
                <c:pt idx="64657">
                  <c:v>30288</c:v>
                </c:pt>
                <c:pt idx="64658">
                  <c:v>30288</c:v>
                </c:pt>
                <c:pt idx="64659">
                  <c:v>30287</c:v>
                </c:pt>
                <c:pt idx="64660">
                  <c:v>30287</c:v>
                </c:pt>
                <c:pt idx="64661">
                  <c:v>30287</c:v>
                </c:pt>
                <c:pt idx="64662">
                  <c:v>30287</c:v>
                </c:pt>
                <c:pt idx="64663">
                  <c:v>30286</c:v>
                </c:pt>
                <c:pt idx="64664">
                  <c:v>30286</c:v>
                </c:pt>
                <c:pt idx="64665">
                  <c:v>30286</c:v>
                </c:pt>
                <c:pt idx="64666">
                  <c:v>30286</c:v>
                </c:pt>
                <c:pt idx="64667">
                  <c:v>30285</c:v>
                </c:pt>
                <c:pt idx="64668">
                  <c:v>30285</c:v>
                </c:pt>
                <c:pt idx="64669">
                  <c:v>30285</c:v>
                </c:pt>
                <c:pt idx="64670">
                  <c:v>30285</c:v>
                </c:pt>
                <c:pt idx="64671">
                  <c:v>30285</c:v>
                </c:pt>
                <c:pt idx="64672">
                  <c:v>30284</c:v>
                </c:pt>
                <c:pt idx="64673">
                  <c:v>30284</c:v>
                </c:pt>
                <c:pt idx="64674">
                  <c:v>30284</c:v>
                </c:pt>
                <c:pt idx="64675">
                  <c:v>30283</c:v>
                </c:pt>
                <c:pt idx="64676">
                  <c:v>30283</c:v>
                </c:pt>
                <c:pt idx="64677">
                  <c:v>30283</c:v>
                </c:pt>
                <c:pt idx="64678">
                  <c:v>30282</c:v>
                </c:pt>
                <c:pt idx="64679">
                  <c:v>30282</c:v>
                </c:pt>
                <c:pt idx="64680">
                  <c:v>30282</c:v>
                </c:pt>
                <c:pt idx="64681">
                  <c:v>30282</c:v>
                </c:pt>
                <c:pt idx="64682">
                  <c:v>30281</c:v>
                </c:pt>
                <c:pt idx="64683">
                  <c:v>30281</c:v>
                </c:pt>
                <c:pt idx="64684">
                  <c:v>30281</c:v>
                </c:pt>
                <c:pt idx="64685">
                  <c:v>30281</c:v>
                </c:pt>
                <c:pt idx="64686">
                  <c:v>30281</c:v>
                </c:pt>
                <c:pt idx="64687">
                  <c:v>30281</c:v>
                </c:pt>
                <c:pt idx="64688">
                  <c:v>30280</c:v>
                </c:pt>
                <c:pt idx="64689">
                  <c:v>30280</c:v>
                </c:pt>
                <c:pt idx="64690">
                  <c:v>30280</c:v>
                </c:pt>
                <c:pt idx="64691">
                  <c:v>30279</c:v>
                </c:pt>
                <c:pt idx="64692">
                  <c:v>30279</c:v>
                </c:pt>
                <c:pt idx="64693">
                  <c:v>30279</c:v>
                </c:pt>
                <c:pt idx="64694">
                  <c:v>30279</c:v>
                </c:pt>
                <c:pt idx="64695">
                  <c:v>30279</c:v>
                </c:pt>
                <c:pt idx="64696">
                  <c:v>30279</c:v>
                </c:pt>
                <c:pt idx="64697">
                  <c:v>30279</c:v>
                </c:pt>
                <c:pt idx="64698">
                  <c:v>30278</c:v>
                </c:pt>
                <c:pt idx="64699">
                  <c:v>30278</c:v>
                </c:pt>
                <c:pt idx="64700">
                  <c:v>30278</c:v>
                </c:pt>
                <c:pt idx="64701">
                  <c:v>30278</c:v>
                </c:pt>
                <c:pt idx="64702">
                  <c:v>30278</c:v>
                </c:pt>
                <c:pt idx="64703">
                  <c:v>30278</c:v>
                </c:pt>
                <c:pt idx="64704">
                  <c:v>30277</c:v>
                </c:pt>
                <c:pt idx="64705">
                  <c:v>30276</c:v>
                </c:pt>
                <c:pt idx="64706">
                  <c:v>30276</c:v>
                </c:pt>
                <c:pt idx="64707">
                  <c:v>30276</c:v>
                </c:pt>
                <c:pt idx="64708">
                  <c:v>30276</c:v>
                </c:pt>
                <c:pt idx="64709">
                  <c:v>30276</c:v>
                </c:pt>
                <c:pt idx="64710">
                  <c:v>30276</c:v>
                </c:pt>
                <c:pt idx="64711">
                  <c:v>30275</c:v>
                </c:pt>
                <c:pt idx="64712">
                  <c:v>30275</c:v>
                </c:pt>
                <c:pt idx="64713">
                  <c:v>30275</c:v>
                </c:pt>
                <c:pt idx="64714">
                  <c:v>30275</c:v>
                </c:pt>
                <c:pt idx="64715">
                  <c:v>30275</c:v>
                </c:pt>
                <c:pt idx="64716">
                  <c:v>30274</c:v>
                </c:pt>
                <c:pt idx="64717">
                  <c:v>30274</c:v>
                </c:pt>
                <c:pt idx="64718">
                  <c:v>30274</c:v>
                </c:pt>
                <c:pt idx="64719">
                  <c:v>30273</c:v>
                </c:pt>
                <c:pt idx="64720">
                  <c:v>30273</c:v>
                </c:pt>
                <c:pt idx="64721">
                  <c:v>30273</c:v>
                </c:pt>
                <c:pt idx="64722">
                  <c:v>30273</c:v>
                </c:pt>
                <c:pt idx="64723">
                  <c:v>30272</c:v>
                </c:pt>
                <c:pt idx="64724">
                  <c:v>30272</c:v>
                </c:pt>
                <c:pt idx="64725">
                  <c:v>30272</c:v>
                </c:pt>
                <c:pt idx="64726">
                  <c:v>30272</c:v>
                </c:pt>
                <c:pt idx="64727">
                  <c:v>30272</c:v>
                </c:pt>
                <c:pt idx="64728">
                  <c:v>30272</c:v>
                </c:pt>
                <c:pt idx="64729">
                  <c:v>30272</c:v>
                </c:pt>
                <c:pt idx="64730">
                  <c:v>30271</c:v>
                </c:pt>
                <c:pt idx="64731">
                  <c:v>30271</c:v>
                </c:pt>
                <c:pt idx="64732">
                  <c:v>30271</c:v>
                </c:pt>
                <c:pt idx="64733">
                  <c:v>30271</c:v>
                </c:pt>
                <c:pt idx="64734">
                  <c:v>30271</c:v>
                </c:pt>
                <c:pt idx="64735">
                  <c:v>30271</c:v>
                </c:pt>
                <c:pt idx="64736">
                  <c:v>30271</c:v>
                </c:pt>
                <c:pt idx="64737">
                  <c:v>30271</c:v>
                </c:pt>
                <c:pt idx="64738">
                  <c:v>30270</c:v>
                </c:pt>
                <c:pt idx="64739">
                  <c:v>30270</c:v>
                </c:pt>
                <c:pt idx="64740">
                  <c:v>30270</c:v>
                </c:pt>
                <c:pt idx="64741">
                  <c:v>30270</c:v>
                </c:pt>
                <c:pt idx="64742">
                  <c:v>30269</c:v>
                </c:pt>
                <c:pt idx="64743">
                  <c:v>30269</c:v>
                </c:pt>
                <c:pt idx="64744">
                  <c:v>30269</c:v>
                </c:pt>
                <c:pt idx="64745">
                  <c:v>30269</c:v>
                </c:pt>
                <c:pt idx="64746">
                  <c:v>30268</c:v>
                </c:pt>
                <c:pt idx="64747">
                  <c:v>30268</c:v>
                </c:pt>
                <c:pt idx="64748">
                  <c:v>30268</c:v>
                </c:pt>
                <c:pt idx="64749">
                  <c:v>30267</c:v>
                </c:pt>
                <c:pt idx="64750">
                  <c:v>30267</c:v>
                </c:pt>
                <c:pt idx="64751">
                  <c:v>30267</c:v>
                </c:pt>
                <c:pt idx="64752">
                  <c:v>30267</c:v>
                </c:pt>
                <c:pt idx="64753">
                  <c:v>30266</c:v>
                </c:pt>
                <c:pt idx="64754">
                  <c:v>30266</c:v>
                </c:pt>
                <c:pt idx="64755">
                  <c:v>30265</c:v>
                </c:pt>
                <c:pt idx="64756">
                  <c:v>30265</c:v>
                </c:pt>
                <c:pt idx="64757">
                  <c:v>30264</c:v>
                </c:pt>
                <c:pt idx="64758">
                  <c:v>30264</c:v>
                </c:pt>
                <c:pt idx="64759">
                  <c:v>30264</c:v>
                </c:pt>
                <c:pt idx="64760">
                  <c:v>30264</c:v>
                </c:pt>
                <c:pt idx="64761">
                  <c:v>30263</c:v>
                </c:pt>
                <c:pt idx="64762">
                  <c:v>30263</c:v>
                </c:pt>
                <c:pt idx="64763">
                  <c:v>30263</c:v>
                </c:pt>
                <c:pt idx="64764">
                  <c:v>30263</c:v>
                </c:pt>
                <c:pt idx="64765">
                  <c:v>30263</c:v>
                </c:pt>
                <c:pt idx="64766">
                  <c:v>30262</c:v>
                </c:pt>
                <c:pt idx="64767">
                  <c:v>30262</c:v>
                </c:pt>
                <c:pt idx="64768">
                  <c:v>30262</c:v>
                </c:pt>
                <c:pt idx="64769">
                  <c:v>30261</c:v>
                </c:pt>
                <c:pt idx="64770">
                  <c:v>30261</c:v>
                </c:pt>
                <c:pt idx="64771">
                  <c:v>30260</c:v>
                </c:pt>
                <c:pt idx="64772">
                  <c:v>30259</c:v>
                </c:pt>
                <c:pt idx="64773">
                  <c:v>30259</c:v>
                </c:pt>
                <c:pt idx="64774">
                  <c:v>30259</c:v>
                </c:pt>
                <c:pt idx="64775">
                  <c:v>30259</c:v>
                </c:pt>
                <c:pt idx="64776">
                  <c:v>30258</c:v>
                </c:pt>
                <c:pt idx="64777">
                  <c:v>30258</c:v>
                </c:pt>
                <c:pt idx="64778">
                  <c:v>30258</c:v>
                </c:pt>
                <c:pt idx="64779">
                  <c:v>30258</c:v>
                </c:pt>
                <c:pt idx="64780">
                  <c:v>30257</c:v>
                </c:pt>
                <c:pt idx="64781">
                  <c:v>30257</c:v>
                </c:pt>
                <c:pt idx="64782">
                  <c:v>30257</c:v>
                </c:pt>
                <c:pt idx="64783">
                  <c:v>30256</c:v>
                </c:pt>
                <c:pt idx="64784">
                  <c:v>30256</c:v>
                </c:pt>
                <c:pt idx="64785">
                  <c:v>30256</c:v>
                </c:pt>
                <c:pt idx="64786">
                  <c:v>30256</c:v>
                </c:pt>
                <c:pt idx="64787">
                  <c:v>30255</c:v>
                </c:pt>
                <c:pt idx="64788">
                  <c:v>30255</c:v>
                </c:pt>
                <c:pt idx="64789">
                  <c:v>30255</c:v>
                </c:pt>
                <c:pt idx="64790">
                  <c:v>30255</c:v>
                </c:pt>
                <c:pt idx="64791">
                  <c:v>30254</c:v>
                </c:pt>
                <c:pt idx="64792">
                  <c:v>30254</c:v>
                </c:pt>
                <c:pt idx="64793">
                  <c:v>30254</c:v>
                </c:pt>
                <c:pt idx="64794">
                  <c:v>30254</c:v>
                </c:pt>
                <c:pt idx="64795">
                  <c:v>30254</c:v>
                </c:pt>
                <c:pt idx="64796">
                  <c:v>30253</c:v>
                </c:pt>
                <c:pt idx="64797">
                  <c:v>30253</c:v>
                </c:pt>
                <c:pt idx="64798">
                  <c:v>30252</c:v>
                </c:pt>
                <c:pt idx="64799">
                  <c:v>30252</c:v>
                </c:pt>
                <c:pt idx="64800">
                  <c:v>30251</c:v>
                </c:pt>
                <c:pt idx="64801">
                  <c:v>30251</c:v>
                </c:pt>
                <c:pt idx="64802">
                  <c:v>30250</c:v>
                </c:pt>
                <c:pt idx="64803">
                  <c:v>30250</c:v>
                </c:pt>
                <c:pt idx="64804">
                  <c:v>30249</c:v>
                </c:pt>
                <c:pt idx="64805">
                  <c:v>30249</c:v>
                </c:pt>
                <c:pt idx="64806">
                  <c:v>30249</c:v>
                </c:pt>
                <c:pt idx="64807">
                  <c:v>30249</c:v>
                </c:pt>
                <c:pt idx="64808">
                  <c:v>30249</c:v>
                </c:pt>
                <c:pt idx="64809">
                  <c:v>30248</c:v>
                </c:pt>
                <c:pt idx="64810">
                  <c:v>30248</c:v>
                </c:pt>
                <c:pt idx="64811">
                  <c:v>30247</c:v>
                </c:pt>
                <c:pt idx="64812">
                  <c:v>30247</c:v>
                </c:pt>
                <c:pt idx="64813">
                  <c:v>30247</c:v>
                </c:pt>
                <c:pt idx="64814">
                  <c:v>30247</c:v>
                </c:pt>
                <c:pt idx="64815">
                  <c:v>30247</c:v>
                </c:pt>
                <c:pt idx="64816">
                  <c:v>30246</c:v>
                </c:pt>
                <c:pt idx="64817">
                  <c:v>30246</c:v>
                </c:pt>
                <c:pt idx="64818">
                  <c:v>30246</c:v>
                </c:pt>
                <c:pt idx="64819">
                  <c:v>30246</c:v>
                </c:pt>
                <c:pt idx="64820">
                  <c:v>30246</c:v>
                </c:pt>
                <c:pt idx="64821">
                  <c:v>30246</c:v>
                </c:pt>
                <c:pt idx="64822">
                  <c:v>30246</c:v>
                </c:pt>
                <c:pt idx="64823">
                  <c:v>30246</c:v>
                </c:pt>
                <c:pt idx="64824">
                  <c:v>30245</c:v>
                </c:pt>
                <c:pt idx="64825">
                  <c:v>30245</c:v>
                </c:pt>
                <c:pt idx="64826">
                  <c:v>30245</c:v>
                </c:pt>
                <c:pt idx="64827">
                  <c:v>30244</c:v>
                </c:pt>
                <c:pt idx="64828">
                  <c:v>30244</c:v>
                </c:pt>
                <c:pt idx="64829">
                  <c:v>30243</c:v>
                </c:pt>
                <c:pt idx="64830">
                  <c:v>30243</c:v>
                </c:pt>
                <c:pt idx="64831">
                  <c:v>30242</c:v>
                </c:pt>
                <c:pt idx="64832">
                  <c:v>30241</c:v>
                </c:pt>
                <c:pt idx="64833">
                  <c:v>30241</c:v>
                </c:pt>
                <c:pt idx="64834">
                  <c:v>30240</c:v>
                </c:pt>
                <c:pt idx="64835">
                  <c:v>30240</c:v>
                </c:pt>
                <c:pt idx="64836">
                  <c:v>30240</c:v>
                </c:pt>
                <c:pt idx="64837">
                  <c:v>30240</c:v>
                </c:pt>
                <c:pt idx="64838">
                  <c:v>30240</c:v>
                </c:pt>
                <c:pt idx="64839">
                  <c:v>30240</c:v>
                </c:pt>
                <c:pt idx="64840">
                  <c:v>30240</c:v>
                </c:pt>
                <c:pt idx="64841">
                  <c:v>30240</c:v>
                </c:pt>
                <c:pt idx="64842">
                  <c:v>30240</c:v>
                </c:pt>
                <c:pt idx="64843">
                  <c:v>30240</c:v>
                </c:pt>
                <c:pt idx="64844">
                  <c:v>30239</c:v>
                </c:pt>
                <c:pt idx="64845">
                  <c:v>30239</c:v>
                </c:pt>
                <c:pt idx="64846">
                  <c:v>30238</c:v>
                </c:pt>
                <c:pt idx="64847">
                  <c:v>30238</c:v>
                </c:pt>
                <c:pt idx="64848">
                  <c:v>30238</c:v>
                </c:pt>
                <c:pt idx="64849">
                  <c:v>30237</c:v>
                </c:pt>
                <c:pt idx="64850">
                  <c:v>30237</c:v>
                </c:pt>
                <c:pt idx="64851">
                  <c:v>30237</c:v>
                </c:pt>
                <c:pt idx="64852">
                  <c:v>30237</c:v>
                </c:pt>
                <c:pt idx="64853">
                  <c:v>30237</c:v>
                </c:pt>
                <c:pt idx="64854">
                  <c:v>30237</c:v>
                </c:pt>
                <c:pt idx="64855">
                  <c:v>30236</c:v>
                </c:pt>
                <c:pt idx="64856">
                  <c:v>30236</c:v>
                </c:pt>
                <c:pt idx="64857">
                  <c:v>30236</c:v>
                </c:pt>
                <c:pt idx="64858">
                  <c:v>30235</c:v>
                </c:pt>
                <c:pt idx="64859">
                  <c:v>30235</c:v>
                </c:pt>
                <c:pt idx="64860">
                  <c:v>30235</c:v>
                </c:pt>
                <c:pt idx="64861">
                  <c:v>30234</c:v>
                </c:pt>
                <c:pt idx="64862">
                  <c:v>30233</c:v>
                </c:pt>
                <c:pt idx="64863">
                  <c:v>30233</c:v>
                </c:pt>
                <c:pt idx="64864">
                  <c:v>30233</c:v>
                </c:pt>
                <c:pt idx="64865">
                  <c:v>30233</c:v>
                </c:pt>
                <c:pt idx="64866">
                  <c:v>30233</c:v>
                </c:pt>
                <c:pt idx="64867">
                  <c:v>30233</c:v>
                </c:pt>
                <c:pt idx="64868">
                  <c:v>30232</c:v>
                </c:pt>
                <c:pt idx="64869">
                  <c:v>30232</c:v>
                </c:pt>
                <c:pt idx="64870">
                  <c:v>30232</c:v>
                </c:pt>
                <c:pt idx="64871">
                  <c:v>30231</c:v>
                </c:pt>
                <c:pt idx="64872">
                  <c:v>30231</c:v>
                </c:pt>
                <c:pt idx="64873">
                  <c:v>30230</c:v>
                </c:pt>
                <c:pt idx="64874">
                  <c:v>30230</c:v>
                </c:pt>
                <c:pt idx="64875">
                  <c:v>30229</c:v>
                </c:pt>
                <c:pt idx="64876">
                  <c:v>30229</c:v>
                </c:pt>
                <c:pt idx="64877">
                  <c:v>30228</c:v>
                </c:pt>
                <c:pt idx="64878">
                  <c:v>30228</c:v>
                </c:pt>
                <c:pt idx="64879">
                  <c:v>30228</c:v>
                </c:pt>
                <c:pt idx="64880">
                  <c:v>30228</c:v>
                </c:pt>
                <c:pt idx="64881">
                  <c:v>30228</c:v>
                </c:pt>
                <c:pt idx="64882">
                  <c:v>30227</c:v>
                </c:pt>
                <c:pt idx="64883">
                  <c:v>30227</c:v>
                </c:pt>
                <c:pt idx="64884">
                  <c:v>30227</c:v>
                </c:pt>
                <c:pt idx="64885">
                  <c:v>30227</c:v>
                </c:pt>
                <c:pt idx="64886">
                  <c:v>30226</c:v>
                </c:pt>
                <c:pt idx="64887">
                  <c:v>30226</c:v>
                </c:pt>
                <c:pt idx="64888">
                  <c:v>30226</c:v>
                </c:pt>
                <c:pt idx="64889">
                  <c:v>30226</c:v>
                </c:pt>
                <c:pt idx="64890">
                  <c:v>30225</c:v>
                </c:pt>
                <c:pt idx="64891">
                  <c:v>30225</c:v>
                </c:pt>
                <c:pt idx="64892">
                  <c:v>30225</c:v>
                </c:pt>
                <c:pt idx="64893">
                  <c:v>30225</c:v>
                </c:pt>
                <c:pt idx="64894">
                  <c:v>30225</c:v>
                </c:pt>
                <c:pt idx="64895">
                  <c:v>30225</c:v>
                </c:pt>
                <c:pt idx="64896">
                  <c:v>30225</c:v>
                </c:pt>
                <c:pt idx="64897">
                  <c:v>30224</c:v>
                </c:pt>
                <c:pt idx="64898">
                  <c:v>30224</c:v>
                </c:pt>
                <c:pt idx="64899">
                  <c:v>30224</c:v>
                </c:pt>
                <c:pt idx="64900">
                  <c:v>30224</c:v>
                </c:pt>
                <c:pt idx="64901">
                  <c:v>30224</c:v>
                </c:pt>
                <c:pt idx="64902">
                  <c:v>30223</c:v>
                </c:pt>
                <c:pt idx="64903">
                  <c:v>30223</c:v>
                </c:pt>
                <c:pt idx="64904">
                  <c:v>30223</c:v>
                </c:pt>
                <c:pt idx="64905">
                  <c:v>30223</c:v>
                </c:pt>
                <c:pt idx="64906">
                  <c:v>30223</c:v>
                </c:pt>
                <c:pt idx="64907">
                  <c:v>30223</c:v>
                </c:pt>
                <c:pt idx="64908">
                  <c:v>30223</c:v>
                </c:pt>
                <c:pt idx="64909">
                  <c:v>30223</c:v>
                </c:pt>
                <c:pt idx="64910">
                  <c:v>30223</c:v>
                </c:pt>
                <c:pt idx="64911">
                  <c:v>30222</c:v>
                </c:pt>
                <c:pt idx="64912">
                  <c:v>30222</c:v>
                </c:pt>
                <c:pt idx="64913">
                  <c:v>30222</c:v>
                </c:pt>
                <c:pt idx="64914">
                  <c:v>30221</c:v>
                </c:pt>
                <c:pt idx="64915">
                  <c:v>30221</c:v>
                </c:pt>
                <c:pt idx="64916">
                  <c:v>30221</c:v>
                </c:pt>
                <c:pt idx="64917">
                  <c:v>30221</c:v>
                </c:pt>
                <c:pt idx="64918">
                  <c:v>30220</c:v>
                </c:pt>
                <c:pt idx="64919">
                  <c:v>30220</c:v>
                </c:pt>
                <c:pt idx="64920">
                  <c:v>30220</c:v>
                </c:pt>
                <c:pt idx="64921">
                  <c:v>30220</c:v>
                </c:pt>
                <c:pt idx="64922">
                  <c:v>30220</c:v>
                </c:pt>
                <c:pt idx="64923">
                  <c:v>30219</c:v>
                </c:pt>
                <c:pt idx="64924">
                  <c:v>30219</c:v>
                </c:pt>
                <c:pt idx="64925">
                  <c:v>30218</c:v>
                </c:pt>
                <c:pt idx="64926">
                  <c:v>30218</c:v>
                </c:pt>
                <c:pt idx="64927">
                  <c:v>30218</c:v>
                </c:pt>
                <c:pt idx="64928">
                  <c:v>30217</c:v>
                </c:pt>
                <c:pt idx="64929">
                  <c:v>30215</c:v>
                </c:pt>
                <c:pt idx="64930">
                  <c:v>30215</c:v>
                </c:pt>
                <c:pt idx="64931">
                  <c:v>30214</c:v>
                </c:pt>
                <c:pt idx="64932">
                  <c:v>30214</c:v>
                </c:pt>
                <c:pt idx="64933">
                  <c:v>30214</c:v>
                </c:pt>
                <c:pt idx="64934">
                  <c:v>30213</c:v>
                </c:pt>
                <c:pt idx="64935">
                  <c:v>30213</c:v>
                </c:pt>
                <c:pt idx="64936">
                  <c:v>30212</c:v>
                </c:pt>
                <c:pt idx="64937">
                  <c:v>30212</c:v>
                </c:pt>
                <c:pt idx="64938">
                  <c:v>30212</c:v>
                </c:pt>
                <c:pt idx="64939">
                  <c:v>30211</c:v>
                </c:pt>
                <c:pt idx="64940">
                  <c:v>30211</c:v>
                </c:pt>
                <c:pt idx="64941">
                  <c:v>30210</c:v>
                </c:pt>
                <c:pt idx="64942">
                  <c:v>30210</c:v>
                </c:pt>
                <c:pt idx="64943">
                  <c:v>30210</c:v>
                </c:pt>
                <c:pt idx="64944">
                  <c:v>30210</c:v>
                </c:pt>
                <c:pt idx="64945">
                  <c:v>30210</c:v>
                </c:pt>
                <c:pt idx="64946">
                  <c:v>30209</c:v>
                </c:pt>
                <c:pt idx="64947">
                  <c:v>30209</c:v>
                </c:pt>
                <c:pt idx="64948">
                  <c:v>30209</c:v>
                </c:pt>
                <c:pt idx="64949">
                  <c:v>30209</c:v>
                </c:pt>
                <c:pt idx="64950">
                  <c:v>30209</c:v>
                </c:pt>
                <c:pt idx="64951">
                  <c:v>30208</c:v>
                </c:pt>
                <c:pt idx="64952">
                  <c:v>30208</c:v>
                </c:pt>
                <c:pt idx="64953">
                  <c:v>30208</c:v>
                </c:pt>
                <c:pt idx="64954">
                  <c:v>30208</c:v>
                </c:pt>
                <c:pt idx="64955">
                  <c:v>30208</c:v>
                </c:pt>
                <c:pt idx="64956">
                  <c:v>30207</c:v>
                </c:pt>
                <c:pt idx="64957">
                  <c:v>30207</c:v>
                </c:pt>
                <c:pt idx="64958">
                  <c:v>30207</c:v>
                </c:pt>
                <c:pt idx="64959">
                  <c:v>30207</c:v>
                </c:pt>
                <c:pt idx="64960">
                  <c:v>30206</c:v>
                </c:pt>
                <c:pt idx="64961">
                  <c:v>30206</c:v>
                </c:pt>
                <c:pt idx="64962">
                  <c:v>30206</c:v>
                </c:pt>
                <c:pt idx="64963">
                  <c:v>30205</c:v>
                </c:pt>
                <c:pt idx="64964">
                  <c:v>30205</c:v>
                </c:pt>
                <c:pt idx="64965">
                  <c:v>30205</c:v>
                </c:pt>
                <c:pt idx="64966">
                  <c:v>30204</c:v>
                </c:pt>
                <c:pt idx="64967">
                  <c:v>30204</c:v>
                </c:pt>
                <c:pt idx="64968">
                  <c:v>30204</c:v>
                </c:pt>
                <c:pt idx="64969">
                  <c:v>30203</c:v>
                </c:pt>
                <c:pt idx="64970">
                  <c:v>30203</c:v>
                </c:pt>
                <c:pt idx="64971">
                  <c:v>30203</c:v>
                </c:pt>
                <c:pt idx="64972">
                  <c:v>30203</c:v>
                </c:pt>
                <c:pt idx="64973">
                  <c:v>30203</c:v>
                </c:pt>
                <c:pt idx="64974">
                  <c:v>30202</c:v>
                </c:pt>
                <c:pt idx="64975">
                  <c:v>30202</c:v>
                </c:pt>
                <c:pt idx="64976">
                  <c:v>30202</c:v>
                </c:pt>
                <c:pt idx="64977">
                  <c:v>30202</c:v>
                </c:pt>
                <c:pt idx="64978">
                  <c:v>30201</c:v>
                </c:pt>
                <c:pt idx="64979">
                  <c:v>30201</c:v>
                </c:pt>
                <c:pt idx="64980">
                  <c:v>30201</c:v>
                </c:pt>
                <c:pt idx="64981">
                  <c:v>30200</c:v>
                </c:pt>
                <c:pt idx="64982">
                  <c:v>30200</c:v>
                </c:pt>
                <c:pt idx="64983">
                  <c:v>30200</c:v>
                </c:pt>
                <c:pt idx="64984">
                  <c:v>30200</c:v>
                </c:pt>
                <c:pt idx="64985">
                  <c:v>30200</c:v>
                </c:pt>
                <c:pt idx="64986">
                  <c:v>30199</c:v>
                </c:pt>
                <c:pt idx="64987">
                  <c:v>30198</c:v>
                </c:pt>
                <c:pt idx="64988">
                  <c:v>30198</c:v>
                </c:pt>
                <c:pt idx="64989">
                  <c:v>30198</c:v>
                </c:pt>
                <c:pt idx="64990">
                  <c:v>30197</c:v>
                </c:pt>
                <c:pt idx="64991">
                  <c:v>30197</c:v>
                </c:pt>
                <c:pt idx="64992">
                  <c:v>30197</c:v>
                </c:pt>
                <c:pt idx="64993">
                  <c:v>30197</c:v>
                </c:pt>
                <c:pt idx="64994">
                  <c:v>30197</c:v>
                </c:pt>
                <c:pt idx="64995">
                  <c:v>30197</c:v>
                </c:pt>
                <c:pt idx="64996">
                  <c:v>30197</c:v>
                </c:pt>
                <c:pt idx="64997">
                  <c:v>30197</c:v>
                </c:pt>
                <c:pt idx="64998">
                  <c:v>30196</c:v>
                </c:pt>
                <c:pt idx="64999">
                  <c:v>30196</c:v>
                </c:pt>
                <c:pt idx="65000">
                  <c:v>30196</c:v>
                </c:pt>
                <c:pt idx="65001">
                  <c:v>30195</c:v>
                </c:pt>
                <c:pt idx="65002">
                  <c:v>30195</c:v>
                </c:pt>
                <c:pt idx="65003">
                  <c:v>30195</c:v>
                </c:pt>
                <c:pt idx="65004">
                  <c:v>30195</c:v>
                </c:pt>
                <c:pt idx="65005">
                  <c:v>30195</c:v>
                </c:pt>
                <c:pt idx="65006">
                  <c:v>30195</c:v>
                </c:pt>
                <c:pt idx="65007">
                  <c:v>30195</c:v>
                </c:pt>
                <c:pt idx="65008">
                  <c:v>30195</c:v>
                </c:pt>
                <c:pt idx="65009">
                  <c:v>30195</c:v>
                </c:pt>
                <c:pt idx="65010">
                  <c:v>30195</c:v>
                </c:pt>
                <c:pt idx="65011">
                  <c:v>30194</c:v>
                </c:pt>
                <c:pt idx="65012">
                  <c:v>30194</c:v>
                </c:pt>
                <c:pt idx="65013">
                  <c:v>30194</c:v>
                </c:pt>
                <c:pt idx="65014">
                  <c:v>30194</c:v>
                </c:pt>
                <c:pt idx="65015">
                  <c:v>30194</c:v>
                </c:pt>
                <c:pt idx="65016">
                  <c:v>30194</c:v>
                </c:pt>
                <c:pt idx="65017">
                  <c:v>30192</c:v>
                </c:pt>
                <c:pt idx="65018">
                  <c:v>30192</c:v>
                </c:pt>
                <c:pt idx="65019">
                  <c:v>30192</c:v>
                </c:pt>
                <c:pt idx="65020">
                  <c:v>30192</c:v>
                </c:pt>
                <c:pt idx="65021">
                  <c:v>30192</c:v>
                </c:pt>
                <c:pt idx="65022">
                  <c:v>30191</c:v>
                </c:pt>
                <c:pt idx="65023">
                  <c:v>30191</c:v>
                </c:pt>
                <c:pt idx="65024">
                  <c:v>30191</c:v>
                </c:pt>
                <c:pt idx="65025">
                  <c:v>30191</c:v>
                </c:pt>
                <c:pt idx="65026">
                  <c:v>30190</c:v>
                </c:pt>
                <c:pt idx="65027">
                  <c:v>30190</c:v>
                </c:pt>
                <c:pt idx="65028">
                  <c:v>30190</c:v>
                </c:pt>
                <c:pt idx="65029">
                  <c:v>30190</c:v>
                </c:pt>
                <c:pt idx="65030">
                  <c:v>30190</c:v>
                </c:pt>
                <c:pt idx="65031">
                  <c:v>30190</c:v>
                </c:pt>
                <c:pt idx="65032">
                  <c:v>30190</c:v>
                </c:pt>
                <c:pt idx="65033">
                  <c:v>30189</c:v>
                </c:pt>
                <c:pt idx="65034">
                  <c:v>30189</c:v>
                </c:pt>
                <c:pt idx="65035">
                  <c:v>30189</c:v>
                </c:pt>
                <c:pt idx="65036">
                  <c:v>30188</c:v>
                </c:pt>
                <c:pt idx="65037">
                  <c:v>30188</c:v>
                </c:pt>
                <c:pt idx="65038">
                  <c:v>30188</c:v>
                </c:pt>
                <c:pt idx="65039">
                  <c:v>30188</c:v>
                </c:pt>
                <c:pt idx="65040">
                  <c:v>30188</c:v>
                </c:pt>
                <c:pt idx="65041">
                  <c:v>30188</c:v>
                </c:pt>
                <c:pt idx="65042">
                  <c:v>30187</c:v>
                </c:pt>
                <c:pt idx="65043">
                  <c:v>30187</c:v>
                </c:pt>
                <c:pt idx="65044">
                  <c:v>30187</c:v>
                </c:pt>
                <c:pt idx="65045">
                  <c:v>30187</c:v>
                </c:pt>
                <c:pt idx="65046">
                  <c:v>30186</c:v>
                </c:pt>
                <c:pt idx="65047">
                  <c:v>30186</c:v>
                </c:pt>
                <c:pt idx="65048">
                  <c:v>30186</c:v>
                </c:pt>
                <c:pt idx="65049">
                  <c:v>30186</c:v>
                </c:pt>
                <c:pt idx="65050">
                  <c:v>30186</c:v>
                </c:pt>
                <c:pt idx="65051">
                  <c:v>30185</c:v>
                </c:pt>
                <c:pt idx="65052">
                  <c:v>30185</c:v>
                </c:pt>
                <c:pt idx="65053">
                  <c:v>30185</c:v>
                </c:pt>
                <c:pt idx="65054">
                  <c:v>30185</c:v>
                </c:pt>
                <c:pt idx="65055">
                  <c:v>30185</c:v>
                </c:pt>
                <c:pt idx="65056">
                  <c:v>30184</c:v>
                </c:pt>
                <c:pt idx="65057">
                  <c:v>30184</c:v>
                </c:pt>
                <c:pt idx="65058">
                  <c:v>30184</c:v>
                </c:pt>
                <c:pt idx="65059">
                  <c:v>30184</c:v>
                </c:pt>
                <c:pt idx="65060">
                  <c:v>30184</c:v>
                </c:pt>
                <c:pt idx="65061">
                  <c:v>30183</c:v>
                </c:pt>
                <c:pt idx="65062">
                  <c:v>30183</c:v>
                </c:pt>
                <c:pt idx="65063">
                  <c:v>30183</c:v>
                </c:pt>
                <c:pt idx="65064">
                  <c:v>30183</c:v>
                </c:pt>
                <c:pt idx="65065">
                  <c:v>30182</c:v>
                </c:pt>
                <c:pt idx="65066">
                  <c:v>30182</c:v>
                </c:pt>
                <c:pt idx="65067">
                  <c:v>30182</c:v>
                </c:pt>
                <c:pt idx="65068">
                  <c:v>30182</c:v>
                </c:pt>
                <c:pt idx="65069">
                  <c:v>30181</c:v>
                </c:pt>
                <c:pt idx="65070">
                  <c:v>30181</c:v>
                </c:pt>
                <c:pt idx="65071">
                  <c:v>30181</c:v>
                </c:pt>
                <c:pt idx="65072">
                  <c:v>30180</c:v>
                </c:pt>
                <c:pt idx="65073">
                  <c:v>30180</c:v>
                </c:pt>
                <c:pt idx="65074">
                  <c:v>30179</c:v>
                </c:pt>
                <c:pt idx="65075">
                  <c:v>30179</c:v>
                </c:pt>
                <c:pt idx="65076">
                  <c:v>30179</c:v>
                </c:pt>
                <c:pt idx="65077">
                  <c:v>30179</c:v>
                </c:pt>
                <c:pt idx="65078">
                  <c:v>30179</c:v>
                </c:pt>
                <c:pt idx="65079">
                  <c:v>30178</c:v>
                </c:pt>
                <c:pt idx="65080">
                  <c:v>30178</c:v>
                </c:pt>
                <c:pt idx="65081">
                  <c:v>30178</c:v>
                </c:pt>
                <c:pt idx="65082">
                  <c:v>30178</c:v>
                </c:pt>
                <c:pt idx="65083">
                  <c:v>30178</c:v>
                </c:pt>
                <c:pt idx="65084">
                  <c:v>30178</c:v>
                </c:pt>
                <c:pt idx="65085">
                  <c:v>30177</c:v>
                </c:pt>
                <c:pt idx="65086">
                  <c:v>30177</c:v>
                </c:pt>
                <c:pt idx="65087">
                  <c:v>30177</c:v>
                </c:pt>
                <c:pt idx="65088">
                  <c:v>30177</c:v>
                </c:pt>
                <c:pt idx="65089">
                  <c:v>30177</c:v>
                </c:pt>
                <c:pt idx="65090">
                  <c:v>30177</c:v>
                </c:pt>
                <c:pt idx="65091">
                  <c:v>30176</c:v>
                </c:pt>
                <c:pt idx="65092">
                  <c:v>30176</c:v>
                </c:pt>
                <c:pt idx="65093">
                  <c:v>30176</c:v>
                </c:pt>
                <c:pt idx="65094">
                  <c:v>30175</c:v>
                </c:pt>
                <c:pt idx="65095">
                  <c:v>30175</c:v>
                </c:pt>
                <c:pt idx="65096">
                  <c:v>30175</c:v>
                </c:pt>
                <c:pt idx="65097">
                  <c:v>30175</c:v>
                </c:pt>
                <c:pt idx="65098">
                  <c:v>30174</c:v>
                </c:pt>
                <c:pt idx="65099">
                  <c:v>30173</c:v>
                </c:pt>
                <c:pt idx="65100">
                  <c:v>30173</c:v>
                </c:pt>
                <c:pt idx="65101">
                  <c:v>30172</c:v>
                </c:pt>
                <c:pt idx="65102">
                  <c:v>30172</c:v>
                </c:pt>
                <c:pt idx="65103">
                  <c:v>30171</c:v>
                </c:pt>
                <c:pt idx="65104">
                  <c:v>30171</c:v>
                </c:pt>
                <c:pt idx="65105">
                  <c:v>30171</c:v>
                </c:pt>
                <c:pt idx="65106">
                  <c:v>30171</c:v>
                </c:pt>
                <c:pt idx="65107">
                  <c:v>30170</c:v>
                </c:pt>
                <c:pt idx="65108">
                  <c:v>30170</c:v>
                </c:pt>
                <c:pt idx="65109">
                  <c:v>30169</c:v>
                </c:pt>
                <c:pt idx="65110">
                  <c:v>30169</c:v>
                </c:pt>
                <c:pt idx="65111">
                  <c:v>30168</c:v>
                </c:pt>
                <c:pt idx="65112">
                  <c:v>30167</c:v>
                </c:pt>
                <c:pt idx="65113">
                  <c:v>30167</c:v>
                </c:pt>
                <c:pt idx="65114">
                  <c:v>30167</c:v>
                </c:pt>
                <c:pt idx="65115">
                  <c:v>30166</c:v>
                </c:pt>
                <c:pt idx="65116">
                  <c:v>30166</c:v>
                </c:pt>
                <c:pt idx="65117">
                  <c:v>30166</c:v>
                </c:pt>
                <c:pt idx="65118">
                  <c:v>30166</c:v>
                </c:pt>
                <c:pt idx="65119">
                  <c:v>30165</c:v>
                </c:pt>
                <c:pt idx="65120">
                  <c:v>30165</c:v>
                </c:pt>
                <c:pt idx="65121">
                  <c:v>30165</c:v>
                </c:pt>
                <c:pt idx="65122">
                  <c:v>30165</c:v>
                </c:pt>
                <c:pt idx="65123">
                  <c:v>30164</c:v>
                </c:pt>
                <c:pt idx="65124">
                  <c:v>30164</c:v>
                </c:pt>
                <c:pt idx="65125">
                  <c:v>30164</c:v>
                </c:pt>
                <c:pt idx="65126">
                  <c:v>30164</c:v>
                </c:pt>
                <c:pt idx="65127">
                  <c:v>30164</c:v>
                </c:pt>
                <c:pt idx="65128">
                  <c:v>30164</c:v>
                </c:pt>
                <c:pt idx="65129">
                  <c:v>30164</c:v>
                </c:pt>
                <c:pt idx="65130">
                  <c:v>30163</c:v>
                </c:pt>
                <c:pt idx="65131">
                  <c:v>30163</c:v>
                </c:pt>
                <c:pt idx="65132">
                  <c:v>30163</c:v>
                </c:pt>
                <c:pt idx="65133">
                  <c:v>30162</c:v>
                </c:pt>
                <c:pt idx="65134">
                  <c:v>30162</c:v>
                </c:pt>
                <c:pt idx="65135">
                  <c:v>30162</c:v>
                </c:pt>
                <c:pt idx="65136">
                  <c:v>30161</c:v>
                </c:pt>
                <c:pt idx="65137">
                  <c:v>30161</c:v>
                </c:pt>
                <c:pt idx="65138">
                  <c:v>30161</c:v>
                </c:pt>
                <c:pt idx="65139">
                  <c:v>30161</c:v>
                </c:pt>
                <c:pt idx="65140">
                  <c:v>30161</c:v>
                </c:pt>
                <c:pt idx="65141">
                  <c:v>30160</c:v>
                </c:pt>
                <c:pt idx="65142">
                  <c:v>30160</c:v>
                </c:pt>
                <c:pt idx="65143">
                  <c:v>30160</c:v>
                </c:pt>
                <c:pt idx="65144">
                  <c:v>30159</c:v>
                </c:pt>
                <c:pt idx="65145">
                  <c:v>30159</c:v>
                </c:pt>
                <c:pt idx="65146">
                  <c:v>30158</c:v>
                </c:pt>
                <c:pt idx="65147">
                  <c:v>30158</c:v>
                </c:pt>
                <c:pt idx="65148">
                  <c:v>30158</c:v>
                </c:pt>
                <c:pt idx="65149">
                  <c:v>30158</c:v>
                </c:pt>
                <c:pt idx="65150">
                  <c:v>30158</c:v>
                </c:pt>
                <c:pt idx="65151">
                  <c:v>30158</c:v>
                </c:pt>
                <c:pt idx="65152">
                  <c:v>30158</c:v>
                </c:pt>
                <c:pt idx="65153">
                  <c:v>30158</c:v>
                </c:pt>
                <c:pt idx="65154">
                  <c:v>30157</c:v>
                </c:pt>
                <c:pt idx="65155">
                  <c:v>30157</c:v>
                </c:pt>
                <c:pt idx="65156">
                  <c:v>30157</c:v>
                </c:pt>
                <c:pt idx="65157">
                  <c:v>30157</c:v>
                </c:pt>
                <c:pt idx="65158">
                  <c:v>30157</c:v>
                </c:pt>
                <c:pt idx="65159">
                  <c:v>30157</c:v>
                </c:pt>
                <c:pt idx="65160">
                  <c:v>30156</c:v>
                </c:pt>
                <c:pt idx="65161">
                  <c:v>30156</c:v>
                </c:pt>
                <c:pt idx="65162">
                  <c:v>30156</c:v>
                </c:pt>
                <c:pt idx="65163">
                  <c:v>30155</c:v>
                </c:pt>
                <c:pt idx="65164">
                  <c:v>30155</c:v>
                </c:pt>
                <c:pt idx="65165">
                  <c:v>30155</c:v>
                </c:pt>
                <c:pt idx="65166">
                  <c:v>30155</c:v>
                </c:pt>
                <c:pt idx="65167">
                  <c:v>30155</c:v>
                </c:pt>
                <c:pt idx="65168">
                  <c:v>30155</c:v>
                </c:pt>
                <c:pt idx="65169">
                  <c:v>30155</c:v>
                </c:pt>
                <c:pt idx="65170">
                  <c:v>30154</c:v>
                </c:pt>
                <c:pt idx="65171">
                  <c:v>30154</c:v>
                </c:pt>
                <c:pt idx="65172">
                  <c:v>30154</c:v>
                </c:pt>
                <c:pt idx="65173">
                  <c:v>30153</c:v>
                </c:pt>
                <c:pt idx="65174">
                  <c:v>30153</c:v>
                </c:pt>
                <c:pt idx="65175">
                  <c:v>30153</c:v>
                </c:pt>
                <c:pt idx="65176">
                  <c:v>30153</c:v>
                </c:pt>
                <c:pt idx="65177">
                  <c:v>30153</c:v>
                </c:pt>
                <c:pt idx="65178">
                  <c:v>30152</c:v>
                </c:pt>
                <c:pt idx="65179">
                  <c:v>30152</c:v>
                </c:pt>
                <c:pt idx="65180">
                  <c:v>30152</c:v>
                </c:pt>
                <c:pt idx="65181">
                  <c:v>30152</c:v>
                </c:pt>
                <c:pt idx="65182">
                  <c:v>30152</c:v>
                </c:pt>
                <c:pt idx="65183">
                  <c:v>30151</c:v>
                </c:pt>
                <c:pt idx="65184">
                  <c:v>30151</c:v>
                </c:pt>
                <c:pt idx="65185">
                  <c:v>30151</c:v>
                </c:pt>
                <c:pt idx="65186">
                  <c:v>30151</c:v>
                </c:pt>
                <c:pt idx="65187">
                  <c:v>30149</c:v>
                </c:pt>
                <c:pt idx="65188">
                  <c:v>30148</c:v>
                </c:pt>
                <c:pt idx="65189">
                  <c:v>30148</c:v>
                </c:pt>
                <c:pt idx="65190">
                  <c:v>30147</c:v>
                </c:pt>
                <c:pt idx="65191">
                  <c:v>30147</c:v>
                </c:pt>
                <c:pt idx="65192">
                  <c:v>30147</c:v>
                </c:pt>
                <c:pt idx="65193">
                  <c:v>30147</c:v>
                </c:pt>
                <c:pt idx="65194">
                  <c:v>30146</c:v>
                </c:pt>
                <c:pt idx="65195">
                  <c:v>30146</c:v>
                </c:pt>
                <c:pt idx="65196">
                  <c:v>30146</c:v>
                </c:pt>
                <c:pt idx="65197">
                  <c:v>30146</c:v>
                </c:pt>
                <c:pt idx="65198">
                  <c:v>30145</c:v>
                </c:pt>
                <c:pt idx="65199">
                  <c:v>30144</c:v>
                </c:pt>
                <c:pt idx="65200">
                  <c:v>30144</c:v>
                </c:pt>
                <c:pt idx="65201">
                  <c:v>30144</c:v>
                </c:pt>
                <c:pt idx="65202">
                  <c:v>30143</c:v>
                </c:pt>
                <c:pt idx="65203">
                  <c:v>30143</c:v>
                </c:pt>
                <c:pt idx="65204">
                  <c:v>30143</c:v>
                </c:pt>
                <c:pt idx="65205">
                  <c:v>30143</c:v>
                </c:pt>
                <c:pt idx="65206">
                  <c:v>30142</c:v>
                </c:pt>
                <c:pt idx="65207">
                  <c:v>30142</c:v>
                </c:pt>
                <c:pt idx="65208">
                  <c:v>30142</c:v>
                </c:pt>
                <c:pt idx="65209">
                  <c:v>30141</c:v>
                </c:pt>
                <c:pt idx="65210">
                  <c:v>30141</c:v>
                </c:pt>
                <c:pt idx="65211">
                  <c:v>30140</c:v>
                </c:pt>
                <c:pt idx="65212">
                  <c:v>30140</c:v>
                </c:pt>
                <c:pt idx="65213">
                  <c:v>30140</c:v>
                </c:pt>
                <c:pt idx="65214">
                  <c:v>30140</c:v>
                </c:pt>
                <c:pt idx="65215">
                  <c:v>30140</c:v>
                </c:pt>
                <c:pt idx="65216">
                  <c:v>30139</c:v>
                </c:pt>
                <c:pt idx="65217">
                  <c:v>30139</c:v>
                </c:pt>
                <c:pt idx="65218">
                  <c:v>30139</c:v>
                </c:pt>
                <c:pt idx="65219">
                  <c:v>30139</c:v>
                </c:pt>
                <c:pt idx="65220">
                  <c:v>30139</c:v>
                </c:pt>
                <c:pt idx="65221">
                  <c:v>30139</c:v>
                </c:pt>
                <c:pt idx="65222">
                  <c:v>30138</c:v>
                </c:pt>
                <c:pt idx="65223">
                  <c:v>30138</c:v>
                </c:pt>
                <c:pt idx="65224">
                  <c:v>30138</c:v>
                </c:pt>
                <c:pt idx="65225">
                  <c:v>30138</c:v>
                </c:pt>
                <c:pt idx="65226">
                  <c:v>30138</c:v>
                </c:pt>
                <c:pt idx="65227">
                  <c:v>30137</c:v>
                </c:pt>
                <c:pt idx="65228">
                  <c:v>30137</c:v>
                </c:pt>
                <c:pt idx="65229">
                  <c:v>30137</c:v>
                </c:pt>
                <c:pt idx="65230">
                  <c:v>30136</c:v>
                </c:pt>
                <c:pt idx="65231">
                  <c:v>30136</c:v>
                </c:pt>
                <c:pt idx="65232">
                  <c:v>30136</c:v>
                </c:pt>
                <c:pt idx="65233">
                  <c:v>30136</c:v>
                </c:pt>
                <c:pt idx="65234">
                  <c:v>30136</c:v>
                </c:pt>
                <c:pt idx="65235">
                  <c:v>30135</c:v>
                </c:pt>
                <c:pt idx="65236">
                  <c:v>30134</c:v>
                </c:pt>
                <c:pt idx="65237">
                  <c:v>30134</c:v>
                </c:pt>
                <c:pt idx="65238">
                  <c:v>30134</c:v>
                </c:pt>
                <c:pt idx="65239">
                  <c:v>30132</c:v>
                </c:pt>
                <c:pt idx="65240">
                  <c:v>30132</c:v>
                </c:pt>
                <c:pt idx="65241">
                  <c:v>30131</c:v>
                </c:pt>
                <c:pt idx="65242">
                  <c:v>30131</c:v>
                </c:pt>
                <c:pt idx="65243">
                  <c:v>30131</c:v>
                </c:pt>
                <c:pt idx="65244">
                  <c:v>30131</c:v>
                </c:pt>
                <c:pt idx="65245">
                  <c:v>30130</c:v>
                </c:pt>
                <c:pt idx="65246">
                  <c:v>30130</c:v>
                </c:pt>
                <c:pt idx="65247">
                  <c:v>30130</c:v>
                </c:pt>
                <c:pt idx="65248">
                  <c:v>30130</c:v>
                </c:pt>
                <c:pt idx="65249">
                  <c:v>30130</c:v>
                </c:pt>
                <c:pt idx="65250">
                  <c:v>30129</c:v>
                </c:pt>
                <c:pt idx="65251">
                  <c:v>30129</c:v>
                </c:pt>
                <c:pt idx="65252">
                  <c:v>30129</c:v>
                </c:pt>
                <c:pt idx="65253">
                  <c:v>30129</c:v>
                </c:pt>
                <c:pt idx="65254">
                  <c:v>30128</c:v>
                </c:pt>
                <c:pt idx="65255">
                  <c:v>30128</c:v>
                </c:pt>
                <c:pt idx="65256">
                  <c:v>30128</c:v>
                </c:pt>
                <c:pt idx="65257">
                  <c:v>30127</c:v>
                </c:pt>
                <c:pt idx="65258">
                  <c:v>30127</c:v>
                </c:pt>
                <c:pt idx="65259">
                  <c:v>30127</c:v>
                </c:pt>
                <c:pt idx="65260">
                  <c:v>30127</c:v>
                </c:pt>
                <c:pt idx="65261">
                  <c:v>30127</c:v>
                </c:pt>
                <c:pt idx="65262">
                  <c:v>30126</c:v>
                </c:pt>
                <c:pt idx="65263">
                  <c:v>30126</c:v>
                </c:pt>
                <c:pt idx="65264">
                  <c:v>30126</c:v>
                </c:pt>
                <c:pt idx="65265">
                  <c:v>30126</c:v>
                </c:pt>
                <c:pt idx="65266">
                  <c:v>30125</c:v>
                </c:pt>
                <c:pt idx="65267">
                  <c:v>30125</c:v>
                </c:pt>
                <c:pt idx="65268">
                  <c:v>30125</c:v>
                </c:pt>
                <c:pt idx="65269">
                  <c:v>30125</c:v>
                </c:pt>
                <c:pt idx="65270">
                  <c:v>30125</c:v>
                </c:pt>
                <c:pt idx="65271">
                  <c:v>30124</c:v>
                </c:pt>
                <c:pt idx="65272">
                  <c:v>30124</c:v>
                </c:pt>
                <c:pt idx="65273">
                  <c:v>30123</c:v>
                </c:pt>
                <c:pt idx="65274">
                  <c:v>30122</c:v>
                </c:pt>
                <c:pt idx="65275">
                  <c:v>30122</c:v>
                </c:pt>
                <c:pt idx="65276">
                  <c:v>30122</c:v>
                </c:pt>
                <c:pt idx="65277">
                  <c:v>30122</c:v>
                </c:pt>
                <c:pt idx="65278">
                  <c:v>30122</c:v>
                </c:pt>
                <c:pt idx="65279">
                  <c:v>30122</c:v>
                </c:pt>
                <c:pt idx="65280">
                  <c:v>30122</c:v>
                </c:pt>
                <c:pt idx="65281">
                  <c:v>30122</c:v>
                </c:pt>
                <c:pt idx="65282">
                  <c:v>30121</c:v>
                </c:pt>
                <c:pt idx="65283">
                  <c:v>30121</c:v>
                </c:pt>
                <c:pt idx="65284">
                  <c:v>30121</c:v>
                </c:pt>
                <c:pt idx="65285">
                  <c:v>30120</c:v>
                </c:pt>
                <c:pt idx="65286">
                  <c:v>30120</c:v>
                </c:pt>
                <c:pt idx="65287">
                  <c:v>30120</c:v>
                </c:pt>
                <c:pt idx="65288">
                  <c:v>30120</c:v>
                </c:pt>
                <c:pt idx="65289">
                  <c:v>30119</c:v>
                </c:pt>
                <c:pt idx="65290">
                  <c:v>30119</c:v>
                </c:pt>
                <c:pt idx="65291">
                  <c:v>30119</c:v>
                </c:pt>
                <c:pt idx="65292">
                  <c:v>30118</c:v>
                </c:pt>
                <c:pt idx="65293">
                  <c:v>30118</c:v>
                </c:pt>
                <c:pt idx="65294">
                  <c:v>30117</c:v>
                </c:pt>
                <c:pt idx="65295">
                  <c:v>30117</c:v>
                </c:pt>
                <c:pt idx="65296">
                  <c:v>30116</c:v>
                </c:pt>
                <c:pt idx="65297">
                  <c:v>30116</c:v>
                </c:pt>
                <c:pt idx="65298">
                  <c:v>30116</c:v>
                </c:pt>
                <c:pt idx="65299">
                  <c:v>30116</c:v>
                </c:pt>
                <c:pt idx="65300">
                  <c:v>30116</c:v>
                </c:pt>
                <c:pt idx="65301">
                  <c:v>30116</c:v>
                </c:pt>
                <c:pt idx="65302">
                  <c:v>30116</c:v>
                </c:pt>
                <c:pt idx="65303">
                  <c:v>30116</c:v>
                </c:pt>
                <c:pt idx="65304">
                  <c:v>30115</c:v>
                </c:pt>
                <c:pt idx="65305">
                  <c:v>30115</c:v>
                </c:pt>
                <c:pt idx="65306">
                  <c:v>30115</c:v>
                </c:pt>
                <c:pt idx="65307">
                  <c:v>30115</c:v>
                </c:pt>
                <c:pt idx="65308">
                  <c:v>30114</c:v>
                </c:pt>
                <c:pt idx="65309">
                  <c:v>30114</c:v>
                </c:pt>
                <c:pt idx="65310">
                  <c:v>30114</c:v>
                </c:pt>
                <c:pt idx="65311">
                  <c:v>30114</c:v>
                </c:pt>
                <c:pt idx="65312">
                  <c:v>30114</c:v>
                </c:pt>
                <c:pt idx="65313">
                  <c:v>30114</c:v>
                </c:pt>
                <c:pt idx="65314">
                  <c:v>30113</c:v>
                </c:pt>
                <c:pt idx="65315">
                  <c:v>30113</c:v>
                </c:pt>
                <c:pt idx="65316">
                  <c:v>30112</c:v>
                </c:pt>
                <c:pt idx="65317">
                  <c:v>30112</c:v>
                </c:pt>
                <c:pt idx="65318">
                  <c:v>30111</c:v>
                </c:pt>
                <c:pt idx="65319">
                  <c:v>30111</c:v>
                </c:pt>
                <c:pt idx="65320">
                  <c:v>30111</c:v>
                </c:pt>
                <c:pt idx="65321">
                  <c:v>30111</c:v>
                </c:pt>
                <c:pt idx="65322">
                  <c:v>30111</c:v>
                </c:pt>
                <c:pt idx="65323">
                  <c:v>30111</c:v>
                </c:pt>
                <c:pt idx="65324">
                  <c:v>30111</c:v>
                </c:pt>
                <c:pt idx="65325">
                  <c:v>30111</c:v>
                </c:pt>
                <c:pt idx="65326">
                  <c:v>30110</c:v>
                </c:pt>
                <c:pt idx="65327">
                  <c:v>30110</c:v>
                </c:pt>
                <c:pt idx="65328">
                  <c:v>30110</c:v>
                </c:pt>
                <c:pt idx="65329">
                  <c:v>30110</c:v>
                </c:pt>
                <c:pt idx="65330">
                  <c:v>30110</c:v>
                </c:pt>
                <c:pt idx="65331">
                  <c:v>30110</c:v>
                </c:pt>
                <c:pt idx="65332">
                  <c:v>30110</c:v>
                </c:pt>
                <c:pt idx="65333">
                  <c:v>30109</c:v>
                </c:pt>
                <c:pt idx="65334">
                  <c:v>30109</c:v>
                </c:pt>
                <c:pt idx="65335">
                  <c:v>30109</c:v>
                </c:pt>
                <c:pt idx="65336">
                  <c:v>30108</c:v>
                </c:pt>
                <c:pt idx="65337">
                  <c:v>30108</c:v>
                </c:pt>
                <c:pt idx="65338">
                  <c:v>30108</c:v>
                </c:pt>
                <c:pt idx="65339">
                  <c:v>30107</c:v>
                </c:pt>
                <c:pt idx="65340">
                  <c:v>30107</c:v>
                </c:pt>
                <c:pt idx="65341">
                  <c:v>30107</c:v>
                </c:pt>
                <c:pt idx="65342">
                  <c:v>30107</c:v>
                </c:pt>
                <c:pt idx="65343">
                  <c:v>30107</c:v>
                </c:pt>
                <c:pt idx="65344">
                  <c:v>30107</c:v>
                </c:pt>
                <c:pt idx="65345">
                  <c:v>30106</c:v>
                </c:pt>
                <c:pt idx="65346">
                  <c:v>30106</c:v>
                </c:pt>
                <c:pt idx="65347">
                  <c:v>30106</c:v>
                </c:pt>
                <c:pt idx="65348">
                  <c:v>30106</c:v>
                </c:pt>
                <c:pt idx="65349">
                  <c:v>30106</c:v>
                </c:pt>
                <c:pt idx="65350">
                  <c:v>30106</c:v>
                </c:pt>
                <c:pt idx="65351">
                  <c:v>30106</c:v>
                </c:pt>
                <c:pt idx="65352">
                  <c:v>30105</c:v>
                </c:pt>
                <c:pt idx="65353">
                  <c:v>30105</c:v>
                </c:pt>
                <c:pt idx="65354">
                  <c:v>30105</c:v>
                </c:pt>
                <c:pt idx="65355">
                  <c:v>30105</c:v>
                </c:pt>
                <c:pt idx="65356">
                  <c:v>30104</c:v>
                </c:pt>
                <c:pt idx="65357">
                  <c:v>30104</c:v>
                </c:pt>
                <c:pt idx="65358">
                  <c:v>30103</c:v>
                </c:pt>
                <c:pt idx="65359">
                  <c:v>30103</c:v>
                </c:pt>
                <c:pt idx="65360">
                  <c:v>30103</c:v>
                </c:pt>
                <c:pt idx="65361">
                  <c:v>30102</c:v>
                </c:pt>
                <c:pt idx="65362">
                  <c:v>30102</c:v>
                </c:pt>
                <c:pt idx="65363">
                  <c:v>30102</c:v>
                </c:pt>
                <c:pt idx="65364">
                  <c:v>30101</c:v>
                </c:pt>
                <c:pt idx="65365">
                  <c:v>30101</c:v>
                </c:pt>
                <c:pt idx="65366">
                  <c:v>30101</c:v>
                </c:pt>
                <c:pt idx="65367">
                  <c:v>30101</c:v>
                </c:pt>
                <c:pt idx="65368">
                  <c:v>30101</c:v>
                </c:pt>
                <c:pt idx="65369">
                  <c:v>30101</c:v>
                </c:pt>
                <c:pt idx="65370">
                  <c:v>30100</c:v>
                </c:pt>
                <c:pt idx="65371">
                  <c:v>30100</c:v>
                </c:pt>
                <c:pt idx="65372">
                  <c:v>30100</c:v>
                </c:pt>
                <c:pt idx="65373">
                  <c:v>30099</c:v>
                </c:pt>
                <c:pt idx="65374">
                  <c:v>30098</c:v>
                </c:pt>
                <c:pt idx="65375">
                  <c:v>30098</c:v>
                </c:pt>
                <c:pt idx="65376">
                  <c:v>30098</c:v>
                </c:pt>
                <c:pt idx="65377">
                  <c:v>30097</c:v>
                </c:pt>
                <c:pt idx="65378">
                  <c:v>30096</c:v>
                </c:pt>
                <c:pt idx="65379">
                  <c:v>30096</c:v>
                </c:pt>
                <c:pt idx="65380">
                  <c:v>30096</c:v>
                </c:pt>
                <c:pt idx="65381">
                  <c:v>30096</c:v>
                </c:pt>
                <c:pt idx="65382">
                  <c:v>30095</c:v>
                </c:pt>
                <c:pt idx="65383">
                  <c:v>30095</c:v>
                </c:pt>
                <c:pt idx="65384">
                  <c:v>30095</c:v>
                </c:pt>
                <c:pt idx="65385">
                  <c:v>30095</c:v>
                </c:pt>
                <c:pt idx="65386">
                  <c:v>30095</c:v>
                </c:pt>
                <c:pt idx="65387">
                  <c:v>30095</c:v>
                </c:pt>
                <c:pt idx="65388">
                  <c:v>30095</c:v>
                </c:pt>
                <c:pt idx="65389">
                  <c:v>30094</c:v>
                </c:pt>
                <c:pt idx="65390">
                  <c:v>30094</c:v>
                </c:pt>
                <c:pt idx="65391">
                  <c:v>30094</c:v>
                </c:pt>
                <c:pt idx="65392">
                  <c:v>30094</c:v>
                </c:pt>
                <c:pt idx="65393">
                  <c:v>30094</c:v>
                </c:pt>
                <c:pt idx="65394">
                  <c:v>30094</c:v>
                </c:pt>
                <c:pt idx="65395">
                  <c:v>30094</c:v>
                </c:pt>
                <c:pt idx="65396">
                  <c:v>30093</c:v>
                </c:pt>
                <c:pt idx="65397">
                  <c:v>30093</c:v>
                </c:pt>
                <c:pt idx="65398">
                  <c:v>30093</c:v>
                </c:pt>
                <c:pt idx="65399">
                  <c:v>30093</c:v>
                </c:pt>
                <c:pt idx="65400">
                  <c:v>30092</c:v>
                </c:pt>
                <c:pt idx="65401">
                  <c:v>30092</c:v>
                </c:pt>
                <c:pt idx="65402">
                  <c:v>30092</c:v>
                </c:pt>
                <c:pt idx="65403">
                  <c:v>30092</c:v>
                </c:pt>
                <c:pt idx="65404">
                  <c:v>30092</c:v>
                </c:pt>
                <c:pt idx="65405">
                  <c:v>30092</c:v>
                </c:pt>
                <c:pt idx="65406">
                  <c:v>30092</c:v>
                </c:pt>
                <c:pt idx="65407">
                  <c:v>30092</c:v>
                </c:pt>
                <c:pt idx="65408">
                  <c:v>30091</c:v>
                </c:pt>
                <c:pt idx="65409">
                  <c:v>30091</c:v>
                </c:pt>
                <c:pt idx="65410">
                  <c:v>30091</c:v>
                </c:pt>
                <c:pt idx="65411">
                  <c:v>30090</c:v>
                </c:pt>
                <c:pt idx="65412">
                  <c:v>30090</c:v>
                </c:pt>
                <c:pt idx="65413">
                  <c:v>30090</c:v>
                </c:pt>
                <c:pt idx="65414">
                  <c:v>30090</c:v>
                </c:pt>
                <c:pt idx="65415">
                  <c:v>30089</c:v>
                </c:pt>
                <c:pt idx="65416">
                  <c:v>30089</c:v>
                </c:pt>
                <c:pt idx="65417">
                  <c:v>30088</c:v>
                </c:pt>
                <c:pt idx="65418">
                  <c:v>30088</c:v>
                </c:pt>
                <c:pt idx="65419">
                  <c:v>30088</c:v>
                </c:pt>
                <c:pt idx="65420">
                  <c:v>30087</c:v>
                </c:pt>
                <c:pt idx="65421">
                  <c:v>30087</c:v>
                </c:pt>
                <c:pt idx="65422">
                  <c:v>30087</c:v>
                </c:pt>
                <c:pt idx="65423">
                  <c:v>30087</c:v>
                </c:pt>
                <c:pt idx="65424">
                  <c:v>30087</c:v>
                </c:pt>
                <c:pt idx="65425">
                  <c:v>30086</c:v>
                </c:pt>
                <c:pt idx="65426">
                  <c:v>30085</c:v>
                </c:pt>
                <c:pt idx="65427">
                  <c:v>30085</c:v>
                </c:pt>
                <c:pt idx="65428">
                  <c:v>30084</c:v>
                </c:pt>
                <c:pt idx="65429">
                  <c:v>30084</c:v>
                </c:pt>
                <c:pt idx="65430">
                  <c:v>30083</c:v>
                </c:pt>
                <c:pt idx="65431">
                  <c:v>30083</c:v>
                </c:pt>
                <c:pt idx="65432">
                  <c:v>30083</c:v>
                </c:pt>
                <c:pt idx="65433">
                  <c:v>30083</c:v>
                </c:pt>
                <c:pt idx="65434">
                  <c:v>30083</c:v>
                </c:pt>
                <c:pt idx="65435">
                  <c:v>30083</c:v>
                </c:pt>
                <c:pt idx="65436">
                  <c:v>30082</c:v>
                </c:pt>
                <c:pt idx="65437">
                  <c:v>30081</c:v>
                </c:pt>
                <c:pt idx="65438">
                  <c:v>30081</c:v>
                </c:pt>
                <c:pt idx="65439">
                  <c:v>30081</c:v>
                </c:pt>
                <c:pt idx="65440">
                  <c:v>30081</c:v>
                </c:pt>
                <c:pt idx="65441">
                  <c:v>30080</c:v>
                </c:pt>
                <c:pt idx="65442">
                  <c:v>30080</c:v>
                </c:pt>
                <c:pt idx="65443">
                  <c:v>30080</c:v>
                </c:pt>
                <c:pt idx="65444">
                  <c:v>30080</c:v>
                </c:pt>
                <c:pt idx="65445">
                  <c:v>30079</c:v>
                </c:pt>
                <c:pt idx="65446">
                  <c:v>30078</c:v>
                </c:pt>
                <c:pt idx="65447">
                  <c:v>30078</c:v>
                </c:pt>
                <c:pt idx="65448">
                  <c:v>30078</c:v>
                </c:pt>
                <c:pt idx="65449">
                  <c:v>30078</c:v>
                </c:pt>
                <c:pt idx="65450">
                  <c:v>30078</c:v>
                </c:pt>
                <c:pt idx="65451">
                  <c:v>30077</c:v>
                </c:pt>
                <c:pt idx="65452">
                  <c:v>30077</c:v>
                </c:pt>
                <c:pt idx="65453">
                  <c:v>30077</c:v>
                </c:pt>
                <c:pt idx="65454">
                  <c:v>30077</c:v>
                </c:pt>
                <c:pt idx="65455">
                  <c:v>30077</c:v>
                </c:pt>
                <c:pt idx="65456">
                  <c:v>30076</c:v>
                </c:pt>
                <c:pt idx="65457">
                  <c:v>30076</c:v>
                </c:pt>
                <c:pt idx="65458">
                  <c:v>30076</c:v>
                </c:pt>
                <c:pt idx="65459">
                  <c:v>30076</c:v>
                </c:pt>
                <c:pt idx="65460">
                  <c:v>30076</c:v>
                </c:pt>
                <c:pt idx="65461">
                  <c:v>30076</c:v>
                </c:pt>
                <c:pt idx="65462">
                  <c:v>30076</c:v>
                </c:pt>
                <c:pt idx="65463">
                  <c:v>30075</c:v>
                </c:pt>
                <c:pt idx="65464">
                  <c:v>30075</c:v>
                </c:pt>
                <c:pt idx="65465">
                  <c:v>30075</c:v>
                </c:pt>
                <c:pt idx="65466">
                  <c:v>30075</c:v>
                </c:pt>
                <c:pt idx="65467">
                  <c:v>30075</c:v>
                </c:pt>
                <c:pt idx="65468">
                  <c:v>30075</c:v>
                </c:pt>
                <c:pt idx="65469">
                  <c:v>30075</c:v>
                </c:pt>
                <c:pt idx="65470">
                  <c:v>30075</c:v>
                </c:pt>
                <c:pt idx="65471">
                  <c:v>30075</c:v>
                </c:pt>
                <c:pt idx="65472">
                  <c:v>30075</c:v>
                </c:pt>
                <c:pt idx="65473">
                  <c:v>30074</c:v>
                </c:pt>
                <c:pt idx="65474">
                  <c:v>30074</c:v>
                </c:pt>
                <c:pt idx="65475">
                  <c:v>30074</c:v>
                </c:pt>
                <c:pt idx="65476">
                  <c:v>30074</c:v>
                </c:pt>
                <c:pt idx="65477">
                  <c:v>30074</c:v>
                </c:pt>
                <c:pt idx="65478">
                  <c:v>30074</c:v>
                </c:pt>
                <c:pt idx="65479">
                  <c:v>30074</c:v>
                </c:pt>
                <c:pt idx="65480">
                  <c:v>30074</c:v>
                </c:pt>
                <c:pt idx="65481">
                  <c:v>30073</c:v>
                </c:pt>
                <c:pt idx="65482">
                  <c:v>30073</c:v>
                </c:pt>
                <c:pt idx="65483">
                  <c:v>30073</c:v>
                </c:pt>
                <c:pt idx="65484">
                  <c:v>30072</c:v>
                </c:pt>
                <c:pt idx="65485">
                  <c:v>30072</c:v>
                </c:pt>
                <c:pt idx="65486">
                  <c:v>30072</c:v>
                </c:pt>
                <c:pt idx="65487">
                  <c:v>30072</c:v>
                </c:pt>
                <c:pt idx="65488">
                  <c:v>30072</c:v>
                </c:pt>
                <c:pt idx="65489">
                  <c:v>30072</c:v>
                </c:pt>
                <c:pt idx="65490">
                  <c:v>30072</c:v>
                </c:pt>
                <c:pt idx="65491">
                  <c:v>30072</c:v>
                </c:pt>
                <c:pt idx="65492">
                  <c:v>30071</c:v>
                </c:pt>
                <c:pt idx="65493">
                  <c:v>30071</c:v>
                </c:pt>
                <c:pt idx="65494">
                  <c:v>30070</c:v>
                </c:pt>
                <c:pt idx="65495">
                  <c:v>30070</c:v>
                </c:pt>
                <c:pt idx="65496">
                  <c:v>30070</c:v>
                </c:pt>
                <c:pt idx="65497">
                  <c:v>30070</c:v>
                </c:pt>
                <c:pt idx="65498">
                  <c:v>30069</c:v>
                </c:pt>
                <c:pt idx="65499">
                  <c:v>30069</c:v>
                </c:pt>
                <c:pt idx="65500">
                  <c:v>30069</c:v>
                </c:pt>
                <c:pt idx="65501">
                  <c:v>30069</c:v>
                </c:pt>
                <c:pt idx="65502">
                  <c:v>30069</c:v>
                </c:pt>
                <c:pt idx="65503">
                  <c:v>30068</c:v>
                </c:pt>
                <c:pt idx="65504">
                  <c:v>30068</c:v>
                </c:pt>
                <c:pt idx="65505">
                  <c:v>30068</c:v>
                </c:pt>
                <c:pt idx="65506">
                  <c:v>30068</c:v>
                </c:pt>
                <c:pt idx="65507">
                  <c:v>30067</c:v>
                </c:pt>
                <c:pt idx="65508">
                  <c:v>30067</c:v>
                </c:pt>
                <c:pt idx="65509">
                  <c:v>30067</c:v>
                </c:pt>
                <c:pt idx="65510">
                  <c:v>30067</c:v>
                </c:pt>
                <c:pt idx="65511">
                  <c:v>30066</c:v>
                </c:pt>
                <c:pt idx="65512">
                  <c:v>30066</c:v>
                </c:pt>
                <c:pt idx="65513">
                  <c:v>30066</c:v>
                </c:pt>
                <c:pt idx="65514">
                  <c:v>30066</c:v>
                </c:pt>
                <c:pt idx="65515">
                  <c:v>30066</c:v>
                </c:pt>
                <c:pt idx="65516">
                  <c:v>30066</c:v>
                </c:pt>
                <c:pt idx="65517">
                  <c:v>30065</c:v>
                </c:pt>
                <c:pt idx="65518">
                  <c:v>30065</c:v>
                </c:pt>
                <c:pt idx="65519">
                  <c:v>30065</c:v>
                </c:pt>
                <c:pt idx="65520">
                  <c:v>30065</c:v>
                </c:pt>
                <c:pt idx="65521">
                  <c:v>30064</c:v>
                </c:pt>
                <c:pt idx="65522">
                  <c:v>30064</c:v>
                </c:pt>
                <c:pt idx="65523">
                  <c:v>30064</c:v>
                </c:pt>
                <c:pt idx="65524">
                  <c:v>30064</c:v>
                </c:pt>
                <c:pt idx="65525">
                  <c:v>30064</c:v>
                </c:pt>
                <c:pt idx="65526">
                  <c:v>30064</c:v>
                </c:pt>
                <c:pt idx="65527">
                  <c:v>30063</c:v>
                </c:pt>
                <c:pt idx="65528">
                  <c:v>30063</c:v>
                </c:pt>
                <c:pt idx="65529">
                  <c:v>30063</c:v>
                </c:pt>
                <c:pt idx="65530">
                  <c:v>30063</c:v>
                </c:pt>
                <c:pt idx="65531">
                  <c:v>30063</c:v>
                </c:pt>
                <c:pt idx="65532">
                  <c:v>30063</c:v>
                </c:pt>
                <c:pt idx="65533">
                  <c:v>30063</c:v>
                </c:pt>
                <c:pt idx="65534">
                  <c:v>30063</c:v>
                </c:pt>
                <c:pt idx="65535">
                  <c:v>30063</c:v>
                </c:pt>
                <c:pt idx="65536">
                  <c:v>30062</c:v>
                </c:pt>
                <c:pt idx="65537">
                  <c:v>30062</c:v>
                </c:pt>
                <c:pt idx="65538">
                  <c:v>30062</c:v>
                </c:pt>
                <c:pt idx="65539">
                  <c:v>30062</c:v>
                </c:pt>
                <c:pt idx="65540">
                  <c:v>30061</c:v>
                </c:pt>
                <c:pt idx="65541">
                  <c:v>30061</c:v>
                </c:pt>
                <c:pt idx="65542">
                  <c:v>30061</c:v>
                </c:pt>
                <c:pt idx="65543">
                  <c:v>30061</c:v>
                </c:pt>
                <c:pt idx="65544">
                  <c:v>30061</c:v>
                </c:pt>
                <c:pt idx="65545">
                  <c:v>30061</c:v>
                </c:pt>
                <c:pt idx="65546">
                  <c:v>30061</c:v>
                </c:pt>
                <c:pt idx="65547">
                  <c:v>30061</c:v>
                </c:pt>
                <c:pt idx="65548">
                  <c:v>30060</c:v>
                </c:pt>
                <c:pt idx="65549">
                  <c:v>30060</c:v>
                </c:pt>
                <c:pt idx="65550">
                  <c:v>30059</c:v>
                </c:pt>
                <c:pt idx="65551">
                  <c:v>30059</c:v>
                </c:pt>
                <c:pt idx="65552">
                  <c:v>30059</c:v>
                </c:pt>
                <c:pt idx="65553">
                  <c:v>30058</c:v>
                </c:pt>
                <c:pt idx="65554">
                  <c:v>30058</c:v>
                </c:pt>
                <c:pt idx="65555">
                  <c:v>30058</c:v>
                </c:pt>
                <c:pt idx="65556">
                  <c:v>30057</c:v>
                </c:pt>
                <c:pt idx="65557">
                  <c:v>30057</c:v>
                </c:pt>
                <c:pt idx="65558">
                  <c:v>30057</c:v>
                </c:pt>
                <c:pt idx="65559">
                  <c:v>30057</c:v>
                </c:pt>
                <c:pt idx="65560">
                  <c:v>30057</c:v>
                </c:pt>
                <c:pt idx="65561">
                  <c:v>30057</c:v>
                </c:pt>
                <c:pt idx="65562">
                  <c:v>30056</c:v>
                </c:pt>
                <c:pt idx="65563">
                  <c:v>30056</c:v>
                </c:pt>
                <c:pt idx="65564">
                  <c:v>30056</c:v>
                </c:pt>
                <c:pt idx="65565">
                  <c:v>30056</c:v>
                </c:pt>
                <c:pt idx="65566">
                  <c:v>30056</c:v>
                </c:pt>
                <c:pt idx="65567">
                  <c:v>30055</c:v>
                </c:pt>
                <c:pt idx="65568">
                  <c:v>30055</c:v>
                </c:pt>
                <c:pt idx="65569">
                  <c:v>30055</c:v>
                </c:pt>
                <c:pt idx="65570">
                  <c:v>30055</c:v>
                </c:pt>
                <c:pt idx="65571">
                  <c:v>30055</c:v>
                </c:pt>
                <c:pt idx="65572">
                  <c:v>30054</c:v>
                </c:pt>
                <c:pt idx="65573">
                  <c:v>30054</c:v>
                </c:pt>
                <c:pt idx="65574">
                  <c:v>30054</c:v>
                </c:pt>
                <c:pt idx="65575">
                  <c:v>30053</c:v>
                </c:pt>
                <c:pt idx="65576">
                  <c:v>30053</c:v>
                </c:pt>
                <c:pt idx="65577">
                  <c:v>30053</c:v>
                </c:pt>
                <c:pt idx="65578">
                  <c:v>30053</c:v>
                </c:pt>
                <c:pt idx="65579">
                  <c:v>30052</c:v>
                </c:pt>
                <c:pt idx="65580">
                  <c:v>30051</c:v>
                </c:pt>
                <c:pt idx="65581">
                  <c:v>30051</c:v>
                </c:pt>
                <c:pt idx="65582">
                  <c:v>30050</c:v>
                </c:pt>
                <c:pt idx="65583">
                  <c:v>30050</c:v>
                </c:pt>
                <c:pt idx="65584">
                  <c:v>30050</c:v>
                </c:pt>
                <c:pt idx="65585">
                  <c:v>30050</c:v>
                </c:pt>
                <c:pt idx="65586">
                  <c:v>30049</c:v>
                </c:pt>
                <c:pt idx="65587">
                  <c:v>30049</c:v>
                </c:pt>
                <c:pt idx="65588">
                  <c:v>30049</c:v>
                </c:pt>
                <c:pt idx="65589">
                  <c:v>30049</c:v>
                </c:pt>
                <c:pt idx="65590">
                  <c:v>30049</c:v>
                </c:pt>
                <c:pt idx="65591">
                  <c:v>30048</c:v>
                </c:pt>
                <c:pt idx="65592">
                  <c:v>30047</c:v>
                </c:pt>
                <c:pt idx="65593">
                  <c:v>30047</c:v>
                </c:pt>
                <c:pt idx="65594">
                  <c:v>30047</c:v>
                </c:pt>
                <c:pt idx="65595">
                  <c:v>30047</c:v>
                </c:pt>
                <c:pt idx="65596">
                  <c:v>30047</c:v>
                </c:pt>
                <c:pt idx="65597">
                  <c:v>30046</c:v>
                </c:pt>
                <c:pt idx="65598">
                  <c:v>30045</c:v>
                </c:pt>
                <c:pt idx="65599">
                  <c:v>30045</c:v>
                </c:pt>
                <c:pt idx="65600">
                  <c:v>30045</c:v>
                </c:pt>
                <c:pt idx="65601">
                  <c:v>30045</c:v>
                </c:pt>
                <c:pt idx="65602">
                  <c:v>30045</c:v>
                </c:pt>
                <c:pt idx="65603">
                  <c:v>30044</c:v>
                </c:pt>
                <c:pt idx="65604">
                  <c:v>30044</c:v>
                </c:pt>
                <c:pt idx="65605">
                  <c:v>30044</c:v>
                </c:pt>
                <c:pt idx="65606">
                  <c:v>30043</c:v>
                </c:pt>
                <c:pt idx="65607">
                  <c:v>30041</c:v>
                </c:pt>
                <c:pt idx="65608">
                  <c:v>30041</c:v>
                </c:pt>
                <c:pt idx="65609">
                  <c:v>30041</c:v>
                </c:pt>
                <c:pt idx="65610">
                  <c:v>30040</c:v>
                </c:pt>
                <c:pt idx="65611">
                  <c:v>30040</c:v>
                </c:pt>
                <c:pt idx="65612">
                  <c:v>30040</c:v>
                </c:pt>
                <c:pt idx="65613">
                  <c:v>30039</c:v>
                </c:pt>
                <c:pt idx="65614">
                  <c:v>30038</c:v>
                </c:pt>
                <c:pt idx="65615">
                  <c:v>30038</c:v>
                </c:pt>
                <c:pt idx="65616">
                  <c:v>30038</c:v>
                </c:pt>
                <c:pt idx="65617">
                  <c:v>30037</c:v>
                </c:pt>
                <c:pt idx="65618">
                  <c:v>30037</c:v>
                </c:pt>
                <c:pt idx="65619">
                  <c:v>30036</c:v>
                </c:pt>
                <c:pt idx="65620">
                  <c:v>30036</c:v>
                </c:pt>
                <c:pt idx="65621">
                  <c:v>30036</c:v>
                </c:pt>
                <c:pt idx="65622">
                  <c:v>30036</c:v>
                </c:pt>
                <c:pt idx="65623">
                  <c:v>30034</c:v>
                </c:pt>
                <c:pt idx="65624">
                  <c:v>30034</c:v>
                </c:pt>
                <c:pt idx="65625">
                  <c:v>30034</c:v>
                </c:pt>
                <c:pt idx="65626">
                  <c:v>30034</c:v>
                </c:pt>
                <c:pt idx="65627">
                  <c:v>30034</c:v>
                </c:pt>
                <c:pt idx="65628">
                  <c:v>30034</c:v>
                </c:pt>
                <c:pt idx="65629">
                  <c:v>30034</c:v>
                </c:pt>
                <c:pt idx="65630">
                  <c:v>30033</c:v>
                </c:pt>
                <c:pt idx="65631">
                  <c:v>30033</c:v>
                </c:pt>
                <c:pt idx="65632">
                  <c:v>30033</c:v>
                </c:pt>
                <c:pt idx="65633">
                  <c:v>30033</c:v>
                </c:pt>
                <c:pt idx="65634">
                  <c:v>30033</c:v>
                </c:pt>
                <c:pt idx="65635">
                  <c:v>30032</c:v>
                </c:pt>
                <c:pt idx="65636">
                  <c:v>30032</c:v>
                </c:pt>
                <c:pt idx="65637">
                  <c:v>30032</c:v>
                </c:pt>
                <c:pt idx="65638">
                  <c:v>30032</c:v>
                </c:pt>
                <c:pt idx="65639">
                  <c:v>30031</c:v>
                </c:pt>
                <c:pt idx="65640">
                  <c:v>30031</c:v>
                </c:pt>
                <c:pt idx="65641">
                  <c:v>30031</c:v>
                </c:pt>
                <c:pt idx="65642">
                  <c:v>30031</c:v>
                </c:pt>
                <c:pt idx="65643">
                  <c:v>30030</c:v>
                </c:pt>
                <c:pt idx="65644">
                  <c:v>30030</c:v>
                </c:pt>
                <c:pt idx="65645">
                  <c:v>30029</c:v>
                </c:pt>
                <c:pt idx="65646">
                  <c:v>30029</c:v>
                </c:pt>
                <c:pt idx="65647">
                  <c:v>30029</c:v>
                </c:pt>
                <c:pt idx="65648">
                  <c:v>30028</c:v>
                </c:pt>
                <c:pt idx="65649">
                  <c:v>30028</c:v>
                </c:pt>
                <c:pt idx="65650">
                  <c:v>30028</c:v>
                </c:pt>
                <c:pt idx="65651">
                  <c:v>30027</c:v>
                </c:pt>
                <c:pt idx="65652">
                  <c:v>30027</c:v>
                </c:pt>
                <c:pt idx="65653">
                  <c:v>30026</c:v>
                </c:pt>
                <c:pt idx="65654">
                  <c:v>30025</c:v>
                </c:pt>
                <c:pt idx="65655">
                  <c:v>30024</c:v>
                </c:pt>
                <c:pt idx="65656">
                  <c:v>30024</c:v>
                </c:pt>
                <c:pt idx="65657">
                  <c:v>30024</c:v>
                </c:pt>
                <c:pt idx="65658">
                  <c:v>30024</c:v>
                </c:pt>
                <c:pt idx="65659">
                  <c:v>30024</c:v>
                </c:pt>
                <c:pt idx="65660">
                  <c:v>30024</c:v>
                </c:pt>
                <c:pt idx="65661">
                  <c:v>30023</c:v>
                </c:pt>
                <c:pt idx="65662">
                  <c:v>30023</c:v>
                </c:pt>
                <c:pt idx="65663">
                  <c:v>30023</c:v>
                </c:pt>
                <c:pt idx="65664">
                  <c:v>30022</c:v>
                </c:pt>
                <c:pt idx="65665">
                  <c:v>30022</c:v>
                </c:pt>
                <c:pt idx="65666">
                  <c:v>30021</c:v>
                </c:pt>
                <c:pt idx="65667">
                  <c:v>30021</c:v>
                </c:pt>
                <c:pt idx="65668">
                  <c:v>30021</c:v>
                </c:pt>
                <c:pt idx="65669">
                  <c:v>30021</c:v>
                </c:pt>
                <c:pt idx="65670">
                  <c:v>30021</c:v>
                </c:pt>
                <c:pt idx="65671">
                  <c:v>30020</c:v>
                </c:pt>
                <c:pt idx="65672">
                  <c:v>30020</c:v>
                </c:pt>
                <c:pt idx="65673">
                  <c:v>30020</c:v>
                </c:pt>
                <c:pt idx="65674">
                  <c:v>30019</c:v>
                </c:pt>
                <c:pt idx="65675">
                  <c:v>30019</c:v>
                </c:pt>
                <c:pt idx="65676">
                  <c:v>30019</c:v>
                </c:pt>
                <c:pt idx="65677">
                  <c:v>30019</c:v>
                </c:pt>
                <c:pt idx="65678">
                  <c:v>30019</c:v>
                </c:pt>
                <c:pt idx="65679">
                  <c:v>30018</c:v>
                </c:pt>
                <c:pt idx="65680">
                  <c:v>30018</c:v>
                </c:pt>
                <c:pt idx="65681">
                  <c:v>30018</c:v>
                </c:pt>
                <c:pt idx="65682">
                  <c:v>30018</c:v>
                </c:pt>
                <c:pt idx="65683">
                  <c:v>30018</c:v>
                </c:pt>
                <c:pt idx="65684">
                  <c:v>30018</c:v>
                </c:pt>
                <c:pt idx="65685">
                  <c:v>30017</c:v>
                </c:pt>
                <c:pt idx="65686">
                  <c:v>30017</c:v>
                </c:pt>
                <c:pt idx="65687">
                  <c:v>30017</c:v>
                </c:pt>
                <c:pt idx="65688">
                  <c:v>30017</c:v>
                </c:pt>
                <c:pt idx="65689">
                  <c:v>30017</c:v>
                </c:pt>
                <c:pt idx="65690">
                  <c:v>30017</c:v>
                </c:pt>
                <c:pt idx="65691">
                  <c:v>30016</c:v>
                </c:pt>
                <c:pt idx="65692">
                  <c:v>30016</c:v>
                </c:pt>
                <c:pt idx="65693">
                  <c:v>30016</c:v>
                </c:pt>
                <c:pt idx="65694">
                  <c:v>30015</c:v>
                </c:pt>
                <c:pt idx="65695">
                  <c:v>30015</c:v>
                </c:pt>
                <c:pt idx="65696">
                  <c:v>30015</c:v>
                </c:pt>
                <c:pt idx="65697">
                  <c:v>30015</c:v>
                </c:pt>
                <c:pt idx="65698">
                  <c:v>30014</c:v>
                </c:pt>
                <c:pt idx="65699">
                  <c:v>30014</c:v>
                </c:pt>
                <c:pt idx="65700">
                  <c:v>30014</c:v>
                </c:pt>
                <c:pt idx="65701">
                  <c:v>30013</c:v>
                </c:pt>
                <c:pt idx="65702">
                  <c:v>30013</c:v>
                </c:pt>
                <c:pt idx="65703">
                  <c:v>30013</c:v>
                </c:pt>
                <c:pt idx="65704">
                  <c:v>30013</c:v>
                </c:pt>
                <c:pt idx="65705">
                  <c:v>30013</c:v>
                </c:pt>
                <c:pt idx="65706">
                  <c:v>30012</c:v>
                </c:pt>
                <c:pt idx="65707">
                  <c:v>30012</c:v>
                </c:pt>
                <c:pt idx="65708">
                  <c:v>30011</c:v>
                </c:pt>
                <c:pt idx="65709">
                  <c:v>30011</c:v>
                </c:pt>
                <c:pt idx="65710">
                  <c:v>30010</c:v>
                </c:pt>
                <c:pt idx="65711">
                  <c:v>30010</c:v>
                </c:pt>
                <c:pt idx="65712">
                  <c:v>30010</c:v>
                </c:pt>
                <c:pt idx="65713">
                  <c:v>30010</c:v>
                </c:pt>
                <c:pt idx="65714">
                  <c:v>30009</c:v>
                </c:pt>
                <c:pt idx="65715">
                  <c:v>30009</c:v>
                </c:pt>
                <c:pt idx="65716">
                  <c:v>30009</c:v>
                </c:pt>
                <c:pt idx="65717">
                  <c:v>30009</c:v>
                </c:pt>
                <c:pt idx="65718">
                  <c:v>30008</c:v>
                </c:pt>
                <c:pt idx="65719">
                  <c:v>30008</c:v>
                </c:pt>
                <c:pt idx="65720">
                  <c:v>30007</c:v>
                </c:pt>
                <c:pt idx="65721">
                  <c:v>30007</c:v>
                </c:pt>
                <c:pt idx="65722">
                  <c:v>30007</c:v>
                </c:pt>
                <c:pt idx="65723">
                  <c:v>30007</c:v>
                </c:pt>
                <c:pt idx="65724">
                  <c:v>30006</c:v>
                </c:pt>
                <c:pt idx="65725">
                  <c:v>30006</c:v>
                </c:pt>
                <c:pt idx="65726">
                  <c:v>30006</c:v>
                </c:pt>
                <c:pt idx="65727">
                  <c:v>30006</c:v>
                </c:pt>
                <c:pt idx="65728">
                  <c:v>30006</c:v>
                </c:pt>
                <c:pt idx="65729">
                  <c:v>30005</c:v>
                </c:pt>
                <c:pt idx="65730">
                  <c:v>30005</c:v>
                </c:pt>
                <c:pt idx="65731">
                  <c:v>30005</c:v>
                </c:pt>
                <c:pt idx="65732">
                  <c:v>30004</c:v>
                </c:pt>
                <c:pt idx="65733">
                  <c:v>30004</c:v>
                </c:pt>
                <c:pt idx="65734">
                  <c:v>30003</c:v>
                </c:pt>
                <c:pt idx="65735">
                  <c:v>30003</c:v>
                </c:pt>
                <c:pt idx="65736">
                  <c:v>30003</c:v>
                </c:pt>
                <c:pt idx="65737">
                  <c:v>30003</c:v>
                </c:pt>
                <c:pt idx="65738">
                  <c:v>30003</c:v>
                </c:pt>
                <c:pt idx="65739">
                  <c:v>30002</c:v>
                </c:pt>
                <c:pt idx="65740">
                  <c:v>30002</c:v>
                </c:pt>
                <c:pt idx="65741">
                  <c:v>30002</c:v>
                </c:pt>
                <c:pt idx="65742">
                  <c:v>30002</c:v>
                </c:pt>
                <c:pt idx="65743">
                  <c:v>30001</c:v>
                </c:pt>
                <c:pt idx="65744">
                  <c:v>30001</c:v>
                </c:pt>
                <c:pt idx="65745">
                  <c:v>30001</c:v>
                </c:pt>
                <c:pt idx="65746">
                  <c:v>30001</c:v>
                </c:pt>
                <c:pt idx="65747">
                  <c:v>30001</c:v>
                </c:pt>
                <c:pt idx="65748">
                  <c:v>30000</c:v>
                </c:pt>
                <c:pt idx="65749">
                  <c:v>29999</c:v>
                </c:pt>
                <c:pt idx="65750">
                  <c:v>29999</c:v>
                </c:pt>
                <c:pt idx="65751">
                  <c:v>29998</c:v>
                </c:pt>
                <c:pt idx="65752">
                  <c:v>29998</c:v>
                </c:pt>
                <c:pt idx="65753">
                  <c:v>29998</c:v>
                </c:pt>
                <c:pt idx="65754">
                  <c:v>29998</c:v>
                </c:pt>
                <c:pt idx="65755">
                  <c:v>29998</c:v>
                </c:pt>
                <c:pt idx="65756">
                  <c:v>29998</c:v>
                </c:pt>
                <c:pt idx="65757">
                  <c:v>29998</c:v>
                </c:pt>
                <c:pt idx="65758">
                  <c:v>29998</c:v>
                </c:pt>
                <c:pt idx="65759">
                  <c:v>29997</c:v>
                </c:pt>
                <c:pt idx="65760">
                  <c:v>29997</c:v>
                </c:pt>
                <c:pt idx="65761">
                  <c:v>29997</c:v>
                </c:pt>
                <c:pt idx="65762">
                  <c:v>29997</c:v>
                </c:pt>
                <c:pt idx="65763">
                  <c:v>29997</c:v>
                </c:pt>
                <c:pt idx="65764">
                  <c:v>29997</c:v>
                </c:pt>
                <c:pt idx="65765">
                  <c:v>29996</c:v>
                </c:pt>
                <c:pt idx="65766">
                  <c:v>29996</c:v>
                </c:pt>
                <c:pt idx="65767">
                  <c:v>29996</c:v>
                </c:pt>
                <c:pt idx="65768">
                  <c:v>29995</c:v>
                </c:pt>
                <c:pt idx="65769">
                  <c:v>29994</c:v>
                </c:pt>
                <c:pt idx="65770">
                  <c:v>29994</c:v>
                </c:pt>
                <c:pt idx="65771">
                  <c:v>29994</c:v>
                </c:pt>
                <c:pt idx="65772">
                  <c:v>29994</c:v>
                </c:pt>
                <c:pt idx="65773">
                  <c:v>29994</c:v>
                </c:pt>
                <c:pt idx="65774">
                  <c:v>29993</c:v>
                </c:pt>
                <c:pt idx="65775">
                  <c:v>29992</c:v>
                </c:pt>
                <c:pt idx="65776">
                  <c:v>29992</c:v>
                </c:pt>
                <c:pt idx="65777">
                  <c:v>29992</c:v>
                </c:pt>
                <c:pt idx="65778">
                  <c:v>29992</c:v>
                </c:pt>
                <c:pt idx="65779">
                  <c:v>29991</c:v>
                </c:pt>
                <c:pt idx="65780">
                  <c:v>29991</c:v>
                </c:pt>
                <c:pt idx="65781">
                  <c:v>29990</c:v>
                </c:pt>
                <c:pt idx="65782">
                  <c:v>29990</c:v>
                </c:pt>
                <c:pt idx="65783">
                  <c:v>29989</c:v>
                </c:pt>
                <c:pt idx="65784">
                  <c:v>29989</c:v>
                </c:pt>
                <c:pt idx="65785">
                  <c:v>29988</c:v>
                </c:pt>
                <c:pt idx="65786">
                  <c:v>29988</c:v>
                </c:pt>
                <c:pt idx="65787">
                  <c:v>29988</c:v>
                </c:pt>
                <c:pt idx="65788">
                  <c:v>29988</c:v>
                </c:pt>
                <c:pt idx="65789">
                  <c:v>29987</c:v>
                </c:pt>
                <c:pt idx="65790">
                  <c:v>29987</c:v>
                </c:pt>
                <c:pt idx="65791">
                  <c:v>29987</c:v>
                </c:pt>
                <c:pt idx="65792">
                  <c:v>29987</c:v>
                </c:pt>
                <c:pt idx="65793">
                  <c:v>29987</c:v>
                </c:pt>
                <c:pt idx="65794">
                  <c:v>29987</c:v>
                </c:pt>
                <c:pt idx="65795">
                  <c:v>29987</c:v>
                </c:pt>
                <c:pt idx="65796">
                  <c:v>29986</c:v>
                </c:pt>
                <c:pt idx="65797">
                  <c:v>29986</c:v>
                </c:pt>
                <c:pt idx="65798">
                  <c:v>29986</c:v>
                </c:pt>
                <c:pt idx="65799">
                  <c:v>29986</c:v>
                </c:pt>
                <c:pt idx="65800">
                  <c:v>29986</c:v>
                </c:pt>
                <c:pt idx="65801">
                  <c:v>29986</c:v>
                </c:pt>
                <c:pt idx="65802">
                  <c:v>29986</c:v>
                </c:pt>
                <c:pt idx="65803">
                  <c:v>29985</c:v>
                </c:pt>
                <c:pt idx="65804">
                  <c:v>29985</c:v>
                </c:pt>
                <c:pt idx="65805">
                  <c:v>29985</c:v>
                </c:pt>
                <c:pt idx="65806">
                  <c:v>29984</c:v>
                </c:pt>
                <c:pt idx="65807">
                  <c:v>29984</c:v>
                </c:pt>
                <c:pt idx="65808">
                  <c:v>29983</c:v>
                </c:pt>
                <c:pt idx="65809">
                  <c:v>29983</c:v>
                </c:pt>
                <c:pt idx="65810">
                  <c:v>29982</c:v>
                </c:pt>
                <c:pt idx="65811">
                  <c:v>29981</c:v>
                </c:pt>
                <c:pt idx="65812">
                  <c:v>29981</c:v>
                </c:pt>
                <c:pt idx="65813">
                  <c:v>29981</c:v>
                </c:pt>
                <c:pt idx="65814">
                  <c:v>29981</c:v>
                </c:pt>
                <c:pt idx="65815">
                  <c:v>29981</c:v>
                </c:pt>
                <c:pt idx="65816">
                  <c:v>29981</c:v>
                </c:pt>
                <c:pt idx="65817">
                  <c:v>29980</c:v>
                </c:pt>
                <c:pt idx="65818">
                  <c:v>29980</c:v>
                </c:pt>
                <c:pt idx="65819">
                  <c:v>29980</c:v>
                </c:pt>
                <c:pt idx="65820">
                  <c:v>29979</c:v>
                </c:pt>
                <c:pt idx="65821">
                  <c:v>29979</c:v>
                </c:pt>
                <c:pt idx="65822">
                  <c:v>29979</c:v>
                </c:pt>
                <c:pt idx="65823">
                  <c:v>29978</c:v>
                </c:pt>
                <c:pt idx="65824">
                  <c:v>29978</c:v>
                </c:pt>
                <c:pt idx="65825">
                  <c:v>29978</c:v>
                </c:pt>
                <c:pt idx="65826">
                  <c:v>29977</c:v>
                </c:pt>
                <c:pt idx="65827">
                  <c:v>29977</c:v>
                </c:pt>
                <c:pt idx="65828">
                  <c:v>29977</c:v>
                </c:pt>
                <c:pt idx="65829">
                  <c:v>29977</c:v>
                </c:pt>
                <c:pt idx="65830">
                  <c:v>29976</c:v>
                </c:pt>
                <c:pt idx="65831">
                  <c:v>29976</c:v>
                </c:pt>
                <c:pt idx="65832">
                  <c:v>29976</c:v>
                </c:pt>
                <c:pt idx="65833">
                  <c:v>29976</c:v>
                </c:pt>
                <c:pt idx="65834">
                  <c:v>29975</c:v>
                </c:pt>
                <c:pt idx="65835">
                  <c:v>29974</c:v>
                </c:pt>
                <c:pt idx="65836">
                  <c:v>29974</c:v>
                </c:pt>
                <c:pt idx="65837">
                  <c:v>29974</c:v>
                </c:pt>
                <c:pt idx="65838">
                  <c:v>29974</c:v>
                </c:pt>
                <c:pt idx="65839">
                  <c:v>29973</c:v>
                </c:pt>
                <c:pt idx="65840">
                  <c:v>29973</c:v>
                </c:pt>
                <c:pt idx="65841">
                  <c:v>29973</c:v>
                </c:pt>
                <c:pt idx="65842">
                  <c:v>29973</c:v>
                </c:pt>
                <c:pt idx="65843">
                  <c:v>29973</c:v>
                </c:pt>
                <c:pt idx="65844">
                  <c:v>29973</c:v>
                </c:pt>
                <c:pt idx="65845">
                  <c:v>29972</c:v>
                </c:pt>
                <c:pt idx="65846">
                  <c:v>29972</c:v>
                </c:pt>
                <c:pt idx="65847">
                  <c:v>29972</c:v>
                </c:pt>
                <c:pt idx="65848">
                  <c:v>29972</c:v>
                </c:pt>
                <c:pt idx="65849">
                  <c:v>29972</c:v>
                </c:pt>
                <c:pt idx="65850">
                  <c:v>29971</c:v>
                </c:pt>
                <c:pt idx="65851">
                  <c:v>29971</c:v>
                </c:pt>
                <c:pt idx="65852">
                  <c:v>29971</c:v>
                </c:pt>
                <c:pt idx="65853">
                  <c:v>29971</c:v>
                </c:pt>
                <c:pt idx="65854">
                  <c:v>29971</c:v>
                </c:pt>
                <c:pt idx="65855">
                  <c:v>29970</c:v>
                </c:pt>
                <c:pt idx="65856">
                  <c:v>29970</c:v>
                </c:pt>
                <c:pt idx="65857">
                  <c:v>29970</c:v>
                </c:pt>
                <c:pt idx="65858">
                  <c:v>29970</c:v>
                </c:pt>
                <c:pt idx="65859">
                  <c:v>29970</c:v>
                </c:pt>
                <c:pt idx="65860">
                  <c:v>29970</c:v>
                </c:pt>
                <c:pt idx="65861">
                  <c:v>29970</c:v>
                </c:pt>
                <c:pt idx="65862">
                  <c:v>29970</c:v>
                </c:pt>
                <c:pt idx="65863">
                  <c:v>29969</c:v>
                </c:pt>
                <c:pt idx="65864">
                  <c:v>29969</c:v>
                </c:pt>
                <c:pt idx="65865">
                  <c:v>29968</c:v>
                </c:pt>
                <c:pt idx="65866">
                  <c:v>29968</c:v>
                </c:pt>
                <c:pt idx="65867">
                  <c:v>29967</c:v>
                </c:pt>
                <c:pt idx="65868">
                  <c:v>29967</c:v>
                </c:pt>
                <c:pt idx="65869">
                  <c:v>29966</c:v>
                </c:pt>
                <c:pt idx="65870">
                  <c:v>29966</c:v>
                </c:pt>
                <c:pt idx="65871">
                  <c:v>29966</c:v>
                </c:pt>
                <c:pt idx="65872">
                  <c:v>29966</c:v>
                </c:pt>
                <c:pt idx="65873">
                  <c:v>29966</c:v>
                </c:pt>
                <c:pt idx="65874">
                  <c:v>29965</c:v>
                </c:pt>
                <c:pt idx="65875">
                  <c:v>29965</c:v>
                </c:pt>
                <c:pt idx="65876">
                  <c:v>29965</c:v>
                </c:pt>
                <c:pt idx="65877">
                  <c:v>29965</c:v>
                </c:pt>
                <c:pt idx="65878">
                  <c:v>29964</c:v>
                </c:pt>
                <c:pt idx="65879">
                  <c:v>29964</c:v>
                </c:pt>
                <c:pt idx="65880">
                  <c:v>29963</c:v>
                </c:pt>
                <c:pt idx="65881">
                  <c:v>29963</c:v>
                </c:pt>
                <c:pt idx="65882">
                  <c:v>29963</c:v>
                </c:pt>
                <c:pt idx="65883">
                  <c:v>29963</c:v>
                </c:pt>
                <c:pt idx="65884">
                  <c:v>29963</c:v>
                </c:pt>
                <c:pt idx="65885">
                  <c:v>29963</c:v>
                </c:pt>
                <c:pt idx="65886">
                  <c:v>29962</c:v>
                </c:pt>
                <c:pt idx="65887">
                  <c:v>29962</c:v>
                </c:pt>
                <c:pt idx="65888">
                  <c:v>29962</c:v>
                </c:pt>
                <c:pt idx="65889">
                  <c:v>29961</c:v>
                </c:pt>
                <c:pt idx="65890">
                  <c:v>29961</c:v>
                </c:pt>
                <c:pt idx="65891">
                  <c:v>29961</c:v>
                </c:pt>
                <c:pt idx="65892">
                  <c:v>29961</c:v>
                </c:pt>
                <c:pt idx="65893">
                  <c:v>29961</c:v>
                </c:pt>
                <c:pt idx="65894">
                  <c:v>29961</c:v>
                </c:pt>
                <c:pt idx="65895">
                  <c:v>29960</c:v>
                </c:pt>
                <c:pt idx="65896">
                  <c:v>29960</c:v>
                </c:pt>
                <c:pt idx="65897">
                  <c:v>29959</c:v>
                </c:pt>
                <c:pt idx="65898">
                  <c:v>29959</c:v>
                </c:pt>
                <c:pt idx="65899">
                  <c:v>29959</c:v>
                </c:pt>
                <c:pt idx="65900">
                  <c:v>29959</c:v>
                </c:pt>
                <c:pt idx="65901">
                  <c:v>29959</c:v>
                </c:pt>
                <c:pt idx="65902">
                  <c:v>29959</c:v>
                </c:pt>
                <c:pt idx="65903">
                  <c:v>29958</c:v>
                </c:pt>
                <c:pt idx="65904">
                  <c:v>29958</c:v>
                </c:pt>
                <c:pt idx="65905">
                  <c:v>29958</c:v>
                </c:pt>
                <c:pt idx="65906">
                  <c:v>29957</c:v>
                </c:pt>
                <c:pt idx="65907">
                  <c:v>29957</c:v>
                </c:pt>
                <c:pt idx="65908">
                  <c:v>29957</c:v>
                </c:pt>
                <c:pt idx="65909">
                  <c:v>29956</c:v>
                </c:pt>
                <c:pt idx="65910">
                  <c:v>29955</c:v>
                </c:pt>
                <c:pt idx="65911">
                  <c:v>29955</c:v>
                </c:pt>
                <c:pt idx="65912">
                  <c:v>29955</c:v>
                </c:pt>
                <c:pt idx="65913">
                  <c:v>29955</c:v>
                </c:pt>
                <c:pt idx="65914">
                  <c:v>29954</c:v>
                </c:pt>
                <c:pt idx="65915">
                  <c:v>29954</c:v>
                </c:pt>
                <c:pt idx="65916">
                  <c:v>29954</c:v>
                </c:pt>
                <c:pt idx="65917">
                  <c:v>29954</c:v>
                </c:pt>
                <c:pt idx="65918">
                  <c:v>29953</c:v>
                </c:pt>
                <c:pt idx="65919">
                  <c:v>29953</c:v>
                </c:pt>
                <c:pt idx="65920">
                  <c:v>29953</c:v>
                </c:pt>
                <c:pt idx="65921">
                  <c:v>29953</c:v>
                </c:pt>
                <c:pt idx="65922">
                  <c:v>29952</c:v>
                </c:pt>
                <c:pt idx="65923">
                  <c:v>29952</c:v>
                </c:pt>
                <c:pt idx="65924">
                  <c:v>29952</c:v>
                </c:pt>
                <c:pt idx="65925">
                  <c:v>29952</c:v>
                </c:pt>
                <c:pt idx="65926">
                  <c:v>29951</c:v>
                </c:pt>
                <c:pt idx="65927">
                  <c:v>29950</c:v>
                </c:pt>
                <c:pt idx="65928">
                  <c:v>29950</c:v>
                </c:pt>
                <c:pt idx="65929">
                  <c:v>29950</c:v>
                </c:pt>
                <c:pt idx="65930">
                  <c:v>29949</c:v>
                </c:pt>
                <c:pt idx="65931">
                  <c:v>29949</c:v>
                </c:pt>
                <c:pt idx="65932">
                  <c:v>29949</c:v>
                </c:pt>
                <c:pt idx="65933">
                  <c:v>29949</c:v>
                </c:pt>
                <c:pt idx="65934">
                  <c:v>29949</c:v>
                </c:pt>
                <c:pt idx="65935">
                  <c:v>29948</c:v>
                </c:pt>
                <c:pt idx="65936">
                  <c:v>29948</c:v>
                </c:pt>
                <c:pt idx="65937">
                  <c:v>29947</c:v>
                </c:pt>
                <c:pt idx="65938">
                  <c:v>29947</c:v>
                </c:pt>
                <c:pt idx="65939">
                  <c:v>29946</c:v>
                </c:pt>
                <c:pt idx="65940">
                  <c:v>29946</c:v>
                </c:pt>
                <c:pt idx="65941">
                  <c:v>29946</c:v>
                </c:pt>
                <c:pt idx="65942">
                  <c:v>29945</c:v>
                </c:pt>
                <c:pt idx="65943">
                  <c:v>29945</c:v>
                </c:pt>
                <c:pt idx="65944">
                  <c:v>29945</c:v>
                </c:pt>
                <c:pt idx="65945">
                  <c:v>29945</c:v>
                </c:pt>
                <c:pt idx="65946">
                  <c:v>29945</c:v>
                </c:pt>
                <c:pt idx="65947">
                  <c:v>29945</c:v>
                </c:pt>
                <c:pt idx="65948">
                  <c:v>29944</c:v>
                </c:pt>
                <c:pt idx="65949">
                  <c:v>29944</c:v>
                </c:pt>
                <c:pt idx="65950">
                  <c:v>29943</c:v>
                </c:pt>
                <c:pt idx="65951">
                  <c:v>29943</c:v>
                </c:pt>
                <c:pt idx="65952">
                  <c:v>29942</c:v>
                </c:pt>
                <c:pt idx="65953">
                  <c:v>29942</c:v>
                </c:pt>
                <c:pt idx="65954">
                  <c:v>29942</c:v>
                </c:pt>
                <c:pt idx="65955">
                  <c:v>29941</c:v>
                </c:pt>
                <c:pt idx="65956">
                  <c:v>29941</c:v>
                </c:pt>
                <c:pt idx="65957">
                  <c:v>29941</c:v>
                </c:pt>
                <c:pt idx="65958">
                  <c:v>29940</c:v>
                </c:pt>
                <c:pt idx="65959">
                  <c:v>29940</c:v>
                </c:pt>
                <c:pt idx="65960">
                  <c:v>29939</c:v>
                </c:pt>
                <c:pt idx="65961">
                  <c:v>29939</c:v>
                </c:pt>
                <c:pt idx="65962">
                  <c:v>29939</c:v>
                </c:pt>
                <c:pt idx="65963">
                  <c:v>29939</c:v>
                </c:pt>
                <c:pt idx="65964">
                  <c:v>29939</c:v>
                </c:pt>
                <c:pt idx="65965">
                  <c:v>29938</c:v>
                </c:pt>
                <c:pt idx="65966">
                  <c:v>29938</c:v>
                </c:pt>
                <c:pt idx="65967">
                  <c:v>29938</c:v>
                </c:pt>
                <c:pt idx="65968">
                  <c:v>29937</c:v>
                </c:pt>
                <c:pt idx="65969">
                  <c:v>29936</c:v>
                </c:pt>
                <c:pt idx="65970">
                  <c:v>29936</c:v>
                </c:pt>
                <c:pt idx="65971">
                  <c:v>29936</c:v>
                </c:pt>
                <c:pt idx="65972">
                  <c:v>29935</c:v>
                </c:pt>
                <c:pt idx="65973">
                  <c:v>29935</c:v>
                </c:pt>
                <c:pt idx="65974">
                  <c:v>29935</c:v>
                </c:pt>
                <c:pt idx="65975">
                  <c:v>29934</c:v>
                </c:pt>
                <c:pt idx="65976">
                  <c:v>29934</c:v>
                </c:pt>
                <c:pt idx="65977">
                  <c:v>29934</c:v>
                </c:pt>
                <c:pt idx="65978">
                  <c:v>29934</c:v>
                </c:pt>
                <c:pt idx="65979">
                  <c:v>29934</c:v>
                </c:pt>
                <c:pt idx="65980">
                  <c:v>29933</c:v>
                </c:pt>
                <c:pt idx="65981">
                  <c:v>29933</c:v>
                </c:pt>
                <c:pt idx="65982">
                  <c:v>29933</c:v>
                </c:pt>
                <c:pt idx="65983">
                  <c:v>29933</c:v>
                </c:pt>
                <c:pt idx="65984">
                  <c:v>29933</c:v>
                </c:pt>
                <c:pt idx="65985">
                  <c:v>29933</c:v>
                </c:pt>
                <c:pt idx="65986">
                  <c:v>29933</c:v>
                </c:pt>
                <c:pt idx="65987">
                  <c:v>29932</c:v>
                </c:pt>
                <c:pt idx="65988">
                  <c:v>29932</c:v>
                </c:pt>
                <c:pt idx="65989">
                  <c:v>29932</c:v>
                </c:pt>
                <c:pt idx="65990">
                  <c:v>29932</c:v>
                </c:pt>
                <c:pt idx="65991">
                  <c:v>29932</c:v>
                </c:pt>
                <c:pt idx="65992">
                  <c:v>29931</c:v>
                </c:pt>
                <c:pt idx="65993">
                  <c:v>29931</c:v>
                </c:pt>
                <c:pt idx="65994">
                  <c:v>29931</c:v>
                </c:pt>
                <c:pt idx="65995">
                  <c:v>29930</c:v>
                </c:pt>
                <c:pt idx="65996">
                  <c:v>29930</c:v>
                </c:pt>
                <c:pt idx="65997">
                  <c:v>29930</c:v>
                </c:pt>
                <c:pt idx="65998">
                  <c:v>29930</c:v>
                </c:pt>
                <c:pt idx="65999">
                  <c:v>29929</c:v>
                </c:pt>
                <c:pt idx="66000">
                  <c:v>29929</c:v>
                </c:pt>
                <c:pt idx="66001">
                  <c:v>29929</c:v>
                </c:pt>
                <c:pt idx="66002">
                  <c:v>29929</c:v>
                </c:pt>
                <c:pt idx="66003">
                  <c:v>29929</c:v>
                </c:pt>
                <c:pt idx="66004">
                  <c:v>29929</c:v>
                </c:pt>
                <c:pt idx="66005">
                  <c:v>29929</c:v>
                </c:pt>
                <c:pt idx="66006">
                  <c:v>29927</c:v>
                </c:pt>
                <c:pt idx="66007">
                  <c:v>29927</c:v>
                </c:pt>
                <c:pt idx="66008">
                  <c:v>29926</c:v>
                </c:pt>
                <c:pt idx="66009">
                  <c:v>29925</c:v>
                </c:pt>
                <c:pt idx="66010">
                  <c:v>29925</c:v>
                </c:pt>
                <c:pt idx="66011">
                  <c:v>29925</c:v>
                </c:pt>
                <c:pt idx="66012">
                  <c:v>29925</c:v>
                </c:pt>
                <c:pt idx="66013">
                  <c:v>29924</c:v>
                </c:pt>
                <c:pt idx="66014">
                  <c:v>29924</c:v>
                </c:pt>
                <c:pt idx="66015">
                  <c:v>29924</c:v>
                </c:pt>
                <c:pt idx="66016">
                  <c:v>29924</c:v>
                </c:pt>
                <c:pt idx="66017">
                  <c:v>29924</c:v>
                </c:pt>
                <c:pt idx="66018">
                  <c:v>29924</c:v>
                </c:pt>
                <c:pt idx="66019">
                  <c:v>29924</c:v>
                </c:pt>
                <c:pt idx="66020">
                  <c:v>29923</c:v>
                </c:pt>
                <c:pt idx="66021">
                  <c:v>29923</c:v>
                </c:pt>
                <c:pt idx="66022">
                  <c:v>29923</c:v>
                </c:pt>
                <c:pt idx="66023">
                  <c:v>29923</c:v>
                </c:pt>
                <c:pt idx="66024">
                  <c:v>29923</c:v>
                </c:pt>
                <c:pt idx="66025">
                  <c:v>29922</c:v>
                </c:pt>
                <c:pt idx="66026">
                  <c:v>29920</c:v>
                </c:pt>
                <c:pt idx="66027">
                  <c:v>29920</c:v>
                </c:pt>
                <c:pt idx="66028">
                  <c:v>29919</c:v>
                </c:pt>
                <c:pt idx="66029">
                  <c:v>29919</c:v>
                </c:pt>
                <c:pt idx="66030">
                  <c:v>29919</c:v>
                </c:pt>
                <c:pt idx="66031">
                  <c:v>29918</c:v>
                </c:pt>
                <c:pt idx="66032">
                  <c:v>29918</c:v>
                </c:pt>
                <c:pt idx="66033">
                  <c:v>29917</c:v>
                </c:pt>
                <c:pt idx="66034">
                  <c:v>29917</c:v>
                </c:pt>
                <c:pt idx="66035">
                  <c:v>29917</c:v>
                </c:pt>
                <c:pt idx="66036">
                  <c:v>29917</c:v>
                </c:pt>
                <c:pt idx="66037">
                  <c:v>29917</c:v>
                </c:pt>
                <c:pt idx="66038">
                  <c:v>29916</c:v>
                </c:pt>
                <c:pt idx="66039">
                  <c:v>29916</c:v>
                </c:pt>
                <c:pt idx="66040">
                  <c:v>29916</c:v>
                </c:pt>
                <c:pt idx="66041">
                  <c:v>29915</c:v>
                </c:pt>
                <c:pt idx="66042">
                  <c:v>29914</c:v>
                </c:pt>
                <c:pt idx="66043">
                  <c:v>29914</c:v>
                </c:pt>
                <c:pt idx="66044">
                  <c:v>29914</c:v>
                </c:pt>
                <c:pt idx="66045">
                  <c:v>29914</c:v>
                </c:pt>
                <c:pt idx="66046">
                  <c:v>29913</c:v>
                </c:pt>
                <c:pt idx="66047">
                  <c:v>29913</c:v>
                </c:pt>
                <c:pt idx="66048">
                  <c:v>29913</c:v>
                </c:pt>
                <c:pt idx="66049">
                  <c:v>29912</c:v>
                </c:pt>
                <c:pt idx="66050">
                  <c:v>29912</c:v>
                </c:pt>
                <c:pt idx="66051">
                  <c:v>29912</c:v>
                </c:pt>
                <c:pt idx="66052">
                  <c:v>29912</c:v>
                </c:pt>
                <c:pt idx="66053">
                  <c:v>29911</c:v>
                </c:pt>
                <c:pt idx="66054">
                  <c:v>29911</c:v>
                </c:pt>
                <c:pt idx="66055">
                  <c:v>29911</c:v>
                </c:pt>
                <c:pt idx="66056">
                  <c:v>29911</c:v>
                </c:pt>
                <c:pt idx="66057">
                  <c:v>29911</c:v>
                </c:pt>
                <c:pt idx="66058">
                  <c:v>29910</c:v>
                </c:pt>
                <c:pt idx="66059">
                  <c:v>29910</c:v>
                </c:pt>
                <c:pt idx="66060">
                  <c:v>29910</c:v>
                </c:pt>
                <c:pt idx="66061">
                  <c:v>29910</c:v>
                </c:pt>
                <c:pt idx="66062">
                  <c:v>29910</c:v>
                </c:pt>
                <c:pt idx="66063">
                  <c:v>29909</c:v>
                </c:pt>
                <c:pt idx="66064">
                  <c:v>29909</c:v>
                </c:pt>
                <c:pt idx="66065">
                  <c:v>29909</c:v>
                </c:pt>
                <c:pt idx="66066">
                  <c:v>29909</c:v>
                </c:pt>
                <c:pt idx="66067">
                  <c:v>29909</c:v>
                </c:pt>
                <c:pt idx="66068">
                  <c:v>29909</c:v>
                </c:pt>
                <c:pt idx="66069">
                  <c:v>29909</c:v>
                </c:pt>
                <c:pt idx="66070">
                  <c:v>29908</c:v>
                </c:pt>
                <c:pt idx="66071">
                  <c:v>29908</c:v>
                </c:pt>
                <c:pt idx="66072">
                  <c:v>29908</c:v>
                </c:pt>
                <c:pt idx="66073">
                  <c:v>29908</c:v>
                </c:pt>
                <c:pt idx="66074">
                  <c:v>29908</c:v>
                </c:pt>
                <c:pt idx="66075">
                  <c:v>29907</c:v>
                </c:pt>
                <c:pt idx="66076">
                  <c:v>29906</c:v>
                </c:pt>
                <c:pt idx="66077">
                  <c:v>29906</c:v>
                </c:pt>
                <c:pt idx="66078">
                  <c:v>29906</c:v>
                </c:pt>
                <c:pt idx="66079">
                  <c:v>29906</c:v>
                </c:pt>
                <c:pt idx="66080">
                  <c:v>29906</c:v>
                </c:pt>
                <c:pt idx="66081">
                  <c:v>29906</c:v>
                </c:pt>
                <c:pt idx="66082">
                  <c:v>29905</c:v>
                </c:pt>
                <c:pt idx="66083">
                  <c:v>29905</c:v>
                </c:pt>
                <c:pt idx="66084">
                  <c:v>29905</c:v>
                </c:pt>
                <c:pt idx="66085">
                  <c:v>29905</c:v>
                </c:pt>
                <c:pt idx="66086">
                  <c:v>29904</c:v>
                </c:pt>
                <c:pt idx="66087">
                  <c:v>29904</c:v>
                </c:pt>
                <c:pt idx="66088">
                  <c:v>29904</c:v>
                </c:pt>
                <c:pt idx="66089">
                  <c:v>29904</c:v>
                </c:pt>
                <c:pt idx="66090">
                  <c:v>29903</c:v>
                </c:pt>
                <c:pt idx="66091">
                  <c:v>29903</c:v>
                </c:pt>
                <c:pt idx="66092">
                  <c:v>29903</c:v>
                </c:pt>
                <c:pt idx="66093">
                  <c:v>29903</c:v>
                </c:pt>
                <c:pt idx="66094">
                  <c:v>29902</c:v>
                </c:pt>
                <c:pt idx="66095">
                  <c:v>29902</c:v>
                </c:pt>
                <c:pt idx="66096">
                  <c:v>29901</c:v>
                </c:pt>
                <c:pt idx="66097">
                  <c:v>29901</c:v>
                </c:pt>
                <c:pt idx="66098">
                  <c:v>29900</c:v>
                </c:pt>
                <c:pt idx="66099">
                  <c:v>29900</c:v>
                </c:pt>
                <c:pt idx="66100">
                  <c:v>29900</c:v>
                </c:pt>
                <c:pt idx="66101">
                  <c:v>29900</c:v>
                </c:pt>
                <c:pt idx="66102">
                  <c:v>29899</c:v>
                </c:pt>
                <c:pt idx="66103">
                  <c:v>29899</c:v>
                </c:pt>
                <c:pt idx="66104">
                  <c:v>29898</c:v>
                </c:pt>
                <c:pt idx="66105">
                  <c:v>29898</c:v>
                </c:pt>
                <c:pt idx="66106">
                  <c:v>29898</c:v>
                </c:pt>
                <c:pt idx="66107">
                  <c:v>29898</c:v>
                </c:pt>
                <c:pt idx="66108">
                  <c:v>29898</c:v>
                </c:pt>
                <c:pt idx="66109">
                  <c:v>29897</c:v>
                </c:pt>
                <c:pt idx="66110">
                  <c:v>29896</c:v>
                </c:pt>
                <c:pt idx="66111">
                  <c:v>29896</c:v>
                </c:pt>
                <c:pt idx="66112">
                  <c:v>29896</c:v>
                </c:pt>
                <c:pt idx="66113">
                  <c:v>29896</c:v>
                </c:pt>
                <c:pt idx="66114">
                  <c:v>29895</c:v>
                </c:pt>
                <c:pt idx="66115">
                  <c:v>29895</c:v>
                </c:pt>
                <c:pt idx="66116">
                  <c:v>29895</c:v>
                </c:pt>
                <c:pt idx="66117">
                  <c:v>29895</c:v>
                </c:pt>
                <c:pt idx="66118">
                  <c:v>29895</c:v>
                </c:pt>
                <c:pt idx="66119">
                  <c:v>29895</c:v>
                </c:pt>
                <c:pt idx="66120">
                  <c:v>29893</c:v>
                </c:pt>
                <c:pt idx="66121">
                  <c:v>29893</c:v>
                </c:pt>
                <c:pt idx="66122">
                  <c:v>29893</c:v>
                </c:pt>
                <c:pt idx="66123">
                  <c:v>29893</c:v>
                </c:pt>
                <c:pt idx="66124">
                  <c:v>29892</c:v>
                </c:pt>
                <c:pt idx="66125">
                  <c:v>29892</c:v>
                </c:pt>
                <c:pt idx="66126">
                  <c:v>29892</c:v>
                </c:pt>
                <c:pt idx="66127">
                  <c:v>29891</c:v>
                </c:pt>
                <c:pt idx="66128">
                  <c:v>29891</c:v>
                </c:pt>
                <c:pt idx="66129">
                  <c:v>29891</c:v>
                </c:pt>
                <c:pt idx="66130">
                  <c:v>29890</c:v>
                </c:pt>
                <c:pt idx="66131">
                  <c:v>29890</c:v>
                </c:pt>
                <c:pt idx="66132">
                  <c:v>29890</c:v>
                </c:pt>
                <c:pt idx="66133">
                  <c:v>29890</c:v>
                </c:pt>
                <c:pt idx="66134">
                  <c:v>29889</c:v>
                </c:pt>
                <c:pt idx="66135">
                  <c:v>29888</c:v>
                </c:pt>
                <c:pt idx="66136">
                  <c:v>29888</c:v>
                </c:pt>
                <c:pt idx="66137">
                  <c:v>29888</c:v>
                </c:pt>
                <c:pt idx="66138">
                  <c:v>29888</c:v>
                </c:pt>
                <c:pt idx="66139">
                  <c:v>29888</c:v>
                </c:pt>
                <c:pt idx="66140">
                  <c:v>29888</c:v>
                </c:pt>
                <c:pt idx="66141">
                  <c:v>29887</c:v>
                </c:pt>
                <c:pt idx="66142">
                  <c:v>29887</c:v>
                </c:pt>
                <c:pt idx="66143">
                  <c:v>29887</c:v>
                </c:pt>
                <c:pt idx="66144">
                  <c:v>29886</c:v>
                </c:pt>
                <c:pt idx="66145">
                  <c:v>29886</c:v>
                </c:pt>
                <c:pt idx="66146">
                  <c:v>29886</c:v>
                </c:pt>
                <c:pt idx="66147">
                  <c:v>29886</c:v>
                </c:pt>
                <c:pt idx="66148">
                  <c:v>29886</c:v>
                </c:pt>
                <c:pt idx="66149">
                  <c:v>29886</c:v>
                </c:pt>
                <c:pt idx="66150">
                  <c:v>29886</c:v>
                </c:pt>
                <c:pt idx="66151">
                  <c:v>29885</c:v>
                </c:pt>
                <c:pt idx="66152">
                  <c:v>29885</c:v>
                </c:pt>
                <c:pt idx="66153">
                  <c:v>29885</c:v>
                </c:pt>
                <c:pt idx="66154">
                  <c:v>29885</c:v>
                </c:pt>
                <c:pt idx="66155">
                  <c:v>29885</c:v>
                </c:pt>
                <c:pt idx="66156">
                  <c:v>29884</c:v>
                </c:pt>
                <c:pt idx="66157">
                  <c:v>29884</c:v>
                </c:pt>
                <c:pt idx="66158">
                  <c:v>29883</c:v>
                </c:pt>
                <c:pt idx="66159">
                  <c:v>29883</c:v>
                </c:pt>
                <c:pt idx="66160">
                  <c:v>29883</c:v>
                </c:pt>
                <c:pt idx="66161">
                  <c:v>29883</c:v>
                </c:pt>
                <c:pt idx="66162">
                  <c:v>29882</c:v>
                </c:pt>
                <c:pt idx="66163">
                  <c:v>29882</c:v>
                </c:pt>
                <c:pt idx="66164">
                  <c:v>29882</c:v>
                </c:pt>
                <c:pt idx="66165">
                  <c:v>29882</c:v>
                </c:pt>
                <c:pt idx="66166">
                  <c:v>29880</c:v>
                </c:pt>
                <c:pt idx="66167">
                  <c:v>29879</c:v>
                </c:pt>
                <c:pt idx="66168">
                  <c:v>29879</c:v>
                </c:pt>
                <c:pt idx="66169">
                  <c:v>29879</c:v>
                </c:pt>
                <c:pt idx="66170">
                  <c:v>29879</c:v>
                </c:pt>
                <c:pt idx="66171">
                  <c:v>29878</c:v>
                </c:pt>
                <c:pt idx="66172">
                  <c:v>29877</c:v>
                </c:pt>
                <c:pt idx="66173">
                  <c:v>29877</c:v>
                </c:pt>
                <c:pt idx="66174">
                  <c:v>29876</c:v>
                </c:pt>
                <c:pt idx="66175">
                  <c:v>29876</c:v>
                </c:pt>
                <c:pt idx="66176">
                  <c:v>29875</c:v>
                </c:pt>
                <c:pt idx="66177">
                  <c:v>29875</c:v>
                </c:pt>
                <c:pt idx="66178">
                  <c:v>29875</c:v>
                </c:pt>
                <c:pt idx="66179">
                  <c:v>29875</c:v>
                </c:pt>
                <c:pt idx="66180">
                  <c:v>29875</c:v>
                </c:pt>
                <c:pt idx="66181">
                  <c:v>29874</c:v>
                </c:pt>
                <c:pt idx="66182">
                  <c:v>29874</c:v>
                </c:pt>
                <c:pt idx="66183">
                  <c:v>29874</c:v>
                </c:pt>
                <c:pt idx="66184">
                  <c:v>29874</c:v>
                </c:pt>
                <c:pt idx="66185">
                  <c:v>29874</c:v>
                </c:pt>
                <c:pt idx="66186">
                  <c:v>29873</c:v>
                </c:pt>
                <c:pt idx="66187">
                  <c:v>29873</c:v>
                </c:pt>
                <c:pt idx="66188">
                  <c:v>29872</c:v>
                </c:pt>
                <c:pt idx="66189">
                  <c:v>29872</c:v>
                </c:pt>
                <c:pt idx="66190">
                  <c:v>29872</c:v>
                </c:pt>
                <c:pt idx="66191">
                  <c:v>29872</c:v>
                </c:pt>
                <c:pt idx="66192">
                  <c:v>29872</c:v>
                </c:pt>
                <c:pt idx="66193">
                  <c:v>29872</c:v>
                </c:pt>
                <c:pt idx="66194">
                  <c:v>29872</c:v>
                </c:pt>
                <c:pt idx="66195">
                  <c:v>29871</c:v>
                </c:pt>
                <c:pt idx="66196">
                  <c:v>29871</c:v>
                </c:pt>
                <c:pt idx="66197">
                  <c:v>29870</c:v>
                </c:pt>
                <c:pt idx="66198">
                  <c:v>29870</c:v>
                </c:pt>
                <c:pt idx="66199">
                  <c:v>29870</c:v>
                </c:pt>
                <c:pt idx="66200">
                  <c:v>29870</c:v>
                </c:pt>
                <c:pt idx="66201">
                  <c:v>29869</c:v>
                </c:pt>
                <c:pt idx="66202">
                  <c:v>29869</c:v>
                </c:pt>
                <c:pt idx="66203">
                  <c:v>29869</c:v>
                </c:pt>
                <c:pt idx="66204">
                  <c:v>29869</c:v>
                </c:pt>
                <c:pt idx="66205">
                  <c:v>29868</c:v>
                </c:pt>
                <c:pt idx="66206">
                  <c:v>29868</c:v>
                </c:pt>
                <c:pt idx="66207">
                  <c:v>29868</c:v>
                </c:pt>
                <c:pt idx="66208">
                  <c:v>29868</c:v>
                </c:pt>
                <c:pt idx="66209">
                  <c:v>29868</c:v>
                </c:pt>
                <c:pt idx="66210">
                  <c:v>29867</c:v>
                </c:pt>
                <c:pt idx="66211">
                  <c:v>29867</c:v>
                </c:pt>
                <c:pt idx="66212">
                  <c:v>29867</c:v>
                </c:pt>
                <c:pt idx="66213">
                  <c:v>29867</c:v>
                </c:pt>
                <c:pt idx="66214">
                  <c:v>29866</c:v>
                </c:pt>
                <c:pt idx="66215">
                  <c:v>29866</c:v>
                </c:pt>
                <c:pt idx="66216">
                  <c:v>29866</c:v>
                </c:pt>
                <c:pt idx="66217">
                  <c:v>29865</c:v>
                </c:pt>
                <c:pt idx="66218">
                  <c:v>29865</c:v>
                </c:pt>
                <c:pt idx="66219">
                  <c:v>29865</c:v>
                </c:pt>
                <c:pt idx="66220">
                  <c:v>29865</c:v>
                </c:pt>
                <c:pt idx="66221">
                  <c:v>29865</c:v>
                </c:pt>
                <c:pt idx="66222">
                  <c:v>29864</c:v>
                </c:pt>
                <c:pt idx="66223">
                  <c:v>29864</c:v>
                </c:pt>
                <c:pt idx="66224">
                  <c:v>29864</c:v>
                </c:pt>
                <c:pt idx="66225">
                  <c:v>29863</c:v>
                </c:pt>
                <c:pt idx="66226">
                  <c:v>29863</c:v>
                </c:pt>
                <c:pt idx="66227">
                  <c:v>29863</c:v>
                </c:pt>
                <c:pt idx="66228">
                  <c:v>29862</c:v>
                </c:pt>
                <c:pt idx="66229">
                  <c:v>29862</c:v>
                </c:pt>
                <c:pt idx="66230">
                  <c:v>29862</c:v>
                </c:pt>
                <c:pt idx="66231">
                  <c:v>29861</c:v>
                </c:pt>
                <c:pt idx="66232">
                  <c:v>29860</c:v>
                </c:pt>
                <c:pt idx="66233">
                  <c:v>29860</c:v>
                </c:pt>
                <c:pt idx="66234">
                  <c:v>29860</c:v>
                </c:pt>
                <c:pt idx="66235">
                  <c:v>29860</c:v>
                </c:pt>
                <c:pt idx="66236">
                  <c:v>29860</c:v>
                </c:pt>
                <c:pt idx="66237">
                  <c:v>29860</c:v>
                </c:pt>
                <c:pt idx="66238">
                  <c:v>29860</c:v>
                </c:pt>
                <c:pt idx="66239">
                  <c:v>29859</c:v>
                </c:pt>
                <c:pt idx="66240">
                  <c:v>29859</c:v>
                </c:pt>
                <c:pt idx="66241">
                  <c:v>29859</c:v>
                </c:pt>
                <c:pt idx="66242">
                  <c:v>29859</c:v>
                </c:pt>
                <c:pt idx="66243">
                  <c:v>29859</c:v>
                </c:pt>
                <c:pt idx="66244">
                  <c:v>29858</c:v>
                </c:pt>
                <c:pt idx="66245">
                  <c:v>29858</c:v>
                </c:pt>
                <c:pt idx="66246">
                  <c:v>29858</c:v>
                </c:pt>
                <c:pt idx="66247">
                  <c:v>29858</c:v>
                </c:pt>
                <c:pt idx="66248">
                  <c:v>29858</c:v>
                </c:pt>
                <c:pt idx="66249">
                  <c:v>29858</c:v>
                </c:pt>
                <c:pt idx="66250">
                  <c:v>29858</c:v>
                </c:pt>
                <c:pt idx="66251">
                  <c:v>29857</c:v>
                </c:pt>
                <c:pt idx="66252">
                  <c:v>29857</c:v>
                </c:pt>
                <c:pt idx="66253">
                  <c:v>29856</c:v>
                </c:pt>
                <c:pt idx="66254">
                  <c:v>29856</c:v>
                </c:pt>
                <c:pt idx="66255">
                  <c:v>29855</c:v>
                </c:pt>
                <c:pt idx="66256">
                  <c:v>29855</c:v>
                </c:pt>
                <c:pt idx="66257">
                  <c:v>29855</c:v>
                </c:pt>
                <c:pt idx="66258">
                  <c:v>29854</c:v>
                </c:pt>
                <c:pt idx="66259">
                  <c:v>29854</c:v>
                </c:pt>
                <c:pt idx="66260">
                  <c:v>29853</c:v>
                </c:pt>
                <c:pt idx="66261">
                  <c:v>29853</c:v>
                </c:pt>
                <c:pt idx="66262">
                  <c:v>29852</c:v>
                </c:pt>
                <c:pt idx="66263">
                  <c:v>29852</c:v>
                </c:pt>
                <c:pt idx="66264">
                  <c:v>29851</c:v>
                </c:pt>
                <c:pt idx="66265">
                  <c:v>29851</c:v>
                </c:pt>
                <c:pt idx="66266">
                  <c:v>29850</c:v>
                </c:pt>
                <c:pt idx="66267">
                  <c:v>29850</c:v>
                </c:pt>
                <c:pt idx="66268">
                  <c:v>29850</c:v>
                </c:pt>
                <c:pt idx="66269">
                  <c:v>29850</c:v>
                </c:pt>
                <c:pt idx="66270">
                  <c:v>29849</c:v>
                </c:pt>
                <c:pt idx="66271">
                  <c:v>29849</c:v>
                </c:pt>
                <c:pt idx="66272">
                  <c:v>29849</c:v>
                </c:pt>
                <c:pt idx="66273">
                  <c:v>29849</c:v>
                </c:pt>
                <c:pt idx="66274">
                  <c:v>29849</c:v>
                </c:pt>
                <c:pt idx="66275">
                  <c:v>29849</c:v>
                </c:pt>
                <c:pt idx="66276">
                  <c:v>29847</c:v>
                </c:pt>
                <c:pt idx="66277">
                  <c:v>29847</c:v>
                </c:pt>
                <c:pt idx="66278">
                  <c:v>29847</c:v>
                </c:pt>
                <c:pt idx="66279">
                  <c:v>29846</c:v>
                </c:pt>
                <c:pt idx="66280">
                  <c:v>29846</c:v>
                </c:pt>
                <c:pt idx="66281">
                  <c:v>29846</c:v>
                </c:pt>
                <c:pt idx="66282">
                  <c:v>29846</c:v>
                </c:pt>
                <c:pt idx="66283">
                  <c:v>29846</c:v>
                </c:pt>
                <c:pt idx="66284">
                  <c:v>29845</c:v>
                </c:pt>
                <c:pt idx="66285">
                  <c:v>29845</c:v>
                </c:pt>
                <c:pt idx="66286">
                  <c:v>29845</c:v>
                </c:pt>
                <c:pt idx="66287">
                  <c:v>29845</c:v>
                </c:pt>
                <c:pt idx="66288">
                  <c:v>29845</c:v>
                </c:pt>
                <c:pt idx="66289">
                  <c:v>29845</c:v>
                </c:pt>
                <c:pt idx="66290">
                  <c:v>29844</c:v>
                </c:pt>
                <c:pt idx="66291">
                  <c:v>29844</c:v>
                </c:pt>
                <c:pt idx="66292">
                  <c:v>29843</c:v>
                </c:pt>
                <c:pt idx="66293">
                  <c:v>29843</c:v>
                </c:pt>
                <c:pt idx="66294">
                  <c:v>29843</c:v>
                </c:pt>
                <c:pt idx="66295">
                  <c:v>29843</c:v>
                </c:pt>
                <c:pt idx="66296">
                  <c:v>29843</c:v>
                </c:pt>
                <c:pt idx="66297">
                  <c:v>29842</c:v>
                </c:pt>
                <c:pt idx="66298">
                  <c:v>29842</c:v>
                </c:pt>
                <c:pt idx="66299">
                  <c:v>29842</c:v>
                </c:pt>
                <c:pt idx="66300">
                  <c:v>29842</c:v>
                </c:pt>
                <c:pt idx="66301">
                  <c:v>29842</c:v>
                </c:pt>
                <c:pt idx="66302">
                  <c:v>29841</c:v>
                </c:pt>
                <c:pt idx="66303">
                  <c:v>29841</c:v>
                </c:pt>
                <c:pt idx="66304">
                  <c:v>29841</c:v>
                </c:pt>
                <c:pt idx="66305">
                  <c:v>29840</c:v>
                </c:pt>
                <c:pt idx="66306">
                  <c:v>29840</c:v>
                </c:pt>
                <c:pt idx="66307">
                  <c:v>29840</c:v>
                </c:pt>
                <c:pt idx="66308">
                  <c:v>29839</c:v>
                </c:pt>
                <c:pt idx="66309">
                  <c:v>29839</c:v>
                </c:pt>
                <c:pt idx="66310">
                  <c:v>29839</c:v>
                </c:pt>
                <c:pt idx="66311">
                  <c:v>29838</c:v>
                </c:pt>
                <c:pt idx="66312">
                  <c:v>29837</c:v>
                </c:pt>
                <c:pt idx="66313">
                  <c:v>29837</c:v>
                </c:pt>
                <c:pt idx="66314">
                  <c:v>29837</c:v>
                </c:pt>
                <c:pt idx="66315">
                  <c:v>29837</c:v>
                </c:pt>
                <c:pt idx="66316">
                  <c:v>29837</c:v>
                </c:pt>
                <c:pt idx="66317">
                  <c:v>29836</c:v>
                </c:pt>
                <c:pt idx="66318">
                  <c:v>29835</c:v>
                </c:pt>
                <c:pt idx="66319">
                  <c:v>29834</c:v>
                </c:pt>
                <c:pt idx="66320">
                  <c:v>29834</c:v>
                </c:pt>
                <c:pt idx="66321">
                  <c:v>29833</c:v>
                </c:pt>
                <c:pt idx="66322">
                  <c:v>29833</c:v>
                </c:pt>
                <c:pt idx="66323">
                  <c:v>29833</c:v>
                </c:pt>
                <c:pt idx="66324">
                  <c:v>29833</c:v>
                </c:pt>
                <c:pt idx="66325">
                  <c:v>29832</c:v>
                </c:pt>
                <c:pt idx="66326">
                  <c:v>29832</c:v>
                </c:pt>
                <c:pt idx="66327">
                  <c:v>29832</c:v>
                </c:pt>
                <c:pt idx="66328">
                  <c:v>29832</c:v>
                </c:pt>
                <c:pt idx="66329">
                  <c:v>29832</c:v>
                </c:pt>
                <c:pt idx="66330">
                  <c:v>29831</c:v>
                </c:pt>
                <c:pt idx="66331">
                  <c:v>29831</c:v>
                </c:pt>
                <c:pt idx="66332">
                  <c:v>29831</c:v>
                </c:pt>
                <c:pt idx="66333">
                  <c:v>29831</c:v>
                </c:pt>
                <c:pt idx="66334">
                  <c:v>29831</c:v>
                </c:pt>
                <c:pt idx="66335">
                  <c:v>29830</c:v>
                </c:pt>
                <c:pt idx="66336">
                  <c:v>29830</c:v>
                </c:pt>
                <c:pt idx="66337">
                  <c:v>29830</c:v>
                </c:pt>
                <c:pt idx="66338">
                  <c:v>29829</c:v>
                </c:pt>
                <c:pt idx="66339">
                  <c:v>29829</c:v>
                </c:pt>
                <c:pt idx="66340">
                  <c:v>29829</c:v>
                </c:pt>
                <c:pt idx="66341">
                  <c:v>29828</c:v>
                </c:pt>
                <c:pt idx="66342">
                  <c:v>29828</c:v>
                </c:pt>
                <c:pt idx="66343">
                  <c:v>29828</c:v>
                </c:pt>
                <c:pt idx="66344">
                  <c:v>29827</c:v>
                </c:pt>
                <c:pt idx="66345">
                  <c:v>29827</c:v>
                </c:pt>
                <c:pt idx="66346">
                  <c:v>29827</c:v>
                </c:pt>
                <c:pt idx="66347">
                  <c:v>29825</c:v>
                </c:pt>
                <c:pt idx="66348">
                  <c:v>29825</c:v>
                </c:pt>
                <c:pt idx="66349">
                  <c:v>29825</c:v>
                </c:pt>
                <c:pt idx="66350">
                  <c:v>29824</c:v>
                </c:pt>
                <c:pt idx="66351">
                  <c:v>29824</c:v>
                </c:pt>
                <c:pt idx="66352">
                  <c:v>29824</c:v>
                </c:pt>
                <c:pt idx="66353">
                  <c:v>29824</c:v>
                </c:pt>
                <c:pt idx="66354">
                  <c:v>29823</c:v>
                </c:pt>
                <c:pt idx="66355">
                  <c:v>29822</c:v>
                </c:pt>
                <c:pt idx="66356">
                  <c:v>29822</c:v>
                </c:pt>
                <c:pt idx="66357">
                  <c:v>29822</c:v>
                </c:pt>
                <c:pt idx="66358">
                  <c:v>29822</c:v>
                </c:pt>
                <c:pt idx="66359">
                  <c:v>29821</c:v>
                </c:pt>
                <c:pt idx="66360">
                  <c:v>29821</c:v>
                </c:pt>
                <c:pt idx="66361">
                  <c:v>29821</c:v>
                </c:pt>
                <c:pt idx="66362">
                  <c:v>29820</c:v>
                </c:pt>
                <c:pt idx="66363">
                  <c:v>29820</c:v>
                </c:pt>
                <c:pt idx="66364">
                  <c:v>29820</c:v>
                </c:pt>
                <c:pt idx="66365">
                  <c:v>29820</c:v>
                </c:pt>
                <c:pt idx="66366">
                  <c:v>29820</c:v>
                </c:pt>
                <c:pt idx="66367">
                  <c:v>29820</c:v>
                </c:pt>
                <c:pt idx="66368">
                  <c:v>29820</c:v>
                </c:pt>
                <c:pt idx="66369">
                  <c:v>29819</c:v>
                </c:pt>
                <c:pt idx="66370">
                  <c:v>29819</c:v>
                </c:pt>
                <c:pt idx="66371">
                  <c:v>29819</c:v>
                </c:pt>
                <c:pt idx="66372">
                  <c:v>29819</c:v>
                </c:pt>
                <c:pt idx="66373">
                  <c:v>29819</c:v>
                </c:pt>
                <c:pt idx="66374">
                  <c:v>29818</c:v>
                </c:pt>
                <c:pt idx="66375">
                  <c:v>29818</c:v>
                </c:pt>
                <c:pt idx="66376">
                  <c:v>29816</c:v>
                </c:pt>
                <c:pt idx="66377">
                  <c:v>29816</c:v>
                </c:pt>
                <c:pt idx="66378">
                  <c:v>29816</c:v>
                </c:pt>
                <c:pt idx="66379">
                  <c:v>29815</c:v>
                </c:pt>
                <c:pt idx="66380">
                  <c:v>29815</c:v>
                </c:pt>
                <c:pt idx="66381">
                  <c:v>29815</c:v>
                </c:pt>
                <c:pt idx="66382">
                  <c:v>29815</c:v>
                </c:pt>
                <c:pt idx="66383">
                  <c:v>29814</c:v>
                </c:pt>
                <c:pt idx="66384">
                  <c:v>29814</c:v>
                </c:pt>
                <c:pt idx="66385">
                  <c:v>29814</c:v>
                </c:pt>
                <c:pt idx="66386">
                  <c:v>29814</c:v>
                </c:pt>
                <c:pt idx="66387">
                  <c:v>29813</c:v>
                </c:pt>
                <c:pt idx="66388">
                  <c:v>29812</c:v>
                </c:pt>
                <c:pt idx="66389">
                  <c:v>29812</c:v>
                </c:pt>
                <c:pt idx="66390">
                  <c:v>29811</c:v>
                </c:pt>
                <c:pt idx="66391">
                  <c:v>29811</c:v>
                </c:pt>
                <c:pt idx="66392">
                  <c:v>29811</c:v>
                </c:pt>
                <c:pt idx="66393">
                  <c:v>29811</c:v>
                </c:pt>
                <c:pt idx="66394">
                  <c:v>29811</c:v>
                </c:pt>
                <c:pt idx="66395">
                  <c:v>29811</c:v>
                </c:pt>
                <c:pt idx="66396">
                  <c:v>29810</c:v>
                </c:pt>
                <c:pt idx="66397">
                  <c:v>29810</c:v>
                </c:pt>
                <c:pt idx="66398">
                  <c:v>29810</c:v>
                </c:pt>
                <c:pt idx="66399">
                  <c:v>29809</c:v>
                </c:pt>
                <c:pt idx="66400">
                  <c:v>29809</c:v>
                </c:pt>
                <c:pt idx="66401">
                  <c:v>29809</c:v>
                </c:pt>
                <c:pt idx="66402">
                  <c:v>29809</c:v>
                </c:pt>
                <c:pt idx="66403">
                  <c:v>29809</c:v>
                </c:pt>
                <c:pt idx="66404">
                  <c:v>29809</c:v>
                </c:pt>
                <c:pt idx="66405">
                  <c:v>29809</c:v>
                </c:pt>
                <c:pt idx="66406">
                  <c:v>29809</c:v>
                </c:pt>
                <c:pt idx="66407">
                  <c:v>29808</c:v>
                </c:pt>
                <c:pt idx="66408">
                  <c:v>29808</c:v>
                </c:pt>
                <c:pt idx="66409">
                  <c:v>29807</c:v>
                </c:pt>
                <c:pt idx="66410">
                  <c:v>29807</c:v>
                </c:pt>
                <c:pt idx="66411">
                  <c:v>29807</c:v>
                </c:pt>
                <c:pt idx="66412">
                  <c:v>29807</c:v>
                </c:pt>
                <c:pt idx="66413">
                  <c:v>29807</c:v>
                </c:pt>
                <c:pt idx="66414">
                  <c:v>29807</c:v>
                </c:pt>
                <c:pt idx="66415">
                  <c:v>29807</c:v>
                </c:pt>
                <c:pt idx="66416">
                  <c:v>29806</c:v>
                </c:pt>
                <c:pt idx="66417">
                  <c:v>29806</c:v>
                </c:pt>
                <c:pt idx="66418">
                  <c:v>29805</c:v>
                </c:pt>
                <c:pt idx="66419">
                  <c:v>29805</c:v>
                </c:pt>
                <c:pt idx="66420">
                  <c:v>29805</c:v>
                </c:pt>
                <c:pt idx="66421">
                  <c:v>29805</c:v>
                </c:pt>
                <c:pt idx="66422">
                  <c:v>29805</c:v>
                </c:pt>
                <c:pt idx="66423">
                  <c:v>29805</c:v>
                </c:pt>
                <c:pt idx="66424">
                  <c:v>29805</c:v>
                </c:pt>
                <c:pt idx="66425">
                  <c:v>29804</c:v>
                </c:pt>
                <c:pt idx="66426">
                  <c:v>29804</c:v>
                </c:pt>
                <c:pt idx="66427">
                  <c:v>29803</c:v>
                </c:pt>
                <c:pt idx="66428">
                  <c:v>29803</c:v>
                </c:pt>
                <c:pt idx="66429">
                  <c:v>29803</c:v>
                </c:pt>
                <c:pt idx="66430">
                  <c:v>29802</c:v>
                </c:pt>
                <c:pt idx="66431">
                  <c:v>29802</c:v>
                </c:pt>
                <c:pt idx="66432">
                  <c:v>29802</c:v>
                </c:pt>
                <c:pt idx="66433">
                  <c:v>29801</c:v>
                </c:pt>
                <c:pt idx="66434">
                  <c:v>29801</c:v>
                </c:pt>
                <c:pt idx="66435">
                  <c:v>29801</c:v>
                </c:pt>
                <c:pt idx="66436">
                  <c:v>29801</c:v>
                </c:pt>
                <c:pt idx="66437">
                  <c:v>29801</c:v>
                </c:pt>
                <c:pt idx="66438">
                  <c:v>29800</c:v>
                </c:pt>
                <c:pt idx="66439">
                  <c:v>29800</c:v>
                </c:pt>
                <c:pt idx="66440">
                  <c:v>29800</c:v>
                </c:pt>
                <c:pt idx="66441">
                  <c:v>29800</c:v>
                </c:pt>
                <c:pt idx="66442">
                  <c:v>29800</c:v>
                </c:pt>
                <c:pt idx="66443">
                  <c:v>29800</c:v>
                </c:pt>
                <c:pt idx="66444">
                  <c:v>29799</c:v>
                </c:pt>
                <c:pt idx="66445">
                  <c:v>29799</c:v>
                </c:pt>
                <c:pt idx="66446">
                  <c:v>29799</c:v>
                </c:pt>
                <c:pt idx="66447">
                  <c:v>29799</c:v>
                </c:pt>
                <c:pt idx="66448">
                  <c:v>29799</c:v>
                </c:pt>
                <c:pt idx="66449">
                  <c:v>29798</c:v>
                </c:pt>
                <c:pt idx="66450">
                  <c:v>29798</c:v>
                </c:pt>
                <c:pt idx="66451">
                  <c:v>29798</c:v>
                </c:pt>
                <c:pt idx="66452">
                  <c:v>29798</c:v>
                </c:pt>
                <c:pt idx="66453">
                  <c:v>29798</c:v>
                </c:pt>
                <c:pt idx="66454">
                  <c:v>29798</c:v>
                </c:pt>
                <c:pt idx="66455">
                  <c:v>29798</c:v>
                </c:pt>
                <c:pt idx="66456">
                  <c:v>29798</c:v>
                </c:pt>
                <c:pt idx="66457">
                  <c:v>29798</c:v>
                </c:pt>
                <c:pt idx="66458">
                  <c:v>29797</c:v>
                </c:pt>
                <c:pt idx="66459">
                  <c:v>29795</c:v>
                </c:pt>
                <c:pt idx="66460">
                  <c:v>29795</c:v>
                </c:pt>
                <c:pt idx="66461">
                  <c:v>29795</c:v>
                </c:pt>
                <c:pt idx="66462">
                  <c:v>29795</c:v>
                </c:pt>
                <c:pt idx="66463">
                  <c:v>29795</c:v>
                </c:pt>
                <c:pt idx="66464">
                  <c:v>29794</c:v>
                </c:pt>
                <c:pt idx="66465">
                  <c:v>29794</c:v>
                </c:pt>
                <c:pt idx="66466">
                  <c:v>29794</c:v>
                </c:pt>
                <c:pt idx="66467">
                  <c:v>29794</c:v>
                </c:pt>
                <c:pt idx="66468">
                  <c:v>29793</c:v>
                </c:pt>
                <c:pt idx="66469">
                  <c:v>29793</c:v>
                </c:pt>
                <c:pt idx="66470">
                  <c:v>29792</c:v>
                </c:pt>
                <c:pt idx="66471">
                  <c:v>29792</c:v>
                </c:pt>
                <c:pt idx="66472">
                  <c:v>29792</c:v>
                </c:pt>
                <c:pt idx="66473">
                  <c:v>29792</c:v>
                </c:pt>
                <c:pt idx="66474">
                  <c:v>29791</c:v>
                </c:pt>
                <c:pt idx="66475">
                  <c:v>29791</c:v>
                </c:pt>
                <c:pt idx="66476">
                  <c:v>29790</c:v>
                </c:pt>
                <c:pt idx="66477">
                  <c:v>29790</c:v>
                </c:pt>
                <c:pt idx="66478">
                  <c:v>29790</c:v>
                </c:pt>
                <c:pt idx="66479">
                  <c:v>29790</c:v>
                </c:pt>
                <c:pt idx="66480">
                  <c:v>29789</c:v>
                </c:pt>
                <c:pt idx="66481">
                  <c:v>29789</c:v>
                </c:pt>
                <c:pt idx="66482">
                  <c:v>29789</c:v>
                </c:pt>
                <c:pt idx="66483">
                  <c:v>29789</c:v>
                </c:pt>
                <c:pt idx="66484">
                  <c:v>29789</c:v>
                </c:pt>
                <c:pt idx="66485">
                  <c:v>29788</c:v>
                </c:pt>
                <c:pt idx="66486">
                  <c:v>29788</c:v>
                </c:pt>
                <c:pt idx="66487">
                  <c:v>29788</c:v>
                </c:pt>
                <c:pt idx="66488">
                  <c:v>29787</c:v>
                </c:pt>
                <c:pt idx="66489">
                  <c:v>29786</c:v>
                </c:pt>
                <c:pt idx="66490">
                  <c:v>29786</c:v>
                </c:pt>
                <c:pt idx="66491">
                  <c:v>29786</c:v>
                </c:pt>
                <c:pt idx="66492">
                  <c:v>29786</c:v>
                </c:pt>
                <c:pt idx="66493">
                  <c:v>29786</c:v>
                </c:pt>
                <c:pt idx="66494">
                  <c:v>29786</c:v>
                </c:pt>
                <c:pt idx="66495">
                  <c:v>29786</c:v>
                </c:pt>
                <c:pt idx="66496">
                  <c:v>29786</c:v>
                </c:pt>
                <c:pt idx="66497">
                  <c:v>29785</c:v>
                </c:pt>
                <c:pt idx="66498">
                  <c:v>29785</c:v>
                </c:pt>
                <c:pt idx="66499">
                  <c:v>29785</c:v>
                </c:pt>
                <c:pt idx="66500">
                  <c:v>29785</c:v>
                </c:pt>
                <c:pt idx="66501">
                  <c:v>29785</c:v>
                </c:pt>
                <c:pt idx="66502">
                  <c:v>29784</c:v>
                </c:pt>
                <c:pt idx="66503">
                  <c:v>29784</c:v>
                </c:pt>
                <c:pt idx="66504">
                  <c:v>29784</c:v>
                </c:pt>
                <c:pt idx="66505">
                  <c:v>29783</c:v>
                </c:pt>
                <c:pt idx="66506">
                  <c:v>29783</c:v>
                </c:pt>
                <c:pt idx="66507">
                  <c:v>29783</c:v>
                </c:pt>
                <c:pt idx="66508">
                  <c:v>29782</c:v>
                </c:pt>
                <c:pt idx="66509">
                  <c:v>29782</c:v>
                </c:pt>
                <c:pt idx="66510">
                  <c:v>29782</c:v>
                </c:pt>
                <c:pt idx="66511">
                  <c:v>29781</c:v>
                </c:pt>
                <c:pt idx="66512">
                  <c:v>29781</c:v>
                </c:pt>
                <c:pt idx="66513">
                  <c:v>29780</c:v>
                </c:pt>
                <c:pt idx="66514">
                  <c:v>29779</c:v>
                </c:pt>
                <c:pt idx="66515">
                  <c:v>29779</c:v>
                </c:pt>
                <c:pt idx="66516">
                  <c:v>29779</c:v>
                </c:pt>
                <c:pt idx="66517">
                  <c:v>29778</c:v>
                </c:pt>
                <c:pt idx="66518">
                  <c:v>29778</c:v>
                </c:pt>
                <c:pt idx="66519">
                  <c:v>29777</c:v>
                </c:pt>
                <c:pt idx="66520">
                  <c:v>29777</c:v>
                </c:pt>
                <c:pt idx="66521">
                  <c:v>29777</c:v>
                </c:pt>
                <c:pt idx="66522">
                  <c:v>29776</c:v>
                </c:pt>
                <c:pt idx="66523">
                  <c:v>29776</c:v>
                </c:pt>
                <c:pt idx="66524">
                  <c:v>29776</c:v>
                </c:pt>
                <c:pt idx="66525">
                  <c:v>29776</c:v>
                </c:pt>
                <c:pt idx="66526">
                  <c:v>29776</c:v>
                </c:pt>
                <c:pt idx="66527">
                  <c:v>29775</c:v>
                </c:pt>
                <c:pt idx="66528">
                  <c:v>29775</c:v>
                </c:pt>
                <c:pt idx="66529">
                  <c:v>29775</c:v>
                </c:pt>
                <c:pt idx="66530">
                  <c:v>29775</c:v>
                </c:pt>
                <c:pt idx="66531">
                  <c:v>29775</c:v>
                </c:pt>
                <c:pt idx="66532">
                  <c:v>29774</c:v>
                </c:pt>
                <c:pt idx="66533">
                  <c:v>29773</c:v>
                </c:pt>
                <c:pt idx="66534">
                  <c:v>29773</c:v>
                </c:pt>
                <c:pt idx="66535">
                  <c:v>29773</c:v>
                </c:pt>
                <c:pt idx="66536">
                  <c:v>29772</c:v>
                </c:pt>
                <c:pt idx="66537">
                  <c:v>29772</c:v>
                </c:pt>
                <c:pt idx="66538">
                  <c:v>29772</c:v>
                </c:pt>
                <c:pt idx="66539">
                  <c:v>29772</c:v>
                </c:pt>
                <c:pt idx="66540">
                  <c:v>29771</c:v>
                </c:pt>
                <c:pt idx="66541">
                  <c:v>29771</c:v>
                </c:pt>
                <c:pt idx="66542">
                  <c:v>29771</c:v>
                </c:pt>
                <c:pt idx="66543">
                  <c:v>29771</c:v>
                </c:pt>
                <c:pt idx="66544">
                  <c:v>29769</c:v>
                </c:pt>
                <c:pt idx="66545">
                  <c:v>29768</c:v>
                </c:pt>
                <c:pt idx="66546">
                  <c:v>29768</c:v>
                </c:pt>
                <c:pt idx="66547">
                  <c:v>29767</c:v>
                </c:pt>
                <c:pt idx="66548">
                  <c:v>29767</c:v>
                </c:pt>
                <c:pt idx="66549">
                  <c:v>29767</c:v>
                </c:pt>
                <c:pt idx="66550">
                  <c:v>29767</c:v>
                </c:pt>
                <c:pt idx="66551">
                  <c:v>29766</c:v>
                </c:pt>
                <c:pt idx="66552">
                  <c:v>29766</c:v>
                </c:pt>
                <c:pt idx="66553">
                  <c:v>29766</c:v>
                </c:pt>
                <c:pt idx="66554">
                  <c:v>29766</c:v>
                </c:pt>
                <c:pt idx="66555">
                  <c:v>29765</c:v>
                </c:pt>
                <c:pt idx="66556">
                  <c:v>29764</c:v>
                </c:pt>
                <c:pt idx="66557">
                  <c:v>29764</c:v>
                </c:pt>
                <c:pt idx="66558">
                  <c:v>29764</c:v>
                </c:pt>
                <c:pt idx="66559">
                  <c:v>29763</c:v>
                </c:pt>
                <c:pt idx="66560">
                  <c:v>29763</c:v>
                </c:pt>
                <c:pt idx="66561">
                  <c:v>29763</c:v>
                </c:pt>
                <c:pt idx="66562">
                  <c:v>29763</c:v>
                </c:pt>
                <c:pt idx="66563">
                  <c:v>29763</c:v>
                </c:pt>
                <c:pt idx="66564">
                  <c:v>29763</c:v>
                </c:pt>
                <c:pt idx="66565">
                  <c:v>29762</c:v>
                </c:pt>
                <c:pt idx="66566">
                  <c:v>29762</c:v>
                </c:pt>
                <c:pt idx="66567">
                  <c:v>29762</c:v>
                </c:pt>
                <c:pt idx="66568">
                  <c:v>29762</c:v>
                </c:pt>
                <c:pt idx="66569">
                  <c:v>29762</c:v>
                </c:pt>
                <c:pt idx="66570">
                  <c:v>29762</c:v>
                </c:pt>
                <c:pt idx="66571">
                  <c:v>29761</c:v>
                </c:pt>
                <c:pt idx="66572">
                  <c:v>29761</c:v>
                </c:pt>
                <c:pt idx="66573">
                  <c:v>29761</c:v>
                </c:pt>
                <c:pt idx="66574">
                  <c:v>29761</c:v>
                </c:pt>
                <c:pt idx="66575">
                  <c:v>29760</c:v>
                </c:pt>
                <c:pt idx="66576">
                  <c:v>29760</c:v>
                </c:pt>
                <c:pt idx="66577">
                  <c:v>29760</c:v>
                </c:pt>
                <c:pt idx="66578">
                  <c:v>29760</c:v>
                </c:pt>
                <c:pt idx="66579">
                  <c:v>29759</c:v>
                </c:pt>
                <c:pt idx="66580">
                  <c:v>29758</c:v>
                </c:pt>
                <c:pt idx="66581">
                  <c:v>29758</c:v>
                </c:pt>
                <c:pt idx="66582">
                  <c:v>29757</c:v>
                </c:pt>
                <c:pt idx="66583">
                  <c:v>29757</c:v>
                </c:pt>
                <c:pt idx="66584">
                  <c:v>29757</c:v>
                </c:pt>
                <c:pt idx="66585">
                  <c:v>29757</c:v>
                </c:pt>
                <c:pt idx="66586">
                  <c:v>29756</c:v>
                </c:pt>
                <c:pt idx="66587">
                  <c:v>29755</c:v>
                </c:pt>
                <c:pt idx="66588">
                  <c:v>29755</c:v>
                </c:pt>
                <c:pt idx="66589">
                  <c:v>29755</c:v>
                </c:pt>
                <c:pt idx="66590">
                  <c:v>29754</c:v>
                </c:pt>
                <c:pt idx="66591">
                  <c:v>29754</c:v>
                </c:pt>
                <c:pt idx="66592">
                  <c:v>29754</c:v>
                </c:pt>
                <c:pt idx="66593">
                  <c:v>29754</c:v>
                </c:pt>
                <c:pt idx="66594">
                  <c:v>29754</c:v>
                </c:pt>
                <c:pt idx="66595">
                  <c:v>29753</c:v>
                </c:pt>
                <c:pt idx="66596">
                  <c:v>29753</c:v>
                </c:pt>
                <c:pt idx="66597">
                  <c:v>29752</c:v>
                </c:pt>
                <c:pt idx="66598">
                  <c:v>29751</c:v>
                </c:pt>
                <c:pt idx="66599">
                  <c:v>29751</c:v>
                </c:pt>
                <c:pt idx="66600">
                  <c:v>29751</c:v>
                </c:pt>
                <c:pt idx="66601">
                  <c:v>29751</c:v>
                </c:pt>
                <c:pt idx="66602">
                  <c:v>29750</c:v>
                </c:pt>
                <c:pt idx="66603">
                  <c:v>29750</c:v>
                </c:pt>
                <c:pt idx="66604">
                  <c:v>29750</c:v>
                </c:pt>
                <c:pt idx="66605">
                  <c:v>29749</c:v>
                </c:pt>
                <c:pt idx="66606">
                  <c:v>29749</c:v>
                </c:pt>
                <c:pt idx="66607">
                  <c:v>29749</c:v>
                </c:pt>
                <c:pt idx="66608">
                  <c:v>29749</c:v>
                </c:pt>
                <c:pt idx="66609">
                  <c:v>29748</c:v>
                </c:pt>
                <c:pt idx="66610">
                  <c:v>29748</c:v>
                </c:pt>
                <c:pt idx="66611">
                  <c:v>29748</c:v>
                </c:pt>
                <c:pt idx="66612">
                  <c:v>29748</c:v>
                </c:pt>
                <c:pt idx="66613">
                  <c:v>29748</c:v>
                </c:pt>
                <c:pt idx="66614">
                  <c:v>29748</c:v>
                </c:pt>
                <c:pt idx="66615">
                  <c:v>29748</c:v>
                </c:pt>
                <c:pt idx="66616">
                  <c:v>29748</c:v>
                </c:pt>
                <c:pt idx="66617">
                  <c:v>29747</c:v>
                </c:pt>
                <c:pt idx="66618">
                  <c:v>29747</c:v>
                </c:pt>
                <c:pt idx="66619">
                  <c:v>29747</c:v>
                </c:pt>
                <c:pt idx="66620">
                  <c:v>29746</c:v>
                </c:pt>
                <c:pt idx="66621">
                  <c:v>29746</c:v>
                </c:pt>
                <c:pt idx="66622">
                  <c:v>29746</c:v>
                </c:pt>
                <c:pt idx="66623">
                  <c:v>29746</c:v>
                </c:pt>
                <c:pt idx="66624">
                  <c:v>29745</c:v>
                </c:pt>
                <c:pt idx="66625">
                  <c:v>29745</c:v>
                </c:pt>
                <c:pt idx="66626">
                  <c:v>29745</c:v>
                </c:pt>
                <c:pt idx="66627">
                  <c:v>29745</c:v>
                </c:pt>
                <c:pt idx="66628">
                  <c:v>29745</c:v>
                </c:pt>
                <c:pt idx="66629">
                  <c:v>29744</c:v>
                </c:pt>
                <c:pt idx="66630">
                  <c:v>29744</c:v>
                </c:pt>
                <c:pt idx="66631">
                  <c:v>29744</c:v>
                </c:pt>
                <c:pt idx="66632">
                  <c:v>29744</c:v>
                </c:pt>
                <c:pt idx="66633">
                  <c:v>29744</c:v>
                </c:pt>
                <c:pt idx="66634">
                  <c:v>29743</c:v>
                </c:pt>
                <c:pt idx="66635">
                  <c:v>29743</c:v>
                </c:pt>
                <c:pt idx="66636">
                  <c:v>29743</c:v>
                </c:pt>
                <c:pt idx="66637">
                  <c:v>29743</c:v>
                </c:pt>
                <c:pt idx="66638">
                  <c:v>29743</c:v>
                </c:pt>
                <c:pt idx="66639">
                  <c:v>29743</c:v>
                </c:pt>
                <c:pt idx="66640">
                  <c:v>29743</c:v>
                </c:pt>
                <c:pt idx="66641">
                  <c:v>29742</c:v>
                </c:pt>
                <c:pt idx="66642">
                  <c:v>29742</c:v>
                </c:pt>
                <c:pt idx="66643">
                  <c:v>29742</c:v>
                </c:pt>
                <c:pt idx="66644">
                  <c:v>29742</c:v>
                </c:pt>
                <c:pt idx="66645">
                  <c:v>29742</c:v>
                </c:pt>
                <c:pt idx="66646">
                  <c:v>29742</c:v>
                </c:pt>
                <c:pt idx="66647">
                  <c:v>29742</c:v>
                </c:pt>
                <c:pt idx="66648">
                  <c:v>29741</c:v>
                </c:pt>
                <c:pt idx="66649">
                  <c:v>29740</c:v>
                </c:pt>
                <c:pt idx="66650">
                  <c:v>29740</c:v>
                </c:pt>
                <c:pt idx="66651">
                  <c:v>29740</c:v>
                </c:pt>
                <c:pt idx="66652">
                  <c:v>29739</c:v>
                </c:pt>
                <c:pt idx="66653">
                  <c:v>29739</c:v>
                </c:pt>
                <c:pt idx="66654">
                  <c:v>29739</c:v>
                </c:pt>
                <c:pt idx="66655">
                  <c:v>29739</c:v>
                </c:pt>
                <c:pt idx="66656">
                  <c:v>29739</c:v>
                </c:pt>
                <c:pt idx="66657">
                  <c:v>29738</c:v>
                </c:pt>
                <c:pt idx="66658">
                  <c:v>29737</c:v>
                </c:pt>
                <c:pt idx="66659">
                  <c:v>29737</c:v>
                </c:pt>
                <c:pt idx="66660">
                  <c:v>29737</c:v>
                </c:pt>
                <c:pt idx="66661">
                  <c:v>29736</c:v>
                </c:pt>
                <c:pt idx="66662">
                  <c:v>29736</c:v>
                </c:pt>
                <c:pt idx="66663">
                  <c:v>29736</c:v>
                </c:pt>
                <c:pt idx="66664">
                  <c:v>29736</c:v>
                </c:pt>
                <c:pt idx="66665">
                  <c:v>29735</c:v>
                </c:pt>
                <c:pt idx="66666">
                  <c:v>29735</c:v>
                </c:pt>
                <c:pt idx="66667">
                  <c:v>29734</c:v>
                </c:pt>
                <c:pt idx="66668">
                  <c:v>29734</c:v>
                </c:pt>
                <c:pt idx="66669">
                  <c:v>29734</c:v>
                </c:pt>
                <c:pt idx="66670">
                  <c:v>29734</c:v>
                </c:pt>
                <c:pt idx="66671">
                  <c:v>29734</c:v>
                </c:pt>
                <c:pt idx="66672">
                  <c:v>29733</c:v>
                </c:pt>
                <c:pt idx="66673">
                  <c:v>29733</c:v>
                </c:pt>
                <c:pt idx="66674">
                  <c:v>29733</c:v>
                </c:pt>
                <c:pt idx="66675">
                  <c:v>29733</c:v>
                </c:pt>
                <c:pt idx="66676">
                  <c:v>29732</c:v>
                </c:pt>
                <c:pt idx="66677">
                  <c:v>29731</c:v>
                </c:pt>
                <c:pt idx="66678">
                  <c:v>29731</c:v>
                </c:pt>
                <c:pt idx="66679">
                  <c:v>29731</c:v>
                </c:pt>
                <c:pt idx="66680">
                  <c:v>29731</c:v>
                </c:pt>
                <c:pt idx="66681">
                  <c:v>29731</c:v>
                </c:pt>
                <c:pt idx="66682">
                  <c:v>29731</c:v>
                </c:pt>
                <c:pt idx="66683">
                  <c:v>29731</c:v>
                </c:pt>
                <c:pt idx="66684">
                  <c:v>29730</c:v>
                </c:pt>
                <c:pt idx="66685">
                  <c:v>29730</c:v>
                </c:pt>
                <c:pt idx="66686">
                  <c:v>29730</c:v>
                </c:pt>
                <c:pt idx="66687">
                  <c:v>29730</c:v>
                </c:pt>
                <c:pt idx="66688">
                  <c:v>29730</c:v>
                </c:pt>
                <c:pt idx="66689">
                  <c:v>29730</c:v>
                </c:pt>
                <c:pt idx="66690">
                  <c:v>29729</c:v>
                </c:pt>
                <c:pt idx="66691">
                  <c:v>29729</c:v>
                </c:pt>
                <c:pt idx="66692">
                  <c:v>29729</c:v>
                </c:pt>
                <c:pt idx="66693">
                  <c:v>29729</c:v>
                </c:pt>
                <c:pt idx="66694">
                  <c:v>29729</c:v>
                </c:pt>
                <c:pt idx="66695">
                  <c:v>29729</c:v>
                </c:pt>
                <c:pt idx="66696">
                  <c:v>29729</c:v>
                </c:pt>
                <c:pt idx="66697">
                  <c:v>29728</c:v>
                </c:pt>
                <c:pt idx="66698">
                  <c:v>29728</c:v>
                </c:pt>
                <c:pt idx="66699">
                  <c:v>29728</c:v>
                </c:pt>
                <c:pt idx="66700">
                  <c:v>29728</c:v>
                </c:pt>
                <c:pt idx="66701">
                  <c:v>29727</c:v>
                </c:pt>
                <c:pt idx="66702">
                  <c:v>29727</c:v>
                </c:pt>
                <c:pt idx="66703">
                  <c:v>29727</c:v>
                </c:pt>
                <c:pt idx="66704">
                  <c:v>29726</c:v>
                </c:pt>
                <c:pt idx="66705">
                  <c:v>29726</c:v>
                </c:pt>
                <c:pt idx="66706">
                  <c:v>29726</c:v>
                </c:pt>
                <c:pt idx="66707">
                  <c:v>29725</c:v>
                </c:pt>
                <c:pt idx="66708">
                  <c:v>29724</c:v>
                </c:pt>
                <c:pt idx="66709">
                  <c:v>29724</c:v>
                </c:pt>
                <c:pt idx="66710">
                  <c:v>29724</c:v>
                </c:pt>
                <c:pt idx="66711">
                  <c:v>29722</c:v>
                </c:pt>
                <c:pt idx="66712">
                  <c:v>29722</c:v>
                </c:pt>
                <c:pt idx="66713">
                  <c:v>29722</c:v>
                </c:pt>
                <c:pt idx="66714">
                  <c:v>29722</c:v>
                </c:pt>
                <c:pt idx="66715">
                  <c:v>29722</c:v>
                </c:pt>
                <c:pt idx="66716">
                  <c:v>29721</c:v>
                </c:pt>
                <c:pt idx="66717">
                  <c:v>29721</c:v>
                </c:pt>
                <c:pt idx="66718">
                  <c:v>29720</c:v>
                </c:pt>
                <c:pt idx="66719">
                  <c:v>29720</c:v>
                </c:pt>
                <c:pt idx="66720">
                  <c:v>29720</c:v>
                </c:pt>
                <c:pt idx="66721">
                  <c:v>29720</c:v>
                </c:pt>
                <c:pt idx="66722">
                  <c:v>29719</c:v>
                </c:pt>
                <c:pt idx="66723">
                  <c:v>29719</c:v>
                </c:pt>
                <c:pt idx="66724">
                  <c:v>29718</c:v>
                </c:pt>
                <c:pt idx="66725">
                  <c:v>29718</c:v>
                </c:pt>
                <c:pt idx="66726">
                  <c:v>29717</c:v>
                </c:pt>
                <c:pt idx="66727">
                  <c:v>29717</c:v>
                </c:pt>
                <c:pt idx="66728">
                  <c:v>29716</c:v>
                </c:pt>
                <c:pt idx="66729">
                  <c:v>29716</c:v>
                </c:pt>
                <c:pt idx="66730">
                  <c:v>29716</c:v>
                </c:pt>
                <c:pt idx="66731">
                  <c:v>29715</c:v>
                </c:pt>
                <c:pt idx="66732">
                  <c:v>29714</c:v>
                </c:pt>
                <c:pt idx="66733">
                  <c:v>29714</c:v>
                </c:pt>
                <c:pt idx="66734">
                  <c:v>29714</c:v>
                </c:pt>
                <c:pt idx="66735">
                  <c:v>29714</c:v>
                </c:pt>
                <c:pt idx="66736">
                  <c:v>29714</c:v>
                </c:pt>
                <c:pt idx="66737">
                  <c:v>29714</c:v>
                </c:pt>
                <c:pt idx="66738">
                  <c:v>29713</c:v>
                </c:pt>
                <c:pt idx="66739">
                  <c:v>29712</c:v>
                </c:pt>
                <c:pt idx="66740">
                  <c:v>29712</c:v>
                </c:pt>
                <c:pt idx="66741">
                  <c:v>29712</c:v>
                </c:pt>
                <c:pt idx="66742">
                  <c:v>29712</c:v>
                </c:pt>
                <c:pt idx="66743">
                  <c:v>29712</c:v>
                </c:pt>
                <c:pt idx="66744">
                  <c:v>29711</c:v>
                </c:pt>
                <c:pt idx="66745">
                  <c:v>29711</c:v>
                </c:pt>
                <c:pt idx="66746">
                  <c:v>29711</c:v>
                </c:pt>
                <c:pt idx="66747">
                  <c:v>29710</c:v>
                </c:pt>
                <c:pt idx="66748">
                  <c:v>29709</c:v>
                </c:pt>
                <c:pt idx="66749">
                  <c:v>29709</c:v>
                </c:pt>
                <c:pt idx="66750">
                  <c:v>29709</c:v>
                </c:pt>
                <c:pt idx="66751">
                  <c:v>29709</c:v>
                </c:pt>
                <c:pt idx="66752">
                  <c:v>29709</c:v>
                </c:pt>
                <c:pt idx="66753">
                  <c:v>29709</c:v>
                </c:pt>
                <c:pt idx="66754">
                  <c:v>29708</c:v>
                </c:pt>
                <c:pt idx="66755">
                  <c:v>29708</c:v>
                </c:pt>
                <c:pt idx="66756">
                  <c:v>29707</c:v>
                </c:pt>
                <c:pt idx="66757">
                  <c:v>29706</c:v>
                </c:pt>
                <c:pt idx="66758">
                  <c:v>29705</c:v>
                </c:pt>
                <c:pt idx="66759">
                  <c:v>29705</c:v>
                </c:pt>
                <c:pt idx="66760">
                  <c:v>29705</c:v>
                </c:pt>
                <c:pt idx="66761">
                  <c:v>29705</c:v>
                </c:pt>
                <c:pt idx="66762">
                  <c:v>29705</c:v>
                </c:pt>
                <c:pt idx="66763">
                  <c:v>29705</c:v>
                </c:pt>
                <c:pt idx="66764">
                  <c:v>29704</c:v>
                </c:pt>
                <c:pt idx="66765">
                  <c:v>29703</c:v>
                </c:pt>
                <c:pt idx="66766">
                  <c:v>29703</c:v>
                </c:pt>
                <c:pt idx="66767">
                  <c:v>29703</c:v>
                </c:pt>
                <c:pt idx="66768">
                  <c:v>29703</c:v>
                </c:pt>
                <c:pt idx="66769">
                  <c:v>29703</c:v>
                </c:pt>
                <c:pt idx="66770">
                  <c:v>29703</c:v>
                </c:pt>
                <c:pt idx="66771">
                  <c:v>29702</c:v>
                </c:pt>
                <c:pt idx="66772">
                  <c:v>29702</c:v>
                </c:pt>
                <c:pt idx="66773">
                  <c:v>29701</c:v>
                </c:pt>
                <c:pt idx="66774">
                  <c:v>29701</c:v>
                </c:pt>
                <c:pt idx="66775">
                  <c:v>29701</c:v>
                </c:pt>
                <c:pt idx="66776">
                  <c:v>29701</c:v>
                </c:pt>
                <c:pt idx="66777">
                  <c:v>29701</c:v>
                </c:pt>
                <c:pt idx="66778">
                  <c:v>29700</c:v>
                </c:pt>
                <c:pt idx="66779">
                  <c:v>29699</c:v>
                </c:pt>
                <c:pt idx="66780">
                  <c:v>29699</c:v>
                </c:pt>
                <c:pt idx="66781">
                  <c:v>29698</c:v>
                </c:pt>
                <c:pt idx="66782">
                  <c:v>29698</c:v>
                </c:pt>
                <c:pt idx="66783">
                  <c:v>29698</c:v>
                </c:pt>
                <c:pt idx="66784">
                  <c:v>29698</c:v>
                </c:pt>
                <c:pt idx="66785">
                  <c:v>29697</c:v>
                </c:pt>
                <c:pt idx="66786">
                  <c:v>29696</c:v>
                </c:pt>
                <c:pt idx="66787">
                  <c:v>29696</c:v>
                </c:pt>
                <c:pt idx="66788">
                  <c:v>29695</c:v>
                </c:pt>
                <c:pt idx="66789">
                  <c:v>29695</c:v>
                </c:pt>
                <c:pt idx="66790">
                  <c:v>29694</c:v>
                </c:pt>
                <c:pt idx="66791">
                  <c:v>29693</c:v>
                </c:pt>
                <c:pt idx="66792">
                  <c:v>29693</c:v>
                </c:pt>
                <c:pt idx="66793">
                  <c:v>29690</c:v>
                </c:pt>
                <c:pt idx="66794">
                  <c:v>29690</c:v>
                </c:pt>
                <c:pt idx="66795">
                  <c:v>29690</c:v>
                </c:pt>
                <c:pt idx="66796">
                  <c:v>29690</c:v>
                </c:pt>
                <c:pt idx="66797">
                  <c:v>29690</c:v>
                </c:pt>
                <c:pt idx="66798">
                  <c:v>29690</c:v>
                </c:pt>
                <c:pt idx="66799">
                  <c:v>29689</c:v>
                </c:pt>
                <c:pt idx="66800">
                  <c:v>29689</c:v>
                </c:pt>
                <c:pt idx="66801">
                  <c:v>29689</c:v>
                </c:pt>
                <c:pt idx="66802">
                  <c:v>29688</c:v>
                </c:pt>
                <c:pt idx="66803">
                  <c:v>29688</c:v>
                </c:pt>
                <c:pt idx="66804">
                  <c:v>29688</c:v>
                </c:pt>
                <c:pt idx="66805">
                  <c:v>29688</c:v>
                </c:pt>
                <c:pt idx="66806">
                  <c:v>29687</c:v>
                </c:pt>
                <c:pt idx="66807">
                  <c:v>29687</c:v>
                </c:pt>
                <c:pt idx="66808">
                  <c:v>29686</c:v>
                </c:pt>
                <c:pt idx="66809">
                  <c:v>29686</c:v>
                </c:pt>
                <c:pt idx="66810">
                  <c:v>29686</c:v>
                </c:pt>
                <c:pt idx="66811">
                  <c:v>29685</c:v>
                </c:pt>
                <c:pt idx="66812">
                  <c:v>29685</c:v>
                </c:pt>
                <c:pt idx="66813">
                  <c:v>29685</c:v>
                </c:pt>
                <c:pt idx="66814">
                  <c:v>29685</c:v>
                </c:pt>
                <c:pt idx="66815">
                  <c:v>29684</c:v>
                </c:pt>
                <c:pt idx="66816">
                  <c:v>29684</c:v>
                </c:pt>
                <c:pt idx="66817">
                  <c:v>29684</c:v>
                </c:pt>
                <c:pt idx="66818">
                  <c:v>29684</c:v>
                </c:pt>
                <c:pt idx="66819">
                  <c:v>29683</c:v>
                </c:pt>
                <c:pt idx="66820">
                  <c:v>29683</c:v>
                </c:pt>
                <c:pt idx="66821">
                  <c:v>29683</c:v>
                </c:pt>
                <c:pt idx="66822">
                  <c:v>29683</c:v>
                </c:pt>
                <c:pt idx="66823">
                  <c:v>29683</c:v>
                </c:pt>
                <c:pt idx="66824">
                  <c:v>29683</c:v>
                </c:pt>
                <c:pt idx="66825">
                  <c:v>29682</c:v>
                </c:pt>
                <c:pt idx="66826">
                  <c:v>29682</c:v>
                </c:pt>
                <c:pt idx="66827">
                  <c:v>29682</c:v>
                </c:pt>
                <c:pt idx="66828">
                  <c:v>29681</c:v>
                </c:pt>
                <c:pt idx="66829">
                  <c:v>29681</c:v>
                </c:pt>
                <c:pt idx="66830">
                  <c:v>29680</c:v>
                </c:pt>
                <c:pt idx="66831">
                  <c:v>29680</c:v>
                </c:pt>
                <c:pt idx="66832">
                  <c:v>29680</c:v>
                </c:pt>
                <c:pt idx="66833">
                  <c:v>29680</c:v>
                </c:pt>
                <c:pt idx="66834">
                  <c:v>29679</c:v>
                </c:pt>
                <c:pt idx="66835">
                  <c:v>29679</c:v>
                </c:pt>
                <c:pt idx="66836">
                  <c:v>29678</c:v>
                </c:pt>
                <c:pt idx="66837">
                  <c:v>29678</c:v>
                </c:pt>
                <c:pt idx="66838">
                  <c:v>29678</c:v>
                </c:pt>
                <c:pt idx="66839">
                  <c:v>29677</c:v>
                </c:pt>
                <c:pt idx="66840">
                  <c:v>29677</c:v>
                </c:pt>
                <c:pt idx="66841">
                  <c:v>29677</c:v>
                </c:pt>
                <c:pt idx="66842">
                  <c:v>29677</c:v>
                </c:pt>
                <c:pt idx="66843">
                  <c:v>29676</c:v>
                </c:pt>
                <c:pt idx="66844">
                  <c:v>29676</c:v>
                </c:pt>
                <c:pt idx="66845">
                  <c:v>29676</c:v>
                </c:pt>
                <c:pt idx="66846">
                  <c:v>29676</c:v>
                </c:pt>
                <c:pt idx="66847">
                  <c:v>29675</c:v>
                </c:pt>
                <c:pt idx="66848">
                  <c:v>29675</c:v>
                </c:pt>
                <c:pt idx="66849">
                  <c:v>29675</c:v>
                </c:pt>
                <c:pt idx="66850">
                  <c:v>29675</c:v>
                </c:pt>
                <c:pt idx="66851">
                  <c:v>29674</c:v>
                </c:pt>
                <c:pt idx="66852">
                  <c:v>29674</c:v>
                </c:pt>
                <c:pt idx="66853">
                  <c:v>29674</c:v>
                </c:pt>
                <c:pt idx="66854">
                  <c:v>29673</c:v>
                </c:pt>
                <c:pt idx="66855">
                  <c:v>29673</c:v>
                </c:pt>
                <c:pt idx="66856">
                  <c:v>29672</c:v>
                </c:pt>
                <c:pt idx="66857">
                  <c:v>29672</c:v>
                </c:pt>
                <c:pt idx="66858">
                  <c:v>29672</c:v>
                </c:pt>
                <c:pt idx="66859">
                  <c:v>29672</c:v>
                </c:pt>
                <c:pt idx="66860">
                  <c:v>29672</c:v>
                </c:pt>
                <c:pt idx="66861">
                  <c:v>29672</c:v>
                </c:pt>
                <c:pt idx="66862">
                  <c:v>29671</c:v>
                </c:pt>
                <c:pt idx="66863">
                  <c:v>29670</c:v>
                </c:pt>
                <c:pt idx="66864">
                  <c:v>29670</c:v>
                </c:pt>
                <c:pt idx="66865">
                  <c:v>29669</c:v>
                </c:pt>
                <c:pt idx="66866">
                  <c:v>29668</c:v>
                </c:pt>
                <c:pt idx="66867">
                  <c:v>29668</c:v>
                </c:pt>
                <c:pt idx="66868">
                  <c:v>29668</c:v>
                </c:pt>
                <c:pt idx="66869">
                  <c:v>29667</c:v>
                </c:pt>
                <c:pt idx="66870">
                  <c:v>29667</c:v>
                </c:pt>
                <c:pt idx="66871">
                  <c:v>29667</c:v>
                </c:pt>
                <c:pt idx="66872">
                  <c:v>29665</c:v>
                </c:pt>
                <c:pt idx="66873">
                  <c:v>29665</c:v>
                </c:pt>
                <c:pt idx="66874">
                  <c:v>29665</c:v>
                </c:pt>
                <c:pt idx="66875">
                  <c:v>29665</c:v>
                </c:pt>
                <c:pt idx="66876">
                  <c:v>29664</c:v>
                </c:pt>
                <c:pt idx="66877">
                  <c:v>29663</c:v>
                </c:pt>
                <c:pt idx="66878">
                  <c:v>29663</c:v>
                </c:pt>
                <c:pt idx="66879">
                  <c:v>29663</c:v>
                </c:pt>
                <c:pt idx="66880">
                  <c:v>29663</c:v>
                </c:pt>
                <c:pt idx="66881">
                  <c:v>29663</c:v>
                </c:pt>
                <c:pt idx="66882">
                  <c:v>29662</c:v>
                </c:pt>
                <c:pt idx="66883">
                  <c:v>29662</c:v>
                </c:pt>
                <c:pt idx="66884">
                  <c:v>29662</c:v>
                </c:pt>
                <c:pt idx="66885">
                  <c:v>29662</c:v>
                </c:pt>
                <c:pt idx="66886">
                  <c:v>29661</c:v>
                </c:pt>
                <c:pt idx="66887">
                  <c:v>29661</c:v>
                </c:pt>
                <c:pt idx="66888">
                  <c:v>29661</c:v>
                </c:pt>
                <c:pt idx="66889">
                  <c:v>29660</c:v>
                </c:pt>
                <c:pt idx="66890">
                  <c:v>29660</c:v>
                </c:pt>
                <c:pt idx="66891">
                  <c:v>29660</c:v>
                </c:pt>
                <c:pt idx="66892">
                  <c:v>29660</c:v>
                </c:pt>
                <c:pt idx="66893">
                  <c:v>29660</c:v>
                </c:pt>
                <c:pt idx="66894">
                  <c:v>29660</c:v>
                </c:pt>
                <c:pt idx="66895">
                  <c:v>29660</c:v>
                </c:pt>
                <c:pt idx="66896">
                  <c:v>29659</c:v>
                </c:pt>
                <c:pt idx="66897">
                  <c:v>29659</c:v>
                </c:pt>
                <c:pt idx="66898">
                  <c:v>29659</c:v>
                </c:pt>
                <c:pt idx="66899">
                  <c:v>29659</c:v>
                </c:pt>
                <c:pt idx="66900">
                  <c:v>29659</c:v>
                </c:pt>
                <c:pt idx="66901">
                  <c:v>29658</c:v>
                </c:pt>
                <c:pt idx="66902">
                  <c:v>29657</c:v>
                </c:pt>
                <c:pt idx="66903">
                  <c:v>29657</c:v>
                </c:pt>
                <c:pt idx="66904">
                  <c:v>29657</c:v>
                </c:pt>
                <c:pt idx="66905">
                  <c:v>29656</c:v>
                </c:pt>
                <c:pt idx="66906">
                  <c:v>29656</c:v>
                </c:pt>
                <c:pt idx="66907">
                  <c:v>29656</c:v>
                </c:pt>
                <c:pt idx="66908">
                  <c:v>29655</c:v>
                </c:pt>
                <c:pt idx="66909">
                  <c:v>29654</c:v>
                </c:pt>
                <c:pt idx="66910">
                  <c:v>29654</c:v>
                </c:pt>
                <c:pt idx="66911">
                  <c:v>29654</c:v>
                </c:pt>
                <c:pt idx="66912">
                  <c:v>29654</c:v>
                </c:pt>
                <c:pt idx="66913">
                  <c:v>29653</c:v>
                </c:pt>
                <c:pt idx="66914">
                  <c:v>29653</c:v>
                </c:pt>
                <c:pt idx="66915">
                  <c:v>29652</c:v>
                </c:pt>
                <c:pt idx="66916">
                  <c:v>29652</c:v>
                </c:pt>
                <c:pt idx="66917">
                  <c:v>29651</c:v>
                </c:pt>
                <c:pt idx="66918">
                  <c:v>29651</c:v>
                </c:pt>
                <c:pt idx="66919">
                  <c:v>29650</c:v>
                </c:pt>
                <c:pt idx="66920">
                  <c:v>29650</c:v>
                </c:pt>
                <c:pt idx="66921">
                  <c:v>29650</c:v>
                </c:pt>
                <c:pt idx="66922">
                  <c:v>29649</c:v>
                </c:pt>
                <c:pt idx="66923">
                  <c:v>29649</c:v>
                </c:pt>
                <c:pt idx="66924">
                  <c:v>29649</c:v>
                </c:pt>
                <c:pt idx="66925">
                  <c:v>29648</c:v>
                </c:pt>
                <c:pt idx="66926">
                  <c:v>29648</c:v>
                </c:pt>
                <c:pt idx="66927">
                  <c:v>29647</c:v>
                </c:pt>
                <c:pt idx="66928">
                  <c:v>29647</c:v>
                </c:pt>
                <c:pt idx="66929">
                  <c:v>29646</c:v>
                </c:pt>
                <c:pt idx="66930">
                  <c:v>29646</c:v>
                </c:pt>
                <c:pt idx="66931">
                  <c:v>29646</c:v>
                </c:pt>
                <c:pt idx="66932">
                  <c:v>29646</c:v>
                </c:pt>
                <c:pt idx="66933">
                  <c:v>29645</c:v>
                </c:pt>
                <c:pt idx="66934">
                  <c:v>29645</c:v>
                </c:pt>
                <c:pt idx="66935">
                  <c:v>29645</c:v>
                </c:pt>
                <c:pt idx="66936">
                  <c:v>29645</c:v>
                </c:pt>
                <c:pt idx="66937">
                  <c:v>29645</c:v>
                </c:pt>
                <c:pt idx="66938">
                  <c:v>29644</c:v>
                </c:pt>
                <c:pt idx="66939">
                  <c:v>29644</c:v>
                </c:pt>
                <c:pt idx="66940">
                  <c:v>29644</c:v>
                </c:pt>
                <c:pt idx="66941">
                  <c:v>29644</c:v>
                </c:pt>
                <c:pt idx="66942">
                  <c:v>29643</c:v>
                </c:pt>
                <c:pt idx="66943">
                  <c:v>29643</c:v>
                </c:pt>
                <c:pt idx="66944">
                  <c:v>29643</c:v>
                </c:pt>
                <c:pt idx="66945">
                  <c:v>29642</c:v>
                </c:pt>
                <c:pt idx="66946">
                  <c:v>29642</c:v>
                </c:pt>
                <c:pt idx="66947">
                  <c:v>29642</c:v>
                </c:pt>
                <c:pt idx="66948">
                  <c:v>29642</c:v>
                </c:pt>
                <c:pt idx="66949">
                  <c:v>29642</c:v>
                </c:pt>
                <c:pt idx="66950">
                  <c:v>29641</c:v>
                </c:pt>
                <c:pt idx="66951">
                  <c:v>29641</c:v>
                </c:pt>
                <c:pt idx="66952">
                  <c:v>29640</c:v>
                </c:pt>
                <c:pt idx="66953">
                  <c:v>29640</c:v>
                </c:pt>
                <c:pt idx="66954">
                  <c:v>29640</c:v>
                </c:pt>
                <c:pt idx="66955">
                  <c:v>29639</c:v>
                </c:pt>
                <c:pt idx="66956">
                  <c:v>29639</c:v>
                </c:pt>
                <c:pt idx="66957">
                  <c:v>29639</c:v>
                </c:pt>
                <c:pt idx="66958">
                  <c:v>29638</c:v>
                </c:pt>
                <c:pt idx="66959">
                  <c:v>29638</c:v>
                </c:pt>
                <c:pt idx="66960">
                  <c:v>29638</c:v>
                </c:pt>
                <c:pt idx="66961">
                  <c:v>29638</c:v>
                </c:pt>
                <c:pt idx="66962">
                  <c:v>29638</c:v>
                </c:pt>
                <c:pt idx="66963">
                  <c:v>29638</c:v>
                </c:pt>
                <c:pt idx="66964">
                  <c:v>29637</c:v>
                </c:pt>
                <c:pt idx="66965">
                  <c:v>29636</c:v>
                </c:pt>
                <c:pt idx="66966">
                  <c:v>29636</c:v>
                </c:pt>
                <c:pt idx="66967">
                  <c:v>29636</c:v>
                </c:pt>
                <c:pt idx="66968">
                  <c:v>29635</c:v>
                </c:pt>
                <c:pt idx="66969">
                  <c:v>29635</c:v>
                </c:pt>
                <c:pt idx="66970">
                  <c:v>29635</c:v>
                </c:pt>
                <c:pt idx="66971">
                  <c:v>29635</c:v>
                </c:pt>
                <c:pt idx="66972">
                  <c:v>29635</c:v>
                </c:pt>
                <c:pt idx="66973">
                  <c:v>29634</c:v>
                </c:pt>
                <c:pt idx="66974">
                  <c:v>29634</c:v>
                </c:pt>
                <c:pt idx="66975">
                  <c:v>29634</c:v>
                </c:pt>
                <c:pt idx="66976">
                  <c:v>29634</c:v>
                </c:pt>
                <c:pt idx="66977">
                  <c:v>29634</c:v>
                </c:pt>
                <c:pt idx="66978">
                  <c:v>29632</c:v>
                </c:pt>
                <c:pt idx="66979">
                  <c:v>29632</c:v>
                </c:pt>
                <c:pt idx="66980">
                  <c:v>29632</c:v>
                </c:pt>
                <c:pt idx="66981">
                  <c:v>29632</c:v>
                </c:pt>
                <c:pt idx="66982">
                  <c:v>29632</c:v>
                </c:pt>
                <c:pt idx="66983">
                  <c:v>29632</c:v>
                </c:pt>
                <c:pt idx="66984">
                  <c:v>29631</c:v>
                </c:pt>
                <c:pt idx="66985">
                  <c:v>29631</c:v>
                </c:pt>
                <c:pt idx="66986">
                  <c:v>29631</c:v>
                </c:pt>
                <c:pt idx="66987">
                  <c:v>29630</c:v>
                </c:pt>
                <c:pt idx="66988">
                  <c:v>29630</c:v>
                </c:pt>
                <c:pt idx="66989">
                  <c:v>29630</c:v>
                </c:pt>
                <c:pt idx="66990">
                  <c:v>29628</c:v>
                </c:pt>
                <c:pt idx="66991">
                  <c:v>29628</c:v>
                </c:pt>
                <c:pt idx="66992">
                  <c:v>29627</c:v>
                </c:pt>
                <c:pt idx="66993">
                  <c:v>29627</c:v>
                </c:pt>
                <c:pt idx="66994">
                  <c:v>29627</c:v>
                </c:pt>
                <c:pt idx="66995">
                  <c:v>29627</c:v>
                </c:pt>
                <c:pt idx="66996">
                  <c:v>29627</c:v>
                </c:pt>
                <c:pt idx="66997">
                  <c:v>29625</c:v>
                </c:pt>
                <c:pt idx="66998">
                  <c:v>29625</c:v>
                </c:pt>
                <c:pt idx="66999">
                  <c:v>29625</c:v>
                </c:pt>
                <c:pt idx="67000">
                  <c:v>29624</c:v>
                </c:pt>
                <c:pt idx="67001">
                  <c:v>29624</c:v>
                </c:pt>
                <c:pt idx="67002">
                  <c:v>29623</c:v>
                </c:pt>
                <c:pt idx="67003">
                  <c:v>29623</c:v>
                </c:pt>
                <c:pt idx="67004">
                  <c:v>29623</c:v>
                </c:pt>
                <c:pt idx="67005">
                  <c:v>29623</c:v>
                </c:pt>
                <c:pt idx="67006">
                  <c:v>29622</c:v>
                </c:pt>
                <c:pt idx="67007">
                  <c:v>29622</c:v>
                </c:pt>
                <c:pt idx="67008">
                  <c:v>29622</c:v>
                </c:pt>
                <c:pt idx="67009">
                  <c:v>29621</c:v>
                </c:pt>
                <c:pt idx="67010">
                  <c:v>29621</c:v>
                </c:pt>
                <c:pt idx="67011">
                  <c:v>29621</c:v>
                </c:pt>
                <c:pt idx="67012">
                  <c:v>29620</c:v>
                </c:pt>
                <c:pt idx="67013">
                  <c:v>29620</c:v>
                </c:pt>
                <c:pt idx="67014">
                  <c:v>29620</c:v>
                </c:pt>
                <c:pt idx="67015">
                  <c:v>29619</c:v>
                </c:pt>
                <c:pt idx="67016">
                  <c:v>29619</c:v>
                </c:pt>
                <c:pt idx="67017">
                  <c:v>29618</c:v>
                </c:pt>
                <c:pt idx="67018">
                  <c:v>29618</c:v>
                </c:pt>
                <c:pt idx="67019">
                  <c:v>29617</c:v>
                </c:pt>
                <c:pt idx="67020">
                  <c:v>29617</c:v>
                </c:pt>
                <c:pt idx="67021">
                  <c:v>29617</c:v>
                </c:pt>
                <c:pt idx="67022">
                  <c:v>29617</c:v>
                </c:pt>
                <c:pt idx="67023">
                  <c:v>29616</c:v>
                </c:pt>
                <c:pt idx="67024">
                  <c:v>29616</c:v>
                </c:pt>
                <c:pt idx="67025">
                  <c:v>29616</c:v>
                </c:pt>
                <c:pt idx="67026">
                  <c:v>29616</c:v>
                </c:pt>
                <c:pt idx="67027">
                  <c:v>29616</c:v>
                </c:pt>
                <c:pt idx="67028">
                  <c:v>29615</c:v>
                </c:pt>
                <c:pt idx="67029">
                  <c:v>29615</c:v>
                </c:pt>
                <c:pt idx="67030">
                  <c:v>29615</c:v>
                </c:pt>
                <c:pt idx="67031">
                  <c:v>29614</c:v>
                </c:pt>
                <c:pt idx="67032">
                  <c:v>29614</c:v>
                </c:pt>
                <c:pt idx="67033">
                  <c:v>29614</c:v>
                </c:pt>
                <c:pt idx="67034">
                  <c:v>29614</c:v>
                </c:pt>
                <c:pt idx="67035">
                  <c:v>29613</c:v>
                </c:pt>
                <c:pt idx="67036">
                  <c:v>29613</c:v>
                </c:pt>
                <c:pt idx="67037">
                  <c:v>29613</c:v>
                </c:pt>
                <c:pt idx="67038">
                  <c:v>29612</c:v>
                </c:pt>
                <c:pt idx="67039">
                  <c:v>29612</c:v>
                </c:pt>
                <c:pt idx="67040">
                  <c:v>29611</c:v>
                </c:pt>
                <c:pt idx="67041">
                  <c:v>29611</c:v>
                </c:pt>
                <c:pt idx="67042">
                  <c:v>29611</c:v>
                </c:pt>
                <c:pt idx="67043">
                  <c:v>29611</c:v>
                </c:pt>
                <c:pt idx="67044">
                  <c:v>29611</c:v>
                </c:pt>
                <c:pt idx="67045">
                  <c:v>29610</c:v>
                </c:pt>
                <c:pt idx="67046">
                  <c:v>29610</c:v>
                </c:pt>
                <c:pt idx="67047">
                  <c:v>29610</c:v>
                </c:pt>
                <c:pt idx="67048">
                  <c:v>29609</c:v>
                </c:pt>
                <c:pt idx="67049">
                  <c:v>29608</c:v>
                </c:pt>
                <c:pt idx="67050">
                  <c:v>29607</c:v>
                </c:pt>
                <c:pt idx="67051">
                  <c:v>29607</c:v>
                </c:pt>
                <c:pt idx="67052">
                  <c:v>29606</c:v>
                </c:pt>
                <c:pt idx="67053">
                  <c:v>29606</c:v>
                </c:pt>
                <c:pt idx="67054">
                  <c:v>29606</c:v>
                </c:pt>
                <c:pt idx="67055">
                  <c:v>29606</c:v>
                </c:pt>
                <c:pt idx="67056">
                  <c:v>29606</c:v>
                </c:pt>
                <c:pt idx="67057">
                  <c:v>29605</c:v>
                </c:pt>
                <c:pt idx="67058">
                  <c:v>29605</c:v>
                </c:pt>
                <c:pt idx="67059">
                  <c:v>29605</c:v>
                </c:pt>
                <c:pt idx="67060">
                  <c:v>29604</c:v>
                </c:pt>
                <c:pt idx="67061">
                  <c:v>29604</c:v>
                </c:pt>
                <c:pt idx="67062">
                  <c:v>29604</c:v>
                </c:pt>
                <c:pt idx="67063">
                  <c:v>29604</c:v>
                </c:pt>
                <c:pt idx="67064">
                  <c:v>29603</c:v>
                </c:pt>
                <c:pt idx="67065">
                  <c:v>29603</c:v>
                </c:pt>
                <c:pt idx="67066">
                  <c:v>29602</c:v>
                </c:pt>
                <c:pt idx="67067">
                  <c:v>29602</c:v>
                </c:pt>
                <c:pt idx="67068">
                  <c:v>29602</c:v>
                </c:pt>
                <c:pt idx="67069">
                  <c:v>29602</c:v>
                </c:pt>
                <c:pt idx="67070">
                  <c:v>29602</c:v>
                </c:pt>
                <c:pt idx="67071">
                  <c:v>29601</c:v>
                </c:pt>
                <c:pt idx="67072">
                  <c:v>29601</c:v>
                </c:pt>
                <c:pt idx="67073">
                  <c:v>29601</c:v>
                </c:pt>
                <c:pt idx="67074">
                  <c:v>29600</c:v>
                </c:pt>
                <c:pt idx="67075">
                  <c:v>29600</c:v>
                </c:pt>
                <c:pt idx="67076">
                  <c:v>29600</c:v>
                </c:pt>
                <c:pt idx="67077">
                  <c:v>29600</c:v>
                </c:pt>
                <c:pt idx="67078">
                  <c:v>29600</c:v>
                </c:pt>
                <c:pt idx="67079">
                  <c:v>29599</c:v>
                </c:pt>
                <c:pt idx="67080">
                  <c:v>29599</c:v>
                </c:pt>
                <c:pt idx="67081">
                  <c:v>29599</c:v>
                </c:pt>
                <c:pt idx="67082">
                  <c:v>29598</c:v>
                </c:pt>
                <c:pt idx="67083">
                  <c:v>29597</c:v>
                </c:pt>
                <c:pt idx="67084">
                  <c:v>29597</c:v>
                </c:pt>
                <c:pt idx="67085">
                  <c:v>29596</c:v>
                </c:pt>
                <c:pt idx="67086">
                  <c:v>29596</c:v>
                </c:pt>
                <c:pt idx="67087">
                  <c:v>29595</c:v>
                </c:pt>
                <c:pt idx="67088">
                  <c:v>29595</c:v>
                </c:pt>
                <c:pt idx="67089">
                  <c:v>29595</c:v>
                </c:pt>
                <c:pt idx="67090">
                  <c:v>29595</c:v>
                </c:pt>
                <c:pt idx="67091">
                  <c:v>29595</c:v>
                </c:pt>
                <c:pt idx="67092">
                  <c:v>29595</c:v>
                </c:pt>
                <c:pt idx="67093">
                  <c:v>29594</c:v>
                </c:pt>
                <c:pt idx="67094">
                  <c:v>29594</c:v>
                </c:pt>
                <c:pt idx="67095">
                  <c:v>29594</c:v>
                </c:pt>
                <c:pt idx="67096">
                  <c:v>29594</c:v>
                </c:pt>
                <c:pt idx="67097">
                  <c:v>29593</c:v>
                </c:pt>
                <c:pt idx="67098">
                  <c:v>29593</c:v>
                </c:pt>
                <c:pt idx="67099">
                  <c:v>29592</c:v>
                </c:pt>
                <c:pt idx="67100">
                  <c:v>29592</c:v>
                </c:pt>
                <c:pt idx="67101">
                  <c:v>29591</c:v>
                </c:pt>
                <c:pt idx="67102">
                  <c:v>29591</c:v>
                </c:pt>
                <c:pt idx="67103">
                  <c:v>29590</c:v>
                </c:pt>
                <c:pt idx="67104">
                  <c:v>29590</c:v>
                </c:pt>
                <c:pt idx="67105">
                  <c:v>29590</c:v>
                </c:pt>
                <c:pt idx="67106">
                  <c:v>29589</c:v>
                </c:pt>
                <c:pt idx="67107">
                  <c:v>29587</c:v>
                </c:pt>
                <c:pt idx="67108">
                  <c:v>29587</c:v>
                </c:pt>
                <c:pt idx="67109">
                  <c:v>29587</c:v>
                </c:pt>
                <c:pt idx="67110">
                  <c:v>29587</c:v>
                </c:pt>
                <c:pt idx="67111">
                  <c:v>29586</c:v>
                </c:pt>
                <c:pt idx="67112">
                  <c:v>29586</c:v>
                </c:pt>
                <c:pt idx="67113">
                  <c:v>29586</c:v>
                </c:pt>
                <c:pt idx="67114">
                  <c:v>29586</c:v>
                </c:pt>
                <c:pt idx="67115">
                  <c:v>29585</c:v>
                </c:pt>
                <c:pt idx="67116">
                  <c:v>29585</c:v>
                </c:pt>
                <c:pt idx="67117">
                  <c:v>29585</c:v>
                </c:pt>
                <c:pt idx="67118">
                  <c:v>29585</c:v>
                </c:pt>
                <c:pt idx="67119">
                  <c:v>29585</c:v>
                </c:pt>
                <c:pt idx="67120">
                  <c:v>29585</c:v>
                </c:pt>
                <c:pt idx="67121">
                  <c:v>29583</c:v>
                </c:pt>
                <c:pt idx="67122">
                  <c:v>29583</c:v>
                </c:pt>
                <c:pt idx="67123">
                  <c:v>29583</c:v>
                </c:pt>
                <c:pt idx="67124">
                  <c:v>29582</c:v>
                </c:pt>
                <c:pt idx="67125">
                  <c:v>29582</c:v>
                </c:pt>
                <c:pt idx="67126">
                  <c:v>29582</c:v>
                </c:pt>
                <c:pt idx="67127">
                  <c:v>29582</c:v>
                </c:pt>
                <c:pt idx="67128">
                  <c:v>29582</c:v>
                </c:pt>
                <c:pt idx="67129">
                  <c:v>29582</c:v>
                </c:pt>
                <c:pt idx="67130">
                  <c:v>29582</c:v>
                </c:pt>
                <c:pt idx="67131">
                  <c:v>29580</c:v>
                </c:pt>
                <c:pt idx="67132">
                  <c:v>29580</c:v>
                </c:pt>
                <c:pt idx="67133">
                  <c:v>29579</c:v>
                </c:pt>
                <c:pt idx="67134">
                  <c:v>29579</c:v>
                </c:pt>
                <c:pt idx="67135">
                  <c:v>29579</c:v>
                </c:pt>
                <c:pt idx="67136">
                  <c:v>29579</c:v>
                </c:pt>
                <c:pt idx="67137">
                  <c:v>29579</c:v>
                </c:pt>
                <c:pt idx="67138">
                  <c:v>29579</c:v>
                </c:pt>
                <c:pt idx="67139">
                  <c:v>29578</c:v>
                </c:pt>
                <c:pt idx="67140">
                  <c:v>29578</c:v>
                </c:pt>
                <c:pt idx="67141">
                  <c:v>29577</c:v>
                </c:pt>
                <c:pt idx="67142">
                  <c:v>29577</c:v>
                </c:pt>
                <c:pt idx="67143">
                  <c:v>29576</c:v>
                </c:pt>
                <c:pt idx="67144">
                  <c:v>29576</c:v>
                </c:pt>
                <c:pt idx="67145">
                  <c:v>29576</c:v>
                </c:pt>
                <c:pt idx="67146">
                  <c:v>29576</c:v>
                </c:pt>
                <c:pt idx="67147">
                  <c:v>29575</c:v>
                </c:pt>
                <c:pt idx="67148">
                  <c:v>29575</c:v>
                </c:pt>
                <c:pt idx="67149">
                  <c:v>29575</c:v>
                </c:pt>
                <c:pt idx="67150">
                  <c:v>29575</c:v>
                </c:pt>
                <c:pt idx="67151">
                  <c:v>29574</c:v>
                </c:pt>
                <c:pt idx="67152">
                  <c:v>29573</c:v>
                </c:pt>
                <c:pt idx="67153">
                  <c:v>29573</c:v>
                </c:pt>
                <c:pt idx="67154">
                  <c:v>29573</c:v>
                </c:pt>
                <c:pt idx="67155">
                  <c:v>29573</c:v>
                </c:pt>
                <c:pt idx="67156">
                  <c:v>29573</c:v>
                </c:pt>
                <c:pt idx="67157">
                  <c:v>29572</c:v>
                </c:pt>
                <c:pt idx="67158">
                  <c:v>29572</c:v>
                </c:pt>
                <c:pt idx="67159">
                  <c:v>29572</c:v>
                </c:pt>
                <c:pt idx="67160">
                  <c:v>29571</c:v>
                </c:pt>
                <c:pt idx="67161">
                  <c:v>29570</c:v>
                </c:pt>
                <c:pt idx="67162">
                  <c:v>29570</c:v>
                </c:pt>
                <c:pt idx="67163">
                  <c:v>29570</c:v>
                </c:pt>
                <c:pt idx="67164">
                  <c:v>29569</c:v>
                </c:pt>
                <c:pt idx="67165">
                  <c:v>29569</c:v>
                </c:pt>
                <c:pt idx="67166">
                  <c:v>29568</c:v>
                </c:pt>
                <c:pt idx="67167">
                  <c:v>29568</c:v>
                </c:pt>
                <c:pt idx="67168">
                  <c:v>29568</c:v>
                </c:pt>
                <c:pt idx="67169">
                  <c:v>29568</c:v>
                </c:pt>
                <c:pt idx="67170">
                  <c:v>29566</c:v>
                </c:pt>
                <c:pt idx="67171">
                  <c:v>29566</c:v>
                </c:pt>
                <c:pt idx="67172">
                  <c:v>29566</c:v>
                </c:pt>
                <c:pt idx="67173">
                  <c:v>29565</c:v>
                </c:pt>
                <c:pt idx="67174">
                  <c:v>29565</c:v>
                </c:pt>
                <c:pt idx="67175">
                  <c:v>29565</c:v>
                </c:pt>
                <c:pt idx="67176">
                  <c:v>29564</c:v>
                </c:pt>
                <c:pt idx="67177">
                  <c:v>29564</c:v>
                </c:pt>
                <c:pt idx="67178">
                  <c:v>29564</c:v>
                </c:pt>
                <c:pt idx="67179">
                  <c:v>29564</c:v>
                </c:pt>
                <c:pt idx="67180">
                  <c:v>29563</c:v>
                </c:pt>
                <c:pt idx="67181">
                  <c:v>29563</c:v>
                </c:pt>
                <c:pt idx="67182">
                  <c:v>29563</c:v>
                </c:pt>
                <c:pt idx="67183">
                  <c:v>29563</c:v>
                </c:pt>
                <c:pt idx="67184">
                  <c:v>29562</c:v>
                </c:pt>
                <c:pt idx="67185">
                  <c:v>29562</c:v>
                </c:pt>
                <c:pt idx="67186">
                  <c:v>29562</c:v>
                </c:pt>
                <c:pt idx="67187">
                  <c:v>29562</c:v>
                </c:pt>
                <c:pt idx="67188">
                  <c:v>29561</c:v>
                </c:pt>
                <c:pt idx="67189">
                  <c:v>29560</c:v>
                </c:pt>
                <c:pt idx="67190">
                  <c:v>29560</c:v>
                </c:pt>
                <c:pt idx="67191">
                  <c:v>29560</c:v>
                </c:pt>
                <c:pt idx="67192">
                  <c:v>29560</c:v>
                </c:pt>
                <c:pt idx="67193">
                  <c:v>29559</c:v>
                </c:pt>
                <c:pt idx="67194">
                  <c:v>29559</c:v>
                </c:pt>
                <c:pt idx="67195">
                  <c:v>29559</c:v>
                </c:pt>
                <c:pt idx="67196">
                  <c:v>29559</c:v>
                </c:pt>
                <c:pt idx="67197">
                  <c:v>29559</c:v>
                </c:pt>
                <c:pt idx="67198">
                  <c:v>29558</c:v>
                </c:pt>
                <c:pt idx="67199">
                  <c:v>29558</c:v>
                </c:pt>
                <c:pt idx="67200">
                  <c:v>29558</c:v>
                </c:pt>
                <c:pt idx="67201">
                  <c:v>29558</c:v>
                </c:pt>
                <c:pt idx="67202">
                  <c:v>29558</c:v>
                </c:pt>
                <c:pt idx="67203">
                  <c:v>29558</c:v>
                </c:pt>
                <c:pt idx="67204">
                  <c:v>29557</c:v>
                </c:pt>
                <c:pt idx="67205">
                  <c:v>29557</c:v>
                </c:pt>
                <c:pt idx="67206">
                  <c:v>29557</c:v>
                </c:pt>
                <c:pt idx="67207">
                  <c:v>29557</c:v>
                </c:pt>
                <c:pt idx="67208">
                  <c:v>29555</c:v>
                </c:pt>
                <c:pt idx="67209">
                  <c:v>29555</c:v>
                </c:pt>
                <c:pt idx="67210">
                  <c:v>29555</c:v>
                </c:pt>
                <c:pt idx="67211">
                  <c:v>29554</c:v>
                </c:pt>
                <c:pt idx="67212">
                  <c:v>29554</c:v>
                </c:pt>
                <c:pt idx="67213">
                  <c:v>29554</c:v>
                </c:pt>
                <c:pt idx="67214">
                  <c:v>29554</c:v>
                </c:pt>
                <c:pt idx="67215">
                  <c:v>29553</c:v>
                </c:pt>
                <c:pt idx="67216">
                  <c:v>29553</c:v>
                </c:pt>
                <c:pt idx="67217">
                  <c:v>29552</c:v>
                </c:pt>
                <c:pt idx="67218">
                  <c:v>29552</c:v>
                </c:pt>
                <c:pt idx="67219">
                  <c:v>29552</c:v>
                </c:pt>
                <c:pt idx="67220">
                  <c:v>29552</c:v>
                </c:pt>
                <c:pt idx="67221">
                  <c:v>29551</c:v>
                </c:pt>
                <c:pt idx="67222">
                  <c:v>29551</c:v>
                </c:pt>
                <c:pt idx="67223">
                  <c:v>29551</c:v>
                </c:pt>
                <c:pt idx="67224">
                  <c:v>29551</c:v>
                </c:pt>
                <c:pt idx="67225">
                  <c:v>29550</c:v>
                </c:pt>
                <c:pt idx="67226">
                  <c:v>29550</c:v>
                </c:pt>
                <c:pt idx="67227">
                  <c:v>29550</c:v>
                </c:pt>
                <c:pt idx="67228">
                  <c:v>29550</c:v>
                </c:pt>
                <c:pt idx="67229">
                  <c:v>29549</c:v>
                </c:pt>
                <c:pt idx="67230">
                  <c:v>29549</c:v>
                </c:pt>
                <c:pt idx="67231">
                  <c:v>29549</c:v>
                </c:pt>
                <c:pt idx="67232">
                  <c:v>29549</c:v>
                </c:pt>
                <c:pt idx="67233">
                  <c:v>29549</c:v>
                </c:pt>
                <c:pt idx="67234">
                  <c:v>29548</c:v>
                </c:pt>
                <c:pt idx="67235">
                  <c:v>29548</c:v>
                </c:pt>
                <c:pt idx="67236">
                  <c:v>29547</c:v>
                </c:pt>
                <c:pt idx="67237">
                  <c:v>29547</c:v>
                </c:pt>
                <c:pt idx="67238">
                  <c:v>29547</c:v>
                </c:pt>
                <c:pt idx="67239">
                  <c:v>29547</c:v>
                </c:pt>
                <c:pt idx="67240">
                  <c:v>29547</c:v>
                </c:pt>
                <c:pt idx="67241">
                  <c:v>29547</c:v>
                </c:pt>
                <c:pt idx="67242">
                  <c:v>29546</c:v>
                </c:pt>
                <c:pt idx="67243">
                  <c:v>29546</c:v>
                </c:pt>
                <c:pt idx="67244">
                  <c:v>29546</c:v>
                </c:pt>
                <c:pt idx="67245">
                  <c:v>29546</c:v>
                </c:pt>
                <c:pt idx="67246">
                  <c:v>29545</c:v>
                </c:pt>
                <c:pt idx="67247">
                  <c:v>29545</c:v>
                </c:pt>
                <c:pt idx="67248">
                  <c:v>29544</c:v>
                </c:pt>
                <c:pt idx="67249">
                  <c:v>29544</c:v>
                </c:pt>
                <c:pt idx="67250">
                  <c:v>29544</c:v>
                </c:pt>
                <c:pt idx="67251">
                  <c:v>29543</c:v>
                </c:pt>
                <c:pt idx="67252">
                  <c:v>29542</c:v>
                </c:pt>
                <c:pt idx="67253">
                  <c:v>29542</c:v>
                </c:pt>
                <c:pt idx="67254">
                  <c:v>29542</c:v>
                </c:pt>
                <c:pt idx="67255">
                  <c:v>29541</c:v>
                </c:pt>
                <c:pt idx="67256">
                  <c:v>29541</c:v>
                </c:pt>
                <c:pt idx="67257">
                  <c:v>29541</c:v>
                </c:pt>
                <c:pt idx="67258">
                  <c:v>29540</c:v>
                </c:pt>
                <c:pt idx="67259">
                  <c:v>29540</c:v>
                </c:pt>
                <c:pt idx="67260">
                  <c:v>29540</c:v>
                </c:pt>
                <c:pt idx="67261">
                  <c:v>29540</c:v>
                </c:pt>
                <c:pt idx="67262">
                  <c:v>29540</c:v>
                </c:pt>
                <c:pt idx="67263">
                  <c:v>29540</c:v>
                </c:pt>
                <c:pt idx="67264">
                  <c:v>29539</c:v>
                </c:pt>
                <c:pt idx="67265">
                  <c:v>29539</c:v>
                </c:pt>
                <c:pt idx="67266">
                  <c:v>29539</c:v>
                </c:pt>
                <c:pt idx="67267">
                  <c:v>29539</c:v>
                </c:pt>
                <c:pt idx="67268">
                  <c:v>29539</c:v>
                </c:pt>
                <c:pt idx="67269">
                  <c:v>29539</c:v>
                </c:pt>
                <c:pt idx="67270">
                  <c:v>29539</c:v>
                </c:pt>
                <c:pt idx="67271">
                  <c:v>29538</c:v>
                </c:pt>
                <c:pt idx="67272">
                  <c:v>29538</c:v>
                </c:pt>
                <c:pt idx="67273">
                  <c:v>29538</c:v>
                </c:pt>
                <c:pt idx="67274">
                  <c:v>29538</c:v>
                </c:pt>
                <c:pt idx="67275">
                  <c:v>29537</c:v>
                </c:pt>
                <c:pt idx="67276">
                  <c:v>29537</c:v>
                </c:pt>
                <c:pt idx="67277">
                  <c:v>29537</c:v>
                </c:pt>
                <c:pt idx="67278">
                  <c:v>29537</c:v>
                </c:pt>
                <c:pt idx="67279">
                  <c:v>29537</c:v>
                </c:pt>
                <c:pt idx="67280">
                  <c:v>29537</c:v>
                </c:pt>
                <c:pt idx="67281">
                  <c:v>29537</c:v>
                </c:pt>
                <c:pt idx="67282">
                  <c:v>29536</c:v>
                </c:pt>
                <c:pt idx="67283">
                  <c:v>29535</c:v>
                </c:pt>
                <c:pt idx="67284">
                  <c:v>29535</c:v>
                </c:pt>
                <c:pt idx="67285">
                  <c:v>29535</c:v>
                </c:pt>
                <c:pt idx="67286">
                  <c:v>29535</c:v>
                </c:pt>
                <c:pt idx="67287">
                  <c:v>29534</c:v>
                </c:pt>
                <c:pt idx="67288">
                  <c:v>29533</c:v>
                </c:pt>
                <c:pt idx="67289">
                  <c:v>29533</c:v>
                </c:pt>
                <c:pt idx="67290">
                  <c:v>29533</c:v>
                </c:pt>
                <c:pt idx="67291">
                  <c:v>29533</c:v>
                </c:pt>
                <c:pt idx="67292">
                  <c:v>29531</c:v>
                </c:pt>
                <c:pt idx="67293">
                  <c:v>29531</c:v>
                </c:pt>
                <c:pt idx="67294">
                  <c:v>29531</c:v>
                </c:pt>
                <c:pt idx="67295">
                  <c:v>29530</c:v>
                </c:pt>
                <c:pt idx="67296">
                  <c:v>29530</c:v>
                </c:pt>
                <c:pt idx="67297">
                  <c:v>29530</c:v>
                </c:pt>
                <c:pt idx="67298">
                  <c:v>29530</c:v>
                </c:pt>
                <c:pt idx="67299">
                  <c:v>29529</c:v>
                </c:pt>
                <c:pt idx="67300">
                  <c:v>29528</c:v>
                </c:pt>
                <c:pt idx="67301">
                  <c:v>29528</c:v>
                </c:pt>
                <c:pt idx="67302">
                  <c:v>29528</c:v>
                </c:pt>
                <c:pt idx="67303">
                  <c:v>29526</c:v>
                </c:pt>
                <c:pt idx="67304">
                  <c:v>29526</c:v>
                </c:pt>
                <c:pt idx="67305">
                  <c:v>29526</c:v>
                </c:pt>
                <c:pt idx="67306">
                  <c:v>29526</c:v>
                </c:pt>
                <c:pt idx="67307">
                  <c:v>29525</c:v>
                </c:pt>
                <c:pt idx="67308">
                  <c:v>29525</c:v>
                </c:pt>
                <c:pt idx="67309">
                  <c:v>29524</c:v>
                </c:pt>
                <c:pt idx="67310">
                  <c:v>29524</c:v>
                </c:pt>
                <c:pt idx="67311">
                  <c:v>29524</c:v>
                </c:pt>
                <c:pt idx="67312">
                  <c:v>29524</c:v>
                </c:pt>
                <c:pt idx="67313">
                  <c:v>29524</c:v>
                </c:pt>
                <c:pt idx="67314">
                  <c:v>29523</c:v>
                </c:pt>
                <c:pt idx="67315">
                  <c:v>29523</c:v>
                </c:pt>
                <c:pt idx="67316">
                  <c:v>29523</c:v>
                </c:pt>
                <c:pt idx="67317">
                  <c:v>29522</c:v>
                </c:pt>
                <c:pt idx="67318">
                  <c:v>29521</c:v>
                </c:pt>
                <c:pt idx="67319">
                  <c:v>29521</c:v>
                </c:pt>
                <c:pt idx="67320">
                  <c:v>29521</c:v>
                </c:pt>
                <c:pt idx="67321">
                  <c:v>29521</c:v>
                </c:pt>
                <c:pt idx="67322">
                  <c:v>29520</c:v>
                </c:pt>
                <c:pt idx="67323">
                  <c:v>29520</c:v>
                </c:pt>
                <c:pt idx="67324">
                  <c:v>29520</c:v>
                </c:pt>
                <c:pt idx="67325">
                  <c:v>29519</c:v>
                </c:pt>
                <c:pt idx="67326">
                  <c:v>29519</c:v>
                </c:pt>
                <c:pt idx="67327">
                  <c:v>29518</c:v>
                </c:pt>
                <c:pt idx="67328">
                  <c:v>29518</c:v>
                </c:pt>
                <c:pt idx="67329">
                  <c:v>29518</c:v>
                </c:pt>
                <c:pt idx="67330">
                  <c:v>29518</c:v>
                </c:pt>
                <c:pt idx="67331">
                  <c:v>29518</c:v>
                </c:pt>
                <c:pt idx="67332">
                  <c:v>29517</c:v>
                </c:pt>
                <c:pt idx="67333">
                  <c:v>29517</c:v>
                </c:pt>
                <c:pt idx="67334">
                  <c:v>29517</c:v>
                </c:pt>
                <c:pt idx="67335">
                  <c:v>29517</c:v>
                </c:pt>
                <c:pt idx="67336">
                  <c:v>29517</c:v>
                </c:pt>
                <c:pt idx="67337">
                  <c:v>29517</c:v>
                </c:pt>
                <c:pt idx="67338">
                  <c:v>29517</c:v>
                </c:pt>
                <c:pt idx="67339">
                  <c:v>29517</c:v>
                </c:pt>
                <c:pt idx="67340">
                  <c:v>29517</c:v>
                </c:pt>
                <c:pt idx="67341">
                  <c:v>29516</c:v>
                </c:pt>
                <c:pt idx="67342">
                  <c:v>29516</c:v>
                </c:pt>
                <c:pt idx="67343">
                  <c:v>29515</c:v>
                </c:pt>
                <c:pt idx="67344">
                  <c:v>29515</c:v>
                </c:pt>
                <c:pt idx="67345">
                  <c:v>29515</c:v>
                </c:pt>
                <c:pt idx="67346">
                  <c:v>29515</c:v>
                </c:pt>
                <c:pt idx="67347">
                  <c:v>29514</c:v>
                </c:pt>
                <c:pt idx="67348">
                  <c:v>29513</c:v>
                </c:pt>
                <c:pt idx="67349">
                  <c:v>29513</c:v>
                </c:pt>
                <c:pt idx="67350">
                  <c:v>29513</c:v>
                </c:pt>
                <c:pt idx="67351">
                  <c:v>29512</c:v>
                </c:pt>
                <c:pt idx="67352">
                  <c:v>29512</c:v>
                </c:pt>
                <c:pt idx="67353">
                  <c:v>29511</c:v>
                </c:pt>
                <c:pt idx="67354">
                  <c:v>29511</c:v>
                </c:pt>
                <c:pt idx="67355">
                  <c:v>29510</c:v>
                </c:pt>
                <c:pt idx="67356">
                  <c:v>29509</c:v>
                </c:pt>
                <c:pt idx="67357">
                  <c:v>29509</c:v>
                </c:pt>
                <c:pt idx="67358">
                  <c:v>29509</c:v>
                </c:pt>
                <c:pt idx="67359">
                  <c:v>29509</c:v>
                </c:pt>
                <c:pt idx="67360">
                  <c:v>29508</c:v>
                </c:pt>
                <c:pt idx="67361">
                  <c:v>29508</c:v>
                </c:pt>
                <c:pt idx="67362">
                  <c:v>29508</c:v>
                </c:pt>
                <c:pt idx="67363">
                  <c:v>29507</c:v>
                </c:pt>
                <c:pt idx="67364">
                  <c:v>29507</c:v>
                </c:pt>
                <c:pt idx="67365">
                  <c:v>29507</c:v>
                </c:pt>
                <c:pt idx="67366">
                  <c:v>29507</c:v>
                </c:pt>
                <c:pt idx="67367">
                  <c:v>29507</c:v>
                </c:pt>
                <c:pt idx="67368">
                  <c:v>29506</c:v>
                </c:pt>
                <c:pt idx="67369">
                  <c:v>29506</c:v>
                </c:pt>
                <c:pt idx="67370">
                  <c:v>29506</c:v>
                </c:pt>
                <c:pt idx="67371">
                  <c:v>29506</c:v>
                </c:pt>
                <c:pt idx="67372">
                  <c:v>29506</c:v>
                </c:pt>
                <c:pt idx="67373">
                  <c:v>29506</c:v>
                </c:pt>
                <c:pt idx="67374">
                  <c:v>29505</c:v>
                </c:pt>
                <c:pt idx="67375">
                  <c:v>29505</c:v>
                </c:pt>
                <c:pt idx="67376">
                  <c:v>29505</c:v>
                </c:pt>
                <c:pt idx="67377">
                  <c:v>29505</c:v>
                </c:pt>
                <c:pt idx="67378">
                  <c:v>29504</c:v>
                </c:pt>
                <c:pt idx="67379">
                  <c:v>29504</c:v>
                </c:pt>
                <c:pt idx="67380">
                  <c:v>29503</c:v>
                </c:pt>
                <c:pt idx="67381">
                  <c:v>29503</c:v>
                </c:pt>
                <c:pt idx="67382">
                  <c:v>29503</c:v>
                </c:pt>
                <c:pt idx="67383">
                  <c:v>29503</c:v>
                </c:pt>
                <c:pt idx="67384">
                  <c:v>29502</c:v>
                </c:pt>
                <c:pt idx="67385">
                  <c:v>29502</c:v>
                </c:pt>
                <c:pt idx="67386">
                  <c:v>29502</c:v>
                </c:pt>
                <c:pt idx="67387">
                  <c:v>29502</c:v>
                </c:pt>
                <c:pt idx="67388">
                  <c:v>29501</c:v>
                </c:pt>
                <c:pt idx="67389">
                  <c:v>29501</c:v>
                </c:pt>
                <c:pt idx="67390">
                  <c:v>29501</c:v>
                </c:pt>
                <c:pt idx="67391">
                  <c:v>29501</c:v>
                </c:pt>
                <c:pt idx="67392">
                  <c:v>29501</c:v>
                </c:pt>
                <c:pt idx="67393">
                  <c:v>29501</c:v>
                </c:pt>
                <c:pt idx="67394">
                  <c:v>29501</c:v>
                </c:pt>
                <c:pt idx="67395">
                  <c:v>29501</c:v>
                </c:pt>
                <c:pt idx="67396">
                  <c:v>29500</c:v>
                </c:pt>
                <c:pt idx="67397">
                  <c:v>29499</c:v>
                </c:pt>
                <c:pt idx="67398">
                  <c:v>29499</c:v>
                </c:pt>
                <c:pt idx="67399">
                  <c:v>29498</c:v>
                </c:pt>
                <c:pt idx="67400">
                  <c:v>29497</c:v>
                </c:pt>
                <c:pt idx="67401">
                  <c:v>29497</c:v>
                </c:pt>
                <c:pt idx="67402">
                  <c:v>29497</c:v>
                </c:pt>
                <c:pt idx="67403">
                  <c:v>29496</c:v>
                </c:pt>
                <c:pt idx="67404">
                  <c:v>29496</c:v>
                </c:pt>
                <c:pt idx="67405">
                  <c:v>29495</c:v>
                </c:pt>
                <c:pt idx="67406">
                  <c:v>29495</c:v>
                </c:pt>
                <c:pt idx="67407">
                  <c:v>29495</c:v>
                </c:pt>
                <c:pt idx="67408">
                  <c:v>29495</c:v>
                </c:pt>
                <c:pt idx="67409">
                  <c:v>29495</c:v>
                </c:pt>
                <c:pt idx="67410">
                  <c:v>29495</c:v>
                </c:pt>
                <c:pt idx="67411">
                  <c:v>29494</c:v>
                </c:pt>
                <c:pt idx="67412">
                  <c:v>29494</c:v>
                </c:pt>
                <c:pt idx="67413">
                  <c:v>29494</c:v>
                </c:pt>
                <c:pt idx="67414">
                  <c:v>29494</c:v>
                </c:pt>
                <c:pt idx="67415">
                  <c:v>29493</c:v>
                </c:pt>
                <c:pt idx="67416">
                  <c:v>29493</c:v>
                </c:pt>
                <c:pt idx="67417">
                  <c:v>29492</c:v>
                </c:pt>
                <c:pt idx="67418">
                  <c:v>29492</c:v>
                </c:pt>
                <c:pt idx="67419">
                  <c:v>29492</c:v>
                </c:pt>
                <c:pt idx="67420">
                  <c:v>29492</c:v>
                </c:pt>
                <c:pt idx="67421">
                  <c:v>29491</c:v>
                </c:pt>
                <c:pt idx="67422">
                  <c:v>29490</c:v>
                </c:pt>
                <c:pt idx="67423">
                  <c:v>29490</c:v>
                </c:pt>
                <c:pt idx="67424">
                  <c:v>29489</c:v>
                </c:pt>
                <c:pt idx="67425">
                  <c:v>29489</c:v>
                </c:pt>
                <c:pt idx="67426">
                  <c:v>29489</c:v>
                </c:pt>
                <c:pt idx="67427">
                  <c:v>29488</c:v>
                </c:pt>
                <c:pt idx="67428">
                  <c:v>29488</c:v>
                </c:pt>
                <c:pt idx="67429">
                  <c:v>29487</c:v>
                </c:pt>
                <c:pt idx="67430">
                  <c:v>29487</c:v>
                </c:pt>
                <c:pt idx="67431">
                  <c:v>29487</c:v>
                </c:pt>
                <c:pt idx="67432">
                  <c:v>29487</c:v>
                </c:pt>
                <c:pt idx="67433">
                  <c:v>29486</c:v>
                </c:pt>
                <c:pt idx="67434">
                  <c:v>29486</c:v>
                </c:pt>
                <c:pt idx="67435">
                  <c:v>29485</c:v>
                </c:pt>
                <c:pt idx="67436">
                  <c:v>29485</c:v>
                </c:pt>
                <c:pt idx="67437">
                  <c:v>29485</c:v>
                </c:pt>
                <c:pt idx="67438">
                  <c:v>29483</c:v>
                </c:pt>
                <c:pt idx="67439">
                  <c:v>29483</c:v>
                </c:pt>
                <c:pt idx="67440">
                  <c:v>29482</c:v>
                </c:pt>
                <c:pt idx="67441">
                  <c:v>29482</c:v>
                </c:pt>
                <c:pt idx="67442">
                  <c:v>29481</c:v>
                </c:pt>
                <c:pt idx="67443">
                  <c:v>29481</c:v>
                </c:pt>
                <c:pt idx="67444">
                  <c:v>29480</c:v>
                </c:pt>
                <c:pt idx="67445">
                  <c:v>29480</c:v>
                </c:pt>
                <c:pt idx="67446">
                  <c:v>29478</c:v>
                </c:pt>
                <c:pt idx="67447">
                  <c:v>29477</c:v>
                </c:pt>
                <c:pt idx="67448">
                  <c:v>29477</c:v>
                </c:pt>
                <c:pt idx="67449">
                  <c:v>29476</c:v>
                </c:pt>
                <c:pt idx="67450">
                  <c:v>29475</c:v>
                </c:pt>
                <c:pt idx="67451">
                  <c:v>29475</c:v>
                </c:pt>
                <c:pt idx="67452">
                  <c:v>29474</c:v>
                </c:pt>
                <c:pt idx="67453">
                  <c:v>29473</c:v>
                </c:pt>
                <c:pt idx="67454">
                  <c:v>29473</c:v>
                </c:pt>
                <c:pt idx="67455">
                  <c:v>29473</c:v>
                </c:pt>
                <c:pt idx="67456">
                  <c:v>29473</c:v>
                </c:pt>
                <c:pt idx="67457">
                  <c:v>29472</c:v>
                </c:pt>
                <c:pt idx="67458">
                  <c:v>29472</c:v>
                </c:pt>
                <c:pt idx="67459">
                  <c:v>29472</c:v>
                </c:pt>
                <c:pt idx="67460">
                  <c:v>29472</c:v>
                </c:pt>
                <c:pt idx="67461">
                  <c:v>29471</c:v>
                </c:pt>
                <c:pt idx="67462">
                  <c:v>29471</c:v>
                </c:pt>
                <c:pt idx="67463">
                  <c:v>29470</c:v>
                </c:pt>
                <c:pt idx="67464">
                  <c:v>29469</c:v>
                </c:pt>
                <c:pt idx="67465">
                  <c:v>29469</c:v>
                </c:pt>
                <c:pt idx="67466">
                  <c:v>29469</c:v>
                </c:pt>
                <c:pt idx="67467">
                  <c:v>29469</c:v>
                </c:pt>
                <c:pt idx="67468">
                  <c:v>29469</c:v>
                </c:pt>
                <c:pt idx="67469">
                  <c:v>29467</c:v>
                </c:pt>
                <c:pt idx="67470">
                  <c:v>29466</c:v>
                </c:pt>
                <c:pt idx="67471">
                  <c:v>29465</c:v>
                </c:pt>
                <c:pt idx="67472">
                  <c:v>29465</c:v>
                </c:pt>
                <c:pt idx="67473">
                  <c:v>29465</c:v>
                </c:pt>
                <c:pt idx="67474">
                  <c:v>29465</c:v>
                </c:pt>
                <c:pt idx="67475">
                  <c:v>29465</c:v>
                </c:pt>
                <c:pt idx="67476">
                  <c:v>29465</c:v>
                </c:pt>
                <c:pt idx="67477">
                  <c:v>29464</c:v>
                </c:pt>
                <c:pt idx="67478">
                  <c:v>29464</c:v>
                </c:pt>
                <c:pt idx="67479">
                  <c:v>29463</c:v>
                </c:pt>
                <c:pt idx="67480">
                  <c:v>29463</c:v>
                </c:pt>
                <c:pt idx="67481">
                  <c:v>29463</c:v>
                </c:pt>
                <c:pt idx="67482">
                  <c:v>29463</c:v>
                </c:pt>
                <c:pt idx="67483">
                  <c:v>29462</c:v>
                </c:pt>
                <c:pt idx="67484">
                  <c:v>29462</c:v>
                </c:pt>
                <c:pt idx="67485">
                  <c:v>29462</c:v>
                </c:pt>
                <c:pt idx="67486">
                  <c:v>29462</c:v>
                </c:pt>
                <c:pt idx="67487">
                  <c:v>29462</c:v>
                </c:pt>
                <c:pt idx="67488">
                  <c:v>29461</c:v>
                </c:pt>
                <c:pt idx="67489">
                  <c:v>29461</c:v>
                </c:pt>
                <c:pt idx="67490">
                  <c:v>29461</c:v>
                </c:pt>
                <c:pt idx="67491">
                  <c:v>29461</c:v>
                </c:pt>
                <c:pt idx="67492">
                  <c:v>29459</c:v>
                </c:pt>
                <c:pt idx="67493">
                  <c:v>29459</c:v>
                </c:pt>
                <c:pt idx="67494">
                  <c:v>29458</c:v>
                </c:pt>
                <c:pt idx="67495">
                  <c:v>29458</c:v>
                </c:pt>
                <c:pt idx="67496">
                  <c:v>29457</c:v>
                </c:pt>
                <c:pt idx="67497">
                  <c:v>29457</c:v>
                </c:pt>
                <c:pt idx="67498">
                  <c:v>29457</c:v>
                </c:pt>
                <c:pt idx="67499">
                  <c:v>29457</c:v>
                </c:pt>
                <c:pt idx="67500">
                  <c:v>29456</c:v>
                </c:pt>
                <c:pt idx="67501">
                  <c:v>29456</c:v>
                </c:pt>
                <c:pt idx="67502">
                  <c:v>29455</c:v>
                </c:pt>
                <c:pt idx="67503">
                  <c:v>29455</c:v>
                </c:pt>
                <c:pt idx="67504">
                  <c:v>29454</c:v>
                </c:pt>
                <c:pt idx="67505">
                  <c:v>29454</c:v>
                </c:pt>
                <c:pt idx="67506">
                  <c:v>29453</c:v>
                </c:pt>
                <c:pt idx="67507">
                  <c:v>29452</c:v>
                </c:pt>
                <c:pt idx="67508">
                  <c:v>29452</c:v>
                </c:pt>
                <c:pt idx="67509">
                  <c:v>29452</c:v>
                </c:pt>
                <c:pt idx="67510">
                  <c:v>29451</c:v>
                </c:pt>
                <c:pt idx="67511">
                  <c:v>29451</c:v>
                </c:pt>
                <c:pt idx="67512">
                  <c:v>29450</c:v>
                </c:pt>
                <c:pt idx="67513">
                  <c:v>29450</c:v>
                </c:pt>
                <c:pt idx="67514">
                  <c:v>29450</c:v>
                </c:pt>
                <c:pt idx="67515">
                  <c:v>29450</c:v>
                </c:pt>
                <c:pt idx="67516">
                  <c:v>29450</c:v>
                </c:pt>
                <c:pt idx="67517">
                  <c:v>29450</c:v>
                </c:pt>
                <c:pt idx="67518">
                  <c:v>29449</c:v>
                </c:pt>
                <c:pt idx="67519">
                  <c:v>29449</c:v>
                </c:pt>
                <c:pt idx="67520">
                  <c:v>29449</c:v>
                </c:pt>
                <c:pt idx="67521">
                  <c:v>29448</c:v>
                </c:pt>
                <c:pt idx="67522">
                  <c:v>29448</c:v>
                </c:pt>
                <c:pt idx="67523">
                  <c:v>29448</c:v>
                </c:pt>
                <c:pt idx="67524">
                  <c:v>29448</c:v>
                </c:pt>
                <c:pt idx="67525">
                  <c:v>29447</c:v>
                </c:pt>
                <c:pt idx="67526">
                  <c:v>29446</c:v>
                </c:pt>
                <c:pt idx="67527">
                  <c:v>29446</c:v>
                </c:pt>
                <c:pt idx="67528">
                  <c:v>29445</c:v>
                </c:pt>
                <c:pt idx="67529">
                  <c:v>29445</c:v>
                </c:pt>
                <c:pt idx="67530">
                  <c:v>29445</c:v>
                </c:pt>
                <c:pt idx="67531">
                  <c:v>29445</c:v>
                </c:pt>
                <c:pt idx="67532">
                  <c:v>29445</c:v>
                </c:pt>
                <c:pt idx="67533">
                  <c:v>29444</c:v>
                </c:pt>
                <c:pt idx="67534">
                  <c:v>29444</c:v>
                </c:pt>
                <c:pt idx="67535">
                  <c:v>29444</c:v>
                </c:pt>
                <c:pt idx="67536">
                  <c:v>29444</c:v>
                </c:pt>
                <c:pt idx="67537">
                  <c:v>29443</c:v>
                </c:pt>
                <c:pt idx="67538">
                  <c:v>29443</c:v>
                </c:pt>
                <c:pt idx="67539">
                  <c:v>29442</c:v>
                </c:pt>
                <c:pt idx="67540">
                  <c:v>29442</c:v>
                </c:pt>
                <c:pt idx="67541">
                  <c:v>29441</c:v>
                </c:pt>
                <c:pt idx="67542">
                  <c:v>29440</c:v>
                </c:pt>
                <c:pt idx="67543">
                  <c:v>29440</c:v>
                </c:pt>
                <c:pt idx="67544">
                  <c:v>29440</c:v>
                </c:pt>
                <c:pt idx="67545">
                  <c:v>29439</c:v>
                </c:pt>
                <c:pt idx="67546">
                  <c:v>29439</c:v>
                </c:pt>
                <c:pt idx="67547">
                  <c:v>29439</c:v>
                </c:pt>
                <c:pt idx="67548">
                  <c:v>29439</c:v>
                </c:pt>
                <c:pt idx="67549">
                  <c:v>29439</c:v>
                </c:pt>
                <c:pt idx="67550">
                  <c:v>29439</c:v>
                </c:pt>
                <c:pt idx="67551">
                  <c:v>29438</c:v>
                </c:pt>
                <c:pt idx="67552">
                  <c:v>29436</c:v>
                </c:pt>
                <c:pt idx="67553">
                  <c:v>29436</c:v>
                </c:pt>
                <c:pt idx="67554">
                  <c:v>29435</c:v>
                </c:pt>
                <c:pt idx="67555">
                  <c:v>29435</c:v>
                </c:pt>
                <c:pt idx="67556">
                  <c:v>29434</c:v>
                </c:pt>
                <c:pt idx="67557">
                  <c:v>29434</c:v>
                </c:pt>
                <c:pt idx="67558">
                  <c:v>29434</c:v>
                </c:pt>
                <c:pt idx="67559">
                  <c:v>29432</c:v>
                </c:pt>
                <c:pt idx="67560">
                  <c:v>29432</c:v>
                </c:pt>
                <c:pt idx="67561">
                  <c:v>29432</c:v>
                </c:pt>
                <c:pt idx="67562">
                  <c:v>29431</c:v>
                </c:pt>
                <c:pt idx="67563">
                  <c:v>29431</c:v>
                </c:pt>
                <c:pt idx="67564">
                  <c:v>29431</c:v>
                </c:pt>
                <c:pt idx="67565">
                  <c:v>29430</c:v>
                </c:pt>
                <c:pt idx="67566">
                  <c:v>29430</c:v>
                </c:pt>
                <c:pt idx="67567">
                  <c:v>29430</c:v>
                </c:pt>
                <c:pt idx="67568">
                  <c:v>29429</c:v>
                </c:pt>
                <c:pt idx="67569">
                  <c:v>29429</c:v>
                </c:pt>
                <c:pt idx="67570">
                  <c:v>29429</c:v>
                </c:pt>
                <c:pt idx="67571">
                  <c:v>29428</c:v>
                </c:pt>
                <c:pt idx="67572">
                  <c:v>29428</c:v>
                </c:pt>
                <c:pt idx="67573">
                  <c:v>29428</c:v>
                </c:pt>
                <c:pt idx="67574">
                  <c:v>29427</c:v>
                </c:pt>
                <c:pt idx="67575">
                  <c:v>29426</c:v>
                </c:pt>
                <c:pt idx="67576">
                  <c:v>29426</c:v>
                </c:pt>
                <c:pt idx="67577">
                  <c:v>29425</c:v>
                </c:pt>
                <c:pt idx="67578">
                  <c:v>29425</c:v>
                </c:pt>
                <c:pt idx="67579">
                  <c:v>29425</c:v>
                </c:pt>
                <c:pt idx="67580">
                  <c:v>29425</c:v>
                </c:pt>
                <c:pt idx="67581">
                  <c:v>29425</c:v>
                </c:pt>
                <c:pt idx="67582">
                  <c:v>29423</c:v>
                </c:pt>
                <c:pt idx="67583">
                  <c:v>29423</c:v>
                </c:pt>
                <c:pt idx="67584">
                  <c:v>29423</c:v>
                </c:pt>
                <c:pt idx="67585">
                  <c:v>29423</c:v>
                </c:pt>
                <c:pt idx="67586">
                  <c:v>29422</c:v>
                </c:pt>
                <c:pt idx="67587">
                  <c:v>29422</c:v>
                </c:pt>
                <c:pt idx="67588">
                  <c:v>29421</c:v>
                </c:pt>
                <c:pt idx="67589">
                  <c:v>29420</c:v>
                </c:pt>
                <c:pt idx="67590">
                  <c:v>29420</c:v>
                </c:pt>
                <c:pt idx="67591">
                  <c:v>29420</c:v>
                </c:pt>
                <c:pt idx="67592">
                  <c:v>29420</c:v>
                </c:pt>
                <c:pt idx="67593">
                  <c:v>29420</c:v>
                </c:pt>
                <c:pt idx="67594">
                  <c:v>29419</c:v>
                </c:pt>
                <c:pt idx="67595">
                  <c:v>29418</c:v>
                </c:pt>
                <c:pt idx="67596">
                  <c:v>29418</c:v>
                </c:pt>
                <c:pt idx="67597">
                  <c:v>29418</c:v>
                </c:pt>
                <c:pt idx="67598">
                  <c:v>29418</c:v>
                </c:pt>
                <c:pt idx="67599">
                  <c:v>29417</c:v>
                </c:pt>
                <c:pt idx="67600">
                  <c:v>29417</c:v>
                </c:pt>
                <c:pt idx="67601">
                  <c:v>29416</c:v>
                </c:pt>
                <c:pt idx="67602">
                  <c:v>29416</c:v>
                </c:pt>
                <c:pt idx="67603">
                  <c:v>29416</c:v>
                </c:pt>
                <c:pt idx="67604">
                  <c:v>29415</c:v>
                </c:pt>
                <c:pt idx="67605">
                  <c:v>29415</c:v>
                </c:pt>
                <c:pt idx="67606">
                  <c:v>29415</c:v>
                </c:pt>
                <c:pt idx="67607">
                  <c:v>29414</c:v>
                </c:pt>
                <c:pt idx="67608">
                  <c:v>29414</c:v>
                </c:pt>
                <c:pt idx="67609">
                  <c:v>29413</c:v>
                </c:pt>
                <c:pt idx="67610">
                  <c:v>29413</c:v>
                </c:pt>
                <c:pt idx="67611">
                  <c:v>29412</c:v>
                </c:pt>
                <c:pt idx="67612">
                  <c:v>29412</c:v>
                </c:pt>
                <c:pt idx="67613">
                  <c:v>29412</c:v>
                </c:pt>
                <c:pt idx="67614">
                  <c:v>29412</c:v>
                </c:pt>
                <c:pt idx="67615">
                  <c:v>29412</c:v>
                </c:pt>
                <c:pt idx="67616">
                  <c:v>29411</c:v>
                </c:pt>
                <c:pt idx="67617">
                  <c:v>29410</c:v>
                </c:pt>
                <c:pt idx="67618">
                  <c:v>29410</c:v>
                </c:pt>
                <c:pt idx="67619">
                  <c:v>29409</c:v>
                </c:pt>
                <c:pt idx="67620">
                  <c:v>29409</c:v>
                </c:pt>
                <c:pt idx="67621">
                  <c:v>29409</c:v>
                </c:pt>
                <c:pt idx="67622">
                  <c:v>29409</c:v>
                </c:pt>
                <c:pt idx="67623">
                  <c:v>29408</c:v>
                </c:pt>
                <c:pt idx="67624">
                  <c:v>29407</c:v>
                </c:pt>
                <c:pt idx="67625">
                  <c:v>29407</c:v>
                </c:pt>
                <c:pt idx="67626">
                  <c:v>29407</c:v>
                </c:pt>
                <c:pt idx="67627">
                  <c:v>29407</c:v>
                </c:pt>
                <c:pt idx="67628">
                  <c:v>29407</c:v>
                </c:pt>
                <c:pt idx="67629">
                  <c:v>29407</c:v>
                </c:pt>
                <c:pt idx="67630">
                  <c:v>29407</c:v>
                </c:pt>
                <c:pt idx="67631">
                  <c:v>29407</c:v>
                </c:pt>
                <c:pt idx="67632">
                  <c:v>29406</c:v>
                </c:pt>
                <c:pt idx="67633">
                  <c:v>29406</c:v>
                </c:pt>
                <c:pt idx="67634">
                  <c:v>29406</c:v>
                </c:pt>
                <c:pt idx="67635">
                  <c:v>29405</c:v>
                </c:pt>
                <c:pt idx="67636">
                  <c:v>29404</c:v>
                </c:pt>
                <c:pt idx="67637">
                  <c:v>29404</c:v>
                </c:pt>
                <c:pt idx="67638">
                  <c:v>29404</c:v>
                </c:pt>
                <c:pt idx="67639">
                  <c:v>29404</c:v>
                </c:pt>
                <c:pt idx="67640">
                  <c:v>29404</c:v>
                </c:pt>
                <c:pt idx="67641">
                  <c:v>29404</c:v>
                </c:pt>
                <c:pt idx="67642">
                  <c:v>29403</c:v>
                </c:pt>
                <c:pt idx="67643">
                  <c:v>29403</c:v>
                </c:pt>
                <c:pt idx="67644">
                  <c:v>29403</c:v>
                </c:pt>
                <c:pt idx="67645">
                  <c:v>29403</c:v>
                </c:pt>
                <c:pt idx="67646">
                  <c:v>29402</c:v>
                </c:pt>
                <c:pt idx="67647">
                  <c:v>29402</c:v>
                </c:pt>
                <c:pt idx="67648">
                  <c:v>29401</c:v>
                </c:pt>
                <c:pt idx="67649">
                  <c:v>29401</c:v>
                </c:pt>
                <c:pt idx="67650">
                  <c:v>29401</c:v>
                </c:pt>
                <c:pt idx="67651">
                  <c:v>29401</c:v>
                </c:pt>
                <c:pt idx="67652">
                  <c:v>29400</c:v>
                </c:pt>
                <c:pt idx="67653">
                  <c:v>29399</c:v>
                </c:pt>
                <c:pt idx="67654">
                  <c:v>29399</c:v>
                </c:pt>
                <c:pt idx="67655">
                  <c:v>29399</c:v>
                </c:pt>
                <c:pt idx="67656">
                  <c:v>29399</c:v>
                </c:pt>
                <c:pt idx="67657">
                  <c:v>29398</c:v>
                </c:pt>
                <c:pt idx="67658">
                  <c:v>29395</c:v>
                </c:pt>
                <c:pt idx="67659">
                  <c:v>29395</c:v>
                </c:pt>
                <c:pt idx="67660">
                  <c:v>29394</c:v>
                </c:pt>
                <c:pt idx="67661">
                  <c:v>29394</c:v>
                </c:pt>
                <c:pt idx="67662">
                  <c:v>29393</c:v>
                </c:pt>
                <c:pt idx="67663">
                  <c:v>29393</c:v>
                </c:pt>
                <c:pt idx="67664">
                  <c:v>29391</c:v>
                </c:pt>
                <c:pt idx="67665">
                  <c:v>29391</c:v>
                </c:pt>
                <c:pt idx="67666">
                  <c:v>29391</c:v>
                </c:pt>
                <c:pt idx="67667">
                  <c:v>29391</c:v>
                </c:pt>
                <c:pt idx="67668">
                  <c:v>29391</c:v>
                </c:pt>
                <c:pt idx="67669">
                  <c:v>29390</c:v>
                </c:pt>
                <c:pt idx="67670">
                  <c:v>29390</c:v>
                </c:pt>
                <c:pt idx="67671">
                  <c:v>29389</c:v>
                </c:pt>
                <c:pt idx="67672">
                  <c:v>29389</c:v>
                </c:pt>
                <c:pt idx="67673">
                  <c:v>29389</c:v>
                </c:pt>
                <c:pt idx="67674">
                  <c:v>29388</c:v>
                </c:pt>
                <c:pt idx="67675">
                  <c:v>29388</c:v>
                </c:pt>
                <c:pt idx="67676">
                  <c:v>29387</c:v>
                </c:pt>
                <c:pt idx="67677">
                  <c:v>29387</c:v>
                </c:pt>
                <c:pt idx="67678">
                  <c:v>29387</c:v>
                </c:pt>
                <c:pt idx="67679">
                  <c:v>29386</c:v>
                </c:pt>
                <c:pt idx="67680">
                  <c:v>29385</c:v>
                </c:pt>
                <c:pt idx="67681">
                  <c:v>29385</c:v>
                </c:pt>
                <c:pt idx="67682">
                  <c:v>29385</c:v>
                </c:pt>
                <c:pt idx="67683">
                  <c:v>29384</c:v>
                </c:pt>
                <c:pt idx="67684">
                  <c:v>29383</c:v>
                </c:pt>
                <c:pt idx="67685">
                  <c:v>29382</c:v>
                </c:pt>
                <c:pt idx="67686">
                  <c:v>29382</c:v>
                </c:pt>
                <c:pt idx="67687">
                  <c:v>29381</c:v>
                </c:pt>
                <c:pt idx="67688">
                  <c:v>29380</c:v>
                </c:pt>
                <c:pt idx="67689">
                  <c:v>29380</c:v>
                </c:pt>
                <c:pt idx="67690">
                  <c:v>29379</c:v>
                </c:pt>
                <c:pt idx="67691">
                  <c:v>29379</c:v>
                </c:pt>
                <c:pt idx="67692">
                  <c:v>29379</c:v>
                </c:pt>
                <c:pt idx="67693">
                  <c:v>29378</c:v>
                </c:pt>
                <c:pt idx="67694">
                  <c:v>29378</c:v>
                </c:pt>
                <c:pt idx="67695">
                  <c:v>29378</c:v>
                </c:pt>
                <c:pt idx="67696">
                  <c:v>29377</c:v>
                </c:pt>
                <c:pt idx="67697">
                  <c:v>29377</c:v>
                </c:pt>
                <c:pt idx="67698">
                  <c:v>29377</c:v>
                </c:pt>
                <c:pt idx="67699">
                  <c:v>29376</c:v>
                </c:pt>
                <c:pt idx="67700">
                  <c:v>29374</c:v>
                </c:pt>
                <c:pt idx="67701">
                  <c:v>29373</c:v>
                </c:pt>
                <c:pt idx="67702">
                  <c:v>29373</c:v>
                </c:pt>
                <c:pt idx="67703">
                  <c:v>29373</c:v>
                </c:pt>
                <c:pt idx="67704">
                  <c:v>29373</c:v>
                </c:pt>
                <c:pt idx="67705">
                  <c:v>29372</c:v>
                </c:pt>
                <c:pt idx="67706">
                  <c:v>29372</c:v>
                </c:pt>
                <c:pt idx="67707">
                  <c:v>29370</c:v>
                </c:pt>
                <c:pt idx="67708">
                  <c:v>29370</c:v>
                </c:pt>
                <c:pt idx="67709">
                  <c:v>29370</c:v>
                </c:pt>
                <c:pt idx="67710">
                  <c:v>29370</c:v>
                </c:pt>
                <c:pt idx="67711">
                  <c:v>29369</c:v>
                </c:pt>
                <c:pt idx="67712">
                  <c:v>29369</c:v>
                </c:pt>
                <c:pt idx="67713">
                  <c:v>29368</c:v>
                </c:pt>
                <c:pt idx="67714">
                  <c:v>29368</c:v>
                </c:pt>
                <c:pt idx="67715">
                  <c:v>29367</c:v>
                </c:pt>
                <c:pt idx="67716">
                  <c:v>29367</c:v>
                </c:pt>
                <c:pt idx="67717">
                  <c:v>29365</c:v>
                </c:pt>
                <c:pt idx="67718">
                  <c:v>29365</c:v>
                </c:pt>
                <c:pt idx="67719">
                  <c:v>29364</c:v>
                </c:pt>
                <c:pt idx="67720">
                  <c:v>29364</c:v>
                </c:pt>
                <c:pt idx="67721">
                  <c:v>29364</c:v>
                </c:pt>
                <c:pt idx="67722">
                  <c:v>29363</c:v>
                </c:pt>
                <c:pt idx="67723">
                  <c:v>29362</c:v>
                </c:pt>
                <c:pt idx="67724">
                  <c:v>29362</c:v>
                </c:pt>
                <c:pt idx="67725">
                  <c:v>29361</c:v>
                </c:pt>
                <c:pt idx="67726">
                  <c:v>29361</c:v>
                </c:pt>
                <c:pt idx="67727">
                  <c:v>29360</c:v>
                </c:pt>
                <c:pt idx="67728">
                  <c:v>29360</c:v>
                </c:pt>
                <c:pt idx="67729">
                  <c:v>29358</c:v>
                </c:pt>
                <c:pt idx="67730">
                  <c:v>29358</c:v>
                </c:pt>
                <c:pt idx="67731">
                  <c:v>29358</c:v>
                </c:pt>
                <c:pt idx="67732">
                  <c:v>29358</c:v>
                </c:pt>
                <c:pt idx="67733">
                  <c:v>29358</c:v>
                </c:pt>
                <c:pt idx="67734">
                  <c:v>29358</c:v>
                </c:pt>
                <c:pt idx="67735">
                  <c:v>29357</c:v>
                </c:pt>
                <c:pt idx="67736">
                  <c:v>29356</c:v>
                </c:pt>
                <c:pt idx="67737">
                  <c:v>29356</c:v>
                </c:pt>
                <c:pt idx="67738">
                  <c:v>29356</c:v>
                </c:pt>
                <c:pt idx="67739">
                  <c:v>29355</c:v>
                </c:pt>
                <c:pt idx="67740">
                  <c:v>29355</c:v>
                </c:pt>
                <c:pt idx="67741">
                  <c:v>29355</c:v>
                </c:pt>
                <c:pt idx="67742">
                  <c:v>29354</c:v>
                </c:pt>
                <c:pt idx="67743">
                  <c:v>29353</c:v>
                </c:pt>
                <c:pt idx="67744">
                  <c:v>29353</c:v>
                </c:pt>
                <c:pt idx="67745">
                  <c:v>29353</c:v>
                </c:pt>
                <c:pt idx="67746">
                  <c:v>29353</c:v>
                </c:pt>
                <c:pt idx="67747">
                  <c:v>29352</c:v>
                </c:pt>
                <c:pt idx="67748">
                  <c:v>29352</c:v>
                </c:pt>
                <c:pt idx="67749">
                  <c:v>29351</c:v>
                </c:pt>
                <c:pt idx="67750">
                  <c:v>29351</c:v>
                </c:pt>
                <c:pt idx="67751">
                  <c:v>29351</c:v>
                </c:pt>
                <c:pt idx="67752">
                  <c:v>29350</c:v>
                </c:pt>
                <c:pt idx="67753">
                  <c:v>29350</c:v>
                </c:pt>
                <c:pt idx="67754">
                  <c:v>29350</c:v>
                </c:pt>
                <c:pt idx="67755">
                  <c:v>29350</c:v>
                </c:pt>
                <c:pt idx="67756">
                  <c:v>29349</c:v>
                </c:pt>
                <c:pt idx="67757">
                  <c:v>29349</c:v>
                </c:pt>
                <c:pt idx="67758">
                  <c:v>29349</c:v>
                </c:pt>
                <c:pt idx="67759">
                  <c:v>29348</c:v>
                </c:pt>
                <c:pt idx="67760">
                  <c:v>29348</c:v>
                </c:pt>
                <c:pt idx="67761">
                  <c:v>29347</c:v>
                </c:pt>
                <c:pt idx="67762">
                  <c:v>29347</c:v>
                </c:pt>
                <c:pt idx="67763">
                  <c:v>29347</c:v>
                </c:pt>
                <c:pt idx="67764">
                  <c:v>29346</c:v>
                </c:pt>
                <c:pt idx="67765">
                  <c:v>29346</c:v>
                </c:pt>
                <c:pt idx="67766">
                  <c:v>29346</c:v>
                </c:pt>
                <c:pt idx="67767">
                  <c:v>29346</c:v>
                </c:pt>
                <c:pt idx="67768">
                  <c:v>29345</c:v>
                </c:pt>
                <c:pt idx="67769">
                  <c:v>29345</c:v>
                </c:pt>
                <c:pt idx="67770">
                  <c:v>29345</c:v>
                </c:pt>
                <c:pt idx="67771">
                  <c:v>29344</c:v>
                </c:pt>
                <c:pt idx="67772">
                  <c:v>29344</c:v>
                </c:pt>
                <c:pt idx="67773">
                  <c:v>29344</c:v>
                </c:pt>
                <c:pt idx="67774">
                  <c:v>29343</c:v>
                </c:pt>
                <c:pt idx="67775">
                  <c:v>29343</c:v>
                </c:pt>
                <c:pt idx="67776">
                  <c:v>29343</c:v>
                </c:pt>
                <c:pt idx="67777">
                  <c:v>29343</c:v>
                </c:pt>
                <c:pt idx="67778">
                  <c:v>29343</c:v>
                </c:pt>
                <c:pt idx="67779">
                  <c:v>29342</c:v>
                </c:pt>
                <c:pt idx="67780">
                  <c:v>29341</c:v>
                </c:pt>
                <c:pt idx="67781">
                  <c:v>29341</c:v>
                </c:pt>
                <c:pt idx="67782">
                  <c:v>29341</c:v>
                </c:pt>
                <c:pt idx="67783">
                  <c:v>29341</c:v>
                </c:pt>
                <c:pt idx="67784">
                  <c:v>29340</c:v>
                </c:pt>
                <c:pt idx="67785">
                  <c:v>29340</c:v>
                </c:pt>
                <c:pt idx="67786">
                  <c:v>29340</c:v>
                </c:pt>
                <c:pt idx="67787">
                  <c:v>29340</c:v>
                </c:pt>
                <c:pt idx="67788">
                  <c:v>29340</c:v>
                </c:pt>
                <c:pt idx="67789">
                  <c:v>29340</c:v>
                </c:pt>
                <c:pt idx="67790">
                  <c:v>29340</c:v>
                </c:pt>
                <c:pt idx="67791">
                  <c:v>29340</c:v>
                </c:pt>
                <c:pt idx="67792">
                  <c:v>29340</c:v>
                </c:pt>
                <c:pt idx="67793">
                  <c:v>29339</c:v>
                </c:pt>
                <c:pt idx="67794">
                  <c:v>29339</c:v>
                </c:pt>
                <c:pt idx="67795">
                  <c:v>29338</c:v>
                </c:pt>
                <c:pt idx="67796">
                  <c:v>29338</c:v>
                </c:pt>
                <c:pt idx="67797">
                  <c:v>29337</c:v>
                </c:pt>
                <c:pt idx="67798">
                  <c:v>29337</c:v>
                </c:pt>
                <c:pt idx="67799">
                  <c:v>29337</c:v>
                </c:pt>
                <c:pt idx="67800">
                  <c:v>29337</c:v>
                </c:pt>
                <c:pt idx="67801">
                  <c:v>29337</c:v>
                </c:pt>
                <c:pt idx="67802">
                  <c:v>29337</c:v>
                </c:pt>
                <c:pt idx="67803">
                  <c:v>29336</c:v>
                </c:pt>
                <c:pt idx="67804">
                  <c:v>29335</c:v>
                </c:pt>
                <c:pt idx="67805">
                  <c:v>29333</c:v>
                </c:pt>
                <c:pt idx="67806">
                  <c:v>29333</c:v>
                </c:pt>
                <c:pt idx="67807">
                  <c:v>29333</c:v>
                </c:pt>
                <c:pt idx="67808">
                  <c:v>29332</c:v>
                </c:pt>
                <c:pt idx="67809">
                  <c:v>29331</c:v>
                </c:pt>
                <c:pt idx="67810">
                  <c:v>29331</c:v>
                </c:pt>
                <c:pt idx="67811">
                  <c:v>29330</c:v>
                </c:pt>
                <c:pt idx="67812">
                  <c:v>29329</c:v>
                </c:pt>
                <c:pt idx="67813">
                  <c:v>29329</c:v>
                </c:pt>
                <c:pt idx="67814">
                  <c:v>29328</c:v>
                </c:pt>
                <c:pt idx="67815">
                  <c:v>29328</c:v>
                </c:pt>
                <c:pt idx="67816">
                  <c:v>29327</c:v>
                </c:pt>
                <c:pt idx="67817">
                  <c:v>29327</c:v>
                </c:pt>
                <c:pt idx="67818">
                  <c:v>29327</c:v>
                </c:pt>
                <c:pt idx="67819">
                  <c:v>29326</c:v>
                </c:pt>
                <c:pt idx="67820">
                  <c:v>29326</c:v>
                </c:pt>
                <c:pt idx="67821">
                  <c:v>29326</c:v>
                </c:pt>
                <c:pt idx="67822">
                  <c:v>29326</c:v>
                </c:pt>
                <c:pt idx="67823">
                  <c:v>29326</c:v>
                </c:pt>
                <c:pt idx="67824">
                  <c:v>29325</c:v>
                </c:pt>
                <c:pt idx="67825">
                  <c:v>29324</c:v>
                </c:pt>
                <c:pt idx="67826">
                  <c:v>29323</c:v>
                </c:pt>
                <c:pt idx="67827">
                  <c:v>29323</c:v>
                </c:pt>
                <c:pt idx="67828">
                  <c:v>29322</c:v>
                </c:pt>
                <c:pt idx="67829">
                  <c:v>29321</c:v>
                </c:pt>
                <c:pt idx="67830">
                  <c:v>29320</c:v>
                </c:pt>
                <c:pt idx="67831">
                  <c:v>29319</c:v>
                </c:pt>
                <c:pt idx="67832">
                  <c:v>29319</c:v>
                </c:pt>
                <c:pt idx="67833">
                  <c:v>29319</c:v>
                </c:pt>
                <c:pt idx="67834">
                  <c:v>29318</c:v>
                </c:pt>
                <c:pt idx="67835">
                  <c:v>29318</c:v>
                </c:pt>
                <c:pt idx="67836">
                  <c:v>29317</c:v>
                </c:pt>
                <c:pt idx="67837">
                  <c:v>29314</c:v>
                </c:pt>
                <c:pt idx="67838">
                  <c:v>29314</c:v>
                </c:pt>
                <c:pt idx="67839">
                  <c:v>29313</c:v>
                </c:pt>
                <c:pt idx="67840">
                  <c:v>29313</c:v>
                </c:pt>
                <c:pt idx="67841">
                  <c:v>29312</c:v>
                </c:pt>
                <c:pt idx="67842">
                  <c:v>29312</c:v>
                </c:pt>
                <c:pt idx="67843">
                  <c:v>29312</c:v>
                </c:pt>
                <c:pt idx="67844">
                  <c:v>29312</c:v>
                </c:pt>
                <c:pt idx="67845">
                  <c:v>29311</c:v>
                </c:pt>
                <c:pt idx="67846">
                  <c:v>29311</c:v>
                </c:pt>
                <c:pt idx="67847">
                  <c:v>29311</c:v>
                </c:pt>
                <c:pt idx="67848">
                  <c:v>29311</c:v>
                </c:pt>
                <c:pt idx="67849">
                  <c:v>29310</c:v>
                </c:pt>
                <c:pt idx="67850">
                  <c:v>29310</c:v>
                </c:pt>
                <c:pt idx="67851">
                  <c:v>29309</c:v>
                </c:pt>
                <c:pt idx="67852">
                  <c:v>29309</c:v>
                </c:pt>
                <c:pt idx="67853">
                  <c:v>29309</c:v>
                </c:pt>
                <c:pt idx="67854">
                  <c:v>29308</c:v>
                </c:pt>
                <c:pt idx="67855">
                  <c:v>29308</c:v>
                </c:pt>
                <c:pt idx="67856">
                  <c:v>29308</c:v>
                </c:pt>
                <c:pt idx="67857">
                  <c:v>29307</c:v>
                </c:pt>
                <c:pt idx="67858">
                  <c:v>29307</c:v>
                </c:pt>
                <c:pt idx="67859">
                  <c:v>29307</c:v>
                </c:pt>
                <c:pt idx="67860">
                  <c:v>29307</c:v>
                </c:pt>
                <c:pt idx="67861">
                  <c:v>29306</c:v>
                </c:pt>
                <c:pt idx="67862">
                  <c:v>29305</c:v>
                </c:pt>
                <c:pt idx="67863">
                  <c:v>29305</c:v>
                </c:pt>
                <c:pt idx="67864">
                  <c:v>29304</c:v>
                </c:pt>
                <c:pt idx="67865">
                  <c:v>29304</c:v>
                </c:pt>
                <c:pt idx="67866">
                  <c:v>29303</c:v>
                </c:pt>
                <c:pt idx="67867">
                  <c:v>29303</c:v>
                </c:pt>
                <c:pt idx="67868">
                  <c:v>29302</c:v>
                </c:pt>
                <c:pt idx="67869">
                  <c:v>29300</c:v>
                </c:pt>
                <c:pt idx="67870">
                  <c:v>29300</c:v>
                </c:pt>
                <c:pt idx="67871">
                  <c:v>29300</c:v>
                </c:pt>
                <c:pt idx="67872">
                  <c:v>29299</c:v>
                </c:pt>
                <c:pt idx="67873">
                  <c:v>29298</c:v>
                </c:pt>
                <c:pt idx="67874">
                  <c:v>29298</c:v>
                </c:pt>
                <c:pt idx="67875">
                  <c:v>29298</c:v>
                </c:pt>
                <c:pt idx="67876">
                  <c:v>29298</c:v>
                </c:pt>
                <c:pt idx="67877">
                  <c:v>29297</c:v>
                </c:pt>
                <c:pt idx="67878">
                  <c:v>29296</c:v>
                </c:pt>
                <c:pt idx="67879">
                  <c:v>29296</c:v>
                </c:pt>
                <c:pt idx="67880">
                  <c:v>29296</c:v>
                </c:pt>
                <c:pt idx="67881">
                  <c:v>29296</c:v>
                </c:pt>
                <c:pt idx="67882">
                  <c:v>29296</c:v>
                </c:pt>
                <c:pt idx="67883">
                  <c:v>29294</c:v>
                </c:pt>
                <c:pt idx="67884">
                  <c:v>29293</c:v>
                </c:pt>
                <c:pt idx="67885">
                  <c:v>29293</c:v>
                </c:pt>
                <c:pt idx="67886">
                  <c:v>29293</c:v>
                </c:pt>
                <c:pt idx="67887">
                  <c:v>29293</c:v>
                </c:pt>
                <c:pt idx="67888">
                  <c:v>29293</c:v>
                </c:pt>
                <c:pt idx="67889">
                  <c:v>29293</c:v>
                </c:pt>
                <c:pt idx="67890">
                  <c:v>29292</c:v>
                </c:pt>
                <c:pt idx="67891">
                  <c:v>29292</c:v>
                </c:pt>
                <c:pt idx="67892">
                  <c:v>29292</c:v>
                </c:pt>
                <c:pt idx="67893">
                  <c:v>29291</c:v>
                </c:pt>
                <c:pt idx="67894">
                  <c:v>29291</c:v>
                </c:pt>
                <c:pt idx="67895">
                  <c:v>29290</c:v>
                </c:pt>
                <c:pt idx="67896">
                  <c:v>29289</c:v>
                </c:pt>
                <c:pt idx="67897">
                  <c:v>29289</c:v>
                </c:pt>
                <c:pt idx="67898">
                  <c:v>29289</c:v>
                </c:pt>
                <c:pt idx="67899">
                  <c:v>29289</c:v>
                </c:pt>
                <c:pt idx="67900">
                  <c:v>29289</c:v>
                </c:pt>
                <c:pt idx="67901">
                  <c:v>29287</c:v>
                </c:pt>
                <c:pt idx="67902">
                  <c:v>29286</c:v>
                </c:pt>
                <c:pt idx="67903">
                  <c:v>29286</c:v>
                </c:pt>
                <c:pt idx="67904">
                  <c:v>29286</c:v>
                </c:pt>
                <c:pt idx="67905">
                  <c:v>29286</c:v>
                </c:pt>
                <c:pt idx="67906">
                  <c:v>29286</c:v>
                </c:pt>
                <c:pt idx="67907">
                  <c:v>29286</c:v>
                </c:pt>
                <c:pt idx="67908">
                  <c:v>29285</c:v>
                </c:pt>
                <c:pt idx="67909">
                  <c:v>29284</c:v>
                </c:pt>
                <c:pt idx="67910">
                  <c:v>29284</c:v>
                </c:pt>
                <c:pt idx="67911">
                  <c:v>29284</c:v>
                </c:pt>
                <c:pt idx="67912">
                  <c:v>29284</c:v>
                </c:pt>
                <c:pt idx="67913">
                  <c:v>29284</c:v>
                </c:pt>
                <c:pt idx="67914">
                  <c:v>29283</c:v>
                </c:pt>
                <c:pt idx="67915">
                  <c:v>29283</c:v>
                </c:pt>
                <c:pt idx="67916">
                  <c:v>29283</c:v>
                </c:pt>
                <c:pt idx="67917">
                  <c:v>29282</c:v>
                </c:pt>
                <c:pt idx="67918">
                  <c:v>29282</c:v>
                </c:pt>
                <c:pt idx="67919">
                  <c:v>29282</c:v>
                </c:pt>
                <c:pt idx="67920">
                  <c:v>29281</c:v>
                </c:pt>
                <c:pt idx="67921">
                  <c:v>29281</c:v>
                </c:pt>
                <c:pt idx="67922">
                  <c:v>29280</c:v>
                </c:pt>
                <c:pt idx="67923">
                  <c:v>29280</c:v>
                </c:pt>
                <c:pt idx="67924">
                  <c:v>29280</c:v>
                </c:pt>
                <c:pt idx="67925">
                  <c:v>29280</c:v>
                </c:pt>
                <c:pt idx="67926">
                  <c:v>29280</c:v>
                </c:pt>
                <c:pt idx="67927">
                  <c:v>29279</c:v>
                </c:pt>
                <c:pt idx="67928">
                  <c:v>29279</c:v>
                </c:pt>
                <c:pt idx="67929">
                  <c:v>29278</c:v>
                </c:pt>
                <c:pt idx="67930">
                  <c:v>29277</c:v>
                </c:pt>
                <c:pt idx="67931">
                  <c:v>29277</c:v>
                </c:pt>
                <c:pt idx="67932">
                  <c:v>29277</c:v>
                </c:pt>
                <c:pt idx="67933">
                  <c:v>29277</c:v>
                </c:pt>
                <c:pt idx="67934">
                  <c:v>29277</c:v>
                </c:pt>
                <c:pt idx="67935">
                  <c:v>29275</c:v>
                </c:pt>
                <c:pt idx="67936">
                  <c:v>29275</c:v>
                </c:pt>
                <c:pt idx="67937">
                  <c:v>29275</c:v>
                </c:pt>
                <c:pt idx="67938">
                  <c:v>29274</c:v>
                </c:pt>
                <c:pt idx="67939">
                  <c:v>29274</c:v>
                </c:pt>
                <c:pt idx="67940">
                  <c:v>29274</c:v>
                </c:pt>
                <c:pt idx="67941">
                  <c:v>29274</c:v>
                </c:pt>
                <c:pt idx="67942">
                  <c:v>29273</c:v>
                </c:pt>
                <c:pt idx="67943">
                  <c:v>29273</c:v>
                </c:pt>
                <c:pt idx="67944">
                  <c:v>29273</c:v>
                </c:pt>
                <c:pt idx="67945">
                  <c:v>29272</c:v>
                </c:pt>
                <c:pt idx="67946">
                  <c:v>29271</c:v>
                </c:pt>
                <c:pt idx="67947">
                  <c:v>29271</c:v>
                </c:pt>
                <c:pt idx="67948">
                  <c:v>29271</c:v>
                </c:pt>
                <c:pt idx="67949">
                  <c:v>29271</c:v>
                </c:pt>
                <c:pt idx="67950">
                  <c:v>29270</c:v>
                </c:pt>
                <c:pt idx="67951">
                  <c:v>29270</c:v>
                </c:pt>
                <c:pt idx="67952">
                  <c:v>29269</c:v>
                </c:pt>
                <c:pt idx="67953">
                  <c:v>29269</c:v>
                </c:pt>
                <c:pt idx="67954">
                  <c:v>29268</c:v>
                </c:pt>
                <c:pt idx="67955">
                  <c:v>29267</c:v>
                </c:pt>
                <c:pt idx="67956">
                  <c:v>29267</c:v>
                </c:pt>
                <c:pt idx="67957">
                  <c:v>29267</c:v>
                </c:pt>
                <c:pt idx="67958">
                  <c:v>29267</c:v>
                </c:pt>
                <c:pt idx="67959">
                  <c:v>29267</c:v>
                </c:pt>
                <c:pt idx="67960">
                  <c:v>29266</c:v>
                </c:pt>
                <c:pt idx="67961">
                  <c:v>29266</c:v>
                </c:pt>
                <c:pt idx="67962">
                  <c:v>29266</c:v>
                </c:pt>
                <c:pt idx="67963">
                  <c:v>29265</c:v>
                </c:pt>
                <c:pt idx="67964">
                  <c:v>29264</c:v>
                </c:pt>
                <c:pt idx="67965">
                  <c:v>29264</c:v>
                </c:pt>
                <c:pt idx="67966">
                  <c:v>29264</c:v>
                </c:pt>
                <c:pt idx="67967">
                  <c:v>29264</c:v>
                </c:pt>
                <c:pt idx="67968">
                  <c:v>29264</c:v>
                </c:pt>
                <c:pt idx="67969">
                  <c:v>29264</c:v>
                </c:pt>
                <c:pt idx="67970">
                  <c:v>29263</c:v>
                </c:pt>
                <c:pt idx="67971">
                  <c:v>29262</c:v>
                </c:pt>
                <c:pt idx="67972">
                  <c:v>29262</c:v>
                </c:pt>
                <c:pt idx="67973">
                  <c:v>29262</c:v>
                </c:pt>
                <c:pt idx="67974">
                  <c:v>29261</c:v>
                </c:pt>
                <c:pt idx="67975">
                  <c:v>29261</c:v>
                </c:pt>
                <c:pt idx="67976">
                  <c:v>29261</c:v>
                </c:pt>
                <c:pt idx="67977">
                  <c:v>29261</c:v>
                </c:pt>
                <c:pt idx="67978">
                  <c:v>29260</c:v>
                </c:pt>
                <c:pt idx="67979">
                  <c:v>29260</c:v>
                </c:pt>
                <c:pt idx="67980">
                  <c:v>29260</c:v>
                </c:pt>
                <c:pt idx="67981">
                  <c:v>29260</c:v>
                </c:pt>
                <c:pt idx="67982">
                  <c:v>29260</c:v>
                </c:pt>
                <c:pt idx="67983">
                  <c:v>29260</c:v>
                </c:pt>
                <c:pt idx="67984">
                  <c:v>29260</c:v>
                </c:pt>
                <c:pt idx="67985">
                  <c:v>29260</c:v>
                </c:pt>
                <c:pt idx="67986">
                  <c:v>29259</c:v>
                </c:pt>
                <c:pt idx="67987">
                  <c:v>29259</c:v>
                </c:pt>
                <c:pt idx="67988">
                  <c:v>29259</c:v>
                </c:pt>
                <c:pt idx="67989">
                  <c:v>29259</c:v>
                </c:pt>
                <c:pt idx="67990">
                  <c:v>29258</c:v>
                </c:pt>
                <c:pt idx="67991">
                  <c:v>29258</c:v>
                </c:pt>
                <c:pt idx="67992">
                  <c:v>29258</c:v>
                </c:pt>
                <c:pt idx="67993">
                  <c:v>29257</c:v>
                </c:pt>
                <c:pt idx="67994">
                  <c:v>29257</c:v>
                </c:pt>
                <c:pt idx="67995">
                  <c:v>29257</c:v>
                </c:pt>
                <c:pt idx="67996">
                  <c:v>29256</c:v>
                </c:pt>
                <c:pt idx="67997">
                  <c:v>29256</c:v>
                </c:pt>
                <c:pt idx="67998">
                  <c:v>29256</c:v>
                </c:pt>
                <c:pt idx="67999">
                  <c:v>29255</c:v>
                </c:pt>
                <c:pt idx="68000">
                  <c:v>29254</c:v>
                </c:pt>
                <c:pt idx="68001">
                  <c:v>29254</c:v>
                </c:pt>
                <c:pt idx="68002">
                  <c:v>29253</c:v>
                </c:pt>
                <c:pt idx="68003">
                  <c:v>29253</c:v>
                </c:pt>
                <c:pt idx="68004">
                  <c:v>29253</c:v>
                </c:pt>
                <c:pt idx="68005">
                  <c:v>29253</c:v>
                </c:pt>
                <c:pt idx="68006">
                  <c:v>29251</c:v>
                </c:pt>
                <c:pt idx="68007">
                  <c:v>29251</c:v>
                </c:pt>
                <c:pt idx="68008">
                  <c:v>29250</c:v>
                </c:pt>
                <c:pt idx="68009">
                  <c:v>29250</c:v>
                </c:pt>
                <c:pt idx="68010">
                  <c:v>29249</c:v>
                </c:pt>
                <c:pt idx="68011">
                  <c:v>29249</c:v>
                </c:pt>
                <c:pt idx="68012">
                  <c:v>29249</c:v>
                </c:pt>
                <c:pt idx="68013">
                  <c:v>29247</c:v>
                </c:pt>
                <c:pt idx="68014">
                  <c:v>29246</c:v>
                </c:pt>
                <c:pt idx="68015">
                  <c:v>29245</c:v>
                </c:pt>
                <c:pt idx="68016">
                  <c:v>29245</c:v>
                </c:pt>
                <c:pt idx="68017">
                  <c:v>29244</c:v>
                </c:pt>
                <c:pt idx="68018">
                  <c:v>29243</c:v>
                </c:pt>
                <c:pt idx="68019">
                  <c:v>29243</c:v>
                </c:pt>
                <c:pt idx="68020">
                  <c:v>29243</c:v>
                </c:pt>
                <c:pt idx="68021">
                  <c:v>29243</c:v>
                </c:pt>
                <c:pt idx="68022">
                  <c:v>29243</c:v>
                </c:pt>
                <c:pt idx="68023">
                  <c:v>29243</c:v>
                </c:pt>
                <c:pt idx="68024">
                  <c:v>29242</c:v>
                </c:pt>
                <c:pt idx="68025">
                  <c:v>29241</c:v>
                </c:pt>
                <c:pt idx="68026">
                  <c:v>29241</c:v>
                </c:pt>
                <c:pt idx="68027">
                  <c:v>29241</c:v>
                </c:pt>
                <c:pt idx="68028">
                  <c:v>29240</c:v>
                </c:pt>
                <c:pt idx="68029">
                  <c:v>29240</c:v>
                </c:pt>
                <c:pt idx="68030">
                  <c:v>29240</c:v>
                </c:pt>
                <c:pt idx="68031">
                  <c:v>29240</c:v>
                </c:pt>
                <c:pt idx="68032">
                  <c:v>29240</c:v>
                </c:pt>
                <c:pt idx="68033">
                  <c:v>29239</c:v>
                </c:pt>
                <c:pt idx="68034">
                  <c:v>29239</c:v>
                </c:pt>
                <c:pt idx="68035">
                  <c:v>29238</c:v>
                </c:pt>
                <c:pt idx="68036">
                  <c:v>29237</c:v>
                </c:pt>
                <c:pt idx="68037">
                  <c:v>29236</c:v>
                </c:pt>
                <c:pt idx="68038">
                  <c:v>29236</c:v>
                </c:pt>
                <c:pt idx="68039">
                  <c:v>29236</c:v>
                </c:pt>
                <c:pt idx="68040">
                  <c:v>29236</c:v>
                </c:pt>
                <c:pt idx="68041">
                  <c:v>29236</c:v>
                </c:pt>
                <c:pt idx="68042">
                  <c:v>29235</c:v>
                </c:pt>
                <c:pt idx="68043">
                  <c:v>29235</c:v>
                </c:pt>
                <c:pt idx="68044">
                  <c:v>29235</c:v>
                </c:pt>
                <c:pt idx="68045">
                  <c:v>29235</c:v>
                </c:pt>
                <c:pt idx="68046">
                  <c:v>29234</c:v>
                </c:pt>
                <c:pt idx="68047">
                  <c:v>29233</c:v>
                </c:pt>
                <c:pt idx="68048">
                  <c:v>29232</c:v>
                </c:pt>
                <c:pt idx="68049">
                  <c:v>29232</c:v>
                </c:pt>
                <c:pt idx="68050">
                  <c:v>29231</c:v>
                </c:pt>
                <c:pt idx="68051">
                  <c:v>29230</c:v>
                </c:pt>
                <c:pt idx="68052">
                  <c:v>29229</c:v>
                </c:pt>
                <c:pt idx="68053">
                  <c:v>29229</c:v>
                </c:pt>
                <c:pt idx="68054">
                  <c:v>29229</c:v>
                </c:pt>
                <c:pt idx="68055">
                  <c:v>29228</c:v>
                </c:pt>
                <c:pt idx="68056">
                  <c:v>29227</c:v>
                </c:pt>
                <c:pt idx="68057">
                  <c:v>29227</c:v>
                </c:pt>
                <c:pt idx="68058">
                  <c:v>29227</c:v>
                </c:pt>
                <c:pt idx="68059">
                  <c:v>29225</c:v>
                </c:pt>
                <c:pt idx="68060">
                  <c:v>29225</c:v>
                </c:pt>
                <c:pt idx="68061">
                  <c:v>29224</c:v>
                </c:pt>
                <c:pt idx="68062">
                  <c:v>29224</c:v>
                </c:pt>
                <c:pt idx="68063">
                  <c:v>29224</c:v>
                </c:pt>
                <c:pt idx="68064">
                  <c:v>29224</c:v>
                </c:pt>
                <c:pt idx="68065">
                  <c:v>29223</c:v>
                </c:pt>
                <c:pt idx="68066">
                  <c:v>29223</c:v>
                </c:pt>
                <c:pt idx="68067">
                  <c:v>29223</c:v>
                </c:pt>
                <c:pt idx="68068">
                  <c:v>29223</c:v>
                </c:pt>
                <c:pt idx="68069">
                  <c:v>29223</c:v>
                </c:pt>
                <c:pt idx="68070">
                  <c:v>29222</c:v>
                </c:pt>
                <c:pt idx="68071">
                  <c:v>29222</c:v>
                </c:pt>
                <c:pt idx="68072">
                  <c:v>29221</c:v>
                </c:pt>
                <c:pt idx="68073">
                  <c:v>29220</c:v>
                </c:pt>
                <c:pt idx="68074">
                  <c:v>29220</c:v>
                </c:pt>
                <c:pt idx="68075">
                  <c:v>29220</c:v>
                </c:pt>
                <c:pt idx="68076">
                  <c:v>29220</c:v>
                </c:pt>
                <c:pt idx="68077">
                  <c:v>29220</c:v>
                </c:pt>
                <c:pt idx="68078">
                  <c:v>29219</c:v>
                </c:pt>
                <c:pt idx="68079">
                  <c:v>29218</c:v>
                </c:pt>
                <c:pt idx="68080">
                  <c:v>29218</c:v>
                </c:pt>
                <c:pt idx="68081">
                  <c:v>29218</c:v>
                </c:pt>
                <c:pt idx="68082">
                  <c:v>29217</c:v>
                </c:pt>
                <c:pt idx="68083">
                  <c:v>29217</c:v>
                </c:pt>
                <c:pt idx="68084">
                  <c:v>29217</c:v>
                </c:pt>
                <c:pt idx="68085">
                  <c:v>29217</c:v>
                </c:pt>
                <c:pt idx="68086">
                  <c:v>29216</c:v>
                </c:pt>
                <c:pt idx="68087">
                  <c:v>29215</c:v>
                </c:pt>
                <c:pt idx="68088">
                  <c:v>29215</c:v>
                </c:pt>
                <c:pt idx="68089">
                  <c:v>29215</c:v>
                </c:pt>
                <c:pt idx="68090">
                  <c:v>29214</c:v>
                </c:pt>
                <c:pt idx="68091">
                  <c:v>29213</c:v>
                </c:pt>
                <c:pt idx="68092">
                  <c:v>29213</c:v>
                </c:pt>
                <c:pt idx="68093">
                  <c:v>29213</c:v>
                </c:pt>
                <c:pt idx="68094">
                  <c:v>29212</c:v>
                </c:pt>
                <c:pt idx="68095">
                  <c:v>29212</c:v>
                </c:pt>
                <c:pt idx="68096">
                  <c:v>29211</c:v>
                </c:pt>
                <c:pt idx="68097">
                  <c:v>29211</c:v>
                </c:pt>
                <c:pt idx="68098">
                  <c:v>29211</c:v>
                </c:pt>
                <c:pt idx="68099">
                  <c:v>29211</c:v>
                </c:pt>
                <c:pt idx="68100">
                  <c:v>29210</c:v>
                </c:pt>
                <c:pt idx="68101">
                  <c:v>29209</c:v>
                </c:pt>
                <c:pt idx="68102">
                  <c:v>29209</c:v>
                </c:pt>
                <c:pt idx="68103">
                  <c:v>29208</c:v>
                </c:pt>
                <c:pt idx="68104">
                  <c:v>29208</c:v>
                </c:pt>
                <c:pt idx="68105">
                  <c:v>29207</c:v>
                </c:pt>
                <c:pt idx="68106">
                  <c:v>29207</c:v>
                </c:pt>
                <c:pt idx="68107">
                  <c:v>29207</c:v>
                </c:pt>
                <c:pt idx="68108">
                  <c:v>29207</c:v>
                </c:pt>
                <c:pt idx="68109">
                  <c:v>29206</c:v>
                </c:pt>
                <c:pt idx="68110">
                  <c:v>29206</c:v>
                </c:pt>
                <c:pt idx="68111">
                  <c:v>29206</c:v>
                </c:pt>
                <c:pt idx="68112">
                  <c:v>29206</c:v>
                </c:pt>
                <c:pt idx="68113">
                  <c:v>29206</c:v>
                </c:pt>
                <c:pt idx="68114">
                  <c:v>29205</c:v>
                </c:pt>
                <c:pt idx="68115">
                  <c:v>29205</c:v>
                </c:pt>
                <c:pt idx="68116">
                  <c:v>29204</c:v>
                </c:pt>
                <c:pt idx="68117">
                  <c:v>29204</c:v>
                </c:pt>
                <c:pt idx="68118">
                  <c:v>29200</c:v>
                </c:pt>
                <c:pt idx="68119">
                  <c:v>29200</c:v>
                </c:pt>
                <c:pt idx="68120">
                  <c:v>29199</c:v>
                </c:pt>
                <c:pt idx="68121">
                  <c:v>29198</c:v>
                </c:pt>
                <c:pt idx="68122">
                  <c:v>29198</c:v>
                </c:pt>
                <c:pt idx="68123">
                  <c:v>29198</c:v>
                </c:pt>
                <c:pt idx="68124">
                  <c:v>29198</c:v>
                </c:pt>
                <c:pt idx="68125">
                  <c:v>29197</c:v>
                </c:pt>
                <c:pt idx="68126">
                  <c:v>29197</c:v>
                </c:pt>
                <c:pt idx="68127">
                  <c:v>29197</c:v>
                </c:pt>
                <c:pt idx="68128">
                  <c:v>29197</c:v>
                </c:pt>
                <c:pt idx="68129">
                  <c:v>29196</c:v>
                </c:pt>
                <c:pt idx="68130">
                  <c:v>29196</c:v>
                </c:pt>
                <c:pt idx="68131">
                  <c:v>29196</c:v>
                </c:pt>
                <c:pt idx="68132">
                  <c:v>29195</c:v>
                </c:pt>
                <c:pt idx="68133">
                  <c:v>29195</c:v>
                </c:pt>
                <c:pt idx="68134">
                  <c:v>29195</c:v>
                </c:pt>
                <c:pt idx="68135">
                  <c:v>29194</c:v>
                </c:pt>
                <c:pt idx="68136">
                  <c:v>29194</c:v>
                </c:pt>
                <c:pt idx="68137">
                  <c:v>29194</c:v>
                </c:pt>
                <c:pt idx="68138">
                  <c:v>29193</c:v>
                </c:pt>
                <c:pt idx="68139">
                  <c:v>29193</c:v>
                </c:pt>
                <c:pt idx="68140">
                  <c:v>29193</c:v>
                </c:pt>
                <c:pt idx="68141">
                  <c:v>29192</c:v>
                </c:pt>
                <c:pt idx="68142">
                  <c:v>29191</c:v>
                </c:pt>
                <c:pt idx="68143">
                  <c:v>29191</c:v>
                </c:pt>
                <c:pt idx="68144">
                  <c:v>29190</c:v>
                </c:pt>
                <c:pt idx="68145">
                  <c:v>29190</c:v>
                </c:pt>
                <c:pt idx="68146">
                  <c:v>29189</c:v>
                </c:pt>
                <c:pt idx="68147">
                  <c:v>29189</c:v>
                </c:pt>
                <c:pt idx="68148">
                  <c:v>29188</c:v>
                </c:pt>
                <c:pt idx="68149">
                  <c:v>29188</c:v>
                </c:pt>
                <c:pt idx="68150">
                  <c:v>29188</c:v>
                </c:pt>
                <c:pt idx="68151">
                  <c:v>29188</c:v>
                </c:pt>
                <c:pt idx="68152">
                  <c:v>29188</c:v>
                </c:pt>
                <c:pt idx="68153">
                  <c:v>29187</c:v>
                </c:pt>
                <c:pt idx="68154">
                  <c:v>29186</c:v>
                </c:pt>
                <c:pt idx="68155">
                  <c:v>29186</c:v>
                </c:pt>
                <c:pt idx="68156">
                  <c:v>29186</c:v>
                </c:pt>
                <c:pt idx="68157">
                  <c:v>29186</c:v>
                </c:pt>
                <c:pt idx="68158">
                  <c:v>29185</c:v>
                </c:pt>
                <c:pt idx="68159">
                  <c:v>29185</c:v>
                </c:pt>
                <c:pt idx="68160">
                  <c:v>29185</c:v>
                </c:pt>
                <c:pt idx="68161">
                  <c:v>29184</c:v>
                </c:pt>
                <c:pt idx="68162">
                  <c:v>29184</c:v>
                </c:pt>
                <c:pt idx="68163">
                  <c:v>29184</c:v>
                </c:pt>
                <c:pt idx="68164">
                  <c:v>29183</c:v>
                </c:pt>
                <c:pt idx="68165">
                  <c:v>29183</c:v>
                </c:pt>
                <c:pt idx="68166">
                  <c:v>29183</c:v>
                </c:pt>
                <c:pt idx="68167">
                  <c:v>29182</c:v>
                </c:pt>
                <c:pt idx="68168">
                  <c:v>29182</c:v>
                </c:pt>
                <c:pt idx="68169">
                  <c:v>29182</c:v>
                </c:pt>
                <c:pt idx="68170">
                  <c:v>29181</c:v>
                </c:pt>
                <c:pt idx="68171">
                  <c:v>29181</c:v>
                </c:pt>
                <c:pt idx="68172">
                  <c:v>29179</c:v>
                </c:pt>
                <c:pt idx="68173">
                  <c:v>29179</c:v>
                </c:pt>
                <c:pt idx="68174">
                  <c:v>29178</c:v>
                </c:pt>
                <c:pt idx="68175">
                  <c:v>29177</c:v>
                </c:pt>
                <c:pt idx="68176">
                  <c:v>29176</c:v>
                </c:pt>
                <c:pt idx="68177">
                  <c:v>29176</c:v>
                </c:pt>
                <c:pt idx="68178">
                  <c:v>29176</c:v>
                </c:pt>
                <c:pt idx="68179">
                  <c:v>29175</c:v>
                </c:pt>
                <c:pt idx="68180">
                  <c:v>29175</c:v>
                </c:pt>
                <c:pt idx="68181">
                  <c:v>29175</c:v>
                </c:pt>
                <c:pt idx="68182">
                  <c:v>29175</c:v>
                </c:pt>
                <c:pt idx="68183">
                  <c:v>29174</c:v>
                </c:pt>
                <c:pt idx="68184">
                  <c:v>29173</c:v>
                </c:pt>
                <c:pt idx="68185">
                  <c:v>29173</c:v>
                </c:pt>
                <c:pt idx="68186">
                  <c:v>29173</c:v>
                </c:pt>
                <c:pt idx="68187">
                  <c:v>29173</c:v>
                </c:pt>
                <c:pt idx="68188">
                  <c:v>29173</c:v>
                </c:pt>
                <c:pt idx="68189">
                  <c:v>29173</c:v>
                </c:pt>
                <c:pt idx="68190">
                  <c:v>29171</c:v>
                </c:pt>
                <c:pt idx="68191">
                  <c:v>29171</c:v>
                </c:pt>
                <c:pt idx="68192">
                  <c:v>29171</c:v>
                </c:pt>
                <c:pt idx="68193">
                  <c:v>29171</c:v>
                </c:pt>
                <c:pt idx="68194">
                  <c:v>29170</c:v>
                </c:pt>
                <c:pt idx="68195">
                  <c:v>29169</c:v>
                </c:pt>
                <c:pt idx="68196">
                  <c:v>29169</c:v>
                </c:pt>
                <c:pt idx="68197">
                  <c:v>29168</c:v>
                </c:pt>
                <c:pt idx="68198">
                  <c:v>29168</c:v>
                </c:pt>
                <c:pt idx="68199">
                  <c:v>29167</c:v>
                </c:pt>
                <c:pt idx="68200">
                  <c:v>29167</c:v>
                </c:pt>
                <c:pt idx="68201">
                  <c:v>29166</c:v>
                </c:pt>
                <c:pt idx="68202">
                  <c:v>29166</c:v>
                </c:pt>
                <c:pt idx="68203">
                  <c:v>29166</c:v>
                </c:pt>
                <c:pt idx="68204">
                  <c:v>29165</c:v>
                </c:pt>
                <c:pt idx="68205">
                  <c:v>29165</c:v>
                </c:pt>
                <c:pt idx="68206">
                  <c:v>29164</c:v>
                </c:pt>
                <c:pt idx="68207">
                  <c:v>29164</c:v>
                </c:pt>
                <c:pt idx="68208">
                  <c:v>29164</c:v>
                </c:pt>
                <c:pt idx="68209">
                  <c:v>29164</c:v>
                </c:pt>
                <c:pt idx="68210">
                  <c:v>29164</c:v>
                </c:pt>
                <c:pt idx="68211">
                  <c:v>29163</c:v>
                </c:pt>
                <c:pt idx="68212">
                  <c:v>29162</c:v>
                </c:pt>
                <c:pt idx="68213">
                  <c:v>29162</c:v>
                </c:pt>
                <c:pt idx="68214">
                  <c:v>29160</c:v>
                </c:pt>
                <c:pt idx="68215">
                  <c:v>29158</c:v>
                </c:pt>
                <c:pt idx="68216">
                  <c:v>29157</c:v>
                </c:pt>
                <c:pt idx="68217">
                  <c:v>29157</c:v>
                </c:pt>
                <c:pt idx="68218">
                  <c:v>29156</c:v>
                </c:pt>
                <c:pt idx="68219">
                  <c:v>29155</c:v>
                </c:pt>
                <c:pt idx="68220">
                  <c:v>29155</c:v>
                </c:pt>
                <c:pt idx="68221">
                  <c:v>29154</c:v>
                </c:pt>
                <c:pt idx="68222">
                  <c:v>29154</c:v>
                </c:pt>
                <c:pt idx="68223">
                  <c:v>29154</c:v>
                </c:pt>
                <c:pt idx="68224">
                  <c:v>29153</c:v>
                </c:pt>
                <c:pt idx="68225">
                  <c:v>29153</c:v>
                </c:pt>
                <c:pt idx="68226">
                  <c:v>29153</c:v>
                </c:pt>
                <c:pt idx="68227">
                  <c:v>29152</c:v>
                </c:pt>
                <c:pt idx="68228">
                  <c:v>29152</c:v>
                </c:pt>
                <c:pt idx="68229">
                  <c:v>29152</c:v>
                </c:pt>
                <c:pt idx="68230">
                  <c:v>29151</c:v>
                </c:pt>
                <c:pt idx="68231">
                  <c:v>29151</c:v>
                </c:pt>
                <c:pt idx="68232">
                  <c:v>29151</c:v>
                </c:pt>
                <c:pt idx="68233">
                  <c:v>29150</c:v>
                </c:pt>
                <c:pt idx="68234">
                  <c:v>29150</c:v>
                </c:pt>
                <c:pt idx="68235">
                  <c:v>29149</c:v>
                </c:pt>
                <c:pt idx="68236">
                  <c:v>29149</c:v>
                </c:pt>
                <c:pt idx="68237">
                  <c:v>29149</c:v>
                </c:pt>
                <c:pt idx="68238">
                  <c:v>29148</c:v>
                </c:pt>
                <c:pt idx="68239">
                  <c:v>29147</c:v>
                </c:pt>
                <c:pt idx="68240">
                  <c:v>29147</c:v>
                </c:pt>
                <c:pt idx="68241">
                  <c:v>29147</c:v>
                </c:pt>
                <c:pt idx="68242">
                  <c:v>29146</c:v>
                </c:pt>
                <c:pt idx="68243">
                  <c:v>29146</c:v>
                </c:pt>
                <c:pt idx="68244">
                  <c:v>29145</c:v>
                </c:pt>
                <c:pt idx="68245">
                  <c:v>29145</c:v>
                </c:pt>
                <c:pt idx="68246">
                  <c:v>29144</c:v>
                </c:pt>
                <c:pt idx="68247">
                  <c:v>29144</c:v>
                </c:pt>
                <c:pt idx="68248">
                  <c:v>29144</c:v>
                </c:pt>
                <c:pt idx="68249">
                  <c:v>29144</c:v>
                </c:pt>
                <c:pt idx="68250">
                  <c:v>29143</c:v>
                </c:pt>
                <c:pt idx="68251">
                  <c:v>29143</c:v>
                </c:pt>
                <c:pt idx="68252">
                  <c:v>29143</c:v>
                </c:pt>
                <c:pt idx="68253">
                  <c:v>29142</c:v>
                </c:pt>
                <c:pt idx="68254">
                  <c:v>29142</c:v>
                </c:pt>
                <c:pt idx="68255">
                  <c:v>29140</c:v>
                </c:pt>
                <c:pt idx="68256">
                  <c:v>29140</c:v>
                </c:pt>
                <c:pt idx="68257">
                  <c:v>29139</c:v>
                </c:pt>
                <c:pt idx="68258">
                  <c:v>29139</c:v>
                </c:pt>
                <c:pt idx="68259">
                  <c:v>29139</c:v>
                </c:pt>
                <c:pt idx="68260">
                  <c:v>29139</c:v>
                </c:pt>
                <c:pt idx="68261">
                  <c:v>29139</c:v>
                </c:pt>
                <c:pt idx="68262">
                  <c:v>29138</c:v>
                </c:pt>
                <c:pt idx="68263">
                  <c:v>29137</c:v>
                </c:pt>
                <c:pt idx="68264">
                  <c:v>29136</c:v>
                </c:pt>
                <c:pt idx="68265">
                  <c:v>29136</c:v>
                </c:pt>
                <c:pt idx="68266">
                  <c:v>29136</c:v>
                </c:pt>
                <c:pt idx="68267">
                  <c:v>29135</c:v>
                </c:pt>
                <c:pt idx="68268">
                  <c:v>29135</c:v>
                </c:pt>
                <c:pt idx="68269">
                  <c:v>29135</c:v>
                </c:pt>
                <c:pt idx="68270">
                  <c:v>29135</c:v>
                </c:pt>
                <c:pt idx="68271">
                  <c:v>29134</c:v>
                </c:pt>
                <c:pt idx="68272">
                  <c:v>29134</c:v>
                </c:pt>
                <c:pt idx="68273">
                  <c:v>29134</c:v>
                </c:pt>
                <c:pt idx="68274">
                  <c:v>29132</c:v>
                </c:pt>
                <c:pt idx="68275">
                  <c:v>29131</c:v>
                </c:pt>
                <c:pt idx="68276">
                  <c:v>29131</c:v>
                </c:pt>
                <c:pt idx="68277">
                  <c:v>29131</c:v>
                </c:pt>
                <c:pt idx="68278">
                  <c:v>29130</c:v>
                </c:pt>
                <c:pt idx="68279">
                  <c:v>29130</c:v>
                </c:pt>
                <c:pt idx="68280">
                  <c:v>29130</c:v>
                </c:pt>
                <c:pt idx="68281">
                  <c:v>29128</c:v>
                </c:pt>
                <c:pt idx="68282">
                  <c:v>29128</c:v>
                </c:pt>
                <c:pt idx="68283">
                  <c:v>29127</c:v>
                </c:pt>
                <c:pt idx="68284">
                  <c:v>29125</c:v>
                </c:pt>
                <c:pt idx="68285">
                  <c:v>29125</c:v>
                </c:pt>
                <c:pt idx="68286">
                  <c:v>29125</c:v>
                </c:pt>
                <c:pt idx="68287">
                  <c:v>29124</c:v>
                </c:pt>
                <c:pt idx="68288">
                  <c:v>29123</c:v>
                </c:pt>
                <c:pt idx="68289">
                  <c:v>29122</c:v>
                </c:pt>
                <c:pt idx="68290">
                  <c:v>29122</c:v>
                </c:pt>
                <c:pt idx="68291">
                  <c:v>29122</c:v>
                </c:pt>
                <c:pt idx="68292">
                  <c:v>29120</c:v>
                </c:pt>
                <c:pt idx="68293">
                  <c:v>29120</c:v>
                </c:pt>
                <c:pt idx="68294">
                  <c:v>29120</c:v>
                </c:pt>
                <c:pt idx="68295">
                  <c:v>29120</c:v>
                </c:pt>
                <c:pt idx="68296">
                  <c:v>29119</c:v>
                </c:pt>
                <c:pt idx="68297">
                  <c:v>29118</c:v>
                </c:pt>
                <c:pt idx="68298">
                  <c:v>29118</c:v>
                </c:pt>
                <c:pt idx="68299">
                  <c:v>29117</c:v>
                </c:pt>
                <c:pt idx="68300">
                  <c:v>29117</c:v>
                </c:pt>
                <c:pt idx="68301">
                  <c:v>29117</c:v>
                </c:pt>
                <c:pt idx="68302">
                  <c:v>29117</c:v>
                </c:pt>
                <c:pt idx="68303">
                  <c:v>29116</c:v>
                </c:pt>
                <c:pt idx="68304">
                  <c:v>29115</c:v>
                </c:pt>
                <c:pt idx="68305">
                  <c:v>29115</c:v>
                </c:pt>
                <c:pt idx="68306">
                  <c:v>29114</c:v>
                </c:pt>
                <c:pt idx="68307">
                  <c:v>29114</c:v>
                </c:pt>
                <c:pt idx="68308">
                  <c:v>29113</c:v>
                </c:pt>
                <c:pt idx="68309">
                  <c:v>29113</c:v>
                </c:pt>
                <c:pt idx="68310">
                  <c:v>29113</c:v>
                </c:pt>
                <c:pt idx="68311">
                  <c:v>29112</c:v>
                </c:pt>
                <c:pt idx="68312">
                  <c:v>29111</c:v>
                </c:pt>
                <c:pt idx="68313">
                  <c:v>29111</c:v>
                </c:pt>
                <c:pt idx="68314">
                  <c:v>29111</c:v>
                </c:pt>
                <c:pt idx="68315">
                  <c:v>29111</c:v>
                </c:pt>
                <c:pt idx="68316">
                  <c:v>29110</c:v>
                </c:pt>
                <c:pt idx="68317">
                  <c:v>29110</c:v>
                </c:pt>
                <c:pt idx="68318">
                  <c:v>29110</c:v>
                </c:pt>
                <c:pt idx="68319">
                  <c:v>29110</c:v>
                </c:pt>
                <c:pt idx="68320">
                  <c:v>29110</c:v>
                </c:pt>
                <c:pt idx="68321">
                  <c:v>29109</c:v>
                </c:pt>
                <c:pt idx="68322">
                  <c:v>29109</c:v>
                </c:pt>
                <c:pt idx="68323">
                  <c:v>29109</c:v>
                </c:pt>
                <c:pt idx="68324">
                  <c:v>29108</c:v>
                </c:pt>
                <c:pt idx="68325">
                  <c:v>29108</c:v>
                </c:pt>
                <c:pt idx="68326">
                  <c:v>29108</c:v>
                </c:pt>
                <c:pt idx="68327">
                  <c:v>29108</c:v>
                </c:pt>
                <c:pt idx="68328">
                  <c:v>29108</c:v>
                </c:pt>
                <c:pt idx="68329">
                  <c:v>29107</c:v>
                </c:pt>
                <c:pt idx="68330">
                  <c:v>29107</c:v>
                </c:pt>
                <c:pt idx="68331">
                  <c:v>29107</c:v>
                </c:pt>
                <c:pt idx="68332">
                  <c:v>29106</c:v>
                </c:pt>
                <c:pt idx="68333">
                  <c:v>29106</c:v>
                </c:pt>
                <c:pt idx="68334">
                  <c:v>29105</c:v>
                </c:pt>
                <c:pt idx="68335">
                  <c:v>29104</c:v>
                </c:pt>
                <c:pt idx="68336">
                  <c:v>29104</c:v>
                </c:pt>
                <c:pt idx="68337">
                  <c:v>29103</c:v>
                </c:pt>
                <c:pt idx="68338">
                  <c:v>29103</c:v>
                </c:pt>
                <c:pt idx="68339">
                  <c:v>29102</c:v>
                </c:pt>
                <c:pt idx="68340">
                  <c:v>29102</c:v>
                </c:pt>
                <c:pt idx="68341">
                  <c:v>29101</c:v>
                </c:pt>
                <c:pt idx="68342">
                  <c:v>29101</c:v>
                </c:pt>
                <c:pt idx="68343">
                  <c:v>29101</c:v>
                </c:pt>
                <c:pt idx="68344">
                  <c:v>29100</c:v>
                </c:pt>
                <c:pt idx="68345">
                  <c:v>29099</c:v>
                </c:pt>
                <c:pt idx="68346">
                  <c:v>29099</c:v>
                </c:pt>
                <c:pt idx="68347">
                  <c:v>29099</c:v>
                </c:pt>
                <c:pt idx="68348">
                  <c:v>29098</c:v>
                </c:pt>
                <c:pt idx="68349">
                  <c:v>29098</c:v>
                </c:pt>
                <c:pt idx="68350">
                  <c:v>29098</c:v>
                </c:pt>
                <c:pt idx="68351">
                  <c:v>29098</c:v>
                </c:pt>
                <c:pt idx="68352">
                  <c:v>29097</c:v>
                </c:pt>
                <c:pt idx="68353">
                  <c:v>29095</c:v>
                </c:pt>
                <c:pt idx="68354">
                  <c:v>29094</c:v>
                </c:pt>
                <c:pt idx="68355">
                  <c:v>29094</c:v>
                </c:pt>
                <c:pt idx="68356">
                  <c:v>29094</c:v>
                </c:pt>
                <c:pt idx="68357">
                  <c:v>29093</c:v>
                </c:pt>
                <c:pt idx="68358">
                  <c:v>29093</c:v>
                </c:pt>
                <c:pt idx="68359">
                  <c:v>29093</c:v>
                </c:pt>
                <c:pt idx="68360">
                  <c:v>29092</c:v>
                </c:pt>
                <c:pt idx="68361">
                  <c:v>29092</c:v>
                </c:pt>
                <c:pt idx="68362">
                  <c:v>29091</c:v>
                </c:pt>
                <c:pt idx="68363">
                  <c:v>29090</c:v>
                </c:pt>
                <c:pt idx="68364">
                  <c:v>29090</c:v>
                </c:pt>
                <c:pt idx="68365">
                  <c:v>29089</c:v>
                </c:pt>
                <c:pt idx="68366">
                  <c:v>29088</c:v>
                </c:pt>
                <c:pt idx="68367">
                  <c:v>29087</c:v>
                </c:pt>
                <c:pt idx="68368">
                  <c:v>29087</c:v>
                </c:pt>
                <c:pt idx="68369">
                  <c:v>29086</c:v>
                </c:pt>
                <c:pt idx="68370">
                  <c:v>29085</c:v>
                </c:pt>
                <c:pt idx="68371">
                  <c:v>29084</c:v>
                </c:pt>
                <c:pt idx="68372">
                  <c:v>29084</c:v>
                </c:pt>
                <c:pt idx="68373">
                  <c:v>29084</c:v>
                </c:pt>
                <c:pt idx="68374">
                  <c:v>29083</c:v>
                </c:pt>
                <c:pt idx="68375">
                  <c:v>29083</c:v>
                </c:pt>
                <c:pt idx="68376">
                  <c:v>29082</c:v>
                </c:pt>
                <c:pt idx="68377">
                  <c:v>29082</c:v>
                </c:pt>
                <c:pt idx="68378">
                  <c:v>29081</c:v>
                </c:pt>
                <c:pt idx="68379">
                  <c:v>29081</c:v>
                </c:pt>
                <c:pt idx="68380">
                  <c:v>29080</c:v>
                </c:pt>
                <c:pt idx="68381">
                  <c:v>29079</c:v>
                </c:pt>
                <c:pt idx="68382">
                  <c:v>29079</c:v>
                </c:pt>
                <c:pt idx="68383">
                  <c:v>29079</c:v>
                </c:pt>
                <c:pt idx="68384">
                  <c:v>29079</c:v>
                </c:pt>
                <c:pt idx="68385">
                  <c:v>29078</c:v>
                </c:pt>
                <c:pt idx="68386">
                  <c:v>29078</c:v>
                </c:pt>
                <c:pt idx="68387">
                  <c:v>29077</c:v>
                </c:pt>
                <c:pt idx="68388">
                  <c:v>29076</c:v>
                </c:pt>
                <c:pt idx="68389">
                  <c:v>29076</c:v>
                </c:pt>
                <c:pt idx="68390">
                  <c:v>29075</c:v>
                </c:pt>
                <c:pt idx="68391">
                  <c:v>29074</c:v>
                </c:pt>
                <c:pt idx="68392">
                  <c:v>29074</c:v>
                </c:pt>
                <c:pt idx="68393">
                  <c:v>29073</c:v>
                </c:pt>
                <c:pt idx="68394">
                  <c:v>29073</c:v>
                </c:pt>
                <c:pt idx="68395">
                  <c:v>29072</c:v>
                </c:pt>
                <c:pt idx="68396">
                  <c:v>29071</c:v>
                </c:pt>
                <c:pt idx="68397">
                  <c:v>29071</c:v>
                </c:pt>
                <c:pt idx="68398">
                  <c:v>29070</c:v>
                </c:pt>
                <c:pt idx="68399">
                  <c:v>29069</c:v>
                </c:pt>
                <c:pt idx="68400">
                  <c:v>29069</c:v>
                </c:pt>
                <c:pt idx="68401">
                  <c:v>29068</c:v>
                </c:pt>
                <c:pt idx="68402">
                  <c:v>29068</c:v>
                </c:pt>
                <c:pt idx="68403">
                  <c:v>29067</c:v>
                </c:pt>
                <c:pt idx="68404">
                  <c:v>29066</c:v>
                </c:pt>
                <c:pt idx="68405">
                  <c:v>29066</c:v>
                </c:pt>
                <c:pt idx="68406">
                  <c:v>29066</c:v>
                </c:pt>
                <c:pt idx="68407">
                  <c:v>29065</c:v>
                </c:pt>
                <c:pt idx="68408">
                  <c:v>29065</c:v>
                </c:pt>
                <c:pt idx="68409">
                  <c:v>29064</c:v>
                </c:pt>
                <c:pt idx="68410">
                  <c:v>29064</c:v>
                </c:pt>
                <c:pt idx="68411">
                  <c:v>29064</c:v>
                </c:pt>
                <c:pt idx="68412">
                  <c:v>29063</c:v>
                </c:pt>
                <c:pt idx="68413">
                  <c:v>29063</c:v>
                </c:pt>
                <c:pt idx="68414">
                  <c:v>29062</c:v>
                </c:pt>
                <c:pt idx="68415">
                  <c:v>29062</c:v>
                </c:pt>
                <c:pt idx="68416">
                  <c:v>29061</c:v>
                </c:pt>
                <c:pt idx="68417">
                  <c:v>29060</c:v>
                </c:pt>
                <c:pt idx="68418">
                  <c:v>29059</c:v>
                </c:pt>
                <c:pt idx="68419">
                  <c:v>29059</c:v>
                </c:pt>
                <c:pt idx="68420">
                  <c:v>29058</c:v>
                </c:pt>
                <c:pt idx="68421">
                  <c:v>29058</c:v>
                </c:pt>
                <c:pt idx="68422">
                  <c:v>29057</c:v>
                </c:pt>
                <c:pt idx="68423">
                  <c:v>29056</c:v>
                </c:pt>
                <c:pt idx="68424">
                  <c:v>29056</c:v>
                </c:pt>
                <c:pt idx="68425">
                  <c:v>29055</c:v>
                </c:pt>
                <c:pt idx="68426">
                  <c:v>29054</c:v>
                </c:pt>
                <c:pt idx="68427">
                  <c:v>29054</c:v>
                </c:pt>
                <c:pt idx="68428">
                  <c:v>29054</c:v>
                </c:pt>
                <c:pt idx="68429">
                  <c:v>29054</c:v>
                </c:pt>
                <c:pt idx="68430">
                  <c:v>29053</c:v>
                </c:pt>
                <c:pt idx="68431">
                  <c:v>29053</c:v>
                </c:pt>
                <c:pt idx="68432">
                  <c:v>29052</c:v>
                </c:pt>
                <c:pt idx="68433">
                  <c:v>29052</c:v>
                </c:pt>
                <c:pt idx="68434">
                  <c:v>29052</c:v>
                </c:pt>
                <c:pt idx="68435">
                  <c:v>29051</c:v>
                </c:pt>
                <c:pt idx="68436">
                  <c:v>29051</c:v>
                </c:pt>
                <c:pt idx="68437">
                  <c:v>29051</c:v>
                </c:pt>
                <c:pt idx="68438">
                  <c:v>29051</c:v>
                </c:pt>
                <c:pt idx="68439">
                  <c:v>29050</c:v>
                </c:pt>
                <c:pt idx="68440">
                  <c:v>29050</c:v>
                </c:pt>
                <c:pt idx="68441">
                  <c:v>29050</c:v>
                </c:pt>
                <c:pt idx="68442">
                  <c:v>29049</c:v>
                </c:pt>
                <c:pt idx="68443">
                  <c:v>29049</c:v>
                </c:pt>
                <c:pt idx="68444">
                  <c:v>29049</c:v>
                </c:pt>
                <c:pt idx="68445">
                  <c:v>29048</c:v>
                </c:pt>
                <c:pt idx="68446">
                  <c:v>29048</c:v>
                </c:pt>
                <c:pt idx="68447">
                  <c:v>29048</c:v>
                </c:pt>
                <c:pt idx="68448">
                  <c:v>29048</c:v>
                </c:pt>
                <c:pt idx="68449">
                  <c:v>29048</c:v>
                </c:pt>
                <c:pt idx="68450">
                  <c:v>29047</c:v>
                </c:pt>
                <c:pt idx="68451">
                  <c:v>29047</c:v>
                </c:pt>
                <c:pt idx="68452">
                  <c:v>29046</c:v>
                </c:pt>
                <c:pt idx="68453">
                  <c:v>29046</c:v>
                </c:pt>
                <c:pt idx="68454">
                  <c:v>29045</c:v>
                </c:pt>
                <c:pt idx="68455">
                  <c:v>29045</c:v>
                </c:pt>
                <c:pt idx="68456">
                  <c:v>29045</c:v>
                </c:pt>
                <c:pt idx="68457">
                  <c:v>29045</c:v>
                </c:pt>
                <c:pt idx="68458">
                  <c:v>29044</c:v>
                </c:pt>
                <c:pt idx="68459">
                  <c:v>29042</c:v>
                </c:pt>
                <c:pt idx="68460">
                  <c:v>29042</c:v>
                </c:pt>
                <c:pt idx="68461">
                  <c:v>29042</c:v>
                </c:pt>
                <c:pt idx="68462">
                  <c:v>29041</c:v>
                </c:pt>
                <c:pt idx="68463">
                  <c:v>29041</c:v>
                </c:pt>
                <c:pt idx="68464">
                  <c:v>29041</c:v>
                </c:pt>
                <c:pt idx="68465">
                  <c:v>29040</c:v>
                </c:pt>
                <c:pt idx="68466">
                  <c:v>29040</c:v>
                </c:pt>
                <c:pt idx="68467">
                  <c:v>29039</c:v>
                </c:pt>
                <c:pt idx="68468">
                  <c:v>29039</c:v>
                </c:pt>
                <c:pt idx="68469">
                  <c:v>29039</c:v>
                </c:pt>
                <c:pt idx="68470">
                  <c:v>29038</c:v>
                </c:pt>
                <c:pt idx="68471">
                  <c:v>29038</c:v>
                </c:pt>
                <c:pt idx="68472">
                  <c:v>29038</c:v>
                </c:pt>
                <c:pt idx="68473">
                  <c:v>29038</c:v>
                </c:pt>
                <c:pt idx="68474">
                  <c:v>29037</c:v>
                </c:pt>
                <c:pt idx="68475">
                  <c:v>29037</c:v>
                </c:pt>
                <c:pt idx="68476">
                  <c:v>29035</c:v>
                </c:pt>
                <c:pt idx="68477">
                  <c:v>29035</c:v>
                </c:pt>
                <c:pt idx="68478">
                  <c:v>29035</c:v>
                </c:pt>
                <c:pt idx="68479">
                  <c:v>29034</c:v>
                </c:pt>
                <c:pt idx="68480">
                  <c:v>29034</c:v>
                </c:pt>
                <c:pt idx="68481">
                  <c:v>29034</c:v>
                </c:pt>
                <c:pt idx="68482">
                  <c:v>29033</c:v>
                </c:pt>
                <c:pt idx="68483">
                  <c:v>29033</c:v>
                </c:pt>
                <c:pt idx="68484">
                  <c:v>29032</c:v>
                </c:pt>
                <c:pt idx="68485">
                  <c:v>29032</c:v>
                </c:pt>
                <c:pt idx="68486">
                  <c:v>29032</c:v>
                </c:pt>
                <c:pt idx="68487">
                  <c:v>29032</c:v>
                </c:pt>
                <c:pt idx="68488">
                  <c:v>29032</c:v>
                </c:pt>
                <c:pt idx="68489">
                  <c:v>29031</c:v>
                </c:pt>
                <c:pt idx="68490">
                  <c:v>29031</c:v>
                </c:pt>
                <c:pt idx="68491">
                  <c:v>29031</c:v>
                </c:pt>
                <c:pt idx="68492">
                  <c:v>29030</c:v>
                </c:pt>
                <c:pt idx="68493">
                  <c:v>29030</c:v>
                </c:pt>
                <c:pt idx="68494">
                  <c:v>29030</c:v>
                </c:pt>
                <c:pt idx="68495">
                  <c:v>29030</c:v>
                </c:pt>
                <c:pt idx="68496">
                  <c:v>29030</c:v>
                </c:pt>
                <c:pt idx="68497">
                  <c:v>29030</c:v>
                </c:pt>
                <c:pt idx="68498">
                  <c:v>29029</c:v>
                </c:pt>
                <c:pt idx="68499">
                  <c:v>29029</c:v>
                </c:pt>
                <c:pt idx="68500">
                  <c:v>29028</c:v>
                </c:pt>
                <c:pt idx="68501">
                  <c:v>29027</c:v>
                </c:pt>
                <c:pt idx="68502">
                  <c:v>29027</c:v>
                </c:pt>
                <c:pt idx="68503">
                  <c:v>29026</c:v>
                </c:pt>
                <c:pt idx="68504">
                  <c:v>29025</c:v>
                </c:pt>
                <c:pt idx="68505">
                  <c:v>29024</c:v>
                </c:pt>
                <c:pt idx="68506">
                  <c:v>29023</c:v>
                </c:pt>
                <c:pt idx="68507">
                  <c:v>29023</c:v>
                </c:pt>
                <c:pt idx="68508">
                  <c:v>29022</c:v>
                </c:pt>
                <c:pt idx="68509">
                  <c:v>29021</c:v>
                </c:pt>
                <c:pt idx="68510">
                  <c:v>29021</c:v>
                </c:pt>
                <c:pt idx="68511">
                  <c:v>29021</c:v>
                </c:pt>
                <c:pt idx="68512">
                  <c:v>29018</c:v>
                </c:pt>
                <c:pt idx="68513">
                  <c:v>29018</c:v>
                </c:pt>
                <c:pt idx="68514">
                  <c:v>29018</c:v>
                </c:pt>
                <c:pt idx="68515">
                  <c:v>29018</c:v>
                </c:pt>
                <c:pt idx="68516">
                  <c:v>29016</c:v>
                </c:pt>
                <c:pt idx="68517">
                  <c:v>29016</c:v>
                </c:pt>
                <c:pt idx="68518">
                  <c:v>29016</c:v>
                </c:pt>
                <c:pt idx="68519">
                  <c:v>29016</c:v>
                </c:pt>
                <c:pt idx="68520">
                  <c:v>29016</c:v>
                </c:pt>
                <c:pt idx="68521">
                  <c:v>29016</c:v>
                </c:pt>
                <c:pt idx="68522">
                  <c:v>29015</c:v>
                </c:pt>
                <c:pt idx="68523">
                  <c:v>29014</c:v>
                </c:pt>
                <c:pt idx="68524">
                  <c:v>29014</c:v>
                </c:pt>
                <c:pt idx="68525">
                  <c:v>29014</c:v>
                </c:pt>
                <c:pt idx="68526">
                  <c:v>29014</c:v>
                </c:pt>
                <c:pt idx="68527">
                  <c:v>29013</c:v>
                </c:pt>
                <c:pt idx="68528">
                  <c:v>29012</c:v>
                </c:pt>
                <c:pt idx="68529">
                  <c:v>29011</c:v>
                </c:pt>
                <c:pt idx="68530">
                  <c:v>29011</c:v>
                </c:pt>
                <c:pt idx="68531">
                  <c:v>29010</c:v>
                </c:pt>
                <c:pt idx="68532">
                  <c:v>29010</c:v>
                </c:pt>
                <c:pt idx="68533">
                  <c:v>29009</c:v>
                </c:pt>
                <c:pt idx="68534">
                  <c:v>29009</c:v>
                </c:pt>
                <c:pt idx="68535">
                  <c:v>29008</c:v>
                </c:pt>
                <c:pt idx="68536">
                  <c:v>29007</c:v>
                </c:pt>
                <c:pt idx="68537">
                  <c:v>29006</c:v>
                </c:pt>
                <c:pt idx="68538">
                  <c:v>29005</c:v>
                </c:pt>
                <c:pt idx="68539">
                  <c:v>29005</c:v>
                </c:pt>
                <c:pt idx="68540">
                  <c:v>29005</c:v>
                </c:pt>
                <c:pt idx="68541">
                  <c:v>29004</c:v>
                </c:pt>
                <c:pt idx="68542">
                  <c:v>29004</c:v>
                </c:pt>
                <c:pt idx="68543">
                  <c:v>29004</c:v>
                </c:pt>
                <c:pt idx="68544">
                  <c:v>29003</c:v>
                </c:pt>
                <c:pt idx="68545">
                  <c:v>29003</c:v>
                </c:pt>
                <c:pt idx="68546">
                  <c:v>29002</c:v>
                </c:pt>
                <c:pt idx="68547">
                  <c:v>29002</c:v>
                </c:pt>
                <c:pt idx="68548">
                  <c:v>29002</c:v>
                </c:pt>
                <c:pt idx="68549">
                  <c:v>29001</c:v>
                </c:pt>
                <c:pt idx="68550">
                  <c:v>29001</c:v>
                </c:pt>
                <c:pt idx="68551">
                  <c:v>29000</c:v>
                </c:pt>
                <c:pt idx="68552">
                  <c:v>29000</c:v>
                </c:pt>
                <c:pt idx="68553">
                  <c:v>28999</c:v>
                </c:pt>
                <c:pt idx="68554">
                  <c:v>28999</c:v>
                </c:pt>
                <c:pt idx="68555">
                  <c:v>28998</c:v>
                </c:pt>
                <c:pt idx="68556">
                  <c:v>28997</c:v>
                </c:pt>
                <c:pt idx="68557">
                  <c:v>28997</c:v>
                </c:pt>
                <c:pt idx="68558">
                  <c:v>28997</c:v>
                </c:pt>
                <c:pt idx="68559">
                  <c:v>28996</c:v>
                </c:pt>
                <c:pt idx="68560">
                  <c:v>28996</c:v>
                </c:pt>
                <c:pt idx="68561">
                  <c:v>28996</c:v>
                </c:pt>
                <c:pt idx="68562">
                  <c:v>28995</c:v>
                </c:pt>
                <c:pt idx="68563">
                  <c:v>28995</c:v>
                </c:pt>
                <c:pt idx="68564">
                  <c:v>28995</c:v>
                </c:pt>
                <c:pt idx="68565">
                  <c:v>28994</c:v>
                </c:pt>
                <c:pt idx="68566">
                  <c:v>28993</c:v>
                </c:pt>
                <c:pt idx="68567">
                  <c:v>28993</c:v>
                </c:pt>
                <c:pt idx="68568">
                  <c:v>28993</c:v>
                </c:pt>
                <c:pt idx="68569">
                  <c:v>28992</c:v>
                </c:pt>
                <c:pt idx="68570">
                  <c:v>28991</c:v>
                </c:pt>
                <c:pt idx="68571">
                  <c:v>28991</c:v>
                </c:pt>
                <c:pt idx="68572">
                  <c:v>28990</c:v>
                </c:pt>
                <c:pt idx="68573">
                  <c:v>28990</c:v>
                </c:pt>
                <c:pt idx="68574">
                  <c:v>28990</c:v>
                </c:pt>
                <c:pt idx="68575">
                  <c:v>28989</c:v>
                </c:pt>
                <c:pt idx="68576">
                  <c:v>28989</c:v>
                </c:pt>
                <c:pt idx="68577">
                  <c:v>28989</c:v>
                </c:pt>
                <c:pt idx="68578">
                  <c:v>28988</c:v>
                </c:pt>
                <c:pt idx="68579">
                  <c:v>28988</c:v>
                </c:pt>
                <c:pt idx="68580">
                  <c:v>28987</c:v>
                </c:pt>
                <c:pt idx="68581">
                  <c:v>28986</c:v>
                </c:pt>
                <c:pt idx="68582">
                  <c:v>28986</c:v>
                </c:pt>
                <c:pt idx="68583">
                  <c:v>28984</c:v>
                </c:pt>
                <c:pt idx="68584">
                  <c:v>28984</c:v>
                </c:pt>
                <c:pt idx="68585">
                  <c:v>28983</c:v>
                </c:pt>
                <c:pt idx="68586">
                  <c:v>28981</c:v>
                </c:pt>
                <c:pt idx="68587">
                  <c:v>28980</c:v>
                </c:pt>
                <c:pt idx="68588">
                  <c:v>28979</c:v>
                </c:pt>
                <c:pt idx="68589">
                  <c:v>28979</c:v>
                </c:pt>
                <c:pt idx="68590">
                  <c:v>28979</c:v>
                </c:pt>
                <c:pt idx="68591">
                  <c:v>28977</c:v>
                </c:pt>
                <c:pt idx="68592">
                  <c:v>28976</c:v>
                </c:pt>
                <c:pt idx="68593">
                  <c:v>28976</c:v>
                </c:pt>
                <c:pt idx="68594">
                  <c:v>28976</c:v>
                </c:pt>
                <c:pt idx="68595">
                  <c:v>28975</c:v>
                </c:pt>
                <c:pt idx="68596">
                  <c:v>28974</c:v>
                </c:pt>
                <c:pt idx="68597">
                  <c:v>28974</c:v>
                </c:pt>
                <c:pt idx="68598">
                  <c:v>28973</c:v>
                </c:pt>
                <c:pt idx="68599">
                  <c:v>28973</c:v>
                </c:pt>
                <c:pt idx="68600">
                  <c:v>28972</c:v>
                </c:pt>
                <c:pt idx="68601">
                  <c:v>28972</c:v>
                </c:pt>
                <c:pt idx="68602">
                  <c:v>28971</c:v>
                </c:pt>
                <c:pt idx="68603">
                  <c:v>28971</c:v>
                </c:pt>
                <c:pt idx="68604">
                  <c:v>28970</c:v>
                </c:pt>
                <c:pt idx="68605">
                  <c:v>28970</c:v>
                </c:pt>
                <c:pt idx="68606">
                  <c:v>28970</c:v>
                </c:pt>
                <c:pt idx="68607">
                  <c:v>28968</c:v>
                </c:pt>
                <c:pt idx="68608">
                  <c:v>28967</c:v>
                </c:pt>
                <c:pt idx="68609">
                  <c:v>28967</c:v>
                </c:pt>
                <c:pt idx="68610">
                  <c:v>28967</c:v>
                </c:pt>
                <c:pt idx="68611">
                  <c:v>28966</c:v>
                </c:pt>
                <c:pt idx="68612">
                  <c:v>28966</c:v>
                </c:pt>
                <c:pt idx="68613">
                  <c:v>28966</c:v>
                </c:pt>
                <c:pt idx="68614">
                  <c:v>28965</c:v>
                </c:pt>
                <c:pt idx="68615">
                  <c:v>28965</c:v>
                </c:pt>
                <c:pt idx="68616">
                  <c:v>28965</c:v>
                </c:pt>
                <c:pt idx="68617">
                  <c:v>28964</c:v>
                </c:pt>
                <c:pt idx="68618">
                  <c:v>28964</c:v>
                </c:pt>
                <c:pt idx="68619">
                  <c:v>28963</c:v>
                </c:pt>
                <c:pt idx="68620">
                  <c:v>28962</c:v>
                </c:pt>
                <c:pt idx="68621">
                  <c:v>28960</c:v>
                </c:pt>
                <c:pt idx="68622">
                  <c:v>28960</c:v>
                </c:pt>
                <c:pt idx="68623">
                  <c:v>28959</c:v>
                </c:pt>
                <c:pt idx="68624">
                  <c:v>28959</c:v>
                </c:pt>
                <c:pt idx="68625">
                  <c:v>28959</c:v>
                </c:pt>
                <c:pt idx="68626">
                  <c:v>28958</c:v>
                </c:pt>
                <c:pt idx="68627">
                  <c:v>28957</c:v>
                </c:pt>
                <c:pt idx="68628">
                  <c:v>28956</c:v>
                </c:pt>
                <c:pt idx="68629">
                  <c:v>28956</c:v>
                </c:pt>
                <c:pt idx="68630">
                  <c:v>28956</c:v>
                </c:pt>
                <c:pt idx="68631">
                  <c:v>28955</c:v>
                </c:pt>
                <c:pt idx="68632">
                  <c:v>28955</c:v>
                </c:pt>
                <c:pt idx="68633">
                  <c:v>28955</c:v>
                </c:pt>
                <c:pt idx="68634">
                  <c:v>28954</c:v>
                </c:pt>
                <c:pt idx="68635">
                  <c:v>28954</c:v>
                </c:pt>
                <c:pt idx="68636">
                  <c:v>28953</c:v>
                </c:pt>
                <c:pt idx="68637">
                  <c:v>28952</c:v>
                </c:pt>
                <c:pt idx="68638">
                  <c:v>28952</c:v>
                </c:pt>
                <c:pt idx="68639">
                  <c:v>28951</c:v>
                </c:pt>
                <c:pt idx="68640">
                  <c:v>28951</c:v>
                </c:pt>
                <c:pt idx="68641">
                  <c:v>28950</c:v>
                </c:pt>
                <c:pt idx="68642">
                  <c:v>28950</c:v>
                </c:pt>
                <c:pt idx="68643">
                  <c:v>28949</c:v>
                </c:pt>
                <c:pt idx="68644">
                  <c:v>28949</c:v>
                </c:pt>
                <c:pt idx="68645">
                  <c:v>28949</c:v>
                </c:pt>
                <c:pt idx="68646">
                  <c:v>28949</c:v>
                </c:pt>
                <c:pt idx="68647">
                  <c:v>28948</c:v>
                </c:pt>
                <c:pt idx="68648">
                  <c:v>28947</c:v>
                </c:pt>
                <c:pt idx="68649">
                  <c:v>28947</c:v>
                </c:pt>
                <c:pt idx="68650">
                  <c:v>28947</c:v>
                </c:pt>
                <c:pt idx="68651">
                  <c:v>28947</c:v>
                </c:pt>
                <c:pt idx="68652">
                  <c:v>28946</c:v>
                </c:pt>
                <c:pt idx="68653">
                  <c:v>28946</c:v>
                </c:pt>
                <c:pt idx="68654">
                  <c:v>28946</c:v>
                </c:pt>
                <c:pt idx="68655">
                  <c:v>28945</c:v>
                </c:pt>
                <c:pt idx="68656">
                  <c:v>28945</c:v>
                </c:pt>
                <c:pt idx="68657">
                  <c:v>28945</c:v>
                </c:pt>
                <c:pt idx="68658">
                  <c:v>28944</c:v>
                </c:pt>
                <c:pt idx="68659">
                  <c:v>28943</c:v>
                </c:pt>
                <c:pt idx="68660">
                  <c:v>28943</c:v>
                </c:pt>
                <c:pt idx="68661">
                  <c:v>28943</c:v>
                </c:pt>
                <c:pt idx="68662">
                  <c:v>28942</c:v>
                </c:pt>
                <c:pt idx="68663">
                  <c:v>28942</c:v>
                </c:pt>
                <c:pt idx="68664">
                  <c:v>28941</c:v>
                </c:pt>
                <c:pt idx="68665">
                  <c:v>28941</c:v>
                </c:pt>
                <c:pt idx="68666">
                  <c:v>28941</c:v>
                </c:pt>
                <c:pt idx="68667">
                  <c:v>28941</c:v>
                </c:pt>
                <c:pt idx="68668">
                  <c:v>28940</c:v>
                </c:pt>
                <c:pt idx="68669">
                  <c:v>28940</c:v>
                </c:pt>
                <c:pt idx="68670">
                  <c:v>28940</c:v>
                </c:pt>
                <c:pt idx="68671">
                  <c:v>28940</c:v>
                </c:pt>
                <c:pt idx="68672">
                  <c:v>28940</c:v>
                </c:pt>
                <c:pt idx="68673">
                  <c:v>28939</c:v>
                </c:pt>
                <c:pt idx="68674">
                  <c:v>28939</c:v>
                </c:pt>
                <c:pt idx="68675">
                  <c:v>28939</c:v>
                </c:pt>
                <c:pt idx="68676">
                  <c:v>28939</c:v>
                </c:pt>
                <c:pt idx="68677">
                  <c:v>28938</c:v>
                </c:pt>
                <c:pt idx="68678">
                  <c:v>28938</c:v>
                </c:pt>
                <c:pt idx="68679">
                  <c:v>28937</c:v>
                </c:pt>
                <c:pt idx="68680">
                  <c:v>28936</c:v>
                </c:pt>
                <c:pt idx="68681">
                  <c:v>28936</c:v>
                </c:pt>
                <c:pt idx="68682">
                  <c:v>28936</c:v>
                </c:pt>
                <c:pt idx="68683">
                  <c:v>28936</c:v>
                </c:pt>
                <c:pt idx="68684">
                  <c:v>28935</c:v>
                </c:pt>
                <c:pt idx="68685">
                  <c:v>28935</c:v>
                </c:pt>
                <c:pt idx="68686">
                  <c:v>28934</c:v>
                </c:pt>
                <c:pt idx="68687">
                  <c:v>28934</c:v>
                </c:pt>
                <c:pt idx="68688">
                  <c:v>28934</c:v>
                </c:pt>
                <c:pt idx="68689">
                  <c:v>28932</c:v>
                </c:pt>
                <c:pt idx="68690">
                  <c:v>28932</c:v>
                </c:pt>
                <c:pt idx="68691">
                  <c:v>28932</c:v>
                </c:pt>
                <c:pt idx="68692">
                  <c:v>28932</c:v>
                </c:pt>
                <c:pt idx="68693">
                  <c:v>28932</c:v>
                </c:pt>
                <c:pt idx="68694">
                  <c:v>28930</c:v>
                </c:pt>
                <c:pt idx="68695">
                  <c:v>28930</c:v>
                </c:pt>
                <c:pt idx="68696">
                  <c:v>28928</c:v>
                </c:pt>
                <c:pt idx="68697">
                  <c:v>28927</c:v>
                </c:pt>
                <c:pt idx="68698">
                  <c:v>28927</c:v>
                </c:pt>
                <c:pt idx="68699">
                  <c:v>28926</c:v>
                </c:pt>
                <c:pt idx="68700">
                  <c:v>28926</c:v>
                </c:pt>
                <c:pt idx="68701">
                  <c:v>28925</c:v>
                </c:pt>
                <c:pt idx="68702">
                  <c:v>28925</c:v>
                </c:pt>
                <c:pt idx="68703">
                  <c:v>28924</c:v>
                </c:pt>
                <c:pt idx="68704">
                  <c:v>28924</c:v>
                </c:pt>
                <c:pt idx="68705">
                  <c:v>28924</c:v>
                </c:pt>
                <c:pt idx="68706">
                  <c:v>28923</c:v>
                </c:pt>
                <c:pt idx="68707">
                  <c:v>28923</c:v>
                </c:pt>
                <c:pt idx="68708">
                  <c:v>28923</c:v>
                </c:pt>
                <c:pt idx="68709">
                  <c:v>28923</c:v>
                </c:pt>
                <c:pt idx="68710">
                  <c:v>28923</c:v>
                </c:pt>
                <c:pt idx="68711">
                  <c:v>28922</c:v>
                </c:pt>
                <c:pt idx="68712">
                  <c:v>28922</c:v>
                </c:pt>
                <c:pt idx="68713">
                  <c:v>28922</c:v>
                </c:pt>
                <c:pt idx="68714">
                  <c:v>28921</c:v>
                </c:pt>
                <c:pt idx="68715">
                  <c:v>28921</c:v>
                </c:pt>
                <c:pt idx="68716">
                  <c:v>28920</c:v>
                </c:pt>
                <c:pt idx="68717">
                  <c:v>28920</c:v>
                </c:pt>
                <c:pt idx="68718">
                  <c:v>28919</c:v>
                </c:pt>
                <c:pt idx="68719">
                  <c:v>28919</c:v>
                </c:pt>
                <c:pt idx="68720">
                  <c:v>28918</c:v>
                </c:pt>
                <c:pt idx="68721">
                  <c:v>28917</c:v>
                </c:pt>
                <c:pt idx="68722">
                  <c:v>28916</c:v>
                </c:pt>
                <c:pt idx="68723">
                  <c:v>28915</c:v>
                </c:pt>
                <c:pt idx="68724">
                  <c:v>28915</c:v>
                </c:pt>
                <c:pt idx="68725">
                  <c:v>28915</c:v>
                </c:pt>
                <c:pt idx="68726">
                  <c:v>28913</c:v>
                </c:pt>
                <c:pt idx="68727">
                  <c:v>28912</c:v>
                </c:pt>
                <c:pt idx="68728">
                  <c:v>28911</c:v>
                </c:pt>
                <c:pt idx="68729">
                  <c:v>28911</c:v>
                </c:pt>
                <c:pt idx="68730">
                  <c:v>28910</c:v>
                </c:pt>
                <c:pt idx="68731">
                  <c:v>28910</c:v>
                </c:pt>
                <c:pt idx="68732">
                  <c:v>28909</c:v>
                </c:pt>
                <c:pt idx="68733">
                  <c:v>28909</c:v>
                </c:pt>
                <c:pt idx="68734">
                  <c:v>28907</c:v>
                </c:pt>
                <c:pt idx="68735">
                  <c:v>28907</c:v>
                </c:pt>
                <c:pt idx="68736">
                  <c:v>28907</c:v>
                </c:pt>
                <c:pt idx="68737">
                  <c:v>28906</c:v>
                </c:pt>
                <c:pt idx="68738">
                  <c:v>28905</c:v>
                </c:pt>
                <c:pt idx="68739">
                  <c:v>28905</c:v>
                </c:pt>
                <c:pt idx="68740">
                  <c:v>28905</c:v>
                </c:pt>
                <c:pt idx="68741">
                  <c:v>28903</c:v>
                </c:pt>
                <c:pt idx="68742">
                  <c:v>28903</c:v>
                </c:pt>
                <c:pt idx="68743">
                  <c:v>28903</c:v>
                </c:pt>
                <c:pt idx="68744">
                  <c:v>28901</c:v>
                </c:pt>
                <c:pt idx="68745">
                  <c:v>28901</c:v>
                </c:pt>
                <c:pt idx="68746">
                  <c:v>28901</c:v>
                </c:pt>
                <c:pt idx="68747">
                  <c:v>28900</c:v>
                </c:pt>
                <c:pt idx="68748">
                  <c:v>28900</c:v>
                </c:pt>
                <c:pt idx="68749">
                  <c:v>28899</c:v>
                </c:pt>
                <c:pt idx="68750">
                  <c:v>28899</c:v>
                </c:pt>
                <c:pt idx="68751">
                  <c:v>28899</c:v>
                </c:pt>
                <c:pt idx="68752">
                  <c:v>28899</c:v>
                </c:pt>
                <c:pt idx="68753">
                  <c:v>28898</c:v>
                </c:pt>
                <c:pt idx="68754">
                  <c:v>28898</c:v>
                </c:pt>
                <c:pt idx="68755">
                  <c:v>28898</c:v>
                </c:pt>
                <c:pt idx="68756">
                  <c:v>28897</c:v>
                </c:pt>
                <c:pt idx="68757">
                  <c:v>28897</c:v>
                </c:pt>
                <c:pt idx="68758">
                  <c:v>28896</c:v>
                </c:pt>
                <c:pt idx="68759">
                  <c:v>28896</c:v>
                </c:pt>
                <c:pt idx="68760">
                  <c:v>28896</c:v>
                </c:pt>
                <c:pt idx="68761">
                  <c:v>28895</c:v>
                </c:pt>
                <c:pt idx="68762">
                  <c:v>28895</c:v>
                </c:pt>
                <c:pt idx="68763">
                  <c:v>28894</c:v>
                </c:pt>
                <c:pt idx="68764">
                  <c:v>28894</c:v>
                </c:pt>
                <c:pt idx="68765">
                  <c:v>28894</c:v>
                </c:pt>
                <c:pt idx="68766">
                  <c:v>28893</c:v>
                </c:pt>
                <c:pt idx="68767">
                  <c:v>28893</c:v>
                </c:pt>
                <c:pt idx="68768">
                  <c:v>28893</c:v>
                </c:pt>
                <c:pt idx="68769">
                  <c:v>28891</c:v>
                </c:pt>
                <c:pt idx="68770">
                  <c:v>28890</c:v>
                </c:pt>
                <c:pt idx="68771">
                  <c:v>28890</c:v>
                </c:pt>
                <c:pt idx="68772">
                  <c:v>28889</c:v>
                </c:pt>
                <c:pt idx="68773">
                  <c:v>28889</c:v>
                </c:pt>
                <c:pt idx="68774">
                  <c:v>28888</c:v>
                </c:pt>
                <c:pt idx="68775">
                  <c:v>28886</c:v>
                </c:pt>
                <c:pt idx="68776">
                  <c:v>28885</c:v>
                </c:pt>
                <c:pt idx="68777">
                  <c:v>28885</c:v>
                </c:pt>
                <c:pt idx="68778">
                  <c:v>28885</c:v>
                </c:pt>
                <c:pt idx="68779">
                  <c:v>28884</c:v>
                </c:pt>
                <c:pt idx="68780">
                  <c:v>28884</c:v>
                </c:pt>
                <c:pt idx="68781">
                  <c:v>28884</c:v>
                </c:pt>
                <c:pt idx="68782">
                  <c:v>28883</c:v>
                </c:pt>
                <c:pt idx="68783">
                  <c:v>28883</c:v>
                </c:pt>
                <c:pt idx="68784">
                  <c:v>28882</c:v>
                </c:pt>
                <c:pt idx="68785">
                  <c:v>28880</c:v>
                </c:pt>
                <c:pt idx="68786">
                  <c:v>28880</c:v>
                </c:pt>
                <c:pt idx="68787">
                  <c:v>28880</c:v>
                </c:pt>
                <c:pt idx="68788">
                  <c:v>28878</c:v>
                </c:pt>
                <c:pt idx="68789">
                  <c:v>28878</c:v>
                </c:pt>
                <c:pt idx="68790">
                  <c:v>28877</c:v>
                </c:pt>
                <c:pt idx="68791">
                  <c:v>28876</c:v>
                </c:pt>
                <c:pt idx="68792">
                  <c:v>28875</c:v>
                </c:pt>
                <c:pt idx="68793">
                  <c:v>28874</c:v>
                </c:pt>
                <c:pt idx="68794">
                  <c:v>28873</c:v>
                </c:pt>
                <c:pt idx="68795">
                  <c:v>28873</c:v>
                </c:pt>
                <c:pt idx="68796">
                  <c:v>28871</c:v>
                </c:pt>
                <c:pt idx="68797">
                  <c:v>28871</c:v>
                </c:pt>
                <c:pt idx="68798">
                  <c:v>28870</c:v>
                </c:pt>
                <c:pt idx="68799">
                  <c:v>28870</c:v>
                </c:pt>
                <c:pt idx="68800">
                  <c:v>28869</c:v>
                </c:pt>
                <c:pt idx="68801">
                  <c:v>28869</c:v>
                </c:pt>
                <c:pt idx="68802">
                  <c:v>28869</c:v>
                </c:pt>
                <c:pt idx="68803">
                  <c:v>28869</c:v>
                </c:pt>
                <c:pt idx="68804">
                  <c:v>28868</c:v>
                </c:pt>
                <c:pt idx="68805">
                  <c:v>28868</c:v>
                </c:pt>
                <c:pt idx="68806">
                  <c:v>28868</c:v>
                </c:pt>
                <c:pt idx="68807">
                  <c:v>28868</c:v>
                </c:pt>
                <c:pt idx="68808">
                  <c:v>28868</c:v>
                </c:pt>
                <c:pt idx="68809">
                  <c:v>28867</c:v>
                </c:pt>
                <c:pt idx="68810">
                  <c:v>28867</c:v>
                </c:pt>
                <c:pt idx="68811">
                  <c:v>28866</c:v>
                </c:pt>
                <c:pt idx="68812">
                  <c:v>28865</c:v>
                </c:pt>
                <c:pt idx="68813">
                  <c:v>28865</c:v>
                </c:pt>
                <c:pt idx="68814">
                  <c:v>28865</c:v>
                </c:pt>
                <c:pt idx="68815">
                  <c:v>28865</c:v>
                </c:pt>
                <c:pt idx="68816">
                  <c:v>28865</c:v>
                </c:pt>
                <c:pt idx="68817">
                  <c:v>28865</c:v>
                </c:pt>
                <c:pt idx="68818">
                  <c:v>28864</c:v>
                </c:pt>
                <c:pt idx="68819">
                  <c:v>28864</c:v>
                </c:pt>
                <c:pt idx="68820">
                  <c:v>28863</c:v>
                </c:pt>
                <c:pt idx="68821">
                  <c:v>28863</c:v>
                </c:pt>
                <c:pt idx="68822">
                  <c:v>28863</c:v>
                </c:pt>
                <c:pt idx="68823">
                  <c:v>28863</c:v>
                </c:pt>
                <c:pt idx="68824">
                  <c:v>28863</c:v>
                </c:pt>
                <c:pt idx="68825">
                  <c:v>28863</c:v>
                </c:pt>
                <c:pt idx="68826">
                  <c:v>28862</c:v>
                </c:pt>
                <c:pt idx="68827">
                  <c:v>28862</c:v>
                </c:pt>
                <c:pt idx="68828">
                  <c:v>28862</c:v>
                </c:pt>
                <c:pt idx="68829">
                  <c:v>28862</c:v>
                </c:pt>
                <c:pt idx="68830">
                  <c:v>28862</c:v>
                </c:pt>
                <c:pt idx="68831">
                  <c:v>28861</c:v>
                </c:pt>
                <c:pt idx="68832">
                  <c:v>28860</c:v>
                </c:pt>
                <c:pt idx="68833">
                  <c:v>28860</c:v>
                </c:pt>
                <c:pt idx="68834">
                  <c:v>28860</c:v>
                </c:pt>
                <c:pt idx="68835">
                  <c:v>28859</c:v>
                </c:pt>
                <c:pt idx="68836">
                  <c:v>28859</c:v>
                </c:pt>
                <c:pt idx="68837">
                  <c:v>28859</c:v>
                </c:pt>
                <c:pt idx="68838">
                  <c:v>28858</c:v>
                </c:pt>
                <c:pt idx="68839">
                  <c:v>28857</c:v>
                </c:pt>
                <c:pt idx="68840">
                  <c:v>28857</c:v>
                </c:pt>
                <c:pt idx="68841">
                  <c:v>28856</c:v>
                </c:pt>
                <c:pt idx="68842">
                  <c:v>28855</c:v>
                </c:pt>
                <c:pt idx="68843">
                  <c:v>28855</c:v>
                </c:pt>
                <c:pt idx="68844">
                  <c:v>28855</c:v>
                </c:pt>
                <c:pt idx="68845">
                  <c:v>28855</c:v>
                </c:pt>
                <c:pt idx="68846">
                  <c:v>28853</c:v>
                </c:pt>
                <c:pt idx="68847">
                  <c:v>28852</c:v>
                </c:pt>
                <c:pt idx="68848">
                  <c:v>28852</c:v>
                </c:pt>
                <c:pt idx="68849">
                  <c:v>28852</c:v>
                </c:pt>
                <c:pt idx="68850">
                  <c:v>28852</c:v>
                </c:pt>
                <c:pt idx="68851">
                  <c:v>28851</c:v>
                </c:pt>
                <c:pt idx="68852">
                  <c:v>28851</c:v>
                </c:pt>
                <c:pt idx="68853">
                  <c:v>28850</c:v>
                </c:pt>
                <c:pt idx="68854">
                  <c:v>28849</c:v>
                </c:pt>
                <c:pt idx="68855">
                  <c:v>28849</c:v>
                </c:pt>
                <c:pt idx="68856">
                  <c:v>28849</c:v>
                </c:pt>
                <c:pt idx="68857">
                  <c:v>28849</c:v>
                </c:pt>
                <c:pt idx="68858">
                  <c:v>28849</c:v>
                </c:pt>
                <c:pt idx="68859">
                  <c:v>28847</c:v>
                </c:pt>
                <c:pt idx="68860">
                  <c:v>28845</c:v>
                </c:pt>
                <c:pt idx="68861">
                  <c:v>28844</c:v>
                </c:pt>
                <c:pt idx="68862">
                  <c:v>28844</c:v>
                </c:pt>
                <c:pt idx="68863">
                  <c:v>28843</c:v>
                </c:pt>
                <c:pt idx="68864">
                  <c:v>28843</c:v>
                </c:pt>
                <c:pt idx="68865">
                  <c:v>28843</c:v>
                </c:pt>
                <c:pt idx="68866">
                  <c:v>28841</c:v>
                </c:pt>
                <c:pt idx="68867">
                  <c:v>28840</c:v>
                </c:pt>
                <c:pt idx="68868">
                  <c:v>28840</c:v>
                </c:pt>
                <c:pt idx="68869">
                  <c:v>28839</c:v>
                </c:pt>
                <c:pt idx="68870">
                  <c:v>28839</c:v>
                </c:pt>
                <c:pt idx="68871">
                  <c:v>28839</c:v>
                </c:pt>
                <c:pt idx="68872">
                  <c:v>28838</c:v>
                </c:pt>
                <c:pt idx="68873">
                  <c:v>28838</c:v>
                </c:pt>
                <c:pt idx="68874">
                  <c:v>28838</c:v>
                </c:pt>
                <c:pt idx="68875">
                  <c:v>28838</c:v>
                </c:pt>
                <c:pt idx="68876">
                  <c:v>28838</c:v>
                </c:pt>
                <c:pt idx="68877">
                  <c:v>28838</c:v>
                </c:pt>
                <c:pt idx="68878">
                  <c:v>28837</c:v>
                </c:pt>
                <c:pt idx="68879">
                  <c:v>28836</c:v>
                </c:pt>
                <c:pt idx="68880">
                  <c:v>28836</c:v>
                </c:pt>
                <c:pt idx="68881">
                  <c:v>28836</c:v>
                </c:pt>
                <c:pt idx="68882">
                  <c:v>28834</c:v>
                </c:pt>
                <c:pt idx="68883">
                  <c:v>28834</c:v>
                </c:pt>
                <c:pt idx="68884">
                  <c:v>28831</c:v>
                </c:pt>
                <c:pt idx="68885">
                  <c:v>28831</c:v>
                </c:pt>
                <c:pt idx="68886">
                  <c:v>28831</c:v>
                </c:pt>
                <c:pt idx="68887">
                  <c:v>28831</c:v>
                </c:pt>
                <c:pt idx="68888">
                  <c:v>28830</c:v>
                </c:pt>
                <c:pt idx="68889">
                  <c:v>28830</c:v>
                </c:pt>
                <c:pt idx="68890">
                  <c:v>28830</c:v>
                </c:pt>
                <c:pt idx="68891">
                  <c:v>28830</c:v>
                </c:pt>
                <c:pt idx="68892">
                  <c:v>28830</c:v>
                </c:pt>
                <c:pt idx="68893">
                  <c:v>28830</c:v>
                </c:pt>
                <c:pt idx="68894">
                  <c:v>28829</c:v>
                </c:pt>
                <c:pt idx="68895">
                  <c:v>28829</c:v>
                </c:pt>
                <c:pt idx="68896">
                  <c:v>28828</c:v>
                </c:pt>
                <c:pt idx="68897">
                  <c:v>28828</c:v>
                </c:pt>
                <c:pt idx="68898">
                  <c:v>28827</c:v>
                </c:pt>
                <c:pt idx="68899">
                  <c:v>28826</c:v>
                </c:pt>
                <c:pt idx="68900">
                  <c:v>28826</c:v>
                </c:pt>
                <c:pt idx="68901">
                  <c:v>28825</c:v>
                </c:pt>
                <c:pt idx="68902">
                  <c:v>28825</c:v>
                </c:pt>
                <c:pt idx="68903">
                  <c:v>28825</c:v>
                </c:pt>
                <c:pt idx="68904">
                  <c:v>28825</c:v>
                </c:pt>
                <c:pt idx="68905">
                  <c:v>28824</c:v>
                </c:pt>
                <c:pt idx="68906">
                  <c:v>28824</c:v>
                </c:pt>
                <c:pt idx="68907">
                  <c:v>28824</c:v>
                </c:pt>
                <c:pt idx="68908">
                  <c:v>28824</c:v>
                </c:pt>
                <c:pt idx="68909">
                  <c:v>28823</c:v>
                </c:pt>
                <c:pt idx="68910">
                  <c:v>28823</c:v>
                </c:pt>
                <c:pt idx="68911">
                  <c:v>28823</c:v>
                </c:pt>
                <c:pt idx="68912">
                  <c:v>28822</c:v>
                </c:pt>
                <c:pt idx="68913">
                  <c:v>28822</c:v>
                </c:pt>
                <c:pt idx="68914">
                  <c:v>28822</c:v>
                </c:pt>
                <c:pt idx="68915">
                  <c:v>28821</c:v>
                </c:pt>
                <c:pt idx="68916">
                  <c:v>28819</c:v>
                </c:pt>
                <c:pt idx="68917">
                  <c:v>28817</c:v>
                </c:pt>
                <c:pt idx="68918">
                  <c:v>28816</c:v>
                </c:pt>
                <c:pt idx="68919">
                  <c:v>28816</c:v>
                </c:pt>
                <c:pt idx="68920">
                  <c:v>28815</c:v>
                </c:pt>
                <c:pt idx="68921">
                  <c:v>28815</c:v>
                </c:pt>
                <c:pt idx="68922">
                  <c:v>28814</c:v>
                </c:pt>
                <c:pt idx="68923">
                  <c:v>28814</c:v>
                </c:pt>
                <c:pt idx="68924">
                  <c:v>28814</c:v>
                </c:pt>
                <c:pt idx="68925">
                  <c:v>28812</c:v>
                </c:pt>
                <c:pt idx="68926">
                  <c:v>28811</c:v>
                </c:pt>
                <c:pt idx="68927">
                  <c:v>28811</c:v>
                </c:pt>
                <c:pt idx="68928">
                  <c:v>28810</c:v>
                </c:pt>
                <c:pt idx="68929">
                  <c:v>28810</c:v>
                </c:pt>
                <c:pt idx="68930">
                  <c:v>28809</c:v>
                </c:pt>
                <c:pt idx="68931">
                  <c:v>28809</c:v>
                </c:pt>
                <c:pt idx="68932">
                  <c:v>28809</c:v>
                </c:pt>
                <c:pt idx="68933">
                  <c:v>28808</c:v>
                </c:pt>
                <c:pt idx="68934">
                  <c:v>28808</c:v>
                </c:pt>
                <c:pt idx="68935">
                  <c:v>28808</c:v>
                </c:pt>
                <c:pt idx="68936">
                  <c:v>28806</c:v>
                </c:pt>
                <c:pt idx="68937">
                  <c:v>28806</c:v>
                </c:pt>
                <c:pt idx="68938">
                  <c:v>28805</c:v>
                </c:pt>
                <c:pt idx="68939">
                  <c:v>28805</c:v>
                </c:pt>
                <c:pt idx="68940">
                  <c:v>28804</c:v>
                </c:pt>
                <c:pt idx="68941">
                  <c:v>28804</c:v>
                </c:pt>
                <c:pt idx="68942">
                  <c:v>28803</c:v>
                </c:pt>
                <c:pt idx="68943">
                  <c:v>28803</c:v>
                </c:pt>
                <c:pt idx="68944">
                  <c:v>28802</c:v>
                </c:pt>
                <c:pt idx="68945">
                  <c:v>28801</c:v>
                </c:pt>
                <c:pt idx="68946">
                  <c:v>28801</c:v>
                </c:pt>
                <c:pt idx="68947">
                  <c:v>28800</c:v>
                </c:pt>
                <c:pt idx="68948">
                  <c:v>28799</c:v>
                </c:pt>
                <c:pt idx="68949">
                  <c:v>28799</c:v>
                </c:pt>
                <c:pt idx="68950">
                  <c:v>28798</c:v>
                </c:pt>
                <c:pt idx="68951">
                  <c:v>28795</c:v>
                </c:pt>
                <c:pt idx="68952">
                  <c:v>28795</c:v>
                </c:pt>
                <c:pt idx="68953">
                  <c:v>28795</c:v>
                </c:pt>
                <c:pt idx="68954">
                  <c:v>28794</c:v>
                </c:pt>
                <c:pt idx="68955">
                  <c:v>28791</c:v>
                </c:pt>
                <c:pt idx="68956">
                  <c:v>28791</c:v>
                </c:pt>
                <c:pt idx="68957">
                  <c:v>28790</c:v>
                </c:pt>
                <c:pt idx="68958">
                  <c:v>28789</c:v>
                </c:pt>
                <c:pt idx="68959">
                  <c:v>28789</c:v>
                </c:pt>
                <c:pt idx="68960">
                  <c:v>28788</c:v>
                </c:pt>
                <c:pt idx="68961">
                  <c:v>28788</c:v>
                </c:pt>
                <c:pt idx="68962">
                  <c:v>28787</c:v>
                </c:pt>
                <c:pt idx="68963">
                  <c:v>28787</c:v>
                </c:pt>
                <c:pt idx="68964">
                  <c:v>28785</c:v>
                </c:pt>
                <c:pt idx="68965">
                  <c:v>28785</c:v>
                </c:pt>
                <c:pt idx="68966">
                  <c:v>28785</c:v>
                </c:pt>
                <c:pt idx="68967">
                  <c:v>28785</c:v>
                </c:pt>
                <c:pt idx="68968">
                  <c:v>28784</c:v>
                </c:pt>
                <c:pt idx="68969">
                  <c:v>28784</c:v>
                </c:pt>
                <c:pt idx="68970">
                  <c:v>28783</c:v>
                </c:pt>
                <c:pt idx="68971">
                  <c:v>28782</c:v>
                </c:pt>
                <c:pt idx="68972">
                  <c:v>28782</c:v>
                </c:pt>
                <c:pt idx="68973">
                  <c:v>28781</c:v>
                </c:pt>
                <c:pt idx="68974">
                  <c:v>28780</c:v>
                </c:pt>
                <c:pt idx="68975">
                  <c:v>28780</c:v>
                </c:pt>
                <c:pt idx="68976">
                  <c:v>28778</c:v>
                </c:pt>
                <c:pt idx="68977">
                  <c:v>28777</c:v>
                </c:pt>
                <c:pt idx="68978">
                  <c:v>28777</c:v>
                </c:pt>
                <c:pt idx="68979">
                  <c:v>28777</c:v>
                </c:pt>
                <c:pt idx="68980">
                  <c:v>28777</c:v>
                </c:pt>
                <c:pt idx="68981">
                  <c:v>28776</c:v>
                </c:pt>
                <c:pt idx="68982">
                  <c:v>28775</c:v>
                </c:pt>
                <c:pt idx="68983">
                  <c:v>28775</c:v>
                </c:pt>
                <c:pt idx="68984">
                  <c:v>28774</c:v>
                </c:pt>
                <c:pt idx="68985">
                  <c:v>28774</c:v>
                </c:pt>
                <c:pt idx="68986">
                  <c:v>28774</c:v>
                </c:pt>
                <c:pt idx="68987">
                  <c:v>28773</c:v>
                </c:pt>
                <c:pt idx="68988">
                  <c:v>28772</c:v>
                </c:pt>
                <c:pt idx="68989">
                  <c:v>28771</c:v>
                </c:pt>
                <c:pt idx="68990">
                  <c:v>28771</c:v>
                </c:pt>
                <c:pt idx="68991">
                  <c:v>28770</c:v>
                </c:pt>
                <c:pt idx="68992">
                  <c:v>28769</c:v>
                </c:pt>
                <c:pt idx="68993">
                  <c:v>28769</c:v>
                </c:pt>
                <c:pt idx="68994">
                  <c:v>28769</c:v>
                </c:pt>
                <c:pt idx="68995">
                  <c:v>28767</c:v>
                </c:pt>
                <c:pt idx="68996">
                  <c:v>28767</c:v>
                </c:pt>
                <c:pt idx="68997">
                  <c:v>28765</c:v>
                </c:pt>
                <c:pt idx="68998">
                  <c:v>28765</c:v>
                </c:pt>
                <c:pt idx="68999">
                  <c:v>28764</c:v>
                </c:pt>
                <c:pt idx="69000">
                  <c:v>28764</c:v>
                </c:pt>
                <c:pt idx="69001">
                  <c:v>28764</c:v>
                </c:pt>
                <c:pt idx="69002">
                  <c:v>28763</c:v>
                </c:pt>
                <c:pt idx="69003">
                  <c:v>28762</c:v>
                </c:pt>
                <c:pt idx="69004">
                  <c:v>28762</c:v>
                </c:pt>
                <c:pt idx="69005">
                  <c:v>28762</c:v>
                </c:pt>
                <c:pt idx="69006">
                  <c:v>28762</c:v>
                </c:pt>
                <c:pt idx="69007">
                  <c:v>28761</c:v>
                </c:pt>
                <c:pt idx="69008">
                  <c:v>28761</c:v>
                </c:pt>
                <c:pt idx="69009">
                  <c:v>28761</c:v>
                </c:pt>
                <c:pt idx="69010">
                  <c:v>28761</c:v>
                </c:pt>
                <c:pt idx="69011">
                  <c:v>28758</c:v>
                </c:pt>
                <c:pt idx="69012">
                  <c:v>28757</c:v>
                </c:pt>
                <c:pt idx="69013">
                  <c:v>28756</c:v>
                </c:pt>
                <c:pt idx="69014">
                  <c:v>28756</c:v>
                </c:pt>
                <c:pt idx="69015">
                  <c:v>28755</c:v>
                </c:pt>
                <c:pt idx="69016">
                  <c:v>28755</c:v>
                </c:pt>
                <c:pt idx="69017">
                  <c:v>28755</c:v>
                </c:pt>
                <c:pt idx="69018">
                  <c:v>28755</c:v>
                </c:pt>
                <c:pt idx="69019">
                  <c:v>28755</c:v>
                </c:pt>
                <c:pt idx="69020">
                  <c:v>28754</c:v>
                </c:pt>
                <c:pt idx="69021">
                  <c:v>28754</c:v>
                </c:pt>
                <c:pt idx="69022">
                  <c:v>28753</c:v>
                </c:pt>
                <c:pt idx="69023">
                  <c:v>28751</c:v>
                </c:pt>
                <c:pt idx="69024">
                  <c:v>28751</c:v>
                </c:pt>
                <c:pt idx="69025">
                  <c:v>28751</c:v>
                </c:pt>
                <c:pt idx="69026">
                  <c:v>28751</c:v>
                </c:pt>
                <c:pt idx="69027">
                  <c:v>28750</c:v>
                </c:pt>
                <c:pt idx="69028">
                  <c:v>28750</c:v>
                </c:pt>
                <c:pt idx="69029">
                  <c:v>28749</c:v>
                </c:pt>
                <c:pt idx="69030">
                  <c:v>28749</c:v>
                </c:pt>
                <c:pt idx="69031">
                  <c:v>28748</c:v>
                </c:pt>
                <c:pt idx="69032">
                  <c:v>28748</c:v>
                </c:pt>
                <c:pt idx="69033">
                  <c:v>28747</c:v>
                </c:pt>
                <c:pt idx="69034">
                  <c:v>28746</c:v>
                </c:pt>
                <c:pt idx="69035">
                  <c:v>28745</c:v>
                </c:pt>
                <c:pt idx="69036">
                  <c:v>28744</c:v>
                </c:pt>
                <c:pt idx="69037">
                  <c:v>28743</c:v>
                </c:pt>
                <c:pt idx="69038">
                  <c:v>28743</c:v>
                </c:pt>
                <c:pt idx="69039">
                  <c:v>28743</c:v>
                </c:pt>
                <c:pt idx="69040">
                  <c:v>28742</c:v>
                </c:pt>
                <c:pt idx="69041">
                  <c:v>28742</c:v>
                </c:pt>
                <c:pt idx="69042">
                  <c:v>28742</c:v>
                </c:pt>
                <c:pt idx="69043">
                  <c:v>28741</c:v>
                </c:pt>
                <c:pt idx="69044">
                  <c:v>28739</c:v>
                </c:pt>
                <c:pt idx="69045">
                  <c:v>28739</c:v>
                </c:pt>
                <c:pt idx="69046">
                  <c:v>28736</c:v>
                </c:pt>
                <c:pt idx="69047">
                  <c:v>28734</c:v>
                </c:pt>
                <c:pt idx="69048">
                  <c:v>28734</c:v>
                </c:pt>
                <c:pt idx="69049">
                  <c:v>28734</c:v>
                </c:pt>
                <c:pt idx="69050">
                  <c:v>28732</c:v>
                </c:pt>
                <c:pt idx="69051">
                  <c:v>28731</c:v>
                </c:pt>
                <c:pt idx="69052">
                  <c:v>28730</c:v>
                </c:pt>
                <c:pt idx="69053">
                  <c:v>28730</c:v>
                </c:pt>
                <c:pt idx="69054">
                  <c:v>28729</c:v>
                </c:pt>
                <c:pt idx="69055">
                  <c:v>28728</c:v>
                </c:pt>
                <c:pt idx="69056">
                  <c:v>28728</c:v>
                </c:pt>
                <c:pt idx="69057">
                  <c:v>28727</c:v>
                </c:pt>
                <c:pt idx="69058">
                  <c:v>28726</c:v>
                </c:pt>
                <c:pt idx="69059">
                  <c:v>28726</c:v>
                </c:pt>
                <c:pt idx="69060">
                  <c:v>28725</c:v>
                </c:pt>
                <c:pt idx="69061">
                  <c:v>28725</c:v>
                </c:pt>
                <c:pt idx="69062">
                  <c:v>28724</c:v>
                </c:pt>
                <c:pt idx="69063">
                  <c:v>28724</c:v>
                </c:pt>
                <c:pt idx="69064">
                  <c:v>28724</c:v>
                </c:pt>
                <c:pt idx="69065">
                  <c:v>28722</c:v>
                </c:pt>
                <c:pt idx="69066">
                  <c:v>28722</c:v>
                </c:pt>
                <c:pt idx="69067">
                  <c:v>28721</c:v>
                </c:pt>
                <c:pt idx="69068">
                  <c:v>28721</c:v>
                </c:pt>
                <c:pt idx="69069">
                  <c:v>28721</c:v>
                </c:pt>
                <c:pt idx="69070">
                  <c:v>28721</c:v>
                </c:pt>
                <c:pt idx="69071">
                  <c:v>28721</c:v>
                </c:pt>
                <c:pt idx="69072">
                  <c:v>28720</c:v>
                </c:pt>
                <c:pt idx="69073">
                  <c:v>28720</c:v>
                </c:pt>
                <c:pt idx="69074">
                  <c:v>28720</c:v>
                </c:pt>
                <c:pt idx="69075">
                  <c:v>28718</c:v>
                </c:pt>
                <c:pt idx="69076">
                  <c:v>28717</c:v>
                </c:pt>
                <c:pt idx="69077">
                  <c:v>28717</c:v>
                </c:pt>
                <c:pt idx="69078">
                  <c:v>28716</c:v>
                </c:pt>
                <c:pt idx="69079">
                  <c:v>28714</c:v>
                </c:pt>
                <c:pt idx="69080">
                  <c:v>28713</c:v>
                </c:pt>
                <c:pt idx="69081">
                  <c:v>28712</c:v>
                </c:pt>
                <c:pt idx="69082">
                  <c:v>28711</c:v>
                </c:pt>
                <c:pt idx="69083">
                  <c:v>28711</c:v>
                </c:pt>
                <c:pt idx="69084">
                  <c:v>28710</c:v>
                </c:pt>
                <c:pt idx="69085">
                  <c:v>28710</c:v>
                </c:pt>
                <c:pt idx="69086">
                  <c:v>28710</c:v>
                </c:pt>
                <c:pt idx="69087">
                  <c:v>28710</c:v>
                </c:pt>
                <c:pt idx="69088">
                  <c:v>28709</c:v>
                </c:pt>
                <c:pt idx="69089">
                  <c:v>28709</c:v>
                </c:pt>
                <c:pt idx="69090">
                  <c:v>28709</c:v>
                </c:pt>
                <c:pt idx="69091">
                  <c:v>28709</c:v>
                </c:pt>
                <c:pt idx="69092">
                  <c:v>28708</c:v>
                </c:pt>
                <c:pt idx="69093">
                  <c:v>28708</c:v>
                </c:pt>
                <c:pt idx="69094">
                  <c:v>28707</c:v>
                </c:pt>
                <c:pt idx="69095">
                  <c:v>28707</c:v>
                </c:pt>
                <c:pt idx="69096">
                  <c:v>28707</c:v>
                </c:pt>
                <c:pt idx="69097">
                  <c:v>28707</c:v>
                </c:pt>
                <c:pt idx="69098">
                  <c:v>28706</c:v>
                </c:pt>
                <c:pt idx="69099">
                  <c:v>28705</c:v>
                </c:pt>
                <c:pt idx="69100">
                  <c:v>28705</c:v>
                </c:pt>
                <c:pt idx="69101">
                  <c:v>28704</c:v>
                </c:pt>
                <c:pt idx="69102">
                  <c:v>28704</c:v>
                </c:pt>
                <c:pt idx="69103">
                  <c:v>28703</c:v>
                </c:pt>
                <c:pt idx="69104">
                  <c:v>28702</c:v>
                </c:pt>
                <c:pt idx="69105">
                  <c:v>28702</c:v>
                </c:pt>
                <c:pt idx="69106">
                  <c:v>28702</c:v>
                </c:pt>
                <c:pt idx="69107">
                  <c:v>28700</c:v>
                </c:pt>
                <c:pt idx="69108">
                  <c:v>28700</c:v>
                </c:pt>
                <c:pt idx="69109">
                  <c:v>28699</c:v>
                </c:pt>
                <c:pt idx="69110">
                  <c:v>28699</c:v>
                </c:pt>
                <c:pt idx="69111">
                  <c:v>28699</c:v>
                </c:pt>
                <c:pt idx="69112">
                  <c:v>28698</c:v>
                </c:pt>
                <c:pt idx="69113">
                  <c:v>28698</c:v>
                </c:pt>
                <c:pt idx="69114">
                  <c:v>28697</c:v>
                </c:pt>
                <c:pt idx="69115">
                  <c:v>28697</c:v>
                </c:pt>
                <c:pt idx="69116">
                  <c:v>28696</c:v>
                </c:pt>
                <c:pt idx="69117">
                  <c:v>28696</c:v>
                </c:pt>
                <c:pt idx="69118">
                  <c:v>28695</c:v>
                </c:pt>
                <c:pt idx="69119">
                  <c:v>28693</c:v>
                </c:pt>
                <c:pt idx="69120">
                  <c:v>28693</c:v>
                </c:pt>
                <c:pt idx="69121">
                  <c:v>28693</c:v>
                </c:pt>
                <c:pt idx="69122">
                  <c:v>28693</c:v>
                </c:pt>
                <c:pt idx="69123">
                  <c:v>28692</c:v>
                </c:pt>
                <c:pt idx="69124">
                  <c:v>28690</c:v>
                </c:pt>
                <c:pt idx="69125">
                  <c:v>28689</c:v>
                </c:pt>
                <c:pt idx="69126">
                  <c:v>28689</c:v>
                </c:pt>
                <c:pt idx="69127">
                  <c:v>28689</c:v>
                </c:pt>
                <c:pt idx="69128">
                  <c:v>28688</c:v>
                </c:pt>
                <c:pt idx="69129">
                  <c:v>28688</c:v>
                </c:pt>
                <c:pt idx="69130">
                  <c:v>28688</c:v>
                </c:pt>
                <c:pt idx="69131">
                  <c:v>28688</c:v>
                </c:pt>
                <c:pt idx="69132">
                  <c:v>28687</c:v>
                </c:pt>
                <c:pt idx="69133">
                  <c:v>28686</c:v>
                </c:pt>
                <c:pt idx="69134">
                  <c:v>28686</c:v>
                </c:pt>
                <c:pt idx="69135">
                  <c:v>28686</c:v>
                </c:pt>
                <c:pt idx="69136">
                  <c:v>28686</c:v>
                </c:pt>
                <c:pt idx="69137">
                  <c:v>28685</c:v>
                </c:pt>
                <c:pt idx="69138">
                  <c:v>28685</c:v>
                </c:pt>
                <c:pt idx="69139">
                  <c:v>28683</c:v>
                </c:pt>
                <c:pt idx="69140">
                  <c:v>28682</c:v>
                </c:pt>
                <c:pt idx="69141">
                  <c:v>28682</c:v>
                </c:pt>
                <c:pt idx="69142">
                  <c:v>28682</c:v>
                </c:pt>
                <c:pt idx="69143">
                  <c:v>28681</c:v>
                </c:pt>
                <c:pt idx="69144">
                  <c:v>28680</c:v>
                </c:pt>
                <c:pt idx="69145">
                  <c:v>28680</c:v>
                </c:pt>
                <c:pt idx="69146">
                  <c:v>28680</c:v>
                </c:pt>
                <c:pt idx="69147">
                  <c:v>28679</c:v>
                </c:pt>
                <c:pt idx="69148">
                  <c:v>28679</c:v>
                </c:pt>
                <c:pt idx="69149">
                  <c:v>28678</c:v>
                </c:pt>
                <c:pt idx="69150">
                  <c:v>28676</c:v>
                </c:pt>
                <c:pt idx="69151">
                  <c:v>28675</c:v>
                </c:pt>
                <c:pt idx="69152">
                  <c:v>28675</c:v>
                </c:pt>
                <c:pt idx="69153">
                  <c:v>28675</c:v>
                </c:pt>
                <c:pt idx="69154">
                  <c:v>28673</c:v>
                </c:pt>
                <c:pt idx="69155">
                  <c:v>28671</c:v>
                </c:pt>
                <c:pt idx="69156">
                  <c:v>28671</c:v>
                </c:pt>
                <c:pt idx="69157">
                  <c:v>28671</c:v>
                </c:pt>
                <c:pt idx="69158">
                  <c:v>28671</c:v>
                </c:pt>
                <c:pt idx="69159">
                  <c:v>28670</c:v>
                </c:pt>
                <c:pt idx="69160">
                  <c:v>28670</c:v>
                </c:pt>
                <c:pt idx="69161">
                  <c:v>28670</c:v>
                </c:pt>
                <c:pt idx="69162">
                  <c:v>28668</c:v>
                </c:pt>
                <c:pt idx="69163">
                  <c:v>28667</c:v>
                </c:pt>
                <c:pt idx="69164">
                  <c:v>28667</c:v>
                </c:pt>
                <c:pt idx="69165">
                  <c:v>28667</c:v>
                </c:pt>
                <c:pt idx="69166">
                  <c:v>28667</c:v>
                </c:pt>
                <c:pt idx="69167">
                  <c:v>28666</c:v>
                </c:pt>
                <c:pt idx="69168">
                  <c:v>28666</c:v>
                </c:pt>
                <c:pt idx="69169">
                  <c:v>28665</c:v>
                </c:pt>
                <c:pt idx="69170">
                  <c:v>28664</c:v>
                </c:pt>
                <c:pt idx="69171">
                  <c:v>28664</c:v>
                </c:pt>
                <c:pt idx="69172">
                  <c:v>28663</c:v>
                </c:pt>
                <c:pt idx="69173">
                  <c:v>28662</c:v>
                </c:pt>
                <c:pt idx="69174">
                  <c:v>28662</c:v>
                </c:pt>
                <c:pt idx="69175">
                  <c:v>28662</c:v>
                </c:pt>
                <c:pt idx="69176">
                  <c:v>28662</c:v>
                </c:pt>
                <c:pt idx="69177">
                  <c:v>28662</c:v>
                </c:pt>
                <c:pt idx="69178">
                  <c:v>28661</c:v>
                </c:pt>
                <c:pt idx="69179">
                  <c:v>28660</c:v>
                </c:pt>
                <c:pt idx="69180">
                  <c:v>28660</c:v>
                </c:pt>
                <c:pt idx="69181">
                  <c:v>28658</c:v>
                </c:pt>
                <c:pt idx="69182">
                  <c:v>28657</c:v>
                </c:pt>
                <c:pt idx="69183">
                  <c:v>28657</c:v>
                </c:pt>
                <c:pt idx="69184">
                  <c:v>28655</c:v>
                </c:pt>
                <c:pt idx="69185">
                  <c:v>28655</c:v>
                </c:pt>
                <c:pt idx="69186">
                  <c:v>28654</c:v>
                </c:pt>
                <c:pt idx="69187">
                  <c:v>28654</c:v>
                </c:pt>
                <c:pt idx="69188">
                  <c:v>28654</c:v>
                </c:pt>
                <c:pt idx="69189">
                  <c:v>28654</c:v>
                </c:pt>
                <c:pt idx="69190">
                  <c:v>28654</c:v>
                </c:pt>
                <c:pt idx="69191">
                  <c:v>28654</c:v>
                </c:pt>
                <c:pt idx="69192">
                  <c:v>28653</c:v>
                </c:pt>
                <c:pt idx="69193">
                  <c:v>28653</c:v>
                </c:pt>
                <c:pt idx="69194">
                  <c:v>28653</c:v>
                </c:pt>
                <c:pt idx="69195">
                  <c:v>28652</c:v>
                </c:pt>
                <c:pt idx="69196">
                  <c:v>28651</c:v>
                </c:pt>
                <c:pt idx="69197">
                  <c:v>28649</c:v>
                </c:pt>
                <c:pt idx="69198">
                  <c:v>28649</c:v>
                </c:pt>
                <c:pt idx="69199">
                  <c:v>28648</c:v>
                </c:pt>
                <c:pt idx="69200">
                  <c:v>28647</c:v>
                </c:pt>
                <c:pt idx="69201">
                  <c:v>28647</c:v>
                </c:pt>
                <c:pt idx="69202">
                  <c:v>28645</c:v>
                </c:pt>
                <c:pt idx="69203">
                  <c:v>28643</c:v>
                </c:pt>
                <c:pt idx="69204">
                  <c:v>28643</c:v>
                </c:pt>
                <c:pt idx="69205">
                  <c:v>28643</c:v>
                </c:pt>
                <c:pt idx="69206">
                  <c:v>28643</c:v>
                </c:pt>
                <c:pt idx="69207">
                  <c:v>28642</c:v>
                </c:pt>
                <c:pt idx="69208">
                  <c:v>28641</c:v>
                </c:pt>
                <c:pt idx="69209">
                  <c:v>28640</c:v>
                </c:pt>
                <c:pt idx="69210">
                  <c:v>28640</c:v>
                </c:pt>
                <c:pt idx="69211">
                  <c:v>28638</c:v>
                </c:pt>
                <c:pt idx="69212">
                  <c:v>28638</c:v>
                </c:pt>
                <c:pt idx="69213">
                  <c:v>28638</c:v>
                </c:pt>
                <c:pt idx="69214">
                  <c:v>28638</c:v>
                </c:pt>
                <c:pt idx="69215">
                  <c:v>28637</c:v>
                </c:pt>
                <c:pt idx="69216">
                  <c:v>28637</c:v>
                </c:pt>
                <c:pt idx="69217">
                  <c:v>28637</c:v>
                </c:pt>
                <c:pt idx="69218">
                  <c:v>28636</c:v>
                </c:pt>
                <c:pt idx="69219">
                  <c:v>28635</c:v>
                </c:pt>
                <c:pt idx="69220">
                  <c:v>28634</c:v>
                </c:pt>
                <c:pt idx="69221">
                  <c:v>28632</c:v>
                </c:pt>
                <c:pt idx="69222">
                  <c:v>28631</c:v>
                </c:pt>
                <c:pt idx="69223">
                  <c:v>28631</c:v>
                </c:pt>
                <c:pt idx="69224">
                  <c:v>28630</c:v>
                </c:pt>
                <c:pt idx="69225">
                  <c:v>28630</c:v>
                </c:pt>
                <c:pt idx="69226">
                  <c:v>28630</c:v>
                </c:pt>
                <c:pt idx="69227">
                  <c:v>28629</c:v>
                </c:pt>
                <c:pt idx="69228">
                  <c:v>28628</c:v>
                </c:pt>
                <c:pt idx="69229">
                  <c:v>28627</c:v>
                </c:pt>
                <c:pt idx="69230">
                  <c:v>28627</c:v>
                </c:pt>
                <c:pt idx="69231">
                  <c:v>28626</c:v>
                </c:pt>
                <c:pt idx="69232">
                  <c:v>28626</c:v>
                </c:pt>
                <c:pt idx="69233">
                  <c:v>28626</c:v>
                </c:pt>
                <c:pt idx="69234">
                  <c:v>28624</c:v>
                </c:pt>
                <c:pt idx="69235">
                  <c:v>28624</c:v>
                </c:pt>
                <c:pt idx="69236">
                  <c:v>28623</c:v>
                </c:pt>
                <c:pt idx="69237">
                  <c:v>28623</c:v>
                </c:pt>
                <c:pt idx="69238">
                  <c:v>28622</c:v>
                </c:pt>
                <c:pt idx="69239">
                  <c:v>28622</c:v>
                </c:pt>
                <c:pt idx="69240">
                  <c:v>28620</c:v>
                </c:pt>
                <c:pt idx="69241">
                  <c:v>28620</c:v>
                </c:pt>
                <c:pt idx="69242">
                  <c:v>28619</c:v>
                </c:pt>
                <c:pt idx="69243">
                  <c:v>28617</c:v>
                </c:pt>
                <c:pt idx="69244">
                  <c:v>28617</c:v>
                </c:pt>
                <c:pt idx="69245">
                  <c:v>28616</c:v>
                </c:pt>
                <c:pt idx="69246">
                  <c:v>28616</c:v>
                </c:pt>
                <c:pt idx="69247">
                  <c:v>28615</c:v>
                </c:pt>
                <c:pt idx="69248">
                  <c:v>28614</c:v>
                </c:pt>
                <c:pt idx="69249">
                  <c:v>28614</c:v>
                </c:pt>
                <c:pt idx="69250">
                  <c:v>28612</c:v>
                </c:pt>
                <c:pt idx="69251">
                  <c:v>28612</c:v>
                </c:pt>
                <c:pt idx="69252">
                  <c:v>28612</c:v>
                </c:pt>
                <c:pt idx="69253">
                  <c:v>28612</c:v>
                </c:pt>
                <c:pt idx="69254">
                  <c:v>28612</c:v>
                </c:pt>
                <c:pt idx="69255">
                  <c:v>28610</c:v>
                </c:pt>
                <c:pt idx="69256">
                  <c:v>28610</c:v>
                </c:pt>
                <c:pt idx="69257">
                  <c:v>28609</c:v>
                </c:pt>
                <c:pt idx="69258">
                  <c:v>28609</c:v>
                </c:pt>
                <c:pt idx="69259">
                  <c:v>28607</c:v>
                </c:pt>
                <c:pt idx="69260">
                  <c:v>28607</c:v>
                </c:pt>
                <c:pt idx="69261">
                  <c:v>28607</c:v>
                </c:pt>
                <c:pt idx="69262">
                  <c:v>28606</c:v>
                </c:pt>
                <c:pt idx="69263">
                  <c:v>28605</c:v>
                </c:pt>
                <c:pt idx="69264">
                  <c:v>28604</c:v>
                </c:pt>
                <c:pt idx="69265">
                  <c:v>28603</c:v>
                </c:pt>
                <c:pt idx="69266">
                  <c:v>28602</c:v>
                </c:pt>
                <c:pt idx="69267">
                  <c:v>28600</c:v>
                </c:pt>
                <c:pt idx="69268">
                  <c:v>28597</c:v>
                </c:pt>
                <c:pt idx="69269">
                  <c:v>28597</c:v>
                </c:pt>
                <c:pt idx="69270">
                  <c:v>28596</c:v>
                </c:pt>
                <c:pt idx="69271">
                  <c:v>28596</c:v>
                </c:pt>
                <c:pt idx="69272">
                  <c:v>28594</c:v>
                </c:pt>
                <c:pt idx="69273">
                  <c:v>28594</c:v>
                </c:pt>
                <c:pt idx="69274">
                  <c:v>28594</c:v>
                </c:pt>
                <c:pt idx="69275">
                  <c:v>28593</c:v>
                </c:pt>
                <c:pt idx="69276">
                  <c:v>28593</c:v>
                </c:pt>
                <c:pt idx="69277">
                  <c:v>28592</c:v>
                </c:pt>
                <c:pt idx="69278">
                  <c:v>28592</c:v>
                </c:pt>
                <c:pt idx="69279">
                  <c:v>28590</c:v>
                </c:pt>
                <c:pt idx="69280">
                  <c:v>28590</c:v>
                </c:pt>
                <c:pt idx="69281">
                  <c:v>28588</c:v>
                </c:pt>
                <c:pt idx="69282">
                  <c:v>28587</c:v>
                </c:pt>
                <c:pt idx="69283">
                  <c:v>28587</c:v>
                </c:pt>
                <c:pt idx="69284">
                  <c:v>28586</c:v>
                </c:pt>
                <c:pt idx="69285">
                  <c:v>28585</c:v>
                </c:pt>
                <c:pt idx="69286">
                  <c:v>28584</c:v>
                </c:pt>
                <c:pt idx="69287">
                  <c:v>28583</c:v>
                </c:pt>
                <c:pt idx="69288">
                  <c:v>28583</c:v>
                </c:pt>
                <c:pt idx="69289">
                  <c:v>28582</c:v>
                </c:pt>
                <c:pt idx="69290">
                  <c:v>28580</c:v>
                </c:pt>
                <c:pt idx="69291">
                  <c:v>28580</c:v>
                </c:pt>
                <c:pt idx="69292">
                  <c:v>28580</c:v>
                </c:pt>
                <c:pt idx="69293">
                  <c:v>28579</c:v>
                </c:pt>
                <c:pt idx="69294">
                  <c:v>28579</c:v>
                </c:pt>
                <c:pt idx="69295">
                  <c:v>28576</c:v>
                </c:pt>
                <c:pt idx="69296">
                  <c:v>28576</c:v>
                </c:pt>
                <c:pt idx="69297">
                  <c:v>28573</c:v>
                </c:pt>
                <c:pt idx="69298">
                  <c:v>28572</c:v>
                </c:pt>
                <c:pt idx="69299">
                  <c:v>28571</c:v>
                </c:pt>
                <c:pt idx="69300">
                  <c:v>28569</c:v>
                </c:pt>
                <c:pt idx="69301">
                  <c:v>28569</c:v>
                </c:pt>
                <c:pt idx="69302">
                  <c:v>28569</c:v>
                </c:pt>
                <c:pt idx="69303">
                  <c:v>28569</c:v>
                </c:pt>
                <c:pt idx="69304">
                  <c:v>28568</c:v>
                </c:pt>
                <c:pt idx="69305">
                  <c:v>28568</c:v>
                </c:pt>
                <c:pt idx="69306">
                  <c:v>28567</c:v>
                </c:pt>
                <c:pt idx="69307">
                  <c:v>28567</c:v>
                </c:pt>
                <c:pt idx="69308">
                  <c:v>28566</c:v>
                </c:pt>
                <c:pt idx="69309">
                  <c:v>28565</c:v>
                </c:pt>
                <c:pt idx="69310">
                  <c:v>28564</c:v>
                </c:pt>
                <c:pt idx="69311">
                  <c:v>28564</c:v>
                </c:pt>
                <c:pt idx="69312">
                  <c:v>28563</c:v>
                </c:pt>
                <c:pt idx="69313">
                  <c:v>28563</c:v>
                </c:pt>
                <c:pt idx="69314">
                  <c:v>28562</c:v>
                </c:pt>
                <c:pt idx="69315">
                  <c:v>28559</c:v>
                </c:pt>
                <c:pt idx="69316">
                  <c:v>28559</c:v>
                </c:pt>
                <c:pt idx="69317">
                  <c:v>28559</c:v>
                </c:pt>
                <c:pt idx="69318">
                  <c:v>28558</c:v>
                </c:pt>
                <c:pt idx="69319">
                  <c:v>28558</c:v>
                </c:pt>
                <c:pt idx="69320">
                  <c:v>28557</c:v>
                </c:pt>
                <c:pt idx="69321">
                  <c:v>28557</c:v>
                </c:pt>
                <c:pt idx="69322">
                  <c:v>28557</c:v>
                </c:pt>
                <c:pt idx="69323">
                  <c:v>28557</c:v>
                </c:pt>
                <c:pt idx="69324">
                  <c:v>28557</c:v>
                </c:pt>
                <c:pt idx="69325">
                  <c:v>28557</c:v>
                </c:pt>
                <c:pt idx="69326">
                  <c:v>28556</c:v>
                </c:pt>
                <c:pt idx="69327">
                  <c:v>28554</c:v>
                </c:pt>
                <c:pt idx="69328">
                  <c:v>28553</c:v>
                </c:pt>
                <c:pt idx="69329">
                  <c:v>28553</c:v>
                </c:pt>
                <c:pt idx="69330">
                  <c:v>28551</c:v>
                </c:pt>
                <c:pt idx="69331">
                  <c:v>28550</c:v>
                </c:pt>
                <c:pt idx="69332">
                  <c:v>28550</c:v>
                </c:pt>
                <c:pt idx="69333">
                  <c:v>28549</c:v>
                </c:pt>
                <c:pt idx="69334">
                  <c:v>28547</c:v>
                </c:pt>
                <c:pt idx="69335">
                  <c:v>28547</c:v>
                </c:pt>
                <c:pt idx="69336">
                  <c:v>28545</c:v>
                </c:pt>
                <c:pt idx="69337">
                  <c:v>28544</c:v>
                </c:pt>
                <c:pt idx="69338">
                  <c:v>28543</c:v>
                </c:pt>
                <c:pt idx="69339">
                  <c:v>28543</c:v>
                </c:pt>
                <c:pt idx="69340">
                  <c:v>28542</c:v>
                </c:pt>
                <c:pt idx="69341">
                  <c:v>28540</c:v>
                </c:pt>
                <c:pt idx="69342">
                  <c:v>28540</c:v>
                </c:pt>
                <c:pt idx="69343">
                  <c:v>28537</c:v>
                </c:pt>
                <c:pt idx="69344">
                  <c:v>28537</c:v>
                </c:pt>
                <c:pt idx="69345">
                  <c:v>28537</c:v>
                </c:pt>
                <c:pt idx="69346">
                  <c:v>28537</c:v>
                </c:pt>
                <c:pt idx="69347">
                  <c:v>28536</c:v>
                </c:pt>
                <c:pt idx="69348">
                  <c:v>28534</c:v>
                </c:pt>
                <c:pt idx="69349">
                  <c:v>28534</c:v>
                </c:pt>
                <c:pt idx="69350">
                  <c:v>28534</c:v>
                </c:pt>
                <c:pt idx="69351">
                  <c:v>28533</c:v>
                </c:pt>
                <c:pt idx="69352">
                  <c:v>28533</c:v>
                </c:pt>
                <c:pt idx="69353">
                  <c:v>28531</c:v>
                </c:pt>
                <c:pt idx="69354">
                  <c:v>28530</c:v>
                </c:pt>
                <c:pt idx="69355">
                  <c:v>28529</c:v>
                </c:pt>
                <c:pt idx="69356">
                  <c:v>28529</c:v>
                </c:pt>
                <c:pt idx="69357">
                  <c:v>28529</c:v>
                </c:pt>
                <c:pt idx="69358">
                  <c:v>28529</c:v>
                </c:pt>
                <c:pt idx="69359">
                  <c:v>28528</c:v>
                </c:pt>
                <c:pt idx="69360">
                  <c:v>28527</c:v>
                </c:pt>
                <c:pt idx="69361">
                  <c:v>28527</c:v>
                </c:pt>
                <c:pt idx="69362">
                  <c:v>28526</c:v>
                </c:pt>
                <c:pt idx="69363">
                  <c:v>28523</c:v>
                </c:pt>
                <c:pt idx="69364">
                  <c:v>28523</c:v>
                </c:pt>
                <c:pt idx="69365">
                  <c:v>28522</c:v>
                </c:pt>
                <c:pt idx="69366">
                  <c:v>28522</c:v>
                </c:pt>
                <c:pt idx="69367">
                  <c:v>28521</c:v>
                </c:pt>
                <c:pt idx="69368">
                  <c:v>28521</c:v>
                </c:pt>
                <c:pt idx="69369">
                  <c:v>28521</c:v>
                </c:pt>
                <c:pt idx="69370">
                  <c:v>28521</c:v>
                </c:pt>
                <c:pt idx="69371">
                  <c:v>28520</c:v>
                </c:pt>
                <c:pt idx="69372">
                  <c:v>28520</c:v>
                </c:pt>
                <c:pt idx="69373">
                  <c:v>28518</c:v>
                </c:pt>
                <c:pt idx="69374">
                  <c:v>28518</c:v>
                </c:pt>
                <c:pt idx="69375">
                  <c:v>28517</c:v>
                </c:pt>
                <c:pt idx="69376">
                  <c:v>28516</c:v>
                </c:pt>
                <c:pt idx="69377">
                  <c:v>28515</c:v>
                </c:pt>
                <c:pt idx="69378">
                  <c:v>28515</c:v>
                </c:pt>
                <c:pt idx="69379">
                  <c:v>28514</c:v>
                </c:pt>
                <c:pt idx="69380">
                  <c:v>28514</c:v>
                </c:pt>
                <c:pt idx="69381">
                  <c:v>28514</c:v>
                </c:pt>
                <c:pt idx="69382">
                  <c:v>28512</c:v>
                </c:pt>
                <c:pt idx="69383">
                  <c:v>28512</c:v>
                </c:pt>
                <c:pt idx="69384">
                  <c:v>28511</c:v>
                </c:pt>
                <c:pt idx="69385">
                  <c:v>28511</c:v>
                </c:pt>
                <c:pt idx="69386">
                  <c:v>28510</c:v>
                </c:pt>
                <c:pt idx="69387">
                  <c:v>28508</c:v>
                </c:pt>
                <c:pt idx="69388">
                  <c:v>28508</c:v>
                </c:pt>
                <c:pt idx="69389">
                  <c:v>28507</c:v>
                </c:pt>
                <c:pt idx="69390">
                  <c:v>28506</c:v>
                </c:pt>
                <c:pt idx="69391">
                  <c:v>28505</c:v>
                </c:pt>
                <c:pt idx="69392">
                  <c:v>28504</c:v>
                </c:pt>
                <c:pt idx="69393">
                  <c:v>28503</c:v>
                </c:pt>
                <c:pt idx="69394">
                  <c:v>28502</c:v>
                </c:pt>
                <c:pt idx="69395">
                  <c:v>28501</c:v>
                </c:pt>
                <c:pt idx="69396">
                  <c:v>28500</c:v>
                </c:pt>
                <c:pt idx="69397">
                  <c:v>28499</c:v>
                </c:pt>
                <c:pt idx="69398">
                  <c:v>28498</c:v>
                </c:pt>
                <c:pt idx="69399">
                  <c:v>28498</c:v>
                </c:pt>
                <c:pt idx="69400">
                  <c:v>28498</c:v>
                </c:pt>
                <c:pt idx="69401">
                  <c:v>28498</c:v>
                </c:pt>
                <c:pt idx="69402">
                  <c:v>28498</c:v>
                </c:pt>
                <c:pt idx="69403">
                  <c:v>28498</c:v>
                </c:pt>
                <c:pt idx="69404">
                  <c:v>28497</c:v>
                </c:pt>
                <c:pt idx="69405">
                  <c:v>28497</c:v>
                </c:pt>
                <c:pt idx="69406">
                  <c:v>28497</c:v>
                </c:pt>
                <c:pt idx="69407">
                  <c:v>28496</c:v>
                </c:pt>
                <c:pt idx="69408">
                  <c:v>28496</c:v>
                </c:pt>
                <c:pt idx="69409">
                  <c:v>28496</c:v>
                </c:pt>
                <c:pt idx="69410">
                  <c:v>28496</c:v>
                </c:pt>
                <c:pt idx="69411">
                  <c:v>28494</c:v>
                </c:pt>
                <c:pt idx="69412">
                  <c:v>28494</c:v>
                </c:pt>
                <c:pt idx="69413">
                  <c:v>28494</c:v>
                </c:pt>
                <c:pt idx="69414">
                  <c:v>28494</c:v>
                </c:pt>
                <c:pt idx="69415">
                  <c:v>28494</c:v>
                </c:pt>
                <c:pt idx="69416">
                  <c:v>28494</c:v>
                </c:pt>
                <c:pt idx="69417">
                  <c:v>28494</c:v>
                </c:pt>
                <c:pt idx="69418">
                  <c:v>28493</c:v>
                </c:pt>
                <c:pt idx="69419">
                  <c:v>28493</c:v>
                </c:pt>
                <c:pt idx="69420">
                  <c:v>28493</c:v>
                </c:pt>
                <c:pt idx="69421">
                  <c:v>28492</c:v>
                </c:pt>
                <c:pt idx="69422">
                  <c:v>28492</c:v>
                </c:pt>
                <c:pt idx="69423">
                  <c:v>28491</c:v>
                </c:pt>
                <c:pt idx="69424">
                  <c:v>28491</c:v>
                </c:pt>
                <c:pt idx="69425">
                  <c:v>28490</c:v>
                </c:pt>
                <c:pt idx="69426">
                  <c:v>28490</c:v>
                </c:pt>
                <c:pt idx="69427">
                  <c:v>28488</c:v>
                </c:pt>
                <c:pt idx="69428">
                  <c:v>28487</c:v>
                </c:pt>
                <c:pt idx="69429">
                  <c:v>28487</c:v>
                </c:pt>
                <c:pt idx="69430">
                  <c:v>28485</c:v>
                </c:pt>
                <c:pt idx="69431">
                  <c:v>28485</c:v>
                </c:pt>
                <c:pt idx="69432">
                  <c:v>28484</c:v>
                </c:pt>
                <c:pt idx="69433">
                  <c:v>28484</c:v>
                </c:pt>
                <c:pt idx="69434">
                  <c:v>28484</c:v>
                </c:pt>
                <c:pt idx="69435">
                  <c:v>28482</c:v>
                </c:pt>
                <c:pt idx="69436">
                  <c:v>28480</c:v>
                </c:pt>
                <c:pt idx="69437">
                  <c:v>28478</c:v>
                </c:pt>
                <c:pt idx="69438">
                  <c:v>28477</c:v>
                </c:pt>
                <c:pt idx="69439">
                  <c:v>28476</c:v>
                </c:pt>
                <c:pt idx="69440">
                  <c:v>28476</c:v>
                </c:pt>
                <c:pt idx="69441">
                  <c:v>28476</c:v>
                </c:pt>
                <c:pt idx="69442">
                  <c:v>28476</c:v>
                </c:pt>
                <c:pt idx="69443">
                  <c:v>28474</c:v>
                </c:pt>
                <c:pt idx="69444">
                  <c:v>28474</c:v>
                </c:pt>
                <c:pt idx="69445">
                  <c:v>28474</c:v>
                </c:pt>
                <c:pt idx="69446">
                  <c:v>28473</c:v>
                </c:pt>
                <c:pt idx="69447">
                  <c:v>28473</c:v>
                </c:pt>
                <c:pt idx="69448">
                  <c:v>28472</c:v>
                </c:pt>
                <c:pt idx="69449">
                  <c:v>28472</c:v>
                </c:pt>
                <c:pt idx="69450">
                  <c:v>28471</c:v>
                </c:pt>
                <c:pt idx="69451">
                  <c:v>28470</c:v>
                </c:pt>
                <c:pt idx="69452">
                  <c:v>28469</c:v>
                </c:pt>
                <c:pt idx="69453">
                  <c:v>28467</c:v>
                </c:pt>
                <c:pt idx="69454">
                  <c:v>28466</c:v>
                </c:pt>
                <c:pt idx="69455">
                  <c:v>28463</c:v>
                </c:pt>
                <c:pt idx="69456">
                  <c:v>28462</c:v>
                </c:pt>
                <c:pt idx="69457">
                  <c:v>28462</c:v>
                </c:pt>
                <c:pt idx="69458">
                  <c:v>28462</c:v>
                </c:pt>
                <c:pt idx="69459">
                  <c:v>28462</c:v>
                </c:pt>
                <c:pt idx="69460">
                  <c:v>28461</c:v>
                </c:pt>
                <c:pt idx="69461">
                  <c:v>28460</c:v>
                </c:pt>
                <c:pt idx="69462">
                  <c:v>28460</c:v>
                </c:pt>
                <c:pt idx="69463">
                  <c:v>28459</c:v>
                </c:pt>
                <c:pt idx="69464">
                  <c:v>28458</c:v>
                </c:pt>
                <c:pt idx="69465">
                  <c:v>28457</c:v>
                </c:pt>
                <c:pt idx="69466">
                  <c:v>28457</c:v>
                </c:pt>
                <c:pt idx="69467">
                  <c:v>28457</c:v>
                </c:pt>
                <c:pt idx="69468">
                  <c:v>28456</c:v>
                </c:pt>
                <c:pt idx="69469">
                  <c:v>28455</c:v>
                </c:pt>
                <c:pt idx="69470">
                  <c:v>28455</c:v>
                </c:pt>
                <c:pt idx="69471">
                  <c:v>28454</c:v>
                </c:pt>
                <c:pt idx="69472">
                  <c:v>28454</c:v>
                </c:pt>
                <c:pt idx="69473">
                  <c:v>28453</c:v>
                </c:pt>
                <c:pt idx="69474">
                  <c:v>28452</c:v>
                </c:pt>
                <c:pt idx="69475">
                  <c:v>28451</c:v>
                </c:pt>
                <c:pt idx="69476">
                  <c:v>28451</c:v>
                </c:pt>
                <c:pt idx="69477">
                  <c:v>28450</c:v>
                </c:pt>
                <c:pt idx="69478">
                  <c:v>28450</c:v>
                </c:pt>
                <c:pt idx="69479">
                  <c:v>28450</c:v>
                </c:pt>
                <c:pt idx="69480">
                  <c:v>28449</c:v>
                </c:pt>
                <c:pt idx="69481">
                  <c:v>28449</c:v>
                </c:pt>
                <c:pt idx="69482">
                  <c:v>28448</c:v>
                </c:pt>
                <c:pt idx="69483">
                  <c:v>28448</c:v>
                </c:pt>
                <c:pt idx="69484">
                  <c:v>28448</c:v>
                </c:pt>
                <c:pt idx="69485">
                  <c:v>28447</c:v>
                </c:pt>
                <c:pt idx="69486">
                  <c:v>28447</c:v>
                </c:pt>
                <c:pt idx="69487">
                  <c:v>28446</c:v>
                </c:pt>
                <c:pt idx="69488">
                  <c:v>28446</c:v>
                </c:pt>
                <c:pt idx="69489">
                  <c:v>28446</c:v>
                </c:pt>
                <c:pt idx="69490">
                  <c:v>28445</c:v>
                </c:pt>
                <c:pt idx="69491">
                  <c:v>28444</c:v>
                </c:pt>
                <c:pt idx="69492">
                  <c:v>28443</c:v>
                </c:pt>
                <c:pt idx="69493">
                  <c:v>28443</c:v>
                </c:pt>
                <c:pt idx="69494">
                  <c:v>28442</c:v>
                </c:pt>
                <c:pt idx="69495">
                  <c:v>28439</c:v>
                </c:pt>
                <c:pt idx="69496">
                  <c:v>28439</c:v>
                </c:pt>
                <c:pt idx="69497">
                  <c:v>28438</c:v>
                </c:pt>
                <c:pt idx="69498">
                  <c:v>28438</c:v>
                </c:pt>
                <c:pt idx="69499">
                  <c:v>28438</c:v>
                </c:pt>
                <c:pt idx="69500">
                  <c:v>28435</c:v>
                </c:pt>
                <c:pt idx="69501">
                  <c:v>28434</c:v>
                </c:pt>
                <c:pt idx="69502">
                  <c:v>28433</c:v>
                </c:pt>
                <c:pt idx="69503">
                  <c:v>28433</c:v>
                </c:pt>
                <c:pt idx="69504">
                  <c:v>28433</c:v>
                </c:pt>
                <c:pt idx="69505">
                  <c:v>28433</c:v>
                </c:pt>
                <c:pt idx="69506">
                  <c:v>28431</c:v>
                </c:pt>
                <c:pt idx="69507">
                  <c:v>28431</c:v>
                </c:pt>
                <c:pt idx="69508">
                  <c:v>28428</c:v>
                </c:pt>
                <c:pt idx="69509">
                  <c:v>28428</c:v>
                </c:pt>
                <c:pt idx="69510">
                  <c:v>28428</c:v>
                </c:pt>
                <c:pt idx="69511">
                  <c:v>28426</c:v>
                </c:pt>
                <c:pt idx="69512">
                  <c:v>28426</c:v>
                </c:pt>
                <c:pt idx="69513">
                  <c:v>28425</c:v>
                </c:pt>
                <c:pt idx="69514">
                  <c:v>28424</c:v>
                </c:pt>
                <c:pt idx="69515">
                  <c:v>28424</c:v>
                </c:pt>
                <c:pt idx="69516">
                  <c:v>28423</c:v>
                </c:pt>
                <c:pt idx="69517">
                  <c:v>28423</c:v>
                </c:pt>
                <c:pt idx="69518">
                  <c:v>28423</c:v>
                </c:pt>
                <c:pt idx="69519">
                  <c:v>28423</c:v>
                </c:pt>
                <c:pt idx="69520">
                  <c:v>28422</c:v>
                </c:pt>
                <c:pt idx="69521">
                  <c:v>28421</c:v>
                </c:pt>
                <c:pt idx="69522">
                  <c:v>28421</c:v>
                </c:pt>
                <c:pt idx="69523">
                  <c:v>28421</c:v>
                </c:pt>
                <c:pt idx="69524">
                  <c:v>28421</c:v>
                </c:pt>
                <c:pt idx="69525">
                  <c:v>28420</c:v>
                </c:pt>
                <c:pt idx="69526">
                  <c:v>28419</c:v>
                </c:pt>
                <c:pt idx="69527">
                  <c:v>28417</c:v>
                </c:pt>
                <c:pt idx="69528">
                  <c:v>28416</c:v>
                </c:pt>
                <c:pt idx="69529">
                  <c:v>28415</c:v>
                </c:pt>
                <c:pt idx="69530">
                  <c:v>28415</c:v>
                </c:pt>
                <c:pt idx="69531">
                  <c:v>28413</c:v>
                </c:pt>
                <c:pt idx="69532">
                  <c:v>28412</c:v>
                </c:pt>
                <c:pt idx="69533">
                  <c:v>28411</c:v>
                </c:pt>
                <c:pt idx="69534">
                  <c:v>28411</c:v>
                </c:pt>
                <c:pt idx="69535">
                  <c:v>28411</c:v>
                </c:pt>
                <c:pt idx="69536">
                  <c:v>28410</c:v>
                </c:pt>
                <c:pt idx="69537">
                  <c:v>28409</c:v>
                </c:pt>
                <c:pt idx="69538">
                  <c:v>28408</c:v>
                </c:pt>
                <c:pt idx="69539">
                  <c:v>28407</c:v>
                </c:pt>
                <c:pt idx="69540">
                  <c:v>28407</c:v>
                </c:pt>
                <c:pt idx="69541">
                  <c:v>28406</c:v>
                </c:pt>
                <c:pt idx="69542">
                  <c:v>28405</c:v>
                </c:pt>
                <c:pt idx="69543">
                  <c:v>28403</c:v>
                </c:pt>
                <c:pt idx="69544">
                  <c:v>28403</c:v>
                </c:pt>
                <c:pt idx="69545">
                  <c:v>28401</c:v>
                </c:pt>
                <c:pt idx="69546">
                  <c:v>28401</c:v>
                </c:pt>
                <c:pt idx="69547">
                  <c:v>28400</c:v>
                </c:pt>
                <c:pt idx="69548">
                  <c:v>28400</c:v>
                </c:pt>
                <c:pt idx="69549">
                  <c:v>28400</c:v>
                </c:pt>
                <c:pt idx="69550">
                  <c:v>28399</c:v>
                </c:pt>
                <c:pt idx="69551">
                  <c:v>28399</c:v>
                </c:pt>
                <c:pt idx="69552">
                  <c:v>28395</c:v>
                </c:pt>
                <c:pt idx="69553">
                  <c:v>28395</c:v>
                </c:pt>
                <c:pt idx="69554">
                  <c:v>28394</c:v>
                </c:pt>
                <c:pt idx="69555">
                  <c:v>28394</c:v>
                </c:pt>
                <c:pt idx="69556">
                  <c:v>28394</c:v>
                </c:pt>
                <c:pt idx="69557">
                  <c:v>28393</c:v>
                </c:pt>
                <c:pt idx="69558">
                  <c:v>28393</c:v>
                </c:pt>
                <c:pt idx="69559">
                  <c:v>28393</c:v>
                </c:pt>
                <c:pt idx="69560">
                  <c:v>28392</c:v>
                </c:pt>
                <c:pt idx="69561">
                  <c:v>28392</c:v>
                </c:pt>
                <c:pt idx="69562">
                  <c:v>28391</c:v>
                </c:pt>
                <c:pt idx="69563">
                  <c:v>28391</c:v>
                </c:pt>
                <c:pt idx="69564">
                  <c:v>28390</c:v>
                </c:pt>
                <c:pt idx="69565">
                  <c:v>28389</c:v>
                </c:pt>
                <c:pt idx="69566">
                  <c:v>28389</c:v>
                </c:pt>
                <c:pt idx="69567">
                  <c:v>28389</c:v>
                </c:pt>
                <c:pt idx="69568">
                  <c:v>28388</c:v>
                </c:pt>
                <c:pt idx="69569">
                  <c:v>28387</c:v>
                </c:pt>
                <c:pt idx="69570">
                  <c:v>28387</c:v>
                </c:pt>
                <c:pt idx="69571">
                  <c:v>28386</c:v>
                </c:pt>
                <c:pt idx="69572">
                  <c:v>28385</c:v>
                </c:pt>
                <c:pt idx="69573">
                  <c:v>28385</c:v>
                </c:pt>
                <c:pt idx="69574">
                  <c:v>28384</c:v>
                </c:pt>
                <c:pt idx="69575">
                  <c:v>28384</c:v>
                </c:pt>
                <c:pt idx="69576">
                  <c:v>28384</c:v>
                </c:pt>
                <c:pt idx="69577">
                  <c:v>28383</c:v>
                </c:pt>
                <c:pt idx="69578">
                  <c:v>28380</c:v>
                </c:pt>
                <c:pt idx="69579">
                  <c:v>28380</c:v>
                </c:pt>
                <c:pt idx="69580">
                  <c:v>28380</c:v>
                </c:pt>
                <c:pt idx="69581">
                  <c:v>28379</c:v>
                </c:pt>
                <c:pt idx="69582">
                  <c:v>28379</c:v>
                </c:pt>
                <c:pt idx="69583">
                  <c:v>28379</c:v>
                </c:pt>
                <c:pt idx="69584">
                  <c:v>28377</c:v>
                </c:pt>
                <c:pt idx="69585">
                  <c:v>28373</c:v>
                </c:pt>
                <c:pt idx="69586">
                  <c:v>28373</c:v>
                </c:pt>
                <c:pt idx="69587">
                  <c:v>28372</c:v>
                </c:pt>
                <c:pt idx="69588">
                  <c:v>28372</c:v>
                </c:pt>
                <c:pt idx="69589">
                  <c:v>28372</c:v>
                </c:pt>
                <c:pt idx="69590">
                  <c:v>28372</c:v>
                </c:pt>
                <c:pt idx="69591">
                  <c:v>28371</c:v>
                </c:pt>
                <c:pt idx="69592">
                  <c:v>28371</c:v>
                </c:pt>
                <c:pt idx="69593">
                  <c:v>28369</c:v>
                </c:pt>
                <c:pt idx="69594">
                  <c:v>28368</c:v>
                </c:pt>
                <c:pt idx="69595">
                  <c:v>28368</c:v>
                </c:pt>
                <c:pt idx="69596">
                  <c:v>28368</c:v>
                </c:pt>
                <c:pt idx="69597">
                  <c:v>28367</c:v>
                </c:pt>
                <c:pt idx="69598">
                  <c:v>28367</c:v>
                </c:pt>
                <c:pt idx="69599">
                  <c:v>28364</c:v>
                </c:pt>
                <c:pt idx="69600">
                  <c:v>28364</c:v>
                </c:pt>
                <c:pt idx="69601">
                  <c:v>28363</c:v>
                </c:pt>
                <c:pt idx="69602">
                  <c:v>28363</c:v>
                </c:pt>
                <c:pt idx="69603">
                  <c:v>28363</c:v>
                </c:pt>
                <c:pt idx="69604">
                  <c:v>28363</c:v>
                </c:pt>
                <c:pt idx="69605">
                  <c:v>28362</c:v>
                </c:pt>
                <c:pt idx="69606">
                  <c:v>28359</c:v>
                </c:pt>
                <c:pt idx="69607">
                  <c:v>28358</c:v>
                </c:pt>
                <c:pt idx="69608">
                  <c:v>28358</c:v>
                </c:pt>
                <c:pt idx="69609">
                  <c:v>28357</c:v>
                </c:pt>
                <c:pt idx="69610">
                  <c:v>28356</c:v>
                </c:pt>
                <c:pt idx="69611">
                  <c:v>28355</c:v>
                </c:pt>
                <c:pt idx="69612">
                  <c:v>28354</c:v>
                </c:pt>
                <c:pt idx="69613">
                  <c:v>28353</c:v>
                </c:pt>
                <c:pt idx="69614">
                  <c:v>28352</c:v>
                </c:pt>
                <c:pt idx="69615">
                  <c:v>28352</c:v>
                </c:pt>
                <c:pt idx="69616">
                  <c:v>28350</c:v>
                </c:pt>
                <c:pt idx="69617">
                  <c:v>28349</c:v>
                </c:pt>
                <c:pt idx="69618">
                  <c:v>28349</c:v>
                </c:pt>
                <c:pt idx="69619">
                  <c:v>28349</c:v>
                </c:pt>
                <c:pt idx="69620">
                  <c:v>28346</c:v>
                </c:pt>
                <c:pt idx="69621">
                  <c:v>28345</c:v>
                </c:pt>
                <c:pt idx="69622">
                  <c:v>28344</c:v>
                </c:pt>
                <c:pt idx="69623">
                  <c:v>28344</c:v>
                </c:pt>
                <c:pt idx="69624">
                  <c:v>28344</c:v>
                </c:pt>
                <c:pt idx="69625">
                  <c:v>28343</c:v>
                </c:pt>
                <c:pt idx="69626">
                  <c:v>28342</c:v>
                </c:pt>
                <c:pt idx="69627">
                  <c:v>28341</c:v>
                </c:pt>
                <c:pt idx="69628">
                  <c:v>28341</c:v>
                </c:pt>
                <c:pt idx="69629">
                  <c:v>28340</c:v>
                </c:pt>
                <c:pt idx="69630">
                  <c:v>28339</c:v>
                </c:pt>
                <c:pt idx="69631">
                  <c:v>28339</c:v>
                </c:pt>
                <c:pt idx="69632">
                  <c:v>28338</c:v>
                </c:pt>
                <c:pt idx="69633">
                  <c:v>28338</c:v>
                </c:pt>
                <c:pt idx="69634">
                  <c:v>28338</c:v>
                </c:pt>
                <c:pt idx="69635">
                  <c:v>28337</c:v>
                </c:pt>
                <c:pt idx="69636">
                  <c:v>28336</c:v>
                </c:pt>
                <c:pt idx="69637">
                  <c:v>28336</c:v>
                </c:pt>
                <c:pt idx="69638">
                  <c:v>28336</c:v>
                </c:pt>
                <c:pt idx="69639">
                  <c:v>28334</c:v>
                </c:pt>
                <c:pt idx="69640">
                  <c:v>28334</c:v>
                </c:pt>
                <c:pt idx="69641">
                  <c:v>28333</c:v>
                </c:pt>
                <c:pt idx="69642">
                  <c:v>28330</c:v>
                </c:pt>
                <c:pt idx="69643">
                  <c:v>28329</c:v>
                </c:pt>
                <c:pt idx="69644">
                  <c:v>28328</c:v>
                </c:pt>
                <c:pt idx="69645">
                  <c:v>28327</c:v>
                </c:pt>
                <c:pt idx="69646">
                  <c:v>28326</c:v>
                </c:pt>
                <c:pt idx="69647">
                  <c:v>28325</c:v>
                </c:pt>
                <c:pt idx="69648">
                  <c:v>28325</c:v>
                </c:pt>
                <c:pt idx="69649">
                  <c:v>28324</c:v>
                </c:pt>
                <c:pt idx="69650">
                  <c:v>28323</c:v>
                </c:pt>
                <c:pt idx="69651">
                  <c:v>28321</c:v>
                </c:pt>
                <c:pt idx="69652">
                  <c:v>28320</c:v>
                </c:pt>
                <c:pt idx="69653">
                  <c:v>28320</c:v>
                </c:pt>
                <c:pt idx="69654">
                  <c:v>28319</c:v>
                </c:pt>
                <c:pt idx="69655">
                  <c:v>28319</c:v>
                </c:pt>
                <c:pt idx="69656">
                  <c:v>28318</c:v>
                </c:pt>
                <c:pt idx="69657">
                  <c:v>28318</c:v>
                </c:pt>
                <c:pt idx="69658">
                  <c:v>28317</c:v>
                </c:pt>
                <c:pt idx="69659">
                  <c:v>28317</c:v>
                </c:pt>
                <c:pt idx="69660">
                  <c:v>28317</c:v>
                </c:pt>
                <c:pt idx="69661">
                  <c:v>28315</c:v>
                </c:pt>
                <c:pt idx="69662">
                  <c:v>28315</c:v>
                </c:pt>
                <c:pt idx="69663">
                  <c:v>28314</c:v>
                </c:pt>
                <c:pt idx="69664">
                  <c:v>28314</c:v>
                </c:pt>
                <c:pt idx="69665">
                  <c:v>28313</c:v>
                </c:pt>
                <c:pt idx="69666">
                  <c:v>28311</c:v>
                </c:pt>
                <c:pt idx="69667">
                  <c:v>28311</c:v>
                </c:pt>
                <c:pt idx="69668">
                  <c:v>28311</c:v>
                </c:pt>
                <c:pt idx="69669">
                  <c:v>28309</c:v>
                </c:pt>
                <c:pt idx="69670">
                  <c:v>28309</c:v>
                </c:pt>
                <c:pt idx="69671">
                  <c:v>28308</c:v>
                </c:pt>
                <c:pt idx="69672">
                  <c:v>28308</c:v>
                </c:pt>
                <c:pt idx="69673">
                  <c:v>28307</c:v>
                </c:pt>
                <c:pt idx="69674">
                  <c:v>28306</c:v>
                </c:pt>
                <c:pt idx="69675">
                  <c:v>28306</c:v>
                </c:pt>
                <c:pt idx="69676">
                  <c:v>28306</c:v>
                </c:pt>
                <c:pt idx="69677">
                  <c:v>28305</c:v>
                </c:pt>
                <c:pt idx="69678">
                  <c:v>28305</c:v>
                </c:pt>
                <c:pt idx="69679">
                  <c:v>28303</c:v>
                </c:pt>
                <c:pt idx="69680">
                  <c:v>28302</c:v>
                </c:pt>
                <c:pt idx="69681">
                  <c:v>28301</c:v>
                </c:pt>
                <c:pt idx="69682">
                  <c:v>28300</c:v>
                </c:pt>
                <c:pt idx="69683">
                  <c:v>28299</c:v>
                </c:pt>
                <c:pt idx="69684">
                  <c:v>28297</c:v>
                </c:pt>
                <c:pt idx="69685">
                  <c:v>28297</c:v>
                </c:pt>
                <c:pt idx="69686">
                  <c:v>28297</c:v>
                </c:pt>
                <c:pt idx="69687">
                  <c:v>28296</c:v>
                </c:pt>
                <c:pt idx="69688">
                  <c:v>28296</c:v>
                </c:pt>
                <c:pt idx="69689">
                  <c:v>28295</c:v>
                </c:pt>
                <c:pt idx="69690">
                  <c:v>28295</c:v>
                </c:pt>
                <c:pt idx="69691">
                  <c:v>28294</c:v>
                </c:pt>
                <c:pt idx="69692">
                  <c:v>28289</c:v>
                </c:pt>
                <c:pt idx="69693">
                  <c:v>28289</c:v>
                </c:pt>
                <c:pt idx="69694">
                  <c:v>28288</c:v>
                </c:pt>
                <c:pt idx="69695">
                  <c:v>28287</c:v>
                </c:pt>
                <c:pt idx="69696">
                  <c:v>28287</c:v>
                </c:pt>
                <c:pt idx="69697">
                  <c:v>28287</c:v>
                </c:pt>
                <c:pt idx="69698">
                  <c:v>28286</c:v>
                </c:pt>
                <c:pt idx="69699">
                  <c:v>28285</c:v>
                </c:pt>
                <c:pt idx="69700">
                  <c:v>28285</c:v>
                </c:pt>
                <c:pt idx="69701">
                  <c:v>28283</c:v>
                </c:pt>
                <c:pt idx="69702">
                  <c:v>28282</c:v>
                </c:pt>
                <c:pt idx="69703">
                  <c:v>28276</c:v>
                </c:pt>
                <c:pt idx="69704">
                  <c:v>28275</c:v>
                </c:pt>
                <c:pt idx="69705">
                  <c:v>28273</c:v>
                </c:pt>
                <c:pt idx="69706">
                  <c:v>28271</c:v>
                </c:pt>
                <c:pt idx="69707">
                  <c:v>28270</c:v>
                </c:pt>
                <c:pt idx="69708">
                  <c:v>28270</c:v>
                </c:pt>
                <c:pt idx="69709">
                  <c:v>28270</c:v>
                </c:pt>
                <c:pt idx="69710">
                  <c:v>28268</c:v>
                </c:pt>
                <c:pt idx="69711">
                  <c:v>28268</c:v>
                </c:pt>
                <c:pt idx="69712">
                  <c:v>28268</c:v>
                </c:pt>
                <c:pt idx="69713">
                  <c:v>28267</c:v>
                </c:pt>
                <c:pt idx="69714">
                  <c:v>28267</c:v>
                </c:pt>
                <c:pt idx="69715">
                  <c:v>28267</c:v>
                </c:pt>
                <c:pt idx="69716">
                  <c:v>28266</c:v>
                </c:pt>
                <c:pt idx="69717">
                  <c:v>28264</c:v>
                </c:pt>
                <c:pt idx="69718">
                  <c:v>28262</c:v>
                </c:pt>
                <c:pt idx="69719">
                  <c:v>28260</c:v>
                </c:pt>
                <c:pt idx="69720">
                  <c:v>28259</c:v>
                </c:pt>
                <c:pt idx="69721">
                  <c:v>28259</c:v>
                </c:pt>
                <c:pt idx="69722">
                  <c:v>28257</c:v>
                </c:pt>
                <c:pt idx="69723">
                  <c:v>28257</c:v>
                </c:pt>
                <c:pt idx="69724">
                  <c:v>28256</c:v>
                </c:pt>
                <c:pt idx="69725">
                  <c:v>28256</c:v>
                </c:pt>
                <c:pt idx="69726">
                  <c:v>28254</c:v>
                </c:pt>
                <c:pt idx="69727">
                  <c:v>28254</c:v>
                </c:pt>
                <c:pt idx="69728">
                  <c:v>28254</c:v>
                </c:pt>
                <c:pt idx="69729">
                  <c:v>28253</c:v>
                </c:pt>
                <c:pt idx="69730">
                  <c:v>28253</c:v>
                </c:pt>
                <c:pt idx="69731">
                  <c:v>28252</c:v>
                </c:pt>
                <c:pt idx="69732">
                  <c:v>28252</c:v>
                </c:pt>
                <c:pt idx="69733">
                  <c:v>28250</c:v>
                </c:pt>
                <c:pt idx="69734">
                  <c:v>28249</c:v>
                </c:pt>
                <c:pt idx="69735">
                  <c:v>28246</c:v>
                </c:pt>
                <c:pt idx="69736">
                  <c:v>28245</c:v>
                </c:pt>
                <c:pt idx="69737">
                  <c:v>28245</c:v>
                </c:pt>
                <c:pt idx="69738">
                  <c:v>28243</c:v>
                </c:pt>
                <c:pt idx="69739">
                  <c:v>28243</c:v>
                </c:pt>
                <c:pt idx="69740">
                  <c:v>28241</c:v>
                </c:pt>
                <c:pt idx="69741">
                  <c:v>28240</c:v>
                </c:pt>
                <c:pt idx="69742">
                  <c:v>28240</c:v>
                </c:pt>
                <c:pt idx="69743">
                  <c:v>28239</c:v>
                </c:pt>
                <c:pt idx="69744">
                  <c:v>28236</c:v>
                </c:pt>
                <c:pt idx="69745">
                  <c:v>28236</c:v>
                </c:pt>
                <c:pt idx="69746">
                  <c:v>28235</c:v>
                </c:pt>
                <c:pt idx="69747">
                  <c:v>28234</c:v>
                </c:pt>
                <c:pt idx="69748">
                  <c:v>28234</c:v>
                </c:pt>
                <c:pt idx="69749">
                  <c:v>28234</c:v>
                </c:pt>
                <c:pt idx="69750">
                  <c:v>28233</c:v>
                </c:pt>
                <c:pt idx="69751">
                  <c:v>28233</c:v>
                </c:pt>
                <c:pt idx="69752">
                  <c:v>28230</c:v>
                </c:pt>
                <c:pt idx="69753">
                  <c:v>28229</c:v>
                </c:pt>
                <c:pt idx="69754">
                  <c:v>28228</c:v>
                </c:pt>
                <c:pt idx="69755">
                  <c:v>28226</c:v>
                </c:pt>
                <c:pt idx="69756">
                  <c:v>28224</c:v>
                </c:pt>
                <c:pt idx="69757">
                  <c:v>28224</c:v>
                </c:pt>
                <c:pt idx="69758">
                  <c:v>28224</c:v>
                </c:pt>
                <c:pt idx="69759">
                  <c:v>28223</c:v>
                </c:pt>
                <c:pt idx="69760">
                  <c:v>28222</c:v>
                </c:pt>
                <c:pt idx="69761">
                  <c:v>28218</c:v>
                </c:pt>
                <c:pt idx="69762">
                  <c:v>28217</c:v>
                </c:pt>
                <c:pt idx="69763">
                  <c:v>28217</c:v>
                </c:pt>
                <c:pt idx="69764">
                  <c:v>28217</c:v>
                </c:pt>
                <c:pt idx="69765">
                  <c:v>28215</c:v>
                </c:pt>
                <c:pt idx="69766">
                  <c:v>28214</c:v>
                </c:pt>
                <c:pt idx="69767">
                  <c:v>28213</c:v>
                </c:pt>
                <c:pt idx="69768">
                  <c:v>28212</c:v>
                </c:pt>
                <c:pt idx="69769">
                  <c:v>28211</c:v>
                </c:pt>
                <c:pt idx="69770">
                  <c:v>28211</c:v>
                </c:pt>
                <c:pt idx="69771">
                  <c:v>28210</c:v>
                </c:pt>
                <c:pt idx="69772">
                  <c:v>28210</c:v>
                </c:pt>
                <c:pt idx="69773">
                  <c:v>28208</c:v>
                </c:pt>
                <c:pt idx="69774">
                  <c:v>28208</c:v>
                </c:pt>
                <c:pt idx="69775">
                  <c:v>28207</c:v>
                </c:pt>
                <c:pt idx="69776">
                  <c:v>28206</c:v>
                </c:pt>
                <c:pt idx="69777">
                  <c:v>28206</c:v>
                </c:pt>
                <c:pt idx="69778">
                  <c:v>28205</c:v>
                </c:pt>
                <c:pt idx="69779">
                  <c:v>28205</c:v>
                </c:pt>
                <c:pt idx="69780">
                  <c:v>28204</c:v>
                </c:pt>
                <c:pt idx="69781">
                  <c:v>28204</c:v>
                </c:pt>
                <c:pt idx="69782">
                  <c:v>28200</c:v>
                </c:pt>
                <c:pt idx="69783">
                  <c:v>28199</c:v>
                </c:pt>
                <c:pt idx="69784">
                  <c:v>28199</c:v>
                </c:pt>
                <c:pt idx="69785">
                  <c:v>28194</c:v>
                </c:pt>
                <c:pt idx="69786">
                  <c:v>28194</c:v>
                </c:pt>
                <c:pt idx="69787">
                  <c:v>28194</c:v>
                </c:pt>
                <c:pt idx="69788">
                  <c:v>28193</c:v>
                </c:pt>
                <c:pt idx="69789">
                  <c:v>28192</c:v>
                </c:pt>
                <c:pt idx="69790">
                  <c:v>28192</c:v>
                </c:pt>
                <c:pt idx="69791">
                  <c:v>28191</c:v>
                </c:pt>
                <c:pt idx="69792">
                  <c:v>28191</c:v>
                </c:pt>
                <c:pt idx="69793">
                  <c:v>28189</c:v>
                </c:pt>
                <c:pt idx="69794">
                  <c:v>28187</c:v>
                </c:pt>
                <c:pt idx="69795">
                  <c:v>28187</c:v>
                </c:pt>
                <c:pt idx="69796">
                  <c:v>28187</c:v>
                </c:pt>
                <c:pt idx="69797">
                  <c:v>28187</c:v>
                </c:pt>
                <c:pt idx="69798">
                  <c:v>28187</c:v>
                </c:pt>
                <c:pt idx="69799">
                  <c:v>28185</c:v>
                </c:pt>
                <c:pt idx="69800">
                  <c:v>28184</c:v>
                </c:pt>
                <c:pt idx="69801">
                  <c:v>28184</c:v>
                </c:pt>
                <c:pt idx="69802">
                  <c:v>28184</c:v>
                </c:pt>
                <c:pt idx="69803">
                  <c:v>28183</c:v>
                </c:pt>
                <c:pt idx="69804">
                  <c:v>28183</c:v>
                </c:pt>
                <c:pt idx="69805">
                  <c:v>28179</c:v>
                </c:pt>
                <c:pt idx="69806">
                  <c:v>28178</c:v>
                </c:pt>
                <c:pt idx="69807">
                  <c:v>28177</c:v>
                </c:pt>
                <c:pt idx="69808">
                  <c:v>28175</c:v>
                </c:pt>
                <c:pt idx="69809">
                  <c:v>28172</c:v>
                </c:pt>
                <c:pt idx="69810">
                  <c:v>28170</c:v>
                </c:pt>
                <c:pt idx="69811">
                  <c:v>28169</c:v>
                </c:pt>
                <c:pt idx="69812">
                  <c:v>28168</c:v>
                </c:pt>
                <c:pt idx="69813">
                  <c:v>28166</c:v>
                </c:pt>
                <c:pt idx="69814">
                  <c:v>28165</c:v>
                </c:pt>
                <c:pt idx="69815">
                  <c:v>28163</c:v>
                </c:pt>
                <c:pt idx="69816">
                  <c:v>28160</c:v>
                </c:pt>
                <c:pt idx="69817">
                  <c:v>28160</c:v>
                </c:pt>
                <c:pt idx="69818">
                  <c:v>28159</c:v>
                </c:pt>
                <c:pt idx="69819">
                  <c:v>28159</c:v>
                </c:pt>
                <c:pt idx="69820">
                  <c:v>28158</c:v>
                </c:pt>
                <c:pt idx="69821">
                  <c:v>28157</c:v>
                </c:pt>
                <c:pt idx="69822">
                  <c:v>28157</c:v>
                </c:pt>
                <c:pt idx="69823">
                  <c:v>28156</c:v>
                </c:pt>
                <c:pt idx="69824">
                  <c:v>28154</c:v>
                </c:pt>
                <c:pt idx="69825">
                  <c:v>28153</c:v>
                </c:pt>
                <c:pt idx="69826">
                  <c:v>28153</c:v>
                </c:pt>
                <c:pt idx="69827">
                  <c:v>28152</c:v>
                </c:pt>
                <c:pt idx="69828">
                  <c:v>28151</c:v>
                </c:pt>
                <c:pt idx="69829">
                  <c:v>28150</c:v>
                </c:pt>
                <c:pt idx="69830">
                  <c:v>28150</c:v>
                </c:pt>
                <c:pt idx="69831">
                  <c:v>28150</c:v>
                </c:pt>
                <c:pt idx="69832">
                  <c:v>28150</c:v>
                </c:pt>
                <c:pt idx="69833">
                  <c:v>28149</c:v>
                </c:pt>
                <c:pt idx="69834">
                  <c:v>28148</c:v>
                </c:pt>
                <c:pt idx="69835">
                  <c:v>28148</c:v>
                </c:pt>
                <c:pt idx="69836">
                  <c:v>28146</c:v>
                </c:pt>
                <c:pt idx="69837">
                  <c:v>28146</c:v>
                </c:pt>
                <c:pt idx="69838">
                  <c:v>28146</c:v>
                </c:pt>
                <c:pt idx="69839">
                  <c:v>28146</c:v>
                </c:pt>
                <c:pt idx="69840">
                  <c:v>28145</c:v>
                </c:pt>
                <c:pt idx="69841">
                  <c:v>28145</c:v>
                </c:pt>
                <c:pt idx="69842">
                  <c:v>28145</c:v>
                </c:pt>
                <c:pt idx="69843">
                  <c:v>28144</c:v>
                </c:pt>
                <c:pt idx="69844">
                  <c:v>28144</c:v>
                </c:pt>
                <c:pt idx="69845">
                  <c:v>28143</c:v>
                </c:pt>
                <c:pt idx="69846">
                  <c:v>28143</c:v>
                </c:pt>
                <c:pt idx="69847">
                  <c:v>28142</c:v>
                </c:pt>
                <c:pt idx="69848">
                  <c:v>28141</c:v>
                </c:pt>
                <c:pt idx="69849">
                  <c:v>28141</c:v>
                </c:pt>
                <c:pt idx="69850">
                  <c:v>28138</c:v>
                </c:pt>
                <c:pt idx="69851">
                  <c:v>28136</c:v>
                </c:pt>
                <c:pt idx="69852">
                  <c:v>28136</c:v>
                </c:pt>
                <c:pt idx="69853">
                  <c:v>28135</c:v>
                </c:pt>
                <c:pt idx="69854">
                  <c:v>28134</c:v>
                </c:pt>
                <c:pt idx="69855">
                  <c:v>28134</c:v>
                </c:pt>
                <c:pt idx="69856">
                  <c:v>28134</c:v>
                </c:pt>
                <c:pt idx="69857">
                  <c:v>28133</c:v>
                </c:pt>
                <c:pt idx="69858">
                  <c:v>28133</c:v>
                </c:pt>
                <c:pt idx="69859">
                  <c:v>28133</c:v>
                </c:pt>
                <c:pt idx="69860">
                  <c:v>28133</c:v>
                </c:pt>
                <c:pt idx="69861">
                  <c:v>28132</c:v>
                </c:pt>
                <c:pt idx="69862">
                  <c:v>28132</c:v>
                </c:pt>
                <c:pt idx="69863">
                  <c:v>28130</c:v>
                </c:pt>
                <c:pt idx="69864">
                  <c:v>28130</c:v>
                </c:pt>
                <c:pt idx="69865">
                  <c:v>28130</c:v>
                </c:pt>
                <c:pt idx="69866">
                  <c:v>28130</c:v>
                </c:pt>
                <c:pt idx="69867">
                  <c:v>28130</c:v>
                </c:pt>
                <c:pt idx="69868">
                  <c:v>28128</c:v>
                </c:pt>
                <c:pt idx="69869">
                  <c:v>28128</c:v>
                </c:pt>
                <c:pt idx="69870">
                  <c:v>28128</c:v>
                </c:pt>
                <c:pt idx="69871">
                  <c:v>28127</c:v>
                </c:pt>
                <c:pt idx="69872">
                  <c:v>28127</c:v>
                </c:pt>
                <c:pt idx="69873">
                  <c:v>28126</c:v>
                </c:pt>
                <c:pt idx="69874">
                  <c:v>28125</c:v>
                </c:pt>
                <c:pt idx="69875">
                  <c:v>28122</c:v>
                </c:pt>
                <c:pt idx="69876">
                  <c:v>28119</c:v>
                </c:pt>
                <c:pt idx="69877">
                  <c:v>28116</c:v>
                </c:pt>
                <c:pt idx="69878">
                  <c:v>28115</c:v>
                </c:pt>
                <c:pt idx="69879">
                  <c:v>28114</c:v>
                </c:pt>
                <c:pt idx="69880">
                  <c:v>28112</c:v>
                </c:pt>
                <c:pt idx="69881">
                  <c:v>28112</c:v>
                </c:pt>
                <c:pt idx="69882">
                  <c:v>28111</c:v>
                </c:pt>
                <c:pt idx="69883">
                  <c:v>28110</c:v>
                </c:pt>
                <c:pt idx="69884">
                  <c:v>28109</c:v>
                </c:pt>
                <c:pt idx="69885">
                  <c:v>28109</c:v>
                </c:pt>
                <c:pt idx="69886">
                  <c:v>28108</c:v>
                </c:pt>
                <c:pt idx="69887">
                  <c:v>28108</c:v>
                </c:pt>
                <c:pt idx="69888">
                  <c:v>28107</c:v>
                </c:pt>
                <c:pt idx="69889">
                  <c:v>28106</c:v>
                </c:pt>
                <c:pt idx="69890">
                  <c:v>28105</c:v>
                </c:pt>
                <c:pt idx="69891">
                  <c:v>28104</c:v>
                </c:pt>
                <c:pt idx="69892">
                  <c:v>28104</c:v>
                </c:pt>
                <c:pt idx="69893">
                  <c:v>28103</c:v>
                </c:pt>
                <c:pt idx="69894">
                  <c:v>28103</c:v>
                </c:pt>
                <c:pt idx="69895">
                  <c:v>28103</c:v>
                </c:pt>
                <c:pt idx="69896">
                  <c:v>28103</c:v>
                </c:pt>
                <c:pt idx="69897">
                  <c:v>28100</c:v>
                </c:pt>
                <c:pt idx="69898">
                  <c:v>28100</c:v>
                </c:pt>
                <c:pt idx="69899">
                  <c:v>28100</c:v>
                </c:pt>
                <c:pt idx="69900">
                  <c:v>28100</c:v>
                </c:pt>
                <c:pt idx="69901">
                  <c:v>28100</c:v>
                </c:pt>
                <c:pt idx="69902">
                  <c:v>28100</c:v>
                </c:pt>
                <c:pt idx="69903">
                  <c:v>28100</c:v>
                </c:pt>
                <c:pt idx="69904">
                  <c:v>28099</c:v>
                </c:pt>
                <c:pt idx="69905">
                  <c:v>28098</c:v>
                </c:pt>
                <c:pt idx="69906">
                  <c:v>28098</c:v>
                </c:pt>
                <c:pt idx="69907">
                  <c:v>28096</c:v>
                </c:pt>
                <c:pt idx="69908">
                  <c:v>28095</c:v>
                </c:pt>
                <c:pt idx="69909">
                  <c:v>28095</c:v>
                </c:pt>
                <c:pt idx="69910">
                  <c:v>28095</c:v>
                </c:pt>
                <c:pt idx="69911">
                  <c:v>28095</c:v>
                </c:pt>
                <c:pt idx="69912">
                  <c:v>28093</c:v>
                </c:pt>
                <c:pt idx="69913">
                  <c:v>28092</c:v>
                </c:pt>
                <c:pt idx="69914">
                  <c:v>28091</c:v>
                </c:pt>
                <c:pt idx="69915">
                  <c:v>28090</c:v>
                </c:pt>
                <c:pt idx="69916">
                  <c:v>28089</c:v>
                </c:pt>
                <c:pt idx="69917">
                  <c:v>28089</c:v>
                </c:pt>
                <c:pt idx="69918">
                  <c:v>28088</c:v>
                </c:pt>
                <c:pt idx="69919">
                  <c:v>28088</c:v>
                </c:pt>
                <c:pt idx="69920">
                  <c:v>28086</c:v>
                </c:pt>
                <c:pt idx="69921">
                  <c:v>28085</c:v>
                </c:pt>
                <c:pt idx="69922">
                  <c:v>28084</c:v>
                </c:pt>
                <c:pt idx="69923">
                  <c:v>28084</c:v>
                </c:pt>
                <c:pt idx="69924">
                  <c:v>28084</c:v>
                </c:pt>
                <c:pt idx="69925">
                  <c:v>28083</c:v>
                </c:pt>
                <c:pt idx="69926">
                  <c:v>28082</c:v>
                </c:pt>
                <c:pt idx="69927">
                  <c:v>28082</c:v>
                </c:pt>
                <c:pt idx="69928">
                  <c:v>28079</c:v>
                </c:pt>
                <c:pt idx="69929">
                  <c:v>28079</c:v>
                </c:pt>
                <c:pt idx="69930">
                  <c:v>28078</c:v>
                </c:pt>
                <c:pt idx="69931">
                  <c:v>28077</c:v>
                </c:pt>
                <c:pt idx="69932">
                  <c:v>28076</c:v>
                </c:pt>
                <c:pt idx="69933">
                  <c:v>28075</c:v>
                </c:pt>
                <c:pt idx="69934">
                  <c:v>28073</c:v>
                </c:pt>
                <c:pt idx="69935">
                  <c:v>28073</c:v>
                </c:pt>
                <c:pt idx="69936">
                  <c:v>28070</c:v>
                </c:pt>
                <c:pt idx="69937">
                  <c:v>28067</c:v>
                </c:pt>
                <c:pt idx="69938">
                  <c:v>28067</c:v>
                </c:pt>
                <c:pt idx="69939">
                  <c:v>28067</c:v>
                </c:pt>
                <c:pt idx="69940">
                  <c:v>28066</c:v>
                </c:pt>
                <c:pt idx="69941">
                  <c:v>28066</c:v>
                </c:pt>
                <c:pt idx="69942">
                  <c:v>28065</c:v>
                </c:pt>
                <c:pt idx="69943">
                  <c:v>28065</c:v>
                </c:pt>
                <c:pt idx="69944">
                  <c:v>28063</c:v>
                </c:pt>
                <c:pt idx="69945">
                  <c:v>28063</c:v>
                </c:pt>
                <c:pt idx="69946">
                  <c:v>28063</c:v>
                </c:pt>
                <c:pt idx="69947">
                  <c:v>28063</c:v>
                </c:pt>
                <c:pt idx="69948">
                  <c:v>28060</c:v>
                </c:pt>
                <c:pt idx="69949">
                  <c:v>28060</c:v>
                </c:pt>
                <c:pt idx="69950">
                  <c:v>28060</c:v>
                </c:pt>
                <c:pt idx="69951">
                  <c:v>28057</c:v>
                </c:pt>
                <c:pt idx="69952">
                  <c:v>28056</c:v>
                </c:pt>
                <c:pt idx="69953">
                  <c:v>28055</c:v>
                </c:pt>
                <c:pt idx="69954">
                  <c:v>28055</c:v>
                </c:pt>
                <c:pt idx="69955">
                  <c:v>28054</c:v>
                </c:pt>
                <c:pt idx="69956">
                  <c:v>28054</c:v>
                </c:pt>
                <c:pt idx="69957">
                  <c:v>28053</c:v>
                </c:pt>
                <c:pt idx="69958">
                  <c:v>28052</c:v>
                </c:pt>
                <c:pt idx="69959">
                  <c:v>28052</c:v>
                </c:pt>
                <c:pt idx="69960">
                  <c:v>28052</c:v>
                </c:pt>
                <c:pt idx="69961">
                  <c:v>28051</c:v>
                </c:pt>
                <c:pt idx="69962">
                  <c:v>28048</c:v>
                </c:pt>
                <c:pt idx="69963">
                  <c:v>28048</c:v>
                </c:pt>
                <c:pt idx="69964">
                  <c:v>28047</c:v>
                </c:pt>
                <c:pt idx="69965">
                  <c:v>28047</c:v>
                </c:pt>
                <c:pt idx="69966">
                  <c:v>28046</c:v>
                </c:pt>
                <c:pt idx="69967">
                  <c:v>28044</c:v>
                </c:pt>
                <c:pt idx="69968">
                  <c:v>28043</c:v>
                </c:pt>
                <c:pt idx="69969">
                  <c:v>28041</c:v>
                </c:pt>
                <c:pt idx="69970">
                  <c:v>28041</c:v>
                </c:pt>
                <c:pt idx="69971">
                  <c:v>28040</c:v>
                </c:pt>
                <c:pt idx="69972">
                  <c:v>28040</c:v>
                </c:pt>
                <c:pt idx="69973">
                  <c:v>28039</c:v>
                </c:pt>
                <c:pt idx="69974">
                  <c:v>28039</c:v>
                </c:pt>
                <c:pt idx="69975">
                  <c:v>28037</c:v>
                </c:pt>
                <c:pt idx="69976">
                  <c:v>28036</c:v>
                </c:pt>
                <c:pt idx="69977">
                  <c:v>28036</c:v>
                </c:pt>
                <c:pt idx="69978">
                  <c:v>28035</c:v>
                </c:pt>
                <c:pt idx="69979">
                  <c:v>28034</c:v>
                </c:pt>
                <c:pt idx="69980">
                  <c:v>28033</c:v>
                </c:pt>
                <c:pt idx="69981">
                  <c:v>28031</c:v>
                </c:pt>
                <c:pt idx="69982">
                  <c:v>28030</c:v>
                </c:pt>
                <c:pt idx="69983">
                  <c:v>28029</c:v>
                </c:pt>
                <c:pt idx="69984">
                  <c:v>28028</c:v>
                </c:pt>
                <c:pt idx="69985">
                  <c:v>28026</c:v>
                </c:pt>
                <c:pt idx="69986">
                  <c:v>28024</c:v>
                </c:pt>
                <c:pt idx="69987">
                  <c:v>28023</c:v>
                </c:pt>
                <c:pt idx="69988">
                  <c:v>28022</c:v>
                </c:pt>
                <c:pt idx="69989">
                  <c:v>28022</c:v>
                </c:pt>
                <c:pt idx="69990">
                  <c:v>28022</c:v>
                </c:pt>
                <c:pt idx="69991">
                  <c:v>28019</c:v>
                </c:pt>
                <c:pt idx="69992">
                  <c:v>28016</c:v>
                </c:pt>
                <c:pt idx="69993">
                  <c:v>28016</c:v>
                </c:pt>
                <c:pt idx="69994">
                  <c:v>28016</c:v>
                </c:pt>
                <c:pt idx="69995">
                  <c:v>28015</c:v>
                </c:pt>
                <c:pt idx="69996">
                  <c:v>28015</c:v>
                </c:pt>
                <c:pt idx="69997">
                  <c:v>28014</c:v>
                </c:pt>
                <c:pt idx="69998">
                  <c:v>28014</c:v>
                </c:pt>
                <c:pt idx="69999">
                  <c:v>28012</c:v>
                </c:pt>
                <c:pt idx="70000">
                  <c:v>28012</c:v>
                </c:pt>
                <c:pt idx="70001">
                  <c:v>28011</c:v>
                </c:pt>
                <c:pt idx="70002">
                  <c:v>28010</c:v>
                </c:pt>
                <c:pt idx="70003">
                  <c:v>28009</c:v>
                </c:pt>
                <c:pt idx="70004">
                  <c:v>28008</c:v>
                </c:pt>
                <c:pt idx="70005">
                  <c:v>28008</c:v>
                </c:pt>
                <c:pt idx="70006">
                  <c:v>28007</c:v>
                </c:pt>
                <c:pt idx="70007">
                  <c:v>28006</c:v>
                </c:pt>
                <c:pt idx="70008">
                  <c:v>28005</c:v>
                </c:pt>
                <c:pt idx="70009">
                  <c:v>28005</c:v>
                </c:pt>
                <c:pt idx="70010">
                  <c:v>28004</c:v>
                </c:pt>
                <c:pt idx="70011">
                  <c:v>28003</c:v>
                </c:pt>
                <c:pt idx="70012">
                  <c:v>28001</c:v>
                </c:pt>
                <c:pt idx="70013">
                  <c:v>28001</c:v>
                </c:pt>
                <c:pt idx="70014">
                  <c:v>28001</c:v>
                </c:pt>
                <c:pt idx="70015">
                  <c:v>28001</c:v>
                </c:pt>
                <c:pt idx="70016">
                  <c:v>28000</c:v>
                </c:pt>
                <c:pt idx="70017">
                  <c:v>28000</c:v>
                </c:pt>
                <c:pt idx="70018">
                  <c:v>28000</c:v>
                </c:pt>
                <c:pt idx="70019">
                  <c:v>28000</c:v>
                </c:pt>
                <c:pt idx="70020">
                  <c:v>27999</c:v>
                </c:pt>
                <c:pt idx="70021">
                  <c:v>27998</c:v>
                </c:pt>
                <c:pt idx="70022">
                  <c:v>27995</c:v>
                </c:pt>
                <c:pt idx="70023">
                  <c:v>27994</c:v>
                </c:pt>
                <c:pt idx="70024">
                  <c:v>27992</c:v>
                </c:pt>
                <c:pt idx="70025">
                  <c:v>27991</c:v>
                </c:pt>
                <c:pt idx="70026">
                  <c:v>27991</c:v>
                </c:pt>
                <c:pt idx="70027">
                  <c:v>27988</c:v>
                </c:pt>
                <c:pt idx="70028">
                  <c:v>27986</c:v>
                </c:pt>
                <c:pt idx="70029">
                  <c:v>27986</c:v>
                </c:pt>
                <c:pt idx="70030">
                  <c:v>27986</c:v>
                </c:pt>
                <c:pt idx="70031">
                  <c:v>27985</c:v>
                </c:pt>
                <c:pt idx="70032">
                  <c:v>27985</c:v>
                </c:pt>
                <c:pt idx="70033">
                  <c:v>27985</c:v>
                </c:pt>
                <c:pt idx="70034">
                  <c:v>27984</c:v>
                </c:pt>
                <c:pt idx="70035">
                  <c:v>27982</c:v>
                </c:pt>
                <c:pt idx="70036">
                  <c:v>27982</c:v>
                </c:pt>
                <c:pt idx="70037">
                  <c:v>27981</c:v>
                </c:pt>
                <c:pt idx="70038">
                  <c:v>27980</c:v>
                </c:pt>
                <c:pt idx="70039">
                  <c:v>27980</c:v>
                </c:pt>
                <c:pt idx="70040">
                  <c:v>27980</c:v>
                </c:pt>
                <c:pt idx="70041">
                  <c:v>27978</c:v>
                </c:pt>
                <c:pt idx="70042">
                  <c:v>27978</c:v>
                </c:pt>
                <c:pt idx="70043">
                  <c:v>27978</c:v>
                </c:pt>
                <c:pt idx="70044">
                  <c:v>27977</c:v>
                </c:pt>
                <c:pt idx="70045">
                  <c:v>27976</c:v>
                </c:pt>
                <c:pt idx="70046">
                  <c:v>27976</c:v>
                </c:pt>
                <c:pt idx="70047">
                  <c:v>27975</c:v>
                </c:pt>
                <c:pt idx="70048">
                  <c:v>27974</c:v>
                </c:pt>
                <c:pt idx="70049">
                  <c:v>27974</c:v>
                </c:pt>
                <c:pt idx="70050">
                  <c:v>27973</c:v>
                </c:pt>
                <c:pt idx="70051">
                  <c:v>27973</c:v>
                </c:pt>
                <c:pt idx="70052">
                  <c:v>27973</c:v>
                </c:pt>
                <c:pt idx="70053">
                  <c:v>27972</c:v>
                </c:pt>
                <c:pt idx="70054">
                  <c:v>27970</c:v>
                </c:pt>
                <c:pt idx="70055">
                  <c:v>27969</c:v>
                </c:pt>
                <c:pt idx="70056">
                  <c:v>27969</c:v>
                </c:pt>
                <c:pt idx="70057">
                  <c:v>27969</c:v>
                </c:pt>
                <c:pt idx="70058">
                  <c:v>27969</c:v>
                </c:pt>
                <c:pt idx="70059">
                  <c:v>27968</c:v>
                </c:pt>
                <c:pt idx="70060">
                  <c:v>27967</c:v>
                </c:pt>
                <c:pt idx="70061">
                  <c:v>27967</c:v>
                </c:pt>
                <c:pt idx="70062">
                  <c:v>27966</c:v>
                </c:pt>
                <c:pt idx="70063">
                  <c:v>27965</c:v>
                </c:pt>
                <c:pt idx="70064">
                  <c:v>27964</c:v>
                </c:pt>
                <c:pt idx="70065">
                  <c:v>27960</c:v>
                </c:pt>
                <c:pt idx="70066">
                  <c:v>27960</c:v>
                </c:pt>
                <c:pt idx="70067">
                  <c:v>27958</c:v>
                </c:pt>
                <c:pt idx="70068">
                  <c:v>27957</c:v>
                </c:pt>
                <c:pt idx="70069">
                  <c:v>27954</c:v>
                </c:pt>
                <c:pt idx="70070">
                  <c:v>27953</c:v>
                </c:pt>
                <c:pt idx="70071">
                  <c:v>27950</c:v>
                </c:pt>
                <c:pt idx="70072">
                  <c:v>27950</c:v>
                </c:pt>
                <c:pt idx="70073">
                  <c:v>27949</c:v>
                </c:pt>
                <c:pt idx="70074">
                  <c:v>27948</c:v>
                </c:pt>
                <c:pt idx="70075">
                  <c:v>27947</c:v>
                </c:pt>
                <c:pt idx="70076">
                  <c:v>27946</c:v>
                </c:pt>
                <c:pt idx="70077">
                  <c:v>27946</c:v>
                </c:pt>
                <c:pt idx="70078">
                  <c:v>27945</c:v>
                </c:pt>
                <c:pt idx="70079">
                  <c:v>27944</c:v>
                </c:pt>
                <c:pt idx="70080">
                  <c:v>27940</c:v>
                </c:pt>
                <c:pt idx="70081">
                  <c:v>27939</c:v>
                </c:pt>
                <c:pt idx="70082">
                  <c:v>27938</c:v>
                </c:pt>
                <c:pt idx="70083">
                  <c:v>27937</c:v>
                </c:pt>
                <c:pt idx="70084">
                  <c:v>27937</c:v>
                </c:pt>
                <c:pt idx="70085">
                  <c:v>27936</c:v>
                </c:pt>
                <c:pt idx="70086">
                  <c:v>27935</c:v>
                </c:pt>
                <c:pt idx="70087">
                  <c:v>27933</c:v>
                </c:pt>
                <c:pt idx="70088">
                  <c:v>27933</c:v>
                </c:pt>
                <c:pt idx="70089">
                  <c:v>27931</c:v>
                </c:pt>
                <c:pt idx="70090">
                  <c:v>27930</c:v>
                </c:pt>
                <c:pt idx="70091">
                  <c:v>27926</c:v>
                </c:pt>
                <c:pt idx="70092">
                  <c:v>27925</c:v>
                </c:pt>
                <c:pt idx="70093">
                  <c:v>27923</c:v>
                </c:pt>
                <c:pt idx="70094">
                  <c:v>27921</c:v>
                </c:pt>
                <c:pt idx="70095">
                  <c:v>27921</c:v>
                </c:pt>
                <c:pt idx="70096">
                  <c:v>27920</c:v>
                </c:pt>
                <c:pt idx="70097">
                  <c:v>27919</c:v>
                </c:pt>
                <c:pt idx="70098">
                  <c:v>27919</c:v>
                </c:pt>
                <c:pt idx="70099">
                  <c:v>27918</c:v>
                </c:pt>
                <c:pt idx="70100">
                  <c:v>27916</c:v>
                </c:pt>
                <c:pt idx="70101">
                  <c:v>27915</c:v>
                </c:pt>
                <c:pt idx="70102">
                  <c:v>27913</c:v>
                </c:pt>
                <c:pt idx="70103">
                  <c:v>27912</c:v>
                </c:pt>
                <c:pt idx="70104">
                  <c:v>27912</c:v>
                </c:pt>
                <c:pt idx="70105">
                  <c:v>27910</c:v>
                </c:pt>
                <c:pt idx="70106">
                  <c:v>27909</c:v>
                </c:pt>
                <c:pt idx="70107">
                  <c:v>27909</c:v>
                </c:pt>
                <c:pt idx="70108">
                  <c:v>27909</c:v>
                </c:pt>
                <c:pt idx="70109">
                  <c:v>27908</c:v>
                </c:pt>
                <c:pt idx="70110">
                  <c:v>27907</c:v>
                </c:pt>
                <c:pt idx="70111">
                  <c:v>27906</c:v>
                </c:pt>
                <c:pt idx="70112">
                  <c:v>27905</c:v>
                </c:pt>
                <c:pt idx="70113">
                  <c:v>27898</c:v>
                </c:pt>
                <c:pt idx="70114">
                  <c:v>27897</c:v>
                </c:pt>
                <c:pt idx="70115">
                  <c:v>27897</c:v>
                </c:pt>
                <c:pt idx="70116">
                  <c:v>27894</c:v>
                </c:pt>
                <c:pt idx="70117">
                  <c:v>27894</c:v>
                </c:pt>
                <c:pt idx="70118">
                  <c:v>27892</c:v>
                </c:pt>
                <c:pt idx="70119">
                  <c:v>27890</c:v>
                </c:pt>
                <c:pt idx="70120">
                  <c:v>27890</c:v>
                </c:pt>
                <c:pt idx="70121">
                  <c:v>27889</c:v>
                </c:pt>
                <c:pt idx="70122">
                  <c:v>27888</c:v>
                </c:pt>
                <c:pt idx="70123">
                  <c:v>27888</c:v>
                </c:pt>
                <c:pt idx="70124">
                  <c:v>27888</c:v>
                </c:pt>
                <c:pt idx="70125">
                  <c:v>27887</c:v>
                </c:pt>
                <c:pt idx="70126">
                  <c:v>27885</c:v>
                </c:pt>
                <c:pt idx="70127">
                  <c:v>27885</c:v>
                </c:pt>
                <c:pt idx="70128">
                  <c:v>27883</c:v>
                </c:pt>
                <c:pt idx="70129">
                  <c:v>27883</c:v>
                </c:pt>
                <c:pt idx="70130">
                  <c:v>27880</c:v>
                </c:pt>
                <c:pt idx="70131">
                  <c:v>27879</c:v>
                </c:pt>
                <c:pt idx="70132">
                  <c:v>27878</c:v>
                </c:pt>
                <c:pt idx="70133">
                  <c:v>27878</c:v>
                </c:pt>
                <c:pt idx="70134">
                  <c:v>27878</c:v>
                </c:pt>
                <c:pt idx="70135">
                  <c:v>27876</c:v>
                </c:pt>
                <c:pt idx="70136">
                  <c:v>27874</c:v>
                </c:pt>
                <c:pt idx="70137">
                  <c:v>27874</c:v>
                </c:pt>
                <c:pt idx="70138">
                  <c:v>27873</c:v>
                </c:pt>
                <c:pt idx="70139">
                  <c:v>27871</c:v>
                </c:pt>
                <c:pt idx="70140">
                  <c:v>27869</c:v>
                </c:pt>
                <c:pt idx="70141">
                  <c:v>27866</c:v>
                </c:pt>
                <c:pt idx="70142">
                  <c:v>27865</c:v>
                </c:pt>
                <c:pt idx="70143">
                  <c:v>27863</c:v>
                </c:pt>
                <c:pt idx="70144">
                  <c:v>27859</c:v>
                </c:pt>
                <c:pt idx="70145">
                  <c:v>27859</c:v>
                </c:pt>
                <c:pt idx="70146">
                  <c:v>27858</c:v>
                </c:pt>
                <c:pt idx="70147">
                  <c:v>27856</c:v>
                </c:pt>
                <c:pt idx="70148">
                  <c:v>27856</c:v>
                </c:pt>
                <c:pt idx="70149">
                  <c:v>27855</c:v>
                </c:pt>
                <c:pt idx="70150">
                  <c:v>27854</c:v>
                </c:pt>
                <c:pt idx="70151">
                  <c:v>27854</c:v>
                </c:pt>
                <c:pt idx="70152">
                  <c:v>27852</c:v>
                </c:pt>
                <c:pt idx="70153">
                  <c:v>27851</c:v>
                </c:pt>
                <c:pt idx="70154">
                  <c:v>27851</c:v>
                </c:pt>
                <c:pt idx="70155">
                  <c:v>27850</c:v>
                </c:pt>
                <c:pt idx="70156">
                  <c:v>27849</c:v>
                </c:pt>
                <c:pt idx="70157">
                  <c:v>27849</c:v>
                </c:pt>
                <c:pt idx="70158">
                  <c:v>27849</c:v>
                </c:pt>
                <c:pt idx="70159">
                  <c:v>27849</c:v>
                </c:pt>
                <c:pt idx="70160">
                  <c:v>27847</c:v>
                </c:pt>
                <c:pt idx="70161">
                  <c:v>27846</c:v>
                </c:pt>
                <c:pt idx="70162">
                  <c:v>27845</c:v>
                </c:pt>
                <c:pt idx="70163">
                  <c:v>27845</c:v>
                </c:pt>
                <c:pt idx="70164">
                  <c:v>27841</c:v>
                </c:pt>
                <c:pt idx="70165">
                  <c:v>27841</c:v>
                </c:pt>
                <c:pt idx="70166">
                  <c:v>27839</c:v>
                </c:pt>
                <c:pt idx="70167">
                  <c:v>27837</c:v>
                </c:pt>
                <c:pt idx="70168">
                  <c:v>27835</c:v>
                </c:pt>
                <c:pt idx="70169">
                  <c:v>27835</c:v>
                </c:pt>
                <c:pt idx="70170">
                  <c:v>27834</c:v>
                </c:pt>
                <c:pt idx="70171">
                  <c:v>27834</c:v>
                </c:pt>
                <c:pt idx="70172">
                  <c:v>27833</c:v>
                </c:pt>
                <c:pt idx="70173">
                  <c:v>27833</c:v>
                </c:pt>
                <c:pt idx="70174">
                  <c:v>27832</c:v>
                </c:pt>
                <c:pt idx="70175">
                  <c:v>27830</c:v>
                </c:pt>
                <c:pt idx="70176">
                  <c:v>27830</c:v>
                </c:pt>
                <c:pt idx="70177">
                  <c:v>27829</c:v>
                </c:pt>
                <c:pt idx="70178">
                  <c:v>27828</c:v>
                </c:pt>
                <c:pt idx="70179">
                  <c:v>27826</c:v>
                </c:pt>
                <c:pt idx="70180">
                  <c:v>27823</c:v>
                </c:pt>
                <c:pt idx="70181">
                  <c:v>27822</c:v>
                </c:pt>
                <c:pt idx="70182">
                  <c:v>27820</c:v>
                </c:pt>
                <c:pt idx="70183">
                  <c:v>27820</c:v>
                </c:pt>
                <c:pt idx="70184">
                  <c:v>27819</c:v>
                </c:pt>
                <c:pt idx="70185">
                  <c:v>27819</c:v>
                </c:pt>
                <c:pt idx="70186">
                  <c:v>27816</c:v>
                </c:pt>
                <c:pt idx="70187">
                  <c:v>27814</c:v>
                </c:pt>
                <c:pt idx="70188">
                  <c:v>27813</c:v>
                </c:pt>
                <c:pt idx="70189">
                  <c:v>27813</c:v>
                </c:pt>
                <c:pt idx="70190">
                  <c:v>27812</c:v>
                </c:pt>
                <c:pt idx="70191">
                  <c:v>27809</c:v>
                </c:pt>
                <c:pt idx="70192">
                  <c:v>27809</c:v>
                </c:pt>
                <c:pt idx="70193">
                  <c:v>27808</c:v>
                </c:pt>
                <c:pt idx="70194">
                  <c:v>27808</c:v>
                </c:pt>
                <c:pt idx="70195">
                  <c:v>27808</c:v>
                </c:pt>
                <c:pt idx="70196">
                  <c:v>27807</c:v>
                </c:pt>
                <c:pt idx="70197">
                  <c:v>27805</c:v>
                </c:pt>
                <c:pt idx="70198">
                  <c:v>27805</c:v>
                </c:pt>
                <c:pt idx="70199">
                  <c:v>27805</c:v>
                </c:pt>
                <c:pt idx="70200">
                  <c:v>27804</c:v>
                </c:pt>
                <c:pt idx="70201">
                  <c:v>27804</c:v>
                </c:pt>
                <c:pt idx="70202">
                  <c:v>27803</c:v>
                </c:pt>
                <c:pt idx="70203">
                  <c:v>27801</c:v>
                </c:pt>
                <c:pt idx="70204">
                  <c:v>27801</c:v>
                </c:pt>
                <c:pt idx="70205">
                  <c:v>27798</c:v>
                </c:pt>
                <c:pt idx="70206">
                  <c:v>27798</c:v>
                </c:pt>
                <c:pt idx="70207">
                  <c:v>27797</c:v>
                </c:pt>
                <c:pt idx="70208">
                  <c:v>27797</c:v>
                </c:pt>
                <c:pt idx="70209">
                  <c:v>27797</c:v>
                </c:pt>
                <c:pt idx="70210">
                  <c:v>27797</c:v>
                </c:pt>
                <c:pt idx="70211">
                  <c:v>27796</c:v>
                </c:pt>
                <c:pt idx="70212">
                  <c:v>27792</c:v>
                </c:pt>
                <c:pt idx="70213">
                  <c:v>27792</c:v>
                </c:pt>
                <c:pt idx="70214">
                  <c:v>27790</c:v>
                </c:pt>
                <c:pt idx="70215">
                  <c:v>27788</c:v>
                </c:pt>
                <c:pt idx="70216">
                  <c:v>27787</c:v>
                </c:pt>
                <c:pt idx="70217">
                  <c:v>27787</c:v>
                </c:pt>
                <c:pt idx="70218">
                  <c:v>27786</c:v>
                </c:pt>
                <c:pt idx="70219">
                  <c:v>27786</c:v>
                </c:pt>
                <c:pt idx="70220">
                  <c:v>27783</c:v>
                </c:pt>
                <c:pt idx="70221">
                  <c:v>27780</c:v>
                </c:pt>
                <c:pt idx="70222">
                  <c:v>27780</c:v>
                </c:pt>
                <c:pt idx="70223">
                  <c:v>27778</c:v>
                </c:pt>
                <c:pt idx="70224">
                  <c:v>27778</c:v>
                </c:pt>
                <c:pt idx="70225">
                  <c:v>27774</c:v>
                </c:pt>
                <c:pt idx="70226">
                  <c:v>27773</c:v>
                </c:pt>
                <c:pt idx="70227">
                  <c:v>27772</c:v>
                </c:pt>
                <c:pt idx="70228">
                  <c:v>27771</c:v>
                </c:pt>
                <c:pt idx="70229">
                  <c:v>27771</c:v>
                </c:pt>
                <c:pt idx="70230">
                  <c:v>27771</c:v>
                </c:pt>
                <c:pt idx="70231">
                  <c:v>27769</c:v>
                </c:pt>
                <c:pt idx="70232">
                  <c:v>27768</c:v>
                </c:pt>
                <c:pt idx="70233">
                  <c:v>27763</c:v>
                </c:pt>
                <c:pt idx="70234">
                  <c:v>27763</c:v>
                </c:pt>
                <c:pt idx="70235">
                  <c:v>27761</c:v>
                </c:pt>
                <c:pt idx="70236">
                  <c:v>27761</c:v>
                </c:pt>
                <c:pt idx="70237">
                  <c:v>27760</c:v>
                </c:pt>
                <c:pt idx="70238">
                  <c:v>27760</c:v>
                </c:pt>
                <c:pt idx="70239">
                  <c:v>27758</c:v>
                </c:pt>
                <c:pt idx="70240">
                  <c:v>27756</c:v>
                </c:pt>
                <c:pt idx="70241">
                  <c:v>27754</c:v>
                </c:pt>
                <c:pt idx="70242">
                  <c:v>27754</c:v>
                </c:pt>
                <c:pt idx="70243">
                  <c:v>27752</c:v>
                </c:pt>
                <c:pt idx="70244">
                  <c:v>27750</c:v>
                </c:pt>
                <c:pt idx="70245">
                  <c:v>27750</c:v>
                </c:pt>
                <c:pt idx="70246">
                  <c:v>27749</c:v>
                </c:pt>
                <c:pt idx="70247">
                  <c:v>27747</c:v>
                </c:pt>
                <c:pt idx="70248">
                  <c:v>27746</c:v>
                </c:pt>
                <c:pt idx="70249">
                  <c:v>27745</c:v>
                </c:pt>
                <c:pt idx="70250">
                  <c:v>27744</c:v>
                </c:pt>
                <c:pt idx="70251">
                  <c:v>27741</c:v>
                </c:pt>
                <c:pt idx="70252">
                  <c:v>27741</c:v>
                </c:pt>
                <c:pt idx="70253">
                  <c:v>27740</c:v>
                </c:pt>
                <c:pt idx="70254">
                  <c:v>27737</c:v>
                </c:pt>
                <c:pt idx="70255">
                  <c:v>27736</c:v>
                </c:pt>
                <c:pt idx="70256">
                  <c:v>27735</c:v>
                </c:pt>
                <c:pt idx="70257">
                  <c:v>27735</c:v>
                </c:pt>
                <c:pt idx="70258">
                  <c:v>27734</c:v>
                </c:pt>
                <c:pt idx="70259">
                  <c:v>27734</c:v>
                </c:pt>
                <c:pt idx="70260">
                  <c:v>27733</c:v>
                </c:pt>
                <c:pt idx="70261">
                  <c:v>27731</c:v>
                </c:pt>
                <c:pt idx="70262">
                  <c:v>27725</c:v>
                </c:pt>
                <c:pt idx="70263">
                  <c:v>27725</c:v>
                </c:pt>
                <c:pt idx="70264">
                  <c:v>27725</c:v>
                </c:pt>
                <c:pt idx="70265">
                  <c:v>27723</c:v>
                </c:pt>
                <c:pt idx="70266">
                  <c:v>27722</c:v>
                </c:pt>
                <c:pt idx="70267">
                  <c:v>27720</c:v>
                </c:pt>
                <c:pt idx="70268">
                  <c:v>27719</c:v>
                </c:pt>
                <c:pt idx="70269">
                  <c:v>27718</c:v>
                </c:pt>
                <c:pt idx="70270">
                  <c:v>27716</c:v>
                </c:pt>
                <c:pt idx="70271">
                  <c:v>27715</c:v>
                </c:pt>
                <c:pt idx="70272">
                  <c:v>27714</c:v>
                </c:pt>
                <c:pt idx="70273">
                  <c:v>27712</c:v>
                </c:pt>
                <c:pt idx="70274">
                  <c:v>27711</c:v>
                </c:pt>
                <c:pt idx="70275">
                  <c:v>27708</c:v>
                </c:pt>
                <c:pt idx="70276">
                  <c:v>27708</c:v>
                </c:pt>
                <c:pt idx="70277">
                  <c:v>27707</c:v>
                </c:pt>
                <c:pt idx="70278">
                  <c:v>27704</c:v>
                </c:pt>
                <c:pt idx="70279">
                  <c:v>27704</c:v>
                </c:pt>
                <c:pt idx="70280">
                  <c:v>27704</c:v>
                </c:pt>
                <c:pt idx="70281">
                  <c:v>27703</c:v>
                </c:pt>
                <c:pt idx="70282">
                  <c:v>27702</c:v>
                </c:pt>
                <c:pt idx="70283">
                  <c:v>27701</c:v>
                </c:pt>
                <c:pt idx="70284">
                  <c:v>27700</c:v>
                </c:pt>
                <c:pt idx="70285">
                  <c:v>27699</c:v>
                </c:pt>
                <c:pt idx="70286">
                  <c:v>27698</c:v>
                </c:pt>
                <c:pt idx="70287">
                  <c:v>27698</c:v>
                </c:pt>
                <c:pt idx="70288">
                  <c:v>27697</c:v>
                </c:pt>
                <c:pt idx="70289">
                  <c:v>27697</c:v>
                </c:pt>
                <c:pt idx="70290">
                  <c:v>27697</c:v>
                </c:pt>
                <c:pt idx="70291">
                  <c:v>27696</c:v>
                </c:pt>
                <c:pt idx="70292">
                  <c:v>27695</c:v>
                </c:pt>
                <c:pt idx="70293">
                  <c:v>27694</c:v>
                </c:pt>
                <c:pt idx="70294">
                  <c:v>27692</c:v>
                </c:pt>
                <c:pt idx="70295">
                  <c:v>27692</c:v>
                </c:pt>
                <c:pt idx="70296">
                  <c:v>27691</c:v>
                </c:pt>
                <c:pt idx="70297">
                  <c:v>27689</c:v>
                </c:pt>
                <c:pt idx="70298">
                  <c:v>27688</c:v>
                </c:pt>
                <c:pt idx="70299">
                  <c:v>27687</c:v>
                </c:pt>
                <c:pt idx="70300">
                  <c:v>27685</c:v>
                </c:pt>
                <c:pt idx="70301">
                  <c:v>27684</c:v>
                </c:pt>
                <c:pt idx="70302">
                  <c:v>27684</c:v>
                </c:pt>
                <c:pt idx="70303">
                  <c:v>27684</c:v>
                </c:pt>
                <c:pt idx="70304">
                  <c:v>27683</c:v>
                </c:pt>
                <c:pt idx="70305">
                  <c:v>27683</c:v>
                </c:pt>
                <c:pt idx="70306">
                  <c:v>27682</c:v>
                </c:pt>
                <c:pt idx="70307">
                  <c:v>27681</c:v>
                </c:pt>
                <c:pt idx="70308">
                  <c:v>27680</c:v>
                </c:pt>
                <c:pt idx="70309">
                  <c:v>27678</c:v>
                </c:pt>
                <c:pt idx="70310">
                  <c:v>27675</c:v>
                </c:pt>
                <c:pt idx="70311">
                  <c:v>27675</c:v>
                </c:pt>
                <c:pt idx="70312">
                  <c:v>27674</c:v>
                </c:pt>
                <c:pt idx="70313">
                  <c:v>27668</c:v>
                </c:pt>
                <c:pt idx="70314">
                  <c:v>27666</c:v>
                </c:pt>
                <c:pt idx="70315">
                  <c:v>27666</c:v>
                </c:pt>
                <c:pt idx="70316">
                  <c:v>27664</c:v>
                </c:pt>
                <c:pt idx="70317">
                  <c:v>27663</c:v>
                </c:pt>
                <c:pt idx="70318">
                  <c:v>27657</c:v>
                </c:pt>
                <c:pt idx="70319">
                  <c:v>27652</c:v>
                </c:pt>
                <c:pt idx="70320">
                  <c:v>27651</c:v>
                </c:pt>
                <c:pt idx="70321">
                  <c:v>27651</c:v>
                </c:pt>
                <c:pt idx="70322">
                  <c:v>27646</c:v>
                </c:pt>
                <c:pt idx="70323">
                  <c:v>27645</c:v>
                </c:pt>
                <c:pt idx="70324">
                  <c:v>27644</c:v>
                </c:pt>
                <c:pt idx="70325">
                  <c:v>27644</c:v>
                </c:pt>
                <c:pt idx="70326">
                  <c:v>27643</c:v>
                </c:pt>
                <c:pt idx="70327">
                  <c:v>27642</c:v>
                </c:pt>
                <c:pt idx="70328">
                  <c:v>27642</c:v>
                </c:pt>
                <c:pt idx="70329">
                  <c:v>27642</c:v>
                </c:pt>
                <c:pt idx="70330">
                  <c:v>27640</c:v>
                </c:pt>
                <c:pt idx="70331">
                  <c:v>27639</c:v>
                </c:pt>
                <c:pt idx="70332">
                  <c:v>27639</c:v>
                </c:pt>
                <c:pt idx="70333">
                  <c:v>27635</c:v>
                </c:pt>
                <c:pt idx="70334">
                  <c:v>27635</c:v>
                </c:pt>
                <c:pt idx="70335">
                  <c:v>27631</c:v>
                </c:pt>
                <c:pt idx="70336">
                  <c:v>27627</c:v>
                </c:pt>
                <c:pt idx="70337">
                  <c:v>27626</c:v>
                </c:pt>
                <c:pt idx="70338">
                  <c:v>27625</c:v>
                </c:pt>
                <c:pt idx="70339">
                  <c:v>27622</c:v>
                </c:pt>
                <c:pt idx="70340">
                  <c:v>27621</c:v>
                </c:pt>
                <c:pt idx="70341">
                  <c:v>27621</c:v>
                </c:pt>
                <c:pt idx="70342">
                  <c:v>27616</c:v>
                </c:pt>
                <c:pt idx="70343">
                  <c:v>27615</c:v>
                </c:pt>
                <c:pt idx="70344">
                  <c:v>27611</c:v>
                </c:pt>
                <c:pt idx="70345">
                  <c:v>27609</c:v>
                </c:pt>
                <c:pt idx="70346">
                  <c:v>27609</c:v>
                </c:pt>
                <c:pt idx="70347">
                  <c:v>27609</c:v>
                </c:pt>
                <c:pt idx="70348">
                  <c:v>27609</c:v>
                </c:pt>
                <c:pt idx="70349">
                  <c:v>27608</c:v>
                </c:pt>
                <c:pt idx="70350">
                  <c:v>27608</c:v>
                </c:pt>
                <c:pt idx="70351">
                  <c:v>27607</c:v>
                </c:pt>
                <c:pt idx="70352">
                  <c:v>27605</c:v>
                </c:pt>
                <c:pt idx="70353">
                  <c:v>27604</c:v>
                </c:pt>
                <c:pt idx="70354">
                  <c:v>27602</c:v>
                </c:pt>
                <c:pt idx="70355">
                  <c:v>27601</c:v>
                </c:pt>
                <c:pt idx="70356">
                  <c:v>27600</c:v>
                </c:pt>
                <c:pt idx="70357">
                  <c:v>27600</c:v>
                </c:pt>
                <c:pt idx="70358">
                  <c:v>27600</c:v>
                </c:pt>
                <c:pt idx="70359">
                  <c:v>27600</c:v>
                </c:pt>
                <c:pt idx="70360">
                  <c:v>27599</c:v>
                </c:pt>
                <c:pt idx="70361">
                  <c:v>27598</c:v>
                </c:pt>
                <c:pt idx="70362">
                  <c:v>27595</c:v>
                </c:pt>
                <c:pt idx="70363">
                  <c:v>27592</c:v>
                </c:pt>
                <c:pt idx="70364">
                  <c:v>27590</c:v>
                </c:pt>
                <c:pt idx="70365">
                  <c:v>27588</c:v>
                </c:pt>
                <c:pt idx="70366">
                  <c:v>27588</c:v>
                </c:pt>
                <c:pt idx="70367">
                  <c:v>27587</c:v>
                </c:pt>
                <c:pt idx="70368">
                  <c:v>27587</c:v>
                </c:pt>
                <c:pt idx="70369">
                  <c:v>27587</c:v>
                </c:pt>
                <c:pt idx="70370">
                  <c:v>27586</c:v>
                </c:pt>
                <c:pt idx="70371">
                  <c:v>27584</c:v>
                </c:pt>
                <c:pt idx="70372">
                  <c:v>27583</c:v>
                </c:pt>
                <c:pt idx="70373">
                  <c:v>27583</c:v>
                </c:pt>
                <c:pt idx="70374">
                  <c:v>27578</c:v>
                </c:pt>
                <c:pt idx="70375">
                  <c:v>27577</c:v>
                </c:pt>
                <c:pt idx="70376">
                  <c:v>27576</c:v>
                </c:pt>
                <c:pt idx="70377">
                  <c:v>27576</c:v>
                </c:pt>
                <c:pt idx="70378">
                  <c:v>27575</c:v>
                </c:pt>
                <c:pt idx="70379">
                  <c:v>27574</c:v>
                </c:pt>
                <c:pt idx="70380">
                  <c:v>27574</c:v>
                </c:pt>
                <c:pt idx="70381">
                  <c:v>27573</c:v>
                </c:pt>
                <c:pt idx="70382">
                  <c:v>27573</c:v>
                </c:pt>
                <c:pt idx="70383">
                  <c:v>27572</c:v>
                </c:pt>
                <c:pt idx="70384">
                  <c:v>27572</c:v>
                </c:pt>
                <c:pt idx="70385">
                  <c:v>27571</c:v>
                </c:pt>
                <c:pt idx="70386">
                  <c:v>27570</c:v>
                </c:pt>
                <c:pt idx="70387">
                  <c:v>27569</c:v>
                </c:pt>
                <c:pt idx="70388">
                  <c:v>27568</c:v>
                </c:pt>
                <c:pt idx="70389">
                  <c:v>27562</c:v>
                </c:pt>
                <c:pt idx="70390">
                  <c:v>27560</c:v>
                </c:pt>
                <c:pt idx="70391">
                  <c:v>27559</c:v>
                </c:pt>
                <c:pt idx="70392">
                  <c:v>27559</c:v>
                </c:pt>
                <c:pt idx="70393">
                  <c:v>27558</c:v>
                </c:pt>
                <c:pt idx="70394">
                  <c:v>27558</c:v>
                </c:pt>
                <c:pt idx="70395">
                  <c:v>27558</c:v>
                </c:pt>
                <c:pt idx="70396">
                  <c:v>27558</c:v>
                </c:pt>
                <c:pt idx="70397">
                  <c:v>27557</c:v>
                </c:pt>
                <c:pt idx="70398">
                  <c:v>27556</c:v>
                </c:pt>
                <c:pt idx="70399">
                  <c:v>27555</c:v>
                </c:pt>
                <c:pt idx="70400">
                  <c:v>27554</c:v>
                </c:pt>
                <c:pt idx="70401">
                  <c:v>27554</c:v>
                </c:pt>
                <c:pt idx="70402">
                  <c:v>27553</c:v>
                </c:pt>
                <c:pt idx="70403">
                  <c:v>27550</c:v>
                </c:pt>
                <c:pt idx="70404">
                  <c:v>27547</c:v>
                </c:pt>
                <c:pt idx="70405">
                  <c:v>27547</c:v>
                </c:pt>
                <c:pt idx="70406">
                  <c:v>27547</c:v>
                </c:pt>
                <c:pt idx="70407">
                  <c:v>27544</c:v>
                </c:pt>
                <c:pt idx="70408">
                  <c:v>27543</c:v>
                </c:pt>
                <c:pt idx="70409">
                  <c:v>27542</c:v>
                </c:pt>
                <c:pt idx="70410">
                  <c:v>27539</c:v>
                </c:pt>
                <c:pt idx="70411">
                  <c:v>27538</c:v>
                </c:pt>
                <c:pt idx="70412">
                  <c:v>27537</c:v>
                </c:pt>
                <c:pt idx="70413">
                  <c:v>27536</c:v>
                </c:pt>
                <c:pt idx="70414">
                  <c:v>27536</c:v>
                </c:pt>
                <c:pt idx="70415">
                  <c:v>27534</c:v>
                </c:pt>
                <c:pt idx="70416">
                  <c:v>27534</c:v>
                </c:pt>
                <c:pt idx="70417">
                  <c:v>27533</c:v>
                </c:pt>
                <c:pt idx="70418">
                  <c:v>27533</c:v>
                </c:pt>
                <c:pt idx="70419">
                  <c:v>27530</c:v>
                </c:pt>
                <c:pt idx="70420">
                  <c:v>27530</c:v>
                </c:pt>
                <c:pt idx="70421">
                  <c:v>27527</c:v>
                </c:pt>
                <c:pt idx="70422">
                  <c:v>27526</c:v>
                </c:pt>
                <c:pt idx="70423">
                  <c:v>27525</c:v>
                </c:pt>
                <c:pt idx="70424">
                  <c:v>27523</c:v>
                </c:pt>
                <c:pt idx="70425">
                  <c:v>27521</c:v>
                </c:pt>
                <c:pt idx="70426">
                  <c:v>27517</c:v>
                </c:pt>
                <c:pt idx="70427">
                  <c:v>27517</c:v>
                </c:pt>
                <c:pt idx="70428">
                  <c:v>27514</c:v>
                </c:pt>
                <c:pt idx="70429">
                  <c:v>27513</c:v>
                </c:pt>
                <c:pt idx="70430">
                  <c:v>27512</c:v>
                </c:pt>
                <c:pt idx="70431">
                  <c:v>27512</c:v>
                </c:pt>
                <c:pt idx="70432">
                  <c:v>27508</c:v>
                </c:pt>
                <c:pt idx="70433">
                  <c:v>27507</c:v>
                </c:pt>
                <c:pt idx="70434">
                  <c:v>27506</c:v>
                </c:pt>
                <c:pt idx="70435">
                  <c:v>27506</c:v>
                </c:pt>
                <c:pt idx="70436">
                  <c:v>27505</c:v>
                </c:pt>
                <c:pt idx="70437">
                  <c:v>27501</c:v>
                </c:pt>
                <c:pt idx="70438">
                  <c:v>27500</c:v>
                </c:pt>
                <c:pt idx="70439">
                  <c:v>27499</c:v>
                </c:pt>
                <c:pt idx="70440">
                  <c:v>27499</c:v>
                </c:pt>
                <c:pt idx="70441">
                  <c:v>27498</c:v>
                </c:pt>
                <c:pt idx="70442">
                  <c:v>27497</c:v>
                </c:pt>
                <c:pt idx="70443">
                  <c:v>27496</c:v>
                </c:pt>
                <c:pt idx="70444">
                  <c:v>27496</c:v>
                </c:pt>
                <c:pt idx="70445">
                  <c:v>27495</c:v>
                </c:pt>
                <c:pt idx="70446">
                  <c:v>27492</c:v>
                </c:pt>
                <c:pt idx="70447">
                  <c:v>27488</c:v>
                </c:pt>
                <c:pt idx="70448">
                  <c:v>27483</c:v>
                </c:pt>
                <c:pt idx="70449">
                  <c:v>27480</c:v>
                </c:pt>
                <c:pt idx="70450">
                  <c:v>27479</c:v>
                </c:pt>
                <c:pt idx="70451">
                  <c:v>27476</c:v>
                </c:pt>
                <c:pt idx="70452">
                  <c:v>27475</c:v>
                </c:pt>
                <c:pt idx="70453">
                  <c:v>27473</c:v>
                </c:pt>
                <c:pt idx="70454">
                  <c:v>27470</c:v>
                </c:pt>
                <c:pt idx="70455">
                  <c:v>27468</c:v>
                </c:pt>
                <c:pt idx="70456">
                  <c:v>27468</c:v>
                </c:pt>
                <c:pt idx="70457">
                  <c:v>27467</c:v>
                </c:pt>
                <c:pt idx="70458">
                  <c:v>27465</c:v>
                </c:pt>
                <c:pt idx="70459">
                  <c:v>27462</c:v>
                </c:pt>
                <c:pt idx="70460">
                  <c:v>27461</c:v>
                </c:pt>
                <c:pt idx="70461">
                  <c:v>27460</c:v>
                </c:pt>
                <c:pt idx="70462">
                  <c:v>27460</c:v>
                </c:pt>
                <c:pt idx="70463">
                  <c:v>27459</c:v>
                </c:pt>
                <c:pt idx="70464">
                  <c:v>27459</c:v>
                </c:pt>
                <c:pt idx="70465">
                  <c:v>27458</c:v>
                </c:pt>
                <c:pt idx="70466">
                  <c:v>27456</c:v>
                </c:pt>
                <c:pt idx="70467">
                  <c:v>27453</c:v>
                </c:pt>
                <c:pt idx="70468">
                  <c:v>27450</c:v>
                </c:pt>
                <c:pt idx="70469">
                  <c:v>27448</c:v>
                </c:pt>
                <c:pt idx="70470">
                  <c:v>27445</c:v>
                </c:pt>
                <c:pt idx="70471">
                  <c:v>27443</c:v>
                </c:pt>
                <c:pt idx="70472">
                  <c:v>27443</c:v>
                </c:pt>
                <c:pt idx="70473">
                  <c:v>27443</c:v>
                </c:pt>
                <c:pt idx="70474">
                  <c:v>27443</c:v>
                </c:pt>
                <c:pt idx="70475">
                  <c:v>27442</c:v>
                </c:pt>
                <c:pt idx="70476">
                  <c:v>27442</c:v>
                </c:pt>
                <c:pt idx="70477">
                  <c:v>27439</c:v>
                </c:pt>
                <c:pt idx="70478">
                  <c:v>27438</c:v>
                </c:pt>
                <c:pt idx="70479">
                  <c:v>27437</c:v>
                </c:pt>
                <c:pt idx="70480">
                  <c:v>27434</c:v>
                </c:pt>
                <c:pt idx="70481">
                  <c:v>27431</c:v>
                </c:pt>
                <c:pt idx="70482">
                  <c:v>27431</c:v>
                </c:pt>
                <c:pt idx="70483">
                  <c:v>27429</c:v>
                </c:pt>
                <c:pt idx="70484">
                  <c:v>27426</c:v>
                </c:pt>
                <c:pt idx="70485">
                  <c:v>27426</c:v>
                </c:pt>
                <c:pt idx="70486">
                  <c:v>27423</c:v>
                </c:pt>
                <c:pt idx="70487">
                  <c:v>27420</c:v>
                </c:pt>
                <c:pt idx="70488">
                  <c:v>27418</c:v>
                </c:pt>
                <c:pt idx="70489">
                  <c:v>27418</c:v>
                </c:pt>
                <c:pt idx="70490">
                  <c:v>27418</c:v>
                </c:pt>
                <c:pt idx="70491">
                  <c:v>27416</c:v>
                </c:pt>
                <c:pt idx="70492">
                  <c:v>27415</c:v>
                </c:pt>
                <c:pt idx="70493">
                  <c:v>27412</c:v>
                </c:pt>
                <c:pt idx="70494">
                  <c:v>27411</c:v>
                </c:pt>
                <c:pt idx="70495">
                  <c:v>27410</c:v>
                </c:pt>
                <c:pt idx="70496">
                  <c:v>27409</c:v>
                </c:pt>
                <c:pt idx="70497">
                  <c:v>27407</c:v>
                </c:pt>
                <c:pt idx="70498">
                  <c:v>27406</c:v>
                </c:pt>
                <c:pt idx="70499">
                  <c:v>27405</c:v>
                </c:pt>
                <c:pt idx="70500">
                  <c:v>27403</c:v>
                </c:pt>
                <c:pt idx="70501">
                  <c:v>27401</c:v>
                </c:pt>
                <c:pt idx="70502">
                  <c:v>27395</c:v>
                </c:pt>
                <c:pt idx="70503">
                  <c:v>27393</c:v>
                </c:pt>
                <c:pt idx="70504">
                  <c:v>27393</c:v>
                </c:pt>
                <c:pt idx="70505">
                  <c:v>27392</c:v>
                </c:pt>
                <c:pt idx="70506">
                  <c:v>27391</c:v>
                </c:pt>
                <c:pt idx="70507">
                  <c:v>27389</c:v>
                </c:pt>
                <c:pt idx="70508">
                  <c:v>27388</c:v>
                </c:pt>
                <c:pt idx="70509">
                  <c:v>27387</c:v>
                </c:pt>
                <c:pt idx="70510">
                  <c:v>27387</c:v>
                </c:pt>
                <c:pt idx="70511">
                  <c:v>27387</c:v>
                </c:pt>
                <c:pt idx="70512">
                  <c:v>27385</c:v>
                </c:pt>
                <c:pt idx="70513">
                  <c:v>27384</c:v>
                </c:pt>
                <c:pt idx="70514">
                  <c:v>27384</c:v>
                </c:pt>
                <c:pt idx="70515">
                  <c:v>27383</c:v>
                </c:pt>
                <c:pt idx="70516">
                  <c:v>27381</c:v>
                </c:pt>
                <c:pt idx="70517">
                  <c:v>27380</c:v>
                </c:pt>
                <c:pt idx="70518">
                  <c:v>27375</c:v>
                </c:pt>
                <c:pt idx="70519">
                  <c:v>27375</c:v>
                </c:pt>
                <c:pt idx="70520">
                  <c:v>27372</c:v>
                </c:pt>
                <c:pt idx="70521">
                  <c:v>27372</c:v>
                </c:pt>
                <c:pt idx="70522">
                  <c:v>27371</c:v>
                </c:pt>
                <c:pt idx="70523">
                  <c:v>27370</c:v>
                </c:pt>
                <c:pt idx="70524">
                  <c:v>27366</c:v>
                </c:pt>
                <c:pt idx="70525">
                  <c:v>27366</c:v>
                </c:pt>
                <c:pt idx="70526">
                  <c:v>27366</c:v>
                </c:pt>
                <c:pt idx="70527">
                  <c:v>27366</c:v>
                </c:pt>
                <c:pt idx="70528">
                  <c:v>27363</c:v>
                </c:pt>
                <c:pt idx="70529">
                  <c:v>27362</c:v>
                </c:pt>
                <c:pt idx="70530">
                  <c:v>27358</c:v>
                </c:pt>
                <c:pt idx="70531">
                  <c:v>27355</c:v>
                </c:pt>
                <c:pt idx="70532">
                  <c:v>27352</c:v>
                </c:pt>
                <c:pt idx="70533">
                  <c:v>27350</c:v>
                </c:pt>
                <c:pt idx="70534">
                  <c:v>27349</c:v>
                </c:pt>
                <c:pt idx="70535">
                  <c:v>27348</c:v>
                </c:pt>
                <c:pt idx="70536">
                  <c:v>27346</c:v>
                </c:pt>
                <c:pt idx="70537">
                  <c:v>27345</c:v>
                </c:pt>
                <c:pt idx="70538">
                  <c:v>27344</c:v>
                </c:pt>
                <c:pt idx="70539">
                  <c:v>27343</c:v>
                </c:pt>
                <c:pt idx="70540">
                  <c:v>27340</c:v>
                </c:pt>
                <c:pt idx="70541">
                  <c:v>27340</c:v>
                </c:pt>
                <c:pt idx="70542">
                  <c:v>27338</c:v>
                </c:pt>
                <c:pt idx="70543">
                  <c:v>27336</c:v>
                </c:pt>
                <c:pt idx="70544">
                  <c:v>27335</c:v>
                </c:pt>
                <c:pt idx="70545">
                  <c:v>27334</c:v>
                </c:pt>
                <c:pt idx="70546">
                  <c:v>27332</c:v>
                </c:pt>
                <c:pt idx="70547">
                  <c:v>27331</c:v>
                </c:pt>
                <c:pt idx="70548">
                  <c:v>27331</c:v>
                </c:pt>
                <c:pt idx="70549">
                  <c:v>27330</c:v>
                </c:pt>
                <c:pt idx="70550">
                  <c:v>27329</c:v>
                </c:pt>
                <c:pt idx="70551">
                  <c:v>27325</c:v>
                </c:pt>
                <c:pt idx="70552">
                  <c:v>27322</c:v>
                </c:pt>
                <c:pt idx="70553">
                  <c:v>27319</c:v>
                </c:pt>
                <c:pt idx="70554">
                  <c:v>27319</c:v>
                </c:pt>
                <c:pt idx="70555">
                  <c:v>27318</c:v>
                </c:pt>
                <c:pt idx="70556">
                  <c:v>27316</c:v>
                </c:pt>
                <c:pt idx="70557">
                  <c:v>27315</c:v>
                </c:pt>
                <c:pt idx="70558">
                  <c:v>27314</c:v>
                </c:pt>
                <c:pt idx="70559">
                  <c:v>27313</c:v>
                </c:pt>
                <c:pt idx="70560">
                  <c:v>27311</c:v>
                </c:pt>
                <c:pt idx="70561">
                  <c:v>27310</c:v>
                </c:pt>
                <c:pt idx="70562">
                  <c:v>27308</c:v>
                </c:pt>
                <c:pt idx="70563">
                  <c:v>27305</c:v>
                </c:pt>
                <c:pt idx="70564">
                  <c:v>27303</c:v>
                </c:pt>
                <c:pt idx="70565">
                  <c:v>27300</c:v>
                </c:pt>
                <c:pt idx="70566">
                  <c:v>27299</c:v>
                </c:pt>
                <c:pt idx="70567">
                  <c:v>27299</c:v>
                </c:pt>
                <c:pt idx="70568">
                  <c:v>27296</c:v>
                </c:pt>
                <c:pt idx="70569">
                  <c:v>27295</c:v>
                </c:pt>
                <c:pt idx="70570">
                  <c:v>27294</c:v>
                </c:pt>
                <c:pt idx="70571">
                  <c:v>27294</c:v>
                </c:pt>
                <c:pt idx="70572">
                  <c:v>27290</c:v>
                </c:pt>
                <c:pt idx="70573">
                  <c:v>27288</c:v>
                </c:pt>
                <c:pt idx="70574">
                  <c:v>27288</c:v>
                </c:pt>
                <c:pt idx="70575">
                  <c:v>27287</c:v>
                </c:pt>
                <c:pt idx="70576">
                  <c:v>27284</c:v>
                </c:pt>
                <c:pt idx="70577">
                  <c:v>27283</c:v>
                </c:pt>
                <c:pt idx="70578">
                  <c:v>27283</c:v>
                </c:pt>
                <c:pt idx="70579">
                  <c:v>27281</c:v>
                </c:pt>
                <c:pt idx="70580">
                  <c:v>27281</c:v>
                </c:pt>
                <c:pt idx="70581">
                  <c:v>27279</c:v>
                </c:pt>
                <c:pt idx="70582">
                  <c:v>27278</c:v>
                </c:pt>
                <c:pt idx="70583">
                  <c:v>27273</c:v>
                </c:pt>
                <c:pt idx="70584">
                  <c:v>27270</c:v>
                </c:pt>
                <c:pt idx="70585">
                  <c:v>27270</c:v>
                </c:pt>
                <c:pt idx="70586">
                  <c:v>27267</c:v>
                </c:pt>
                <c:pt idx="70587">
                  <c:v>27267</c:v>
                </c:pt>
                <c:pt idx="70588">
                  <c:v>27267</c:v>
                </c:pt>
                <c:pt idx="70589">
                  <c:v>27266</c:v>
                </c:pt>
                <c:pt idx="70590">
                  <c:v>27265</c:v>
                </c:pt>
                <c:pt idx="70591">
                  <c:v>27263</c:v>
                </c:pt>
                <c:pt idx="70592">
                  <c:v>27262</c:v>
                </c:pt>
                <c:pt idx="70593">
                  <c:v>27261</c:v>
                </c:pt>
                <c:pt idx="70594">
                  <c:v>27258</c:v>
                </c:pt>
                <c:pt idx="70595">
                  <c:v>27258</c:v>
                </c:pt>
                <c:pt idx="70596">
                  <c:v>27257</c:v>
                </c:pt>
                <c:pt idx="70597">
                  <c:v>27256</c:v>
                </c:pt>
                <c:pt idx="70598">
                  <c:v>27255</c:v>
                </c:pt>
                <c:pt idx="70599">
                  <c:v>27255</c:v>
                </c:pt>
                <c:pt idx="70600">
                  <c:v>27252</c:v>
                </c:pt>
                <c:pt idx="70601">
                  <c:v>27249</c:v>
                </c:pt>
                <c:pt idx="70602">
                  <c:v>27248</c:v>
                </c:pt>
                <c:pt idx="70603">
                  <c:v>27245</c:v>
                </c:pt>
                <c:pt idx="70604">
                  <c:v>27244</c:v>
                </c:pt>
                <c:pt idx="70605">
                  <c:v>27244</c:v>
                </c:pt>
                <c:pt idx="70606">
                  <c:v>27243</c:v>
                </c:pt>
                <c:pt idx="70607">
                  <c:v>27241</c:v>
                </c:pt>
                <c:pt idx="70608">
                  <c:v>27240</c:v>
                </c:pt>
                <c:pt idx="70609">
                  <c:v>27240</c:v>
                </c:pt>
                <c:pt idx="70610">
                  <c:v>27240</c:v>
                </c:pt>
                <c:pt idx="70611">
                  <c:v>27239</c:v>
                </c:pt>
                <c:pt idx="70612">
                  <c:v>27239</c:v>
                </c:pt>
                <c:pt idx="70613">
                  <c:v>27235</c:v>
                </c:pt>
                <c:pt idx="70614">
                  <c:v>27235</c:v>
                </c:pt>
                <c:pt idx="70615">
                  <c:v>27232</c:v>
                </c:pt>
                <c:pt idx="70616">
                  <c:v>27231</c:v>
                </c:pt>
                <c:pt idx="70617">
                  <c:v>27230</c:v>
                </c:pt>
                <c:pt idx="70618">
                  <c:v>27227</c:v>
                </c:pt>
                <c:pt idx="70619">
                  <c:v>27226</c:v>
                </c:pt>
                <c:pt idx="70620">
                  <c:v>27221</c:v>
                </c:pt>
                <c:pt idx="70621">
                  <c:v>27221</c:v>
                </c:pt>
                <c:pt idx="70622">
                  <c:v>27221</c:v>
                </c:pt>
                <c:pt idx="70623">
                  <c:v>27221</c:v>
                </c:pt>
                <c:pt idx="70624">
                  <c:v>27221</c:v>
                </c:pt>
                <c:pt idx="70625">
                  <c:v>27220</c:v>
                </c:pt>
                <c:pt idx="70626">
                  <c:v>27220</c:v>
                </c:pt>
                <c:pt idx="70627">
                  <c:v>27220</c:v>
                </c:pt>
                <c:pt idx="70628">
                  <c:v>27219</c:v>
                </c:pt>
                <c:pt idx="70629">
                  <c:v>27219</c:v>
                </c:pt>
                <c:pt idx="70630">
                  <c:v>27218</c:v>
                </c:pt>
                <c:pt idx="70631">
                  <c:v>27218</c:v>
                </c:pt>
                <c:pt idx="70632">
                  <c:v>27217</c:v>
                </c:pt>
                <c:pt idx="70633">
                  <c:v>27209</c:v>
                </c:pt>
                <c:pt idx="70634">
                  <c:v>27205</c:v>
                </c:pt>
                <c:pt idx="70635">
                  <c:v>27205</c:v>
                </c:pt>
                <c:pt idx="70636">
                  <c:v>27204</c:v>
                </c:pt>
                <c:pt idx="70637">
                  <c:v>27203</c:v>
                </c:pt>
                <c:pt idx="70638">
                  <c:v>27202</c:v>
                </c:pt>
                <c:pt idx="70639">
                  <c:v>27200</c:v>
                </c:pt>
                <c:pt idx="70640">
                  <c:v>27199</c:v>
                </c:pt>
                <c:pt idx="70641">
                  <c:v>27198</c:v>
                </c:pt>
                <c:pt idx="70642">
                  <c:v>27196</c:v>
                </c:pt>
                <c:pt idx="70643">
                  <c:v>27194</c:v>
                </c:pt>
                <c:pt idx="70644">
                  <c:v>27193</c:v>
                </c:pt>
                <c:pt idx="70645">
                  <c:v>27193</c:v>
                </c:pt>
                <c:pt idx="70646">
                  <c:v>27193</c:v>
                </c:pt>
                <c:pt idx="70647">
                  <c:v>27192</c:v>
                </c:pt>
                <c:pt idx="70648">
                  <c:v>27191</c:v>
                </c:pt>
                <c:pt idx="70649">
                  <c:v>27191</c:v>
                </c:pt>
                <c:pt idx="70650">
                  <c:v>27188</c:v>
                </c:pt>
                <c:pt idx="70651">
                  <c:v>27188</c:v>
                </c:pt>
                <c:pt idx="70652">
                  <c:v>27188</c:v>
                </c:pt>
                <c:pt idx="70653">
                  <c:v>27187</c:v>
                </c:pt>
                <c:pt idx="70654">
                  <c:v>27186</c:v>
                </c:pt>
                <c:pt idx="70655">
                  <c:v>27184</c:v>
                </c:pt>
                <c:pt idx="70656">
                  <c:v>27184</c:v>
                </c:pt>
                <c:pt idx="70657">
                  <c:v>27184</c:v>
                </c:pt>
                <c:pt idx="70658">
                  <c:v>27181</c:v>
                </c:pt>
                <c:pt idx="70659">
                  <c:v>27180</c:v>
                </c:pt>
                <c:pt idx="70660">
                  <c:v>27176</c:v>
                </c:pt>
                <c:pt idx="70661">
                  <c:v>27175</c:v>
                </c:pt>
                <c:pt idx="70662">
                  <c:v>27173</c:v>
                </c:pt>
                <c:pt idx="70663">
                  <c:v>27172</c:v>
                </c:pt>
                <c:pt idx="70664">
                  <c:v>27169</c:v>
                </c:pt>
                <c:pt idx="70665">
                  <c:v>27169</c:v>
                </c:pt>
                <c:pt idx="70666">
                  <c:v>27168</c:v>
                </c:pt>
                <c:pt idx="70667">
                  <c:v>27167</c:v>
                </c:pt>
                <c:pt idx="70668">
                  <c:v>27165</c:v>
                </c:pt>
                <c:pt idx="70669">
                  <c:v>27162</c:v>
                </c:pt>
                <c:pt idx="70670">
                  <c:v>27158</c:v>
                </c:pt>
                <c:pt idx="70671">
                  <c:v>27157</c:v>
                </c:pt>
                <c:pt idx="70672">
                  <c:v>27155</c:v>
                </c:pt>
                <c:pt idx="70673">
                  <c:v>27155</c:v>
                </c:pt>
                <c:pt idx="70674">
                  <c:v>27154</c:v>
                </c:pt>
                <c:pt idx="70675">
                  <c:v>27154</c:v>
                </c:pt>
                <c:pt idx="70676">
                  <c:v>27151</c:v>
                </c:pt>
                <c:pt idx="70677">
                  <c:v>27150</c:v>
                </c:pt>
                <c:pt idx="70678">
                  <c:v>27149</c:v>
                </c:pt>
                <c:pt idx="70679">
                  <c:v>27149</c:v>
                </c:pt>
                <c:pt idx="70680">
                  <c:v>27148</c:v>
                </c:pt>
                <c:pt idx="70681">
                  <c:v>27148</c:v>
                </c:pt>
                <c:pt idx="70682">
                  <c:v>27147</c:v>
                </c:pt>
                <c:pt idx="70683">
                  <c:v>27144</c:v>
                </c:pt>
                <c:pt idx="70684">
                  <c:v>27144</c:v>
                </c:pt>
                <c:pt idx="70685">
                  <c:v>27144</c:v>
                </c:pt>
                <c:pt idx="70686">
                  <c:v>27138</c:v>
                </c:pt>
                <c:pt idx="70687">
                  <c:v>27138</c:v>
                </c:pt>
                <c:pt idx="70688">
                  <c:v>27134</c:v>
                </c:pt>
                <c:pt idx="70689">
                  <c:v>27126</c:v>
                </c:pt>
                <c:pt idx="70690">
                  <c:v>27124</c:v>
                </c:pt>
                <c:pt idx="70691">
                  <c:v>27124</c:v>
                </c:pt>
                <c:pt idx="70692">
                  <c:v>27122</c:v>
                </c:pt>
                <c:pt idx="70693">
                  <c:v>27117</c:v>
                </c:pt>
                <c:pt idx="70694">
                  <c:v>27117</c:v>
                </c:pt>
                <c:pt idx="70695">
                  <c:v>27115</c:v>
                </c:pt>
                <c:pt idx="70696">
                  <c:v>27113</c:v>
                </c:pt>
                <c:pt idx="70697">
                  <c:v>27112</c:v>
                </c:pt>
                <c:pt idx="70698">
                  <c:v>27111</c:v>
                </c:pt>
                <c:pt idx="70699">
                  <c:v>27110</c:v>
                </c:pt>
                <c:pt idx="70700">
                  <c:v>27109</c:v>
                </c:pt>
                <c:pt idx="70701">
                  <c:v>27105</c:v>
                </c:pt>
                <c:pt idx="70702">
                  <c:v>27104</c:v>
                </c:pt>
                <c:pt idx="70703">
                  <c:v>27100</c:v>
                </c:pt>
                <c:pt idx="70704">
                  <c:v>27098</c:v>
                </c:pt>
                <c:pt idx="70705">
                  <c:v>27096</c:v>
                </c:pt>
                <c:pt idx="70706">
                  <c:v>27096</c:v>
                </c:pt>
                <c:pt idx="70707">
                  <c:v>27093</c:v>
                </c:pt>
                <c:pt idx="70708">
                  <c:v>27077</c:v>
                </c:pt>
                <c:pt idx="70709">
                  <c:v>27077</c:v>
                </c:pt>
                <c:pt idx="70710">
                  <c:v>27076</c:v>
                </c:pt>
                <c:pt idx="70711">
                  <c:v>27075</c:v>
                </c:pt>
                <c:pt idx="70712">
                  <c:v>27074</c:v>
                </c:pt>
                <c:pt idx="70713">
                  <c:v>27073</c:v>
                </c:pt>
                <c:pt idx="70714">
                  <c:v>27071</c:v>
                </c:pt>
                <c:pt idx="70715">
                  <c:v>27071</c:v>
                </c:pt>
                <c:pt idx="70716">
                  <c:v>27069</c:v>
                </c:pt>
                <c:pt idx="70717">
                  <c:v>27068</c:v>
                </c:pt>
                <c:pt idx="70718">
                  <c:v>27066</c:v>
                </c:pt>
                <c:pt idx="70719">
                  <c:v>27065</c:v>
                </c:pt>
                <c:pt idx="70720">
                  <c:v>27063</c:v>
                </c:pt>
                <c:pt idx="70721">
                  <c:v>27059</c:v>
                </c:pt>
                <c:pt idx="70722">
                  <c:v>27058</c:v>
                </c:pt>
                <c:pt idx="70723">
                  <c:v>27058</c:v>
                </c:pt>
                <c:pt idx="70724">
                  <c:v>27056</c:v>
                </c:pt>
                <c:pt idx="70725">
                  <c:v>27052</c:v>
                </c:pt>
                <c:pt idx="70726">
                  <c:v>27051</c:v>
                </c:pt>
                <c:pt idx="70727">
                  <c:v>27050</c:v>
                </c:pt>
                <c:pt idx="70728">
                  <c:v>27049</c:v>
                </c:pt>
                <c:pt idx="70729">
                  <c:v>27048</c:v>
                </c:pt>
                <c:pt idx="70730">
                  <c:v>27048</c:v>
                </c:pt>
                <c:pt idx="70731">
                  <c:v>27047</c:v>
                </c:pt>
                <c:pt idx="70732">
                  <c:v>27047</c:v>
                </c:pt>
                <c:pt idx="70733">
                  <c:v>27040</c:v>
                </c:pt>
                <c:pt idx="70734">
                  <c:v>27039</c:v>
                </c:pt>
                <c:pt idx="70735">
                  <c:v>27033</c:v>
                </c:pt>
                <c:pt idx="70736">
                  <c:v>27032</c:v>
                </c:pt>
                <c:pt idx="70737">
                  <c:v>27032</c:v>
                </c:pt>
                <c:pt idx="70738">
                  <c:v>27028</c:v>
                </c:pt>
                <c:pt idx="70739">
                  <c:v>27026</c:v>
                </c:pt>
                <c:pt idx="70740">
                  <c:v>27026</c:v>
                </c:pt>
                <c:pt idx="70741">
                  <c:v>27023</c:v>
                </c:pt>
                <c:pt idx="70742">
                  <c:v>27017</c:v>
                </c:pt>
                <c:pt idx="70743">
                  <c:v>27015</c:v>
                </c:pt>
                <c:pt idx="70744">
                  <c:v>27014</c:v>
                </c:pt>
                <c:pt idx="70745">
                  <c:v>27013</c:v>
                </c:pt>
                <c:pt idx="70746">
                  <c:v>27010</c:v>
                </c:pt>
                <c:pt idx="70747">
                  <c:v>27010</c:v>
                </c:pt>
                <c:pt idx="70748">
                  <c:v>27007</c:v>
                </c:pt>
                <c:pt idx="70749">
                  <c:v>27006</c:v>
                </c:pt>
                <c:pt idx="70750">
                  <c:v>27004</c:v>
                </c:pt>
                <c:pt idx="70751">
                  <c:v>27003</c:v>
                </c:pt>
                <c:pt idx="70752">
                  <c:v>27002</c:v>
                </c:pt>
                <c:pt idx="70753">
                  <c:v>27000</c:v>
                </c:pt>
                <c:pt idx="70754">
                  <c:v>26994</c:v>
                </c:pt>
                <c:pt idx="70755">
                  <c:v>26992</c:v>
                </c:pt>
                <c:pt idx="70756">
                  <c:v>26992</c:v>
                </c:pt>
                <c:pt idx="70757">
                  <c:v>26991</c:v>
                </c:pt>
                <c:pt idx="70758">
                  <c:v>26989</c:v>
                </c:pt>
                <c:pt idx="70759">
                  <c:v>26988</c:v>
                </c:pt>
                <c:pt idx="70760">
                  <c:v>26988</c:v>
                </c:pt>
                <c:pt idx="70761">
                  <c:v>26983</c:v>
                </c:pt>
                <c:pt idx="70762">
                  <c:v>26982</c:v>
                </c:pt>
                <c:pt idx="70763">
                  <c:v>26980</c:v>
                </c:pt>
                <c:pt idx="70764">
                  <c:v>26977</c:v>
                </c:pt>
                <c:pt idx="70765">
                  <c:v>26976</c:v>
                </c:pt>
                <c:pt idx="70766">
                  <c:v>26971</c:v>
                </c:pt>
                <c:pt idx="70767">
                  <c:v>26964</c:v>
                </c:pt>
                <c:pt idx="70768">
                  <c:v>26962</c:v>
                </c:pt>
                <c:pt idx="70769">
                  <c:v>26961</c:v>
                </c:pt>
                <c:pt idx="70770">
                  <c:v>26960</c:v>
                </c:pt>
                <c:pt idx="70771">
                  <c:v>26959</c:v>
                </c:pt>
                <c:pt idx="70772">
                  <c:v>26957</c:v>
                </c:pt>
                <c:pt idx="70773">
                  <c:v>26956</c:v>
                </c:pt>
                <c:pt idx="70774">
                  <c:v>26953</c:v>
                </c:pt>
                <c:pt idx="70775">
                  <c:v>26953</c:v>
                </c:pt>
                <c:pt idx="70776">
                  <c:v>26951</c:v>
                </c:pt>
                <c:pt idx="70777">
                  <c:v>26951</c:v>
                </c:pt>
                <c:pt idx="70778">
                  <c:v>26945</c:v>
                </c:pt>
                <c:pt idx="70779">
                  <c:v>26942</c:v>
                </c:pt>
                <c:pt idx="70780">
                  <c:v>26941</c:v>
                </c:pt>
                <c:pt idx="70781">
                  <c:v>26940</c:v>
                </c:pt>
                <c:pt idx="70782">
                  <c:v>26938</c:v>
                </c:pt>
                <c:pt idx="70783">
                  <c:v>26938</c:v>
                </c:pt>
                <c:pt idx="70784">
                  <c:v>26938</c:v>
                </c:pt>
                <c:pt idx="70785">
                  <c:v>26937</c:v>
                </c:pt>
                <c:pt idx="70786">
                  <c:v>26933</c:v>
                </c:pt>
                <c:pt idx="70787">
                  <c:v>26931</c:v>
                </c:pt>
                <c:pt idx="70788">
                  <c:v>26931</c:v>
                </c:pt>
                <c:pt idx="70789">
                  <c:v>26929</c:v>
                </c:pt>
                <c:pt idx="70790">
                  <c:v>26927</c:v>
                </c:pt>
                <c:pt idx="70791">
                  <c:v>26920</c:v>
                </c:pt>
                <c:pt idx="70792">
                  <c:v>26920</c:v>
                </c:pt>
                <c:pt idx="70793">
                  <c:v>26915</c:v>
                </c:pt>
                <c:pt idx="70794">
                  <c:v>26915</c:v>
                </c:pt>
                <c:pt idx="70795">
                  <c:v>26915</c:v>
                </c:pt>
                <c:pt idx="70796">
                  <c:v>26913</c:v>
                </c:pt>
                <c:pt idx="70797">
                  <c:v>26912</c:v>
                </c:pt>
                <c:pt idx="70798">
                  <c:v>26912</c:v>
                </c:pt>
                <c:pt idx="70799">
                  <c:v>26909</c:v>
                </c:pt>
                <c:pt idx="70800">
                  <c:v>26907</c:v>
                </c:pt>
                <c:pt idx="70801">
                  <c:v>26904</c:v>
                </c:pt>
                <c:pt idx="70802">
                  <c:v>26902</c:v>
                </c:pt>
                <c:pt idx="70803">
                  <c:v>26901</c:v>
                </c:pt>
                <c:pt idx="70804">
                  <c:v>26900</c:v>
                </c:pt>
                <c:pt idx="70805">
                  <c:v>26898</c:v>
                </c:pt>
                <c:pt idx="70806">
                  <c:v>26894</c:v>
                </c:pt>
                <c:pt idx="70807">
                  <c:v>26892</c:v>
                </c:pt>
                <c:pt idx="70808">
                  <c:v>26886</c:v>
                </c:pt>
                <c:pt idx="70809">
                  <c:v>26883</c:v>
                </c:pt>
                <c:pt idx="70810">
                  <c:v>26880</c:v>
                </c:pt>
                <c:pt idx="70811">
                  <c:v>26877</c:v>
                </c:pt>
                <c:pt idx="70812">
                  <c:v>26876</c:v>
                </c:pt>
                <c:pt idx="70813">
                  <c:v>26874</c:v>
                </c:pt>
                <c:pt idx="70814">
                  <c:v>26868</c:v>
                </c:pt>
                <c:pt idx="70815">
                  <c:v>26865</c:v>
                </c:pt>
                <c:pt idx="70816">
                  <c:v>26863</c:v>
                </c:pt>
                <c:pt idx="70817">
                  <c:v>26862</c:v>
                </c:pt>
                <c:pt idx="70818">
                  <c:v>26861</c:v>
                </c:pt>
                <c:pt idx="70819">
                  <c:v>26850</c:v>
                </c:pt>
                <c:pt idx="70820">
                  <c:v>26848</c:v>
                </c:pt>
                <c:pt idx="70821">
                  <c:v>26847</c:v>
                </c:pt>
                <c:pt idx="70822">
                  <c:v>26844</c:v>
                </c:pt>
                <c:pt idx="70823">
                  <c:v>26843</c:v>
                </c:pt>
                <c:pt idx="70824">
                  <c:v>26842</c:v>
                </c:pt>
                <c:pt idx="70825">
                  <c:v>26842</c:v>
                </c:pt>
                <c:pt idx="70826">
                  <c:v>26841</c:v>
                </c:pt>
                <c:pt idx="70827">
                  <c:v>26837</c:v>
                </c:pt>
                <c:pt idx="70828">
                  <c:v>26836</c:v>
                </c:pt>
                <c:pt idx="70829">
                  <c:v>26833</c:v>
                </c:pt>
                <c:pt idx="70830">
                  <c:v>26832</c:v>
                </c:pt>
                <c:pt idx="70831">
                  <c:v>26831</c:v>
                </c:pt>
                <c:pt idx="70832">
                  <c:v>26831</c:v>
                </c:pt>
                <c:pt idx="70833">
                  <c:v>26828</c:v>
                </c:pt>
                <c:pt idx="70834">
                  <c:v>26826</c:v>
                </c:pt>
                <c:pt idx="70835">
                  <c:v>26821</c:v>
                </c:pt>
                <c:pt idx="70836">
                  <c:v>26820</c:v>
                </c:pt>
                <c:pt idx="70837">
                  <c:v>26819</c:v>
                </c:pt>
                <c:pt idx="70838">
                  <c:v>26812</c:v>
                </c:pt>
                <c:pt idx="70839">
                  <c:v>26808</c:v>
                </c:pt>
                <c:pt idx="70840">
                  <c:v>26807</c:v>
                </c:pt>
                <c:pt idx="70841">
                  <c:v>26807</c:v>
                </c:pt>
                <c:pt idx="70842">
                  <c:v>26805</c:v>
                </c:pt>
                <c:pt idx="70843">
                  <c:v>26805</c:v>
                </c:pt>
                <c:pt idx="70844">
                  <c:v>26803</c:v>
                </c:pt>
                <c:pt idx="70845">
                  <c:v>26800</c:v>
                </c:pt>
                <c:pt idx="70846">
                  <c:v>26795</c:v>
                </c:pt>
                <c:pt idx="70847">
                  <c:v>26793</c:v>
                </c:pt>
                <c:pt idx="70848">
                  <c:v>26793</c:v>
                </c:pt>
                <c:pt idx="70849">
                  <c:v>26793</c:v>
                </c:pt>
                <c:pt idx="70850">
                  <c:v>26791</c:v>
                </c:pt>
                <c:pt idx="70851">
                  <c:v>26791</c:v>
                </c:pt>
                <c:pt idx="70852">
                  <c:v>26790</c:v>
                </c:pt>
                <c:pt idx="70853">
                  <c:v>26789</c:v>
                </c:pt>
                <c:pt idx="70854">
                  <c:v>26789</c:v>
                </c:pt>
                <c:pt idx="70855">
                  <c:v>26788</c:v>
                </c:pt>
                <c:pt idx="70856">
                  <c:v>26780</c:v>
                </c:pt>
                <c:pt idx="70857">
                  <c:v>26778</c:v>
                </c:pt>
                <c:pt idx="70858">
                  <c:v>26776</c:v>
                </c:pt>
                <c:pt idx="70859">
                  <c:v>26774</c:v>
                </c:pt>
                <c:pt idx="70860">
                  <c:v>26768</c:v>
                </c:pt>
                <c:pt idx="70861">
                  <c:v>26765</c:v>
                </c:pt>
                <c:pt idx="70862">
                  <c:v>26763</c:v>
                </c:pt>
                <c:pt idx="70863">
                  <c:v>26762</c:v>
                </c:pt>
                <c:pt idx="70864">
                  <c:v>26758</c:v>
                </c:pt>
                <c:pt idx="70865">
                  <c:v>26757</c:v>
                </c:pt>
                <c:pt idx="70866">
                  <c:v>26754</c:v>
                </c:pt>
                <c:pt idx="70867">
                  <c:v>26745</c:v>
                </c:pt>
                <c:pt idx="70868">
                  <c:v>26744</c:v>
                </c:pt>
                <c:pt idx="70869">
                  <c:v>26742</c:v>
                </c:pt>
                <c:pt idx="70870">
                  <c:v>26735</c:v>
                </c:pt>
                <c:pt idx="70871">
                  <c:v>26729</c:v>
                </c:pt>
                <c:pt idx="70872">
                  <c:v>26727</c:v>
                </c:pt>
                <c:pt idx="70873">
                  <c:v>26725</c:v>
                </c:pt>
                <c:pt idx="70874">
                  <c:v>26725</c:v>
                </c:pt>
                <c:pt idx="70875">
                  <c:v>26721</c:v>
                </c:pt>
                <c:pt idx="70876">
                  <c:v>26711</c:v>
                </c:pt>
                <c:pt idx="70877">
                  <c:v>26709</c:v>
                </c:pt>
                <c:pt idx="70878">
                  <c:v>26707</c:v>
                </c:pt>
                <c:pt idx="70879">
                  <c:v>26702</c:v>
                </c:pt>
                <c:pt idx="70880">
                  <c:v>26696</c:v>
                </c:pt>
                <c:pt idx="70881">
                  <c:v>26693</c:v>
                </c:pt>
                <c:pt idx="70882">
                  <c:v>26687</c:v>
                </c:pt>
                <c:pt idx="70883">
                  <c:v>26686</c:v>
                </c:pt>
                <c:pt idx="70884">
                  <c:v>26684</c:v>
                </c:pt>
                <c:pt idx="70885">
                  <c:v>26678</c:v>
                </c:pt>
                <c:pt idx="70886">
                  <c:v>26678</c:v>
                </c:pt>
                <c:pt idx="70887">
                  <c:v>26677</c:v>
                </c:pt>
                <c:pt idx="70888">
                  <c:v>26672</c:v>
                </c:pt>
                <c:pt idx="70889">
                  <c:v>26670</c:v>
                </c:pt>
                <c:pt idx="70890">
                  <c:v>26669</c:v>
                </c:pt>
                <c:pt idx="70891">
                  <c:v>26668</c:v>
                </c:pt>
                <c:pt idx="70892">
                  <c:v>26666</c:v>
                </c:pt>
                <c:pt idx="70893">
                  <c:v>26664</c:v>
                </c:pt>
                <c:pt idx="70894">
                  <c:v>26662</c:v>
                </c:pt>
                <c:pt idx="70895">
                  <c:v>26661</c:v>
                </c:pt>
                <c:pt idx="70896">
                  <c:v>26658</c:v>
                </c:pt>
                <c:pt idx="70897">
                  <c:v>26656</c:v>
                </c:pt>
                <c:pt idx="70898">
                  <c:v>26655</c:v>
                </c:pt>
                <c:pt idx="70899">
                  <c:v>26649</c:v>
                </c:pt>
                <c:pt idx="70900">
                  <c:v>26649</c:v>
                </c:pt>
                <c:pt idx="70901">
                  <c:v>26645</c:v>
                </c:pt>
                <c:pt idx="70902">
                  <c:v>26644</c:v>
                </c:pt>
                <c:pt idx="70903">
                  <c:v>26640</c:v>
                </c:pt>
                <c:pt idx="70904">
                  <c:v>26639</c:v>
                </c:pt>
                <c:pt idx="70905">
                  <c:v>26636</c:v>
                </c:pt>
                <c:pt idx="70906">
                  <c:v>26634</c:v>
                </c:pt>
                <c:pt idx="70907">
                  <c:v>26630</c:v>
                </c:pt>
                <c:pt idx="70908">
                  <c:v>26627</c:v>
                </c:pt>
                <c:pt idx="70909">
                  <c:v>26622</c:v>
                </c:pt>
                <c:pt idx="70910">
                  <c:v>26622</c:v>
                </c:pt>
                <c:pt idx="70911">
                  <c:v>26619</c:v>
                </c:pt>
                <c:pt idx="70912">
                  <c:v>26615</c:v>
                </c:pt>
                <c:pt idx="70913">
                  <c:v>26615</c:v>
                </c:pt>
                <c:pt idx="70914">
                  <c:v>26611</c:v>
                </c:pt>
                <c:pt idx="70915">
                  <c:v>26609</c:v>
                </c:pt>
                <c:pt idx="70916">
                  <c:v>26605</c:v>
                </c:pt>
                <c:pt idx="70917">
                  <c:v>26605</c:v>
                </c:pt>
                <c:pt idx="70918">
                  <c:v>26602</c:v>
                </c:pt>
                <c:pt idx="70919">
                  <c:v>26597</c:v>
                </c:pt>
                <c:pt idx="70920">
                  <c:v>26595</c:v>
                </c:pt>
                <c:pt idx="70921">
                  <c:v>26595</c:v>
                </c:pt>
                <c:pt idx="70922">
                  <c:v>26593</c:v>
                </c:pt>
                <c:pt idx="70923">
                  <c:v>26592</c:v>
                </c:pt>
                <c:pt idx="70924">
                  <c:v>26590</c:v>
                </c:pt>
                <c:pt idx="70925">
                  <c:v>26590</c:v>
                </c:pt>
                <c:pt idx="70926">
                  <c:v>26583</c:v>
                </c:pt>
                <c:pt idx="70927">
                  <c:v>26580</c:v>
                </c:pt>
                <c:pt idx="70928">
                  <c:v>26579</c:v>
                </c:pt>
                <c:pt idx="70929">
                  <c:v>26574</c:v>
                </c:pt>
                <c:pt idx="70930">
                  <c:v>26573</c:v>
                </c:pt>
                <c:pt idx="70931">
                  <c:v>26571</c:v>
                </c:pt>
                <c:pt idx="70932">
                  <c:v>26569</c:v>
                </c:pt>
                <c:pt idx="70933">
                  <c:v>26566</c:v>
                </c:pt>
                <c:pt idx="70934">
                  <c:v>26565</c:v>
                </c:pt>
                <c:pt idx="70935">
                  <c:v>26558</c:v>
                </c:pt>
                <c:pt idx="70936">
                  <c:v>26553</c:v>
                </c:pt>
                <c:pt idx="70937">
                  <c:v>26551</c:v>
                </c:pt>
                <c:pt idx="70938">
                  <c:v>26547</c:v>
                </c:pt>
                <c:pt idx="70939">
                  <c:v>26547</c:v>
                </c:pt>
                <c:pt idx="70940">
                  <c:v>26544</c:v>
                </c:pt>
                <c:pt idx="70941">
                  <c:v>26536</c:v>
                </c:pt>
                <c:pt idx="70942">
                  <c:v>26535</c:v>
                </c:pt>
                <c:pt idx="70943">
                  <c:v>26534</c:v>
                </c:pt>
                <c:pt idx="70944">
                  <c:v>26530</c:v>
                </c:pt>
                <c:pt idx="70945">
                  <c:v>26526</c:v>
                </c:pt>
                <c:pt idx="70946">
                  <c:v>26524</c:v>
                </c:pt>
                <c:pt idx="70947">
                  <c:v>26518</c:v>
                </c:pt>
                <c:pt idx="70948">
                  <c:v>26517</c:v>
                </c:pt>
                <c:pt idx="70949">
                  <c:v>26507</c:v>
                </c:pt>
                <c:pt idx="70950">
                  <c:v>26506</c:v>
                </c:pt>
                <c:pt idx="70951">
                  <c:v>26501</c:v>
                </c:pt>
                <c:pt idx="70952">
                  <c:v>26501</c:v>
                </c:pt>
                <c:pt idx="70953">
                  <c:v>26500</c:v>
                </c:pt>
                <c:pt idx="70954">
                  <c:v>26496</c:v>
                </c:pt>
                <c:pt idx="70955">
                  <c:v>26486</c:v>
                </c:pt>
                <c:pt idx="70956">
                  <c:v>26486</c:v>
                </c:pt>
                <c:pt idx="70957">
                  <c:v>26483</c:v>
                </c:pt>
                <c:pt idx="70958">
                  <c:v>26482</c:v>
                </c:pt>
                <c:pt idx="70959">
                  <c:v>26482</c:v>
                </c:pt>
                <c:pt idx="70960">
                  <c:v>26481</c:v>
                </c:pt>
                <c:pt idx="70961">
                  <c:v>26481</c:v>
                </c:pt>
                <c:pt idx="70962">
                  <c:v>26479</c:v>
                </c:pt>
                <c:pt idx="70963">
                  <c:v>26478</c:v>
                </c:pt>
                <c:pt idx="70964">
                  <c:v>26475</c:v>
                </c:pt>
                <c:pt idx="70965">
                  <c:v>26473</c:v>
                </c:pt>
                <c:pt idx="70966">
                  <c:v>26465</c:v>
                </c:pt>
                <c:pt idx="70967">
                  <c:v>26456</c:v>
                </c:pt>
                <c:pt idx="70968">
                  <c:v>26455</c:v>
                </c:pt>
                <c:pt idx="70969">
                  <c:v>26453</c:v>
                </c:pt>
                <c:pt idx="70970">
                  <c:v>26452</c:v>
                </c:pt>
                <c:pt idx="70971">
                  <c:v>26449</c:v>
                </c:pt>
                <c:pt idx="70972">
                  <c:v>26448</c:v>
                </c:pt>
                <c:pt idx="70973">
                  <c:v>26445</c:v>
                </c:pt>
                <c:pt idx="70974">
                  <c:v>26442</c:v>
                </c:pt>
                <c:pt idx="70975">
                  <c:v>26441</c:v>
                </c:pt>
                <c:pt idx="70976">
                  <c:v>26433</c:v>
                </c:pt>
                <c:pt idx="70977">
                  <c:v>26431</c:v>
                </c:pt>
                <c:pt idx="70978">
                  <c:v>26419</c:v>
                </c:pt>
                <c:pt idx="70979">
                  <c:v>26418</c:v>
                </c:pt>
                <c:pt idx="70980">
                  <c:v>26407</c:v>
                </c:pt>
                <c:pt idx="70981">
                  <c:v>26403</c:v>
                </c:pt>
                <c:pt idx="70982">
                  <c:v>26402</c:v>
                </c:pt>
                <c:pt idx="70983">
                  <c:v>26398</c:v>
                </c:pt>
                <c:pt idx="70984">
                  <c:v>26398</c:v>
                </c:pt>
                <c:pt idx="70985">
                  <c:v>26397</c:v>
                </c:pt>
                <c:pt idx="70986">
                  <c:v>26394</c:v>
                </c:pt>
                <c:pt idx="70987">
                  <c:v>26394</c:v>
                </c:pt>
                <c:pt idx="70988">
                  <c:v>26392</c:v>
                </c:pt>
                <c:pt idx="70989">
                  <c:v>26388</c:v>
                </c:pt>
                <c:pt idx="70990">
                  <c:v>26388</c:v>
                </c:pt>
                <c:pt idx="70991">
                  <c:v>26377</c:v>
                </c:pt>
                <c:pt idx="70992">
                  <c:v>26363</c:v>
                </c:pt>
                <c:pt idx="70993">
                  <c:v>26355</c:v>
                </c:pt>
                <c:pt idx="70994">
                  <c:v>26353</c:v>
                </c:pt>
                <c:pt idx="70995">
                  <c:v>26350</c:v>
                </c:pt>
                <c:pt idx="70996">
                  <c:v>26349</c:v>
                </c:pt>
                <c:pt idx="70997">
                  <c:v>26348</c:v>
                </c:pt>
                <c:pt idx="70998">
                  <c:v>26347</c:v>
                </c:pt>
                <c:pt idx="70999">
                  <c:v>26347</c:v>
                </c:pt>
                <c:pt idx="71000">
                  <c:v>26346</c:v>
                </c:pt>
                <c:pt idx="71001">
                  <c:v>26345</c:v>
                </c:pt>
                <c:pt idx="71002">
                  <c:v>26343</c:v>
                </c:pt>
                <c:pt idx="71003">
                  <c:v>26331</c:v>
                </c:pt>
                <c:pt idx="71004">
                  <c:v>26326</c:v>
                </c:pt>
                <c:pt idx="71005">
                  <c:v>26325</c:v>
                </c:pt>
                <c:pt idx="71006">
                  <c:v>26318</c:v>
                </c:pt>
                <c:pt idx="71007">
                  <c:v>26309</c:v>
                </c:pt>
                <c:pt idx="71008">
                  <c:v>26305</c:v>
                </c:pt>
                <c:pt idx="71009">
                  <c:v>26305</c:v>
                </c:pt>
                <c:pt idx="71010">
                  <c:v>26280</c:v>
                </c:pt>
                <c:pt idx="71011">
                  <c:v>26279</c:v>
                </c:pt>
                <c:pt idx="71012">
                  <c:v>26276</c:v>
                </c:pt>
                <c:pt idx="71013">
                  <c:v>26276</c:v>
                </c:pt>
                <c:pt idx="71014">
                  <c:v>26260</c:v>
                </c:pt>
                <c:pt idx="71015">
                  <c:v>26242</c:v>
                </c:pt>
                <c:pt idx="71016">
                  <c:v>26228</c:v>
                </c:pt>
                <c:pt idx="71017">
                  <c:v>26224</c:v>
                </c:pt>
                <c:pt idx="71018">
                  <c:v>26223</c:v>
                </c:pt>
                <c:pt idx="71019">
                  <c:v>26221</c:v>
                </c:pt>
                <c:pt idx="71020">
                  <c:v>26217</c:v>
                </c:pt>
                <c:pt idx="71021">
                  <c:v>26212</c:v>
                </c:pt>
                <c:pt idx="71022">
                  <c:v>26207</c:v>
                </c:pt>
                <c:pt idx="71023">
                  <c:v>26203</c:v>
                </c:pt>
                <c:pt idx="71024">
                  <c:v>26201</c:v>
                </c:pt>
                <c:pt idx="71025">
                  <c:v>26192</c:v>
                </c:pt>
                <c:pt idx="71026">
                  <c:v>26182</c:v>
                </c:pt>
                <c:pt idx="71027">
                  <c:v>26181</c:v>
                </c:pt>
                <c:pt idx="71028">
                  <c:v>26176</c:v>
                </c:pt>
                <c:pt idx="71029">
                  <c:v>26171</c:v>
                </c:pt>
                <c:pt idx="71030">
                  <c:v>26168</c:v>
                </c:pt>
                <c:pt idx="71031">
                  <c:v>26159</c:v>
                </c:pt>
                <c:pt idx="71032">
                  <c:v>26149</c:v>
                </c:pt>
                <c:pt idx="71033">
                  <c:v>26149</c:v>
                </c:pt>
                <c:pt idx="71034">
                  <c:v>26148</c:v>
                </c:pt>
                <c:pt idx="71035">
                  <c:v>26141</c:v>
                </c:pt>
                <c:pt idx="71036">
                  <c:v>26135</c:v>
                </c:pt>
                <c:pt idx="71037">
                  <c:v>26134</c:v>
                </c:pt>
                <c:pt idx="71038">
                  <c:v>26124</c:v>
                </c:pt>
                <c:pt idx="71039">
                  <c:v>26124</c:v>
                </c:pt>
                <c:pt idx="71040">
                  <c:v>26124</c:v>
                </c:pt>
                <c:pt idx="71041">
                  <c:v>26117</c:v>
                </c:pt>
                <c:pt idx="71042">
                  <c:v>26105</c:v>
                </c:pt>
                <c:pt idx="71043">
                  <c:v>26101</c:v>
                </c:pt>
                <c:pt idx="71044">
                  <c:v>26092</c:v>
                </c:pt>
                <c:pt idx="71045">
                  <c:v>26087</c:v>
                </c:pt>
                <c:pt idx="71046">
                  <c:v>26085</c:v>
                </c:pt>
                <c:pt idx="71047">
                  <c:v>26085</c:v>
                </c:pt>
                <c:pt idx="71048">
                  <c:v>26084</c:v>
                </c:pt>
                <c:pt idx="71049">
                  <c:v>26083</c:v>
                </c:pt>
                <c:pt idx="71050">
                  <c:v>26083</c:v>
                </c:pt>
                <c:pt idx="71051">
                  <c:v>26083</c:v>
                </c:pt>
                <c:pt idx="71052">
                  <c:v>26081</c:v>
                </c:pt>
                <c:pt idx="71053">
                  <c:v>26080</c:v>
                </c:pt>
                <c:pt idx="71054">
                  <c:v>26074</c:v>
                </c:pt>
                <c:pt idx="71055">
                  <c:v>26069</c:v>
                </c:pt>
                <c:pt idx="71056">
                  <c:v>26064</c:v>
                </c:pt>
                <c:pt idx="71057">
                  <c:v>26045</c:v>
                </c:pt>
                <c:pt idx="71058">
                  <c:v>26043</c:v>
                </c:pt>
                <c:pt idx="71059">
                  <c:v>26040</c:v>
                </c:pt>
                <c:pt idx="71060">
                  <c:v>26039</c:v>
                </c:pt>
                <c:pt idx="71061">
                  <c:v>26036</c:v>
                </c:pt>
                <c:pt idx="71062">
                  <c:v>26029</c:v>
                </c:pt>
                <c:pt idx="71063">
                  <c:v>26019</c:v>
                </c:pt>
                <c:pt idx="71064">
                  <c:v>26019</c:v>
                </c:pt>
                <c:pt idx="71065">
                  <c:v>26018</c:v>
                </c:pt>
                <c:pt idx="71066">
                  <c:v>26018</c:v>
                </c:pt>
                <c:pt idx="71067">
                  <c:v>26016</c:v>
                </c:pt>
                <c:pt idx="71068">
                  <c:v>26011</c:v>
                </c:pt>
                <c:pt idx="71069">
                  <c:v>26001</c:v>
                </c:pt>
                <c:pt idx="71070">
                  <c:v>26000</c:v>
                </c:pt>
                <c:pt idx="71071">
                  <c:v>26000</c:v>
                </c:pt>
                <c:pt idx="71072">
                  <c:v>25996</c:v>
                </c:pt>
                <c:pt idx="71073">
                  <c:v>25993</c:v>
                </c:pt>
                <c:pt idx="71074">
                  <c:v>25990</c:v>
                </c:pt>
                <c:pt idx="71075">
                  <c:v>25984</c:v>
                </c:pt>
                <c:pt idx="71076">
                  <c:v>25982</c:v>
                </c:pt>
                <c:pt idx="71077">
                  <c:v>25981</c:v>
                </c:pt>
                <c:pt idx="71078">
                  <c:v>25981</c:v>
                </c:pt>
                <c:pt idx="71079">
                  <c:v>25981</c:v>
                </c:pt>
                <c:pt idx="71080">
                  <c:v>25977</c:v>
                </c:pt>
                <c:pt idx="71081">
                  <c:v>25977</c:v>
                </c:pt>
                <c:pt idx="71082">
                  <c:v>25976</c:v>
                </c:pt>
                <c:pt idx="71083">
                  <c:v>25973</c:v>
                </c:pt>
                <c:pt idx="71084">
                  <c:v>25972</c:v>
                </c:pt>
                <c:pt idx="71085">
                  <c:v>25965</c:v>
                </c:pt>
                <c:pt idx="71086">
                  <c:v>25959</c:v>
                </c:pt>
                <c:pt idx="71087">
                  <c:v>25956</c:v>
                </c:pt>
                <c:pt idx="71088">
                  <c:v>25932</c:v>
                </c:pt>
                <c:pt idx="71089">
                  <c:v>25927</c:v>
                </c:pt>
                <c:pt idx="71090">
                  <c:v>25912</c:v>
                </c:pt>
                <c:pt idx="71091">
                  <c:v>25908</c:v>
                </c:pt>
                <c:pt idx="71092">
                  <c:v>25899</c:v>
                </c:pt>
                <c:pt idx="71093">
                  <c:v>25893</c:v>
                </c:pt>
                <c:pt idx="71094">
                  <c:v>25885</c:v>
                </c:pt>
                <c:pt idx="71095">
                  <c:v>25872</c:v>
                </c:pt>
                <c:pt idx="71096">
                  <c:v>25864</c:v>
                </c:pt>
                <c:pt idx="71097">
                  <c:v>25858</c:v>
                </c:pt>
                <c:pt idx="71098">
                  <c:v>25856</c:v>
                </c:pt>
                <c:pt idx="71099">
                  <c:v>25849</c:v>
                </c:pt>
                <c:pt idx="71100">
                  <c:v>25844</c:v>
                </c:pt>
                <c:pt idx="71101">
                  <c:v>25842</c:v>
                </c:pt>
                <c:pt idx="71102">
                  <c:v>25842</c:v>
                </c:pt>
                <c:pt idx="71103">
                  <c:v>25840</c:v>
                </c:pt>
                <c:pt idx="71104">
                  <c:v>25837</c:v>
                </c:pt>
                <c:pt idx="71105">
                  <c:v>25836</c:v>
                </c:pt>
                <c:pt idx="71106">
                  <c:v>25829</c:v>
                </c:pt>
                <c:pt idx="71107">
                  <c:v>25828</c:v>
                </c:pt>
                <c:pt idx="71108">
                  <c:v>25828</c:v>
                </c:pt>
                <c:pt idx="71109">
                  <c:v>25817</c:v>
                </c:pt>
                <c:pt idx="71110">
                  <c:v>25813</c:v>
                </c:pt>
                <c:pt idx="71111">
                  <c:v>25803</c:v>
                </c:pt>
                <c:pt idx="71112">
                  <c:v>25801</c:v>
                </c:pt>
                <c:pt idx="71113">
                  <c:v>25790</c:v>
                </c:pt>
                <c:pt idx="71114">
                  <c:v>25789</c:v>
                </c:pt>
                <c:pt idx="71115">
                  <c:v>25789</c:v>
                </c:pt>
                <c:pt idx="71116">
                  <c:v>25786</c:v>
                </c:pt>
                <c:pt idx="71117">
                  <c:v>25785</c:v>
                </c:pt>
                <c:pt idx="71118">
                  <c:v>25785</c:v>
                </c:pt>
                <c:pt idx="71119">
                  <c:v>25779</c:v>
                </c:pt>
                <c:pt idx="71120">
                  <c:v>25776</c:v>
                </c:pt>
                <c:pt idx="71121">
                  <c:v>25774</c:v>
                </c:pt>
                <c:pt idx="71122">
                  <c:v>25756</c:v>
                </c:pt>
                <c:pt idx="71123">
                  <c:v>25755</c:v>
                </c:pt>
                <c:pt idx="71124">
                  <c:v>25755</c:v>
                </c:pt>
                <c:pt idx="71125">
                  <c:v>25754</c:v>
                </c:pt>
                <c:pt idx="71126">
                  <c:v>25754</c:v>
                </c:pt>
                <c:pt idx="71127">
                  <c:v>25750</c:v>
                </c:pt>
                <c:pt idx="71128">
                  <c:v>25737</c:v>
                </c:pt>
                <c:pt idx="71129">
                  <c:v>25736</c:v>
                </c:pt>
                <c:pt idx="71130">
                  <c:v>25735</c:v>
                </c:pt>
                <c:pt idx="71131">
                  <c:v>25728</c:v>
                </c:pt>
                <c:pt idx="71132">
                  <c:v>25725</c:v>
                </c:pt>
                <c:pt idx="71133">
                  <c:v>25721</c:v>
                </c:pt>
                <c:pt idx="71134">
                  <c:v>25717</c:v>
                </c:pt>
                <c:pt idx="71135">
                  <c:v>25715</c:v>
                </c:pt>
                <c:pt idx="71136">
                  <c:v>25706</c:v>
                </c:pt>
                <c:pt idx="71137">
                  <c:v>25705</c:v>
                </c:pt>
                <c:pt idx="71138">
                  <c:v>25705</c:v>
                </c:pt>
                <c:pt idx="71139">
                  <c:v>25704</c:v>
                </c:pt>
                <c:pt idx="71140">
                  <c:v>25700</c:v>
                </c:pt>
                <c:pt idx="71141">
                  <c:v>25693</c:v>
                </c:pt>
                <c:pt idx="71142">
                  <c:v>25693</c:v>
                </c:pt>
                <c:pt idx="71143">
                  <c:v>25691</c:v>
                </c:pt>
                <c:pt idx="71144">
                  <c:v>25671</c:v>
                </c:pt>
                <c:pt idx="71145">
                  <c:v>25670</c:v>
                </c:pt>
                <c:pt idx="71146">
                  <c:v>25668</c:v>
                </c:pt>
                <c:pt idx="71147">
                  <c:v>25666</c:v>
                </c:pt>
                <c:pt idx="71148">
                  <c:v>25665</c:v>
                </c:pt>
                <c:pt idx="71149">
                  <c:v>25663</c:v>
                </c:pt>
                <c:pt idx="71150">
                  <c:v>25657</c:v>
                </c:pt>
                <c:pt idx="71151">
                  <c:v>25657</c:v>
                </c:pt>
                <c:pt idx="71152">
                  <c:v>25648</c:v>
                </c:pt>
                <c:pt idx="71153">
                  <c:v>25636</c:v>
                </c:pt>
                <c:pt idx="71154">
                  <c:v>25634</c:v>
                </c:pt>
                <c:pt idx="71155">
                  <c:v>25619</c:v>
                </c:pt>
                <c:pt idx="71156">
                  <c:v>25615</c:v>
                </c:pt>
                <c:pt idx="71157">
                  <c:v>25609</c:v>
                </c:pt>
                <c:pt idx="71158">
                  <c:v>25608</c:v>
                </c:pt>
                <c:pt idx="71159">
                  <c:v>25590</c:v>
                </c:pt>
                <c:pt idx="71160">
                  <c:v>25578</c:v>
                </c:pt>
                <c:pt idx="71161">
                  <c:v>25576</c:v>
                </c:pt>
                <c:pt idx="71162">
                  <c:v>25569</c:v>
                </c:pt>
                <c:pt idx="71163">
                  <c:v>25564</c:v>
                </c:pt>
                <c:pt idx="71164">
                  <c:v>25559</c:v>
                </c:pt>
                <c:pt idx="71165">
                  <c:v>25556</c:v>
                </c:pt>
                <c:pt idx="71166">
                  <c:v>25549</c:v>
                </c:pt>
                <c:pt idx="71167">
                  <c:v>25516</c:v>
                </c:pt>
                <c:pt idx="71168">
                  <c:v>25509</c:v>
                </c:pt>
                <c:pt idx="71169">
                  <c:v>25492</c:v>
                </c:pt>
                <c:pt idx="71170">
                  <c:v>25491</c:v>
                </c:pt>
                <c:pt idx="71171">
                  <c:v>25486</c:v>
                </c:pt>
                <c:pt idx="71172">
                  <c:v>25473</c:v>
                </c:pt>
                <c:pt idx="71173">
                  <c:v>25466</c:v>
                </c:pt>
                <c:pt idx="71174">
                  <c:v>25464</c:v>
                </c:pt>
                <c:pt idx="71175">
                  <c:v>25460</c:v>
                </c:pt>
                <c:pt idx="71176">
                  <c:v>25456</c:v>
                </c:pt>
                <c:pt idx="71177">
                  <c:v>25456</c:v>
                </c:pt>
                <c:pt idx="71178">
                  <c:v>25455</c:v>
                </c:pt>
                <c:pt idx="71179">
                  <c:v>25455</c:v>
                </c:pt>
                <c:pt idx="71180">
                  <c:v>25453</c:v>
                </c:pt>
                <c:pt idx="71181">
                  <c:v>25449</c:v>
                </c:pt>
                <c:pt idx="71182">
                  <c:v>25446</c:v>
                </c:pt>
                <c:pt idx="71183">
                  <c:v>25436</c:v>
                </c:pt>
                <c:pt idx="71184">
                  <c:v>25433</c:v>
                </c:pt>
                <c:pt idx="71185">
                  <c:v>25423</c:v>
                </c:pt>
                <c:pt idx="71186">
                  <c:v>25421</c:v>
                </c:pt>
                <c:pt idx="71187">
                  <c:v>25398</c:v>
                </c:pt>
                <c:pt idx="71188">
                  <c:v>25392</c:v>
                </c:pt>
                <c:pt idx="71189">
                  <c:v>25388</c:v>
                </c:pt>
                <c:pt idx="71190">
                  <c:v>25382</c:v>
                </c:pt>
                <c:pt idx="71191">
                  <c:v>25364</c:v>
                </c:pt>
                <c:pt idx="71192">
                  <c:v>25364</c:v>
                </c:pt>
                <c:pt idx="71193">
                  <c:v>25358</c:v>
                </c:pt>
                <c:pt idx="71194">
                  <c:v>25333</c:v>
                </c:pt>
                <c:pt idx="71195">
                  <c:v>25319</c:v>
                </c:pt>
                <c:pt idx="71196">
                  <c:v>25313</c:v>
                </c:pt>
                <c:pt idx="71197">
                  <c:v>25312</c:v>
                </c:pt>
                <c:pt idx="71198">
                  <c:v>25312</c:v>
                </c:pt>
                <c:pt idx="71199">
                  <c:v>25294</c:v>
                </c:pt>
                <c:pt idx="71200">
                  <c:v>25270</c:v>
                </c:pt>
                <c:pt idx="71201">
                  <c:v>25258</c:v>
                </c:pt>
                <c:pt idx="71202">
                  <c:v>25253</c:v>
                </c:pt>
                <c:pt idx="71203">
                  <c:v>25252</c:v>
                </c:pt>
                <c:pt idx="71204">
                  <c:v>25236</c:v>
                </c:pt>
                <c:pt idx="71205">
                  <c:v>25234</c:v>
                </c:pt>
                <c:pt idx="71206">
                  <c:v>25234</c:v>
                </c:pt>
                <c:pt idx="71207">
                  <c:v>25217</c:v>
                </c:pt>
                <c:pt idx="71208">
                  <c:v>25216</c:v>
                </c:pt>
                <c:pt idx="71209">
                  <c:v>25205</c:v>
                </c:pt>
                <c:pt idx="71210">
                  <c:v>25197</c:v>
                </c:pt>
                <c:pt idx="71211">
                  <c:v>25185</c:v>
                </c:pt>
                <c:pt idx="71212">
                  <c:v>25180</c:v>
                </c:pt>
                <c:pt idx="71213">
                  <c:v>25179</c:v>
                </c:pt>
                <c:pt idx="71214">
                  <c:v>25178</c:v>
                </c:pt>
                <c:pt idx="71215">
                  <c:v>25177</c:v>
                </c:pt>
                <c:pt idx="71216">
                  <c:v>25176</c:v>
                </c:pt>
                <c:pt idx="71217">
                  <c:v>25154</c:v>
                </c:pt>
                <c:pt idx="71218">
                  <c:v>25154</c:v>
                </c:pt>
                <c:pt idx="71219">
                  <c:v>25150</c:v>
                </c:pt>
                <c:pt idx="71220">
                  <c:v>25145</c:v>
                </c:pt>
                <c:pt idx="71221">
                  <c:v>25145</c:v>
                </c:pt>
                <c:pt idx="71222">
                  <c:v>25142</c:v>
                </c:pt>
                <c:pt idx="71223">
                  <c:v>25138</c:v>
                </c:pt>
                <c:pt idx="71224">
                  <c:v>25134</c:v>
                </c:pt>
                <c:pt idx="71225">
                  <c:v>25126</c:v>
                </c:pt>
                <c:pt idx="71226">
                  <c:v>25119</c:v>
                </c:pt>
                <c:pt idx="71227">
                  <c:v>25118</c:v>
                </c:pt>
                <c:pt idx="71228">
                  <c:v>25114</c:v>
                </c:pt>
                <c:pt idx="71229">
                  <c:v>25104</c:v>
                </c:pt>
                <c:pt idx="71230">
                  <c:v>25101</c:v>
                </c:pt>
                <c:pt idx="71231">
                  <c:v>25096</c:v>
                </c:pt>
                <c:pt idx="71232">
                  <c:v>25096</c:v>
                </c:pt>
                <c:pt idx="71233">
                  <c:v>25087</c:v>
                </c:pt>
                <c:pt idx="71234">
                  <c:v>25086</c:v>
                </c:pt>
                <c:pt idx="71235">
                  <c:v>25080</c:v>
                </c:pt>
                <c:pt idx="71236">
                  <c:v>25078</c:v>
                </c:pt>
                <c:pt idx="71237">
                  <c:v>25072</c:v>
                </c:pt>
                <c:pt idx="71238">
                  <c:v>25052</c:v>
                </c:pt>
                <c:pt idx="71239">
                  <c:v>25050</c:v>
                </c:pt>
                <c:pt idx="71240">
                  <c:v>25039</c:v>
                </c:pt>
                <c:pt idx="71241">
                  <c:v>25028</c:v>
                </c:pt>
                <c:pt idx="71242">
                  <c:v>25020</c:v>
                </c:pt>
                <c:pt idx="71243">
                  <c:v>24976</c:v>
                </c:pt>
                <c:pt idx="71244">
                  <c:v>24950</c:v>
                </c:pt>
                <c:pt idx="71245">
                  <c:v>24949</c:v>
                </c:pt>
                <c:pt idx="71246">
                  <c:v>24936</c:v>
                </c:pt>
                <c:pt idx="71247">
                  <c:v>24917</c:v>
                </c:pt>
                <c:pt idx="71248">
                  <c:v>24915</c:v>
                </c:pt>
                <c:pt idx="71249">
                  <c:v>24911</c:v>
                </c:pt>
                <c:pt idx="71250">
                  <c:v>24910</c:v>
                </c:pt>
                <c:pt idx="71251">
                  <c:v>24907</c:v>
                </c:pt>
                <c:pt idx="71252">
                  <c:v>24901</c:v>
                </c:pt>
                <c:pt idx="71253">
                  <c:v>24877</c:v>
                </c:pt>
                <c:pt idx="71254">
                  <c:v>24857</c:v>
                </c:pt>
                <c:pt idx="71255">
                  <c:v>24850</c:v>
                </c:pt>
                <c:pt idx="71256">
                  <c:v>24843</c:v>
                </c:pt>
                <c:pt idx="71257">
                  <c:v>24841</c:v>
                </c:pt>
                <c:pt idx="71258">
                  <c:v>24839</c:v>
                </c:pt>
                <c:pt idx="71259">
                  <c:v>24823</c:v>
                </c:pt>
                <c:pt idx="71260">
                  <c:v>24817</c:v>
                </c:pt>
                <c:pt idx="71261">
                  <c:v>24816</c:v>
                </c:pt>
                <c:pt idx="71262">
                  <c:v>24801</c:v>
                </c:pt>
                <c:pt idx="71263">
                  <c:v>24787</c:v>
                </c:pt>
                <c:pt idx="71264">
                  <c:v>24784</c:v>
                </c:pt>
                <c:pt idx="71265">
                  <c:v>24765</c:v>
                </c:pt>
                <c:pt idx="71266">
                  <c:v>24754</c:v>
                </c:pt>
                <c:pt idx="71267">
                  <c:v>24743</c:v>
                </c:pt>
                <c:pt idx="71268">
                  <c:v>24735</c:v>
                </c:pt>
                <c:pt idx="71269">
                  <c:v>24714</c:v>
                </c:pt>
                <c:pt idx="71270">
                  <c:v>24666</c:v>
                </c:pt>
                <c:pt idx="71271">
                  <c:v>24648</c:v>
                </c:pt>
                <c:pt idx="71272">
                  <c:v>24635</c:v>
                </c:pt>
                <c:pt idx="71273">
                  <c:v>24621</c:v>
                </c:pt>
                <c:pt idx="71274">
                  <c:v>24613</c:v>
                </c:pt>
                <c:pt idx="71275">
                  <c:v>24607</c:v>
                </c:pt>
                <c:pt idx="71276">
                  <c:v>24600</c:v>
                </c:pt>
                <c:pt idx="71277">
                  <c:v>24589</c:v>
                </c:pt>
                <c:pt idx="71278">
                  <c:v>24580</c:v>
                </c:pt>
                <c:pt idx="71279">
                  <c:v>24565</c:v>
                </c:pt>
                <c:pt idx="71280">
                  <c:v>24565</c:v>
                </c:pt>
                <c:pt idx="71281">
                  <c:v>24541</c:v>
                </c:pt>
                <c:pt idx="71282">
                  <c:v>24530</c:v>
                </c:pt>
                <c:pt idx="71283">
                  <c:v>24527</c:v>
                </c:pt>
                <c:pt idx="71284">
                  <c:v>24514</c:v>
                </c:pt>
                <c:pt idx="71285">
                  <c:v>24514</c:v>
                </c:pt>
                <c:pt idx="71286">
                  <c:v>24514</c:v>
                </c:pt>
                <c:pt idx="71287">
                  <c:v>24512</c:v>
                </c:pt>
                <c:pt idx="71288">
                  <c:v>24509</c:v>
                </c:pt>
                <c:pt idx="71289">
                  <c:v>24483</c:v>
                </c:pt>
                <c:pt idx="71290">
                  <c:v>24481</c:v>
                </c:pt>
                <c:pt idx="71291">
                  <c:v>24452</c:v>
                </c:pt>
                <c:pt idx="71292">
                  <c:v>24444</c:v>
                </c:pt>
                <c:pt idx="71293">
                  <c:v>24439</c:v>
                </c:pt>
                <c:pt idx="71294">
                  <c:v>24435</c:v>
                </c:pt>
                <c:pt idx="71295">
                  <c:v>24434</c:v>
                </c:pt>
                <c:pt idx="71296">
                  <c:v>24432</c:v>
                </c:pt>
                <c:pt idx="71297">
                  <c:v>24431</c:v>
                </c:pt>
                <c:pt idx="71298">
                  <c:v>24427</c:v>
                </c:pt>
                <c:pt idx="71299">
                  <c:v>24424</c:v>
                </c:pt>
                <c:pt idx="71300">
                  <c:v>24412</c:v>
                </c:pt>
                <c:pt idx="71301">
                  <c:v>24404</c:v>
                </c:pt>
                <c:pt idx="71302">
                  <c:v>24385</c:v>
                </c:pt>
                <c:pt idx="71303">
                  <c:v>24383</c:v>
                </c:pt>
                <c:pt idx="71304">
                  <c:v>24375</c:v>
                </c:pt>
                <c:pt idx="71305">
                  <c:v>24372</c:v>
                </c:pt>
                <c:pt idx="71306">
                  <c:v>24370</c:v>
                </c:pt>
                <c:pt idx="71307">
                  <c:v>24364</c:v>
                </c:pt>
                <c:pt idx="71308">
                  <c:v>24363</c:v>
                </c:pt>
                <c:pt idx="71309">
                  <c:v>24352</c:v>
                </c:pt>
                <c:pt idx="71310">
                  <c:v>24344</c:v>
                </c:pt>
                <c:pt idx="71311">
                  <c:v>24344</c:v>
                </c:pt>
                <c:pt idx="71312">
                  <c:v>24326</c:v>
                </c:pt>
                <c:pt idx="71313">
                  <c:v>24325</c:v>
                </c:pt>
                <c:pt idx="71314">
                  <c:v>24318</c:v>
                </c:pt>
                <c:pt idx="71315">
                  <c:v>24307</c:v>
                </c:pt>
                <c:pt idx="71316">
                  <c:v>24269</c:v>
                </c:pt>
                <c:pt idx="71317">
                  <c:v>24253</c:v>
                </c:pt>
                <c:pt idx="71318">
                  <c:v>24226</c:v>
                </c:pt>
                <c:pt idx="71319">
                  <c:v>24225</c:v>
                </c:pt>
                <c:pt idx="71320">
                  <c:v>24221</c:v>
                </c:pt>
                <c:pt idx="71321">
                  <c:v>24202</c:v>
                </c:pt>
                <c:pt idx="71322">
                  <c:v>24191</c:v>
                </c:pt>
                <c:pt idx="71323">
                  <c:v>24189</c:v>
                </c:pt>
                <c:pt idx="71324">
                  <c:v>24186</c:v>
                </c:pt>
                <c:pt idx="71325">
                  <c:v>24172</c:v>
                </c:pt>
                <c:pt idx="71326">
                  <c:v>24165</c:v>
                </c:pt>
                <c:pt idx="71327">
                  <c:v>24161</c:v>
                </c:pt>
                <c:pt idx="71328">
                  <c:v>24160</c:v>
                </c:pt>
                <c:pt idx="71329">
                  <c:v>24158</c:v>
                </c:pt>
                <c:pt idx="71330">
                  <c:v>24156</c:v>
                </c:pt>
                <c:pt idx="71331">
                  <c:v>24136</c:v>
                </c:pt>
                <c:pt idx="71332">
                  <c:v>24128</c:v>
                </c:pt>
                <c:pt idx="71333">
                  <c:v>24117</c:v>
                </c:pt>
                <c:pt idx="71334">
                  <c:v>24115</c:v>
                </c:pt>
                <c:pt idx="71335">
                  <c:v>24113</c:v>
                </c:pt>
                <c:pt idx="71336">
                  <c:v>24108</c:v>
                </c:pt>
                <c:pt idx="71337">
                  <c:v>24105</c:v>
                </c:pt>
                <c:pt idx="71338">
                  <c:v>24094</c:v>
                </c:pt>
                <c:pt idx="71339">
                  <c:v>24052</c:v>
                </c:pt>
                <c:pt idx="71340">
                  <c:v>24050</c:v>
                </c:pt>
                <c:pt idx="71341">
                  <c:v>24041</c:v>
                </c:pt>
                <c:pt idx="71342">
                  <c:v>24030</c:v>
                </c:pt>
                <c:pt idx="71343">
                  <c:v>24026</c:v>
                </c:pt>
                <c:pt idx="71344">
                  <c:v>24021</c:v>
                </c:pt>
                <c:pt idx="71345">
                  <c:v>24016</c:v>
                </c:pt>
                <c:pt idx="71346">
                  <c:v>24006</c:v>
                </c:pt>
                <c:pt idx="71347">
                  <c:v>24001</c:v>
                </c:pt>
                <c:pt idx="71348">
                  <c:v>23998</c:v>
                </c:pt>
                <c:pt idx="71349">
                  <c:v>23993</c:v>
                </c:pt>
                <c:pt idx="71350">
                  <c:v>23987</c:v>
                </c:pt>
                <c:pt idx="71351">
                  <c:v>23977</c:v>
                </c:pt>
                <c:pt idx="71352">
                  <c:v>23970</c:v>
                </c:pt>
                <c:pt idx="71353">
                  <c:v>23968</c:v>
                </c:pt>
                <c:pt idx="71354">
                  <c:v>23967</c:v>
                </c:pt>
                <c:pt idx="71355">
                  <c:v>23955</c:v>
                </c:pt>
                <c:pt idx="71356">
                  <c:v>23931</c:v>
                </c:pt>
                <c:pt idx="71357">
                  <c:v>23928</c:v>
                </c:pt>
                <c:pt idx="71358">
                  <c:v>23910</c:v>
                </c:pt>
                <c:pt idx="71359">
                  <c:v>23891</c:v>
                </c:pt>
                <c:pt idx="71360">
                  <c:v>23871</c:v>
                </c:pt>
                <c:pt idx="71361">
                  <c:v>23864</c:v>
                </c:pt>
                <c:pt idx="71362">
                  <c:v>23854</c:v>
                </c:pt>
                <c:pt idx="71363">
                  <c:v>23850</c:v>
                </c:pt>
                <c:pt idx="71364">
                  <c:v>23848</c:v>
                </c:pt>
                <c:pt idx="71365">
                  <c:v>23848</c:v>
                </c:pt>
                <c:pt idx="71366">
                  <c:v>23837</c:v>
                </c:pt>
                <c:pt idx="71367">
                  <c:v>23829</c:v>
                </c:pt>
                <c:pt idx="71368">
                  <c:v>23827</c:v>
                </c:pt>
                <c:pt idx="71369">
                  <c:v>23811</c:v>
                </c:pt>
                <c:pt idx="71370">
                  <c:v>23793</c:v>
                </c:pt>
                <c:pt idx="71371">
                  <c:v>23786</c:v>
                </c:pt>
                <c:pt idx="71372">
                  <c:v>23776</c:v>
                </c:pt>
                <c:pt idx="71373">
                  <c:v>23771</c:v>
                </c:pt>
                <c:pt idx="71374">
                  <c:v>23769</c:v>
                </c:pt>
                <c:pt idx="71375">
                  <c:v>23769</c:v>
                </c:pt>
                <c:pt idx="71376">
                  <c:v>23760</c:v>
                </c:pt>
                <c:pt idx="71377">
                  <c:v>23727</c:v>
                </c:pt>
                <c:pt idx="71378">
                  <c:v>23725</c:v>
                </c:pt>
                <c:pt idx="71379">
                  <c:v>23711</c:v>
                </c:pt>
                <c:pt idx="71380">
                  <c:v>23698</c:v>
                </c:pt>
                <c:pt idx="71381">
                  <c:v>23677</c:v>
                </c:pt>
                <c:pt idx="71382">
                  <c:v>23554</c:v>
                </c:pt>
                <c:pt idx="71383">
                  <c:v>23545</c:v>
                </c:pt>
                <c:pt idx="71384">
                  <c:v>23529</c:v>
                </c:pt>
                <c:pt idx="71385">
                  <c:v>23521</c:v>
                </c:pt>
                <c:pt idx="71386">
                  <c:v>23486</c:v>
                </c:pt>
                <c:pt idx="71387">
                  <c:v>23481</c:v>
                </c:pt>
                <c:pt idx="71388">
                  <c:v>23478</c:v>
                </c:pt>
                <c:pt idx="71389">
                  <c:v>23478</c:v>
                </c:pt>
                <c:pt idx="71390">
                  <c:v>23477</c:v>
                </c:pt>
                <c:pt idx="71391">
                  <c:v>23463</c:v>
                </c:pt>
                <c:pt idx="71392">
                  <c:v>23461</c:v>
                </c:pt>
                <c:pt idx="71393">
                  <c:v>23455</c:v>
                </c:pt>
                <c:pt idx="71394">
                  <c:v>23439</c:v>
                </c:pt>
                <c:pt idx="71395">
                  <c:v>23436</c:v>
                </c:pt>
                <c:pt idx="71396">
                  <c:v>23395</c:v>
                </c:pt>
                <c:pt idx="71397">
                  <c:v>23391</c:v>
                </c:pt>
                <c:pt idx="71398">
                  <c:v>23382</c:v>
                </c:pt>
                <c:pt idx="71399">
                  <c:v>23381</c:v>
                </c:pt>
                <c:pt idx="71400">
                  <c:v>23378</c:v>
                </c:pt>
                <c:pt idx="71401">
                  <c:v>23374</c:v>
                </c:pt>
                <c:pt idx="71402">
                  <c:v>23372</c:v>
                </c:pt>
                <c:pt idx="71403">
                  <c:v>23356</c:v>
                </c:pt>
                <c:pt idx="71404">
                  <c:v>23356</c:v>
                </c:pt>
                <c:pt idx="71405">
                  <c:v>23322</c:v>
                </c:pt>
                <c:pt idx="71406">
                  <c:v>23290</c:v>
                </c:pt>
                <c:pt idx="71407">
                  <c:v>23257</c:v>
                </c:pt>
                <c:pt idx="71408">
                  <c:v>23242</c:v>
                </c:pt>
                <c:pt idx="71409">
                  <c:v>23193</c:v>
                </c:pt>
                <c:pt idx="71410">
                  <c:v>23185</c:v>
                </c:pt>
                <c:pt idx="71411">
                  <c:v>23156</c:v>
                </c:pt>
                <c:pt idx="71412">
                  <c:v>23150</c:v>
                </c:pt>
                <c:pt idx="71413">
                  <c:v>23139</c:v>
                </c:pt>
                <c:pt idx="71414">
                  <c:v>23137</c:v>
                </c:pt>
                <c:pt idx="71415">
                  <c:v>23129</c:v>
                </c:pt>
                <c:pt idx="71416">
                  <c:v>23128</c:v>
                </c:pt>
                <c:pt idx="71417">
                  <c:v>23128</c:v>
                </c:pt>
                <c:pt idx="71418">
                  <c:v>23108</c:v>
                </c:pt>
                <c:pt idx="71419">
                  <c:v>23105</c:v>
                </c:pt>
                <c:pt idx="71420">
                  <c:v>23082</c:v>
                </c:pt>
                <c:pt idx="71421">
                  <c:v>23073</c:v>
                </c:pt>
                <c:pt idx="71422">
                  <c:v>23046</c:v>
                </c:pt>
                <c:pt idx="71423">
                  <c:v>23041</c:v>
                </c:pt>
                <c:pt idx="71424">
                  <c:v>23025</c:v>
                </c:pt>
                <c:pt idx="71425">
                  <c:v>23017</c:v>
                </c:pt>
                <c:pt idx="71426">
                  <c:v>22992</c:v>
                </c:pt>
                <c:pt idx="71427">
                  <c:v>22985</c:v>
                </c:pt>
                <c:pt idx="71428">
                  <c:v>22985</c:v>
                </c:pt>
                <c:pt idx="71429">
                  <c:v>22983</c:v>
                </c:pt>
                <c:pt idx="71430">
                  <c:v>22979</c:v>
                </c:pt>
                <c:pt idx="71431">
                  <c:v>22941</c:v>
                </c:pt>
                <c:pt idx="71432">
                  <c:v>22921</c:v>
                </c:pt>
                <c:pt idx="71433">
                  <c:v>22917</c:v>
                </c:pt>
                <c:pt idx="71434">
                  <c:v>22915</c:v>
                </c:pt>
                <c:pt idx="71435">
                  <c:v>22903</c:v>
                </c:pt>
                <c:pt idx="71436">
                  <c:v>22875</c:v>
                </c:pt>
                <c:pt idx="71437">
                  <c:v>22844</c:v>
                </c:pt>
                <c:pt idx="71438">
                  <c:v>22838</c:v>
                </c:pt>
                <c:pt idx="71439">
                  <c:v>22749</c:v>
                </c:pt>
                <c:pt idx="71440">
                  <c:v>22705</c:v>
                </c:pt>
                <c:pt idx="71441">
                  <c:v>22679</c:v>
                </c:pt>
                <c:pt idx="71442">
                  <c:v>22634</c:v>
                </c:pt>
                <c:pt idx="71443">
                  <c:v>22590</c:v>
                </c:pt>
                <c:pt idx="71444">
                  <c:v>22555</c:v>
                </c:pt>
                <c:pt idx="71445">
                  <c:v>22544</c:v>
                </c:pt>
                <c:pt idx="71446">
                  <c:v>22538</c:v>
                </c:pt>
                <c:pt idx="71447">
                  <c:v>22531</c:v>
                </c:pt>
                <c:pt idx="71448">
                  <c:v>22521</c:v>
                </c:pt>
                <c:pt idx="71449">
                  <c:v>22471</c:v>
                </c:pt>
                <c:pt idx="71450">
                  <c:v>22455</c:v>
                </c:pt>
                <c:pt idx="71451">
                  <c:v>22443</c:v>
                </c:pt>
                <c:pt idx="71452">
                  <c:v>22424</c:v>
                </c:pt>
                <c:pt idx="71453">
                  <c:v>22405</c:v>
                </c:pt>
                <c:pt idx="71454">
                  <c:v>22402</c:v>
                </c:pt>
                <c:pt idx="71455">
                  <c:v>22394</c:v>
                </c:pt>
                <c:pt idx="71456">
                  <c:v>22391</c:v>
                </c:pt>
                <c:pt idx="71457">
                  <c:v>22383</c:v>
                </c:pt>
                <c:pt idx="71458">
                  <c:v>22378</c:v>
                </c:pt>
                <c:pt idx="71459">
                  <c:v>22317</c:v>
                </c:pt>
                <c:pt idx="71460">
                  <c:v>22283</c:v>
                </c:pt>
                <c:pt idx="71461">
                  <c:v>22282</c:v>
                </c:pt>
                <c:pt idx="71462">
                  <c:v>22270</c:v>
                </c:pt>
                <c:pt idx="71463">
                  <c:v>22255</c:v>
                </c:pt>
                <c:pt idx="71464">
                  <c:v>22161</c:v>
                </c:pt>
                <c:pt idx="71465">
                  <c:v>22122</c:v>
                </c:pt>
                <c:pt idx="71466">
                  <c:v>22104</c:v>
                </c:pt>
                <c:pt idx="71467">
                  <c:v>22076</c:v>
                </c:pt>
                <c:pt idx="71468">
                  <c:v>21973</c:v>
                </c:pt>
                <c:pt idx="71469">
                  <c:v>21896</c:v>
                </c:pt>
                <c:pt idx="71470">
                  <c:v>21841</c:v>
                </c:pt>
                <c:pt idx="71471">
                  <c:v>21837</c:v>
                </c:pt>
                <c:pt idx="71472">
                  <c:v>21822</c:v>
                </c:pt>
                <c:pt idx="71473">
                  <c:v>21809</c:v>
                </c:pt>
                <c:pt idx="71474">
                  <c:v>21767</c:v>
                </c:pt>
                <c:pt idx="71475">
                  <c:v>21751</c:v>
                </c:pt>
                <c:pt idx="71476">
                  <c:v>21651</c:v>
                </c:pt>
                <c:pt idx="71477">
                  <c:v>21553</c:v>
                </c:pt>
                <c:pt idx="71478">
                  <c:v>21541</c:v>
                </c:pt>
                <c:pt idx="71479">
                  <c:v>21475</c:v>
                </c:pt>
                <c:pt idx="71480">
                  <c:v>21392</c:v>
                </c:pt>
                <c:pt idx="71481">
                  <c:v>21269</c:v>
                </c:pt>
                <c:pt idx="71482">
                  <c:v>21246</c:v>
                </c:pt>
                <c:pt idx="71483">
                  <c:v>21220</c:v>
                </c:pt>
                <c:pt idx="71484">
                  <c:v>21218</c:v>
                </c:pt>
                <c:pt idx="71485">
                  <c:v>20962</c:v>
                </c:pt>
                <c:pt idx="71486">
                  <c:v>20794</c:v>
                </c:pt>
                <c:pt idx="71487">
                  <c:v>20794</c:v>
                </c:pt>
                <c:pt idx="71488">
                  <c:v>20784</c:v>
                </c:pt>
                <c:pt idx="71489">
                  <c:v>20309</c:v>
                </c:pt>
                <c:pt idx="71490">
                  <c:v>19983</c:v>
                </c:pt>
                <c:pt idx="71491">
                  <c:v>19876</c:v>
                </c:pt>
                <c:pt idx="71492">
                  <c:v>19791</c:v>
                </c:pt>
                <c:pt idx="71493">
                  <c:v>19588</c:v>
                </c:pt>
                <c:pt idx="71494">
                  <c:v>19525</c:v>
                </c:pt>
                <c:pt idx="71495">
                  <c:v>18862</c:v>
                </c:pt>
                <c:pt idx="71496">
                  <c:v>18784</c:v>
                </c:pt>
                <c:pt idx="71497">
                  <c:v>18665</c:v>
                </c:pt>
                <c:pt idx="71498">
                  <c:v>18243</c:v>
                </c:pt>
                <c:pt idx="71499">
                  <c:v>18208</c:v>
                </c:pt>
                <c:pt idx="71500">
                  <c:v>17999</c:v>
                </c:pt>
                <c:pt idx="71501">
                  <c:v>17878</c:v>
                </c:pt>
                <c:pt idx="71502">
                  <c:v>17813</c:v>
                </c:pt>
                <c:pt idx="71503">
                  <c:v>17637</c:v>
                </c:pt>
                <c:pt idx="71504">
                  <c:v>17570</c:v>
                </c:pt>
                <c:pt idx="71505">
                  <c:v>17513</c:v>
                </c:pt>
                <c:pt idx="71506">
                  <c:v>17496</c:v>
                </c:pt>
                <c:pt idx="71507">
                  <c:v>17398</c:v>
                </c:pt>
                <c:pt idx="71508">
                  <c:v>17310</c:v>
                </c:pt>
                <c:pt idx="71509">
                  <c:v>17279</c:v>
                </c:pt>
                <c:pt idx="71510">
                  <c:v>17032</c:v>
                </c:pt>
                <c:pt idx="71511">
                  <c:v>16976</c:v>
                </c:pt>
                <c:pt idx="71512">
                  <c:v>16975</c:v>
                </c:pt>
                <c:pt idx="71513">
                  <c:v>16930</c:v>
                </c:pt>
                <c:pt idx="71514">
                  <c:v>16928</c:v>
                </c:pt>
                <c:pt idx="71515">
                  <c:v>16756</c:v>
                </c:pt>
                <c:pt idx="71516">
                  <c:v>16627</c:v>
                </c:pt>
                <c:pt idx="71517">
                  <c:v>16442</c:v>
                </c:pt>
                <c:pt idx="71518">
                  <c:v>16432</c:v>
                </c:pt>
                <c:pt idx="71519">
                  <c:v>16420</c:v>
                </c:pt>
                <c:pt idx="71520">
                  <c:v>16364</c:v>
                </c:pt>
                <c:pt idx="71521">
                  <c:v>16247</c:v>
                </c:pt>
                <c:pt idx="71522">
                  <c:v>16237</c:v>
                </c:pt>
                <c:pt idx="71523">
                  <c:v>16235</c:v>
                </c:pt>
                <c:pt idx="71524">
                  <c:v>16012</c:v>
                </c:pt>
                <c:pt idx="71525">
                  <c:v>15968</c:v>
                </c:pt>
                <c:pt idx="71526">
                  <c:v>15934</c:v>
                </c:pt>
                <c:pt idx="71527">
                  <c:v>15677</c:v>
                </c:pt>
                <c:pt idx="71528">
                  <c:v>15671</c:v>
                </c:pt>
                <c:pt idx="71529">
                  <c:v>15658</c:v>
                </c:pt>
                <c:pt idx="71530">
                  <c:v>15650</c:v>
                </c:pt>
                <c:pt idx="71531">
                  <c:v>15614</c:v>
                </c:pt>
                <c:pt idx="71532">
                  <c:v>15606</c:v>
                </c:pt>
                <c:pt idx="71533">
                  <c:v>15501</c:v>
                </c:pt>
                <c:pt idx="71534">
                  <c:v>15468</c:v>
                </c:pt>
                <c:pt idx="71535">
                  <c:v>15465</c:v>
                </c:pt>
                <c:pt idx="71536">
                  <c:v>15464</c:v>
                </c:pt>
                <c:pt idx="71537">
                  <c:v>15462</c:v>
                </c:pt>
                <c:pt idx="71538">
                  <c:v>15458</c:v>
                </c:pt>
                <c:pt idx="71539">
                  <c:v>15246</c:v>
                </c:pt>
                <c:pt idx="71540">
                  <c:v>15242</c:v>
                </c:pt>
                <c:pt idx="71541">
                  <c:v>15191</c:v>
                </c:pt>
                <c:pt idx="71542">
                  <c:v>15125</c:v>
                </c:pt>
                <c:pt idx="71543">
                  <c:v>15074</c:v>
                </c:pt>
                <c:pt idx="71544">
                  <c:v>15053</c:v>
                </c:pt>
                <c:pt idx="71545">
                  <c:v>15053</c:v>
                </c:pt>
                <c:pt idx="71546">
                  <c:v>15036</c:v>
                </c:pt>
                <c:pt idx="71547">
                  <c:v>15012</c:v>
                </c:pt>
                <c:pt idx="71548">
                  <c:v>14968</c:v>
                </c:pt>
                <c:pt idx="71549">
                  <c:v>14921</c:v>
                </c:pt>
                <c:pt idx="71550">
                  <c:v>14917</c:v>
                </c:pt>
                <c:pt idx="71551">
                  <c:v>14856</c:v>
                </c:pt>
                <c:pt idx="71552">
                  <c:v>14854</c:v>
                </c:pt>
                <c:pt idx="71553">
                  <c:v>14810</c:v>
                </c:pt>
                <c:pt idx="71554">
                  <c:v>14787</c:v>
                </c:pt>
                <c:pt idx="71555">
                  <c:v>14779</c:v>
                </c:pt>
                <c:pt idx="71556">
                  <c:v>14760</c:v>
                </c:pt>
                <c:pt idx="71557">
                  <c:v>14747</c:v>
                </c:pt>
                <c:pt idx="71558">
                  <c:v>14698</c:v>
                </c:pt>
                <c:pt idx="71559">
                  <c:v>14684</c:v>
                </c:pt>
                <c:pt idx="71560">
                  <c:v>14672</c:v>
                </c:pt>
                <c:pt idx="71561">
                  <c:v>14670</c:v>
                </c:pt>
                <c:pt idx="71562">
                  <c:v>14650</c:v>
                </c:pt>
                <c:pt idx="71563">
                  <c:v>14630</c:v>
                </c:pt>
                <c:pt idx="71564">
                  <c:v>14618</c:v>
                </c:pt>
                <c:pt idx="71565">
                  <c:v>14596</c:v>
                </c:pt>
                <c:pt idx="71566">
                  <c:v>14551</c:v>
                </c:pt>
                <c:pt idx="71567">
                  <c:v>14504</c:v>
                </c:pt>
                <c:pt idx="71568">
                  <c:v>14496</c:v>
                </c:pt>
                <c:pt idx="71569">
                  <c:v>14463</c:v>
                </c:pt>
                <c:pt idx="71570">
                  <c:v>14454</c:v>
                </c:pt>
                <c:pt idx="71571">
                  <c:v>14436</c:v>
                </c:pt>
                <c:pt idx="71572">
                  <c:v>14415</c:v>
                </c:pt>
                <c:pt idx="71573">
                  <c:v>14407</c:v>
                </c:pt>
                <c:pt idx="71574">
                  <c:v>14389</c:v>
                </c:pt>
                <c:pt idx="71575">
                  <c:v>14385</c:v>
                </c:pt>
                <c:pt idx="71576">
                  <c:v>14378</c:v>
                </c:pt>
                <c:pt idx="71577">
                  <c:v>14373</c:v>
                </c:pt>
                <c:pt idx="71578">
                  <c:v>14371</c:v>
                </c:pt>
                <c:pt idx="71579">
                  <c:v>14328</c:v>
                </c:pt>
                <c:pt idx="71580">
                  <c:v>14324</c:v>
                </c:pt>
                <c:pt idx="71581">
                  <c:v>14248</c:v>
                </c:pt>
                <c:pt idx="71582">
                  <c:v>14248</c:v>
                </c:pt>
                <c:pt idx="71583">
                  <c:v>14247</c:v>
                </c:pt>
                <c:pt idx="71584">
                  <c:v>14238</c:v>
                </c:pt>
                <c:pt idx="71585">
                  <c:v>14199</c:v>
                </c:pt>
                <c:pt idx="71586">
                  <c:v>14164</c:v>
                </c:pt>
                <c:pt idx="71587">
                  <c:v>14109</c:v>
                </c:pt>
                <c:pt idx="71588">
                  <c:v>14070</c:v>
                </c:pt>
                <c:pt idx="71589">
                  <c:v>14068</c:v>
                </c:pt>
                <c:pt idx="71590">
                  <c:v>14066</c:v>
                </c:pt>
                <c:pt idx="71591">
                  <c:v>14065</c:v>
                </c:pt>
                <c:pt idx="71592">
                  <c:v>14038</c:v>
                </c:pt>
                <c:pt idx="71593">
                  <c:v>13996</c:v>
                </c:pt>
                <c:pt idx="71594">
                  <c:v>13954</c:v>
                </c:pt>
                <c:pt idx="71595">
                  <c:v>13950</c:v>
                </c:pt>
                <c:pt idx="71596">
                  <c:v>13949</c:v>
                </c:pt>
                <c:pt idx="71597">
                  <c:v>13946</c:v>
                </c:pt>
                <c:pt idx="71598">
                  <c:v>13941</c:v>
                </c:pt>
                <c:pt idx="71599">
                  <c:v>13932</c:v>
                </c:pt>
                <c:pt idx="71600">
                  <c:v>13915</c:v>
                </c:pt>
                <c:pt idx="71601">
                  <c:v>13910</c:v>
                </c:pt>
                <c:pt idx="71602">
                  <c:v>13898</c:v>
                </c:pt>
                <c:pt idx="71603">
                  <c:v>13889</c:v>
                </c:pt>
                <c:pt idx="71604">
                  <c:v>13883</c:v>
                </c:pt>
                <c:pt idx="71605">
                  <c:v>13845</c:v>
                </c:pt>
                <c:pt idx="71606">
                  <c:v>13840</c:v>
                </c:pt>
                <c:pt idx="71607">
                  <c:v>13825</c:v>
                </c:pt>
                <c:pt idx="71608">
                  <c:v>13806</c:v>
                </c:pt>
                <c:pt idx="71609">
                  <c:v>13799</c:v>
                </c:pt>
                <c:pt idx="71610">
                  <c:v>13793</c:v>
                </c:pt>
                <c:pt idx="71611">
                  <c:v>13788</c:v>
                </c:pt>
                <c:pt idx="71612">
                  <c:v>13725</c:v>
                </c:pt>
                <c:pt idx="71613">
                  <c:v>13723</c:v>
                </c:pt>
                <c:pt idx="71614">
                  <c:v>13713</c:v>
                </c:pt>
                <c:pt idx="71615">
                  <c:v>13685</c:v>
                </c:pt>
                <c:pt idx="71616">
                  <c:v>13681</c:v>
                </c:pt>
                <c:pt idx="71617">
                  <c:v>13674</c:v>
                </c:pt>
                <c:pt idx="71618">
                  <c:v>13627</c:v>
                </c:pt>
                <c:pt idx="71619">
                  <c:v>13616</c:v>
                </c:pt>
                <c:pt idx="71620">
                  <c:v>13614</c:v>
                </c:pt>
                <c:pt idx="71621">
                  <c:v>13582</c:v>
                </c:pt>
                <c:pt idx="71622">
                  <c:v>13573</c:v>
                </c:pt>
                <c:pt idx="71623">
                  <c:v>13543</c:v>
                </c:pt>
                <c:pt idx="71624">
                  <c:v>13501</c:v>
                </c:pt>
                <c:pt idx="71625">
                  <c:v>13494</c:v>
                </c:pt>
                <c:pt idx="71626">
                  <c:v>13486</c:v>
                </c:pt>
                <c:pt idx="71627">
                  <c:v>13468</c:v>
                </c:pt>
                <c:pt idx="71628">
                  <c:v>13467</c:v>
                </c:pt>
                <c:pt idx="71629">
                  <c:v>13467</c:v>
                </c:pt>
                <c:pt idx="71630">
                  <c:v>13462</c:v>
                </c:pt>
                <c:pt idx="71631">
                  <c:v>13458</c:v>
                </c:pt>
                <c:pt idx="71632">
                  <c:v>13439</c:v>
                </c:pt>
                <c:pt idx="71633">
                  <c:v>13436</c:v>
                </c:pt>
                <c:pt idx="71634">
                  <c:v>13402</c:v>
                </c:pt>
                <c:pt idx="71635">
                  <c:v>13374</c:v>
                </c:pt>
                <c:pt idx="71636">
                  <c:v>13371</c:v>
                </c:pt>
                <c:pt idx="71637">
                  <c:v>13370</c:v>
                </c:pt>
                <c:pt idx="71638">
                  <c:v>13367</c:v>
                </c:pt>
                <c:pt idx="71639">
                  <c:v>13360</c:v>
                </c:pt>
                <c:pt idx="71640">
                  <c:v>13345</c:v>
                </c:pt>
                <c:pt idx="71641">
                  <c:v>13332</c:v>
                </c:pt>
                <c:pt idx="71642">
                  <c:v>13314</c:v>
                </c:pt>
                <c:pt idx="71643">
                  <c:v>13313</c:v>
                </c:pt>
                <c:pt idx="71644">
                  <c:v>13311</c:v>
                </c:pt>
                <c:pt idx="71645">
                  <c:v>13307</c:v>
                </c:pt>
                <c:pt idx="71646">
                  <c:v>13305</c:v>
                </c:pt>
                <c:pt idx="71647">
                  <c:v>13303</c:v>
                </c:pt>
                <c:pt idx="71648">
                  <c:v>13301</c:v>
                </c:pt>
                <c:pt idx="71649">
                  <c:v>13299</c:v>
                </c:pt>
                <c:pt idx="71650">
                  <c:v>13296</c:v>
                </c:pt>
                <c:pt idx="71651">
                  <c:v>13289</c:v>
                </c:pt>
                <c:pt idx="71652">
                  <c:v>13284</c:v>
                </c:pt>
                <c:pt idx="71653">
                  <c:v>13277</c:v>
                </c:pt>
                <c:pt idx="71654">
                  <c:v>13262</c:v>
                </c:pt>
                <c:pt idx="71655">
                  <c:v>13261</c:v>
                </c:pt>
                <c:pt idx="71656">
                  <c:v>13246</c:v>
                </c:pt>
                <c:pt idx="71657">
                  <c:v>13240</c:v>
                </c:pt>
                <c:pt idx="71658">
                  <c:v>13204</c:v>
                </c:pt>
                <c:pt idx="71659">
                  <c:v>13198</c:v>
                </c:pt>
                <c:pt idx="71660">
                  <c:v>13189</c:v>
                </c:pt>
                <c:pt idx="71661">
                  <c:v>13181</c:v>
                </c:pt>
                <c:pt idx="71662">
                  <c:v>13173</c:v>
                </c:pt>
                <c:pt idx="71663">
                  <c:v>13169</c:v>
                </c:pt>
                <c:pt idx="71664">
                  <c:v>13164</c:v>
                </c:pt>
                <c:pt idx="71665">
                  <c:v>13156</c:v>
                </c:pt>
                <c:pt idx="71666">
                  <c:v>13156</c:v>
                </c:pt>
                <c:pt idx="71667">
                  <c:v>13152</c:v>
                </c:pt>
                <c:pt idx="71668">
                  <c:v>13150</c:v>
                </c:pt>
                <c:pt idx="71669">
                  <c:v>13145</c:v>
                </c:pt>
                <c:pt idx="71670">
                  <c:v>13118</c:v>
                </c:pt>
                <c:pt idx="71671">
                  <c:v>13106</c:v>
                </c:pt>
                <c:pt idx="71672">
                  <c:v>13101</c:v>
                </c:pt>
                <c:pt idx="71673">
                  <c:v>13080</c:v>
                </c:pt>
                <c:pt idx="71674">
                  <c:v>13060</c:v>
                </c:pt>
                <c:pt idx="71675">
                  <c:v>13059</c:v>
                </c:pt>
                <c:pt idx="71676">
                  <c:v>13054</c:v>
                </c:pt>
                <c:pt idx="71677">
                  <c:v>13053</c:v>
                </c:pt>
                <c:pt idx="71678">
                  <c:v>13048</c:v>
                </c:pt>
                <c:pt idx="71679">
                  <c:v>13043</c:v>
                </c:pt>
                <c:pt idx="71680">
                  <c:v>13036</c:v>
                </c:pt>
                <c:pt idx="71681">
                  <c:v>13026</c:v>
                </c:pt>
                <c:pt idx="71682">
                  <c:v>13022</c:v>
                </c:pt>
                <c:pt idx="71683">
                  <c:v>13019</c:v>
                </c:pt>
                <c:pt idx="71684">
                  <c:v>13011</c:v>
                </c:pt>
                <c:pt idx="71685">
                  <c:v>13006</c:v>
                </c:pt>
                <c:pt idx="71686">
                  <c:v>13001</c:v>
                </c:pt>
                <c:pt idx="71687">
                  <c:v>12999</c:v>
                </c:pt>
                <c:pt idx="71688">
                  <c:v>12998</c:v>
                </c:pt>
                <c:pt idx="71689">
                  <c:v>12979</c:v>
                </c:pt>
                <c:pt idx="71690">
                  <c:v>12961</c:v>
                </c:pt>
                <c:pt idx="71691">
                  <c:v>12960</c:v>
                </c:pt>
                <c:pt idx="71692">
                  <c:v>12929</c:v>
                </c:pt>
                <c:pt idx="71693">
                  <c:v>12924</c:v>
                </c:pt>
                <c:pt idx="71694">
                  <c:v>12906</c:v>
                </c:pt>
                <c:pt idx="71695">
                  <c:v>12903</c:v>
                </c:pt>
                <c:pt idx="71696">
                  <c:v>12900</c:v>
                </c:pt>
                <c:pt idx="71697">
                  <c:v>12897</c:v>
                </c:pt>
                <c:pt idx="71698">
                  <c:v>12890</c:v>
                </c:pt>
                <c:pt idx="71699">
                  <c:v>12885</c:v>
                </c:pt>
                <c:pt idx="71700">
                  <c:v>12882</c:v>
                </c:pt>
                <c:pt idx="71701">
                  <c:v>12876</c:v>
                </c:pt>
                <c:pt idx="71702">
                  <c:v>12866</c:v>
                </c:pt>
                <c:pt idx="71703">
                  <c:v>12863</c:v>
                </c:pt>
                <c:pt idx="71704">
                  <c:v>12858</c:v>
                </c:pt>
                <c:pt idx="71705">
                  <c:v>12855</c:v>
                </c:pt>
                <c:pt idx="71706">
                  <c:v>12855</c:v>
                </c:pt>
                <c:pt idx="71707">
                  <c:v>12826</c:v>
                </c:pt>
                <c:pt idx="71708">
                  <c:v>12815</c:v>
                </c:pt>
                <c:pt idx="71709">
                  <c:v>12808</c:v>
                </c:pt>
                <c:pt idx="71710">
                  <c:v>12806</c:v>
                </c:pt>
                <c:pt idx="71711">
                  <c:v>12804</c:v>
                </c:pt>
                <c:pt idx="71712">
                  <c:v>12802</c:v>
                </c:pt>
                <c:pt idx="71713">
                  <c:v>12788</c:v>
                </c:pt>
                <c:pt idx="71714">
                  <c:v>12784</c:v>
                </c:pt>
                <c:pt idx="71715">
                  <c:v>12783</c:v>
                </c:pt>
                <c:pt idx="71716">
                  <c:v>12777</c:v>
                </c:pt>
                <c:pt idx="71717">
                  <c:v>12766</c:v>
                </c:pt>
                <c:pt idx="71718">
                  <c:v>12763</c:v>
                </c:pt>
                <c:pt idx="71719">
                  <c:v>12758</c:v>
                </c:pt>
                <c:pt idx="71720">
                  <c:v>12755</c:v>
                </c:pt>
                <c:pt idx="71721">
                  <c:v>12755</c:v>
                </c:pt>
                <c:pt idx="71722">
                  <c:v>12747</c:v>
                </c:pt>
                <c:pt idx="71723">
                  <c:v>12746</c:v>
                </c:pt>
                <c:pt idx="71724">
                  <c:v>12745</c:v>
                </c:pt>
                <c:pt idx="71725">
                  <c:v>12741</c:v>
                </c:pt>
                <c:pt idx="71726">
                  <c:v>12730</c:v>
                </c:pt>
                <c:pt idx="71727">
                  <c:v>12714</c:v>
                </c:pt>
                <c:pt idx="71728">
                  <c:v>12679</c:v>
                </c:pt>
                <c:pt idx="71729">
                  <c:v>12677</c:v>
                </c:pt>
                <c:pt idx="71730">
                  <c:v>12651</c:v>
                </c:pt>
                <c:pt idx="71731">
                  <c:v>12649</c:v>
                </c:pt>
                <c:pt idx="71732">
                  <c:v>12648</c:v>
                </c:pt>
                <c:pt idx="71733">
                  <c:v>12641</c:v>
                </c:pt>
                <c:pt idx="71734">
                  <c:v>12627</c:v>
                </c:pt>
                <c:pt idx="71735">
                  <c:v>12625</c:v>
                </c:pt>
                <c:pt idx="71736">
                  <c:v>12618</c:v>
                </c:pt>
                <c:pt idx="71737">
                  <c:v>12615</c:v>
                </c:pt>
                <c:pt idx="71738">
                  <c:v>12605</c:v>
                </c:pt>
                <c:pt idx="71739">
                  <c:v>12591</c:v>
                </c:pt>
                <c:pt idx="71740">
                  <c:v>12584</c:v>
                </c:pt>
                <c:pt idx="71741">
                  <c:v>12582</c:v>
                </c:pt>
                <c:pt idx="71742">
                  <c:v>12570</c:v>
                </c:pt>
                <c:pt idx="71743">
                  <c:v>12540</c:v>
                </c:pt>
                <c:pt idx="71744">
                  <c:v>12529</c:v>
                </c:pt>
                <c:pt idx="71745">
                  <c:v>12517</c:v>
                </c:pt>
                <c:pt idx="71746">
                  <c:v>12514</c:v>
                </c:pt>
                <c:pt idx="71747">
                  <c:v>12511</c:v>
                </c:pt>
                <c:pt idx="71748">
                  <c:v>12503</c:v>
                </c:pt>
                <c:pt idx="71749">
                  <c:v>12499</c:v>
                </c:pt>
                <c:pt idx="71750">
                  <c:v>12493</c:v>
                </c:pt>
                <c:pt idx="71751">
                  <c:v>12477</c:v>
                </c:pt>
                <c:pt idx="71752">
                  <c:v>12473</c:v>
                </c:pt>
                <c:pt idx="71753">
                  <c:v>12473</c:v>
                </c:pt>
                <c:pt idx="71754">
                  <c:v>12465</c:v>
                </c:pt>
                <c:pt idx="71755">
                  <c:v>12464</c:v>
                </c:pt>
                <c:pt idx="71756">
                  <c:v>12458</c:v>
                </c:pt>
                <c:pt idx="71757">
                  <c:v>12457</c:v>
                </c:pt>
                <c:pt idx="71758">
                  <c:v>12440</c:v>
                </c:pt>
                <c:pt idx="71759">
                  <c:v>12432</c:v>
                </c:pt>
                <c:pt idx="71760">
                  <c:v>12423</c:v>
                </c:pt>
                <c:pt idx="71761">
                  <c:v>12416</c:v>
                </c:pt>
                <c:pt idx="71762">
                  <c:v>12402</c:v>
                </c:pt>
                <c:pt idx="71763">
                  <c:v>12400</c:v>
                </c:pt>
                <c:pt idx="71764">
                  <c:v>12386</c:v>
                </c:pt>
                <c:pt idx="71765">
                  <c:v>12377</c:v>
                </c:pt>
                <c:pt idx="71766">
                  <c:v>12374</c:v>
                </c:pt>
                <c:pt idx="71767">
                  <c:v>12336</c:v>
                </c:pt>
                <c:pt idx="71768">
                  <c:v>12321</c:v>
                </c:pt>
                <c:pt idx="71769">
                  <c:v>12320</c:v>
                </c:pt>
                <c:pt idx="71770">
                  <c:v>12319</c:v>
                </c:pt>
                <c:pt idx="71771">
                  <c:v>12316</c:v>
                </c:pt>
                <c:pt idx="71772">
                  <c:v>12308</c:v>
                </c:pt>
                <c:pt idx="71773">
                  <c:v>12305</c:v>
                </c:pt>
                <c:pt idx="71774">
                  <c:v>12304</c:v>
                </c:pt>
                <c:pt idx="71775">
                  <c:v>12292</c:v>
                </c:pt>
                <c:pt idx="71776">
                  <c:v>12287</c:v>
                </c:pt>
                <c:pt idx="71777">
                  <c:v>12285</c:v>
                </c:pt>
                <c:pt idx="71778">
                  <c:v>12265</c:v>
                </c:pt>
                <c:pt idx="71779">
                  <c:v>12259</c:v>
                </c:pt>
                <c:pt idx="71780">
                  <c:v>12259</c:v>
                </c:pt>
                <c:pt idx="71781">
                  <c:v>12259</c:v>
                </c:pt>
                <c:pt idx="71782">
                  <c:v>12253</c:v>
                </c:pt>
                <c:pt idx="71783">
                  <c:v>12245</c:v>
                </c:pt>
                <c:pt idx="71784">
                  <c:v>12244</c:v>
                </c:pt>
                <c:pt idx="71785">
                  <c:v>12244</c:v>
                </c:pt>
                <c:pt idx="71786">
                  <c:v>12241</c:v>
                </c:pt>
                <c:pt idx="71787">
                  <c:v>12237</c:v>
                </c:pt>
                <c:pt idx="71788">
                  <c:v>12234</c:v>
                </c:pt>
                <c:pt idx="71789">
                  <c:v>12227</c:v>
                </c:pt>
                <c:pt idx="71790">
                  <c:v>12210</c:v>
                </c:pt>
                <c:pt idx="71791">
                  <c:v>12206</c:v>
                </c:pt>
                <c:pt idx="71792">
                  <c:v>12201</c:v>
                </c:pt>
                <c:pt idx="71793">
                  <c:v>12180</c:v>
                </c:pt>
                <c:pt idx="71794">
                  <c:v>12171</c:v>
                </c:pt>
                <c:pt idx="71795">
                  <c:v>12154</c:v>
                </c:pt>
                <c:pt idx="71796">
                  <c:v>12147</c:v>
                </c:pt>
                <c:pt idx="71797">
                  <c:v>12144</c:v>
                </c:pt>
                <c:pt idx="71798">
                  <c:v>12141</c:v>
                </c:pt>
                <c:pt idx="71799">
                  <c:v>12139</c:v>
                </c:pt>
                <c:pt idx="71800">
                  <c:v>12128</c:v>
                </c:pt>
                <c:pt idx="71801">
                  <c:v>12095</c:v>
                </c:pt>
                <c:pt idx="71802">
                  <c:v>12085</c:v>
                </c:pt>
                <c:pt idx="71803">
                  <c:v>12085</c:v>
                </c:pt>
                <c:pt idx="71804">
                  <c:v>12081</c:v>
                </c:pt>
                <c:pt idx="71805">
                  <c:v>12069</c:v>
                </c:pt>
                <c:pt idx="71806">
                  <c:v>12065</c:v>
                </c:pt>
                <c:pt idx="71807">
                  <c:v>12058</c:v>
                </c:pt>
                <c:pt idx="71808">
                  <c:v>12044</c:v>
                </c:pt>
                <c:pt idx="71809">
                  <c:v>12030</c:v>
                </c:pt>
                <c:pt idx="71810">
                  <c:v>12018</c:v>
                </c:pt>
                <c:pt idx="71811">
                  <c:v>11990</c:v>
                </c:pt>
                <c:pt idx="71812">
                  <c:v>11990</c:v>
                </c:pt>
                <c:pt idx="71813">
                  <c:v>11983</c:v>
                </c:pt>
                <c:pt idx="71814">
                  <c:v>11980</c:v>
                </c:pt>
                <c:pt idx="71815">
                  <c:v>11969</c:v>
                </c:pt>
                <c:pt idx="71816">
                  <c:v>11963</c:v>
                </c:pt>
                <c:pt idx="71817">
                  <c:v>11950</c:v>
                </c:pt>
                <c:pt idx="71818">
                  <c:v>11948</c:v>
                </c:pt>
                <c:pt idx="71819">
                  <c:v>11922</c:v>
                </c:pt>
                <c:pt idx="71820">
                  <c:v>11921</c:v>
                </c:pt>
                <c:pt idx="71821">
                  <c:v>11887</c:v>
                </c:pt>
                <c:pt idx="71822">
                  <c:v>11876</c:v>
                </c:pt>
                <c:pt idx="71823">
                  <c:v>11866</c:v>
                </c:pt>
                <c:pt idx="71824">
                  <c:v>11851</c:v>
                </c:pt>
                <c:pt idx="71825">
                  <c:v>11846</c:v>
                </c:pt>
                <c:pt idx="71826">
                  <c:v>11845</c:v>
                </c:pt>
                <c:pt idx="71827">
                  <c:v>11835</c:v>
                </c:pt>
                <c:pt idx="71828">
                  <c:v>11822</c:v>
                </c:pt>
                <c:pt idx="71829">
                  <c:v>11804</c:v>
                </c:pt>
                <c:pt idx="71830">
                  <c:v>11760</c:v>
                </c:pt>
                <c:pt idx="71831">
                  <c:v>11754</c:v>
                </c:pt>
                <c:pt idx="71832">
                  <c:v>11748</c:v>
                </c:pt>
                <c:pt idx="71833">
                  <c:v>11741</c:v>
                </c:pt>
                <c:pt idx="71834">
                  <c:v>11737</c:v>
                </c:pt>
                <c:pt idx="71835">
                  <c:v>11732</c:v>
                </c:pt>
                <c:pt idx="71836">
                  <c:v>11725</c:v>
                </c:pt>
                <c:pt idx="71837">
                  <c:v>11722</c:v>
                </c:pt>
                <c:pt idx="71838">
                  <c:v>11715</c:v>
                </c:pt>
                <c:pt idx="71839">
                  <c:v>11713</c:v>
                </c:pt>
                <c:pt idx="71840">
                  <c:v>11712</c:v>
                </c:pt>
                <c:pt idx="71841">
                  <c:v>11712</c:v>
                </c:pt>
                <c:pt idx="71842">
                  <c:v>11708</c:v>
                </c:pt>
                <c:pt idx="71843">
                  <c:v>11708</c:v>
                </c:pt>
                <c:pt idx="71844">
                  <c:v>11698</c:v>
                </c:pt>
                <c:pt idx="71845">
                  <c:v>11691</c:v>
                </c:pt>
                <c:pt idx="71846">
                  <c:v>11690</c:v>
                </c:pt>
                <c:pt idx="71847">
                  <c:v>11687</c:v>
                </c:pt>
                <c:pt idx="71848">
                  <c:v>11686</c:v>
                </c:pt>
                <c:pt idx="71849">
                  <c:v>11682</c:v>
                </c:pt>
                <c:pt idx="71850">
                  <c:v>11679</c:v>
                </c:pt>
                <c:pt idx="71851">
                  <c:v>11671</c:v>
                </c:pt>
                <c:pt idx="71852">
                  <c:v>11670</c:v>
                </c:pt>
                <c:pt idx="71853">
                  <c:v>11668</c:v>
                </c:pt>
                <c:pt idx="71854">
                  <c:v>11655</c:v>
                </c:pt>
                <c:pt idx="71855">
                  <c:v>11645</c:v>
                </c:pt>
                <c:pt idx="71856">
                  <c:v>11641</c:v>
                </c:pt>
                <c:pt idx="71857">
                  <c:v>11639</c:v>
                </c:pt>
                <c:pt idx="71858">
                  <c:v>11632</c:v>
                </c:pt>
                <c:pt idx="71859">
                  <c:v>11631</c:v>
                </c:pt>
                <c:pt idx="71860">
                  <c:v>11606</c:v>
                </c:pt>
                <c:pt idx="71861">
                  <c:v>11593</c:v>
                </c:pt>
                <c:pt idx="71862">
                  <c:v>11588</c:v>
                </c:pt>
                <c:pt idx="71863">
                  <c:v>11568</c:v>
                </c:pt>
                <c:pt idx="71864">
                  <c:v>11557</c:v>
                </c:pt>
                <c:pt idx="71865">
                  <c:v>11547</c:v>
                </c:pt>
                <c:pt idx="71866">
                  <c:v>11544</c:v>
                </c:pt>
                <c:pt idx="71867">
                  <c:v>11475</c:v>
                </c:pt>
                <c:pt idx="71868">
                  <c:v>11438</c:v>
                </c:pt>
                <c:pt idx="71869">
                  <c:v>11425</c:v>
                </c:pt>
                <c:pt idx="71870">
                  <c:v>11423</c:v>
                </c:pt>
                <c:pt idx="71871">
                  <c:v>11408</c:v>
                </c:pt>
                <c:pt idx="71872">
                  <c:v>11391</c:v>
                </c:pt>
                <c:pt idx="71873">
                  <c:v>11380</c:v>
                </c:pt>
                <c:pt idx="71874">
                  <c:v>11370</c:v>
                </c:pt>
                <c:pt idx="71875">
                  <c:v>11367</c:v>
                </c:pt>
                <c:pt idx="71876">
                  <c:v>11361</c:v>
                </c:pt>
                <c:pt idx="71877">
                  <c:v>11352</c:v>
                </c:pt>
                <c:pt idx="71878">
                  <c:v>11346</c:v>
                </c:pt>
                <c:pt idx="71879">
                  <c:v>11342</c:v>
                </c:pt>
                <c:pt idx="71880">
                  <c:v>11324</c:v>
                </c:pt>
                <c:pt idx="71881">
                  <c:v>11299</c:v>
                </c:pt>
                <c:pt idx="71882">
                  <c:v>11290</c:v>
                </c:pt>
                <c:pt idx="71883">
                  <c:v>11286</c:v>
                </c:pt>
                <c:pt idx="71884">
                  <c:v>11285</c:v>
                </c:pt>
                <c:pt idx="71885">
                  <c:v>11284</c:v>
                </c:pt>
                <c:pt idx="71886">
                  <c:v>11212</c:v>
                </c:pt>
                <c:pt idx="71887">
                  <c:v>11203</c:v>
                </c:pt>
                <c:pt idx="71888">
                  <c:v>11200</c:v>
                </c:pt>
                <c:pt idx="71889">
                  <c:v>11198</c:v>
                </c:pt>
                <c:pt idx="71890">
                  <c:v>11197</c:v>
                </c:pt>
                <c:pt idx="71891">
                  <c:v>11174</c:v>
                </c:pt>
                <c:pt idx="71892">
                  <c:v>11160</c:v>
                </c:pt>
                <c:pt idx="71893">
                  <c:v>11107</c:v>
                </c:pt>
                <c:pt idx="71894">
                  <c:v>11091</c:v>
                </c:pt>
                <c:pt idx="71895">
                  <c:v>11079</c:v>
                </c:pt>
                <c:pt idx="71896">
                  <c:v>11066</c:v>
                </c:pt>
                <c:pt idx="71897">
                  <c:v>11062</c:v>
                </c:pt>
                <c:pt idx="71898">
                  <c:v>11059</c:v>
                </c:pt>
                <c:pt idx="71899">
                  <c:v>11052</c:v>
                </c:pt>
                <c:pt idx="71900">
                  <c:v>10996</c:v>
                </c:pt>
                <c:pt idx="71901">
                  <c:v>10975</c:v>
                </c:pt>
                <c:pt idx="71902">
                  <c:v>10926</c:v>
                </c:pt>
                <c:pt idx="71903">
                  <c:v>10920</c:v>
                </c:pt>
                <c:pt idx="71904">
                  <c:v>10861</c:v>
                </c:pt>
                <c:pt idx="71905">
                  <c:v>10833</c:v>
                </c:pt>
                <c:pt idx="71906">
                  <c:v>10829</c:v>
                </c:pt>
                <c:pt idx="71907">
                  <c:v>10806</c:v>
                </c:pt>
                <c:pt idx="71908">
                  <c:v>10752</c:v>
                </c:pt>
                <c:pt idx="71909">
                  <c:v>10727</c:v>
                </c:pt>
                <c:pt idx="71910">
                  <c:v>10691</c:v>
                </c:pt>
                <c:pt idx="71911">
                  <c:v>10678</c:v>
                </c:pt>
                <c:pt idx="71912">
                  <c:v>10668</c:v>
                </c:pt>
                <c:pt idx="71913">
                  <c:v>10634</c:v>
                </c:pt>
                <c:pt idx="71914">
                  <c:v>10589</c:v>
                </c:pt>
                <c:pt idx="71915">
                  <c:v>10376</c:v>
                </c:pt>
                <c:pt idx="71916">
                  <c:v>10370</c:v>
                </c:pt>
              </c:numCache>
            </c:numRef>
          </c:val>
          <c:extLst xmlns:c16r2="http://schemas.microsoft.com/office/drawing/2015/06/chart">
            <c:ext xmlns:c16="http://schemas.microsoft.com/office/drawing/2014/chart" uri="{C3380CC4-5D6E-409C-BE32-E72D297353CC}">
              <c16:uniqueId val="{00000000-24FB-4B49-A991-99BC365A4DD8}"/>
            </c:ext>
          </c:extLst>
        </c:ser>
        <c:dLbls>
          <c:showLegendKey val="0"/>
          <c:showVal val="0"/>
          <c:showCatName val="0"/>
          <c:showSerName val="0"/>
          <c:showPercent val="0"/>
          <c:showBubbleSize val="0"/>
        </c:dLbls>
        <c:gapWidth val="219"/>
        <c:overlap val="-27"/>
        <c:axId val="-1379881024"/>
        <c:axId val="-1379873408"/>
      </c:barChart>
      <c:catAx>
        <c:axId val="-1379881024"/>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3408"/>
        <c:crosses val="autoZero"/>
        <c:auto val="1"/>
        <c:lblAlgn val="ctr"/>
        <c:lblOffset val="100"/>
        <c:tickMarkSkip val="1000"/>
        <c:noMultiLvlLbl val="0"/>
      </c:catAx>
      <c:valAx>
        <c:axId val="-13798734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8102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ltLang="en-US" sz="1800" b="0" i="0" baseline="0" dirty="0" smtClean="0">
                <a:effectLst/>
              </a:rPr>
              <a:t>顧客照会</a:t>
            </a:r>
            <a:endParaRPr lang="ja-JP" altLang="ja-JP" dirty="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clustered"/>
        <c:varyColors val="0"/>
        <c:ser>
          <c:idx val="0"/>
          <c:order val="0"/>
          <c:tx>
            <c:strRef>
              <c:f>顧客照会!$J$1</c:f>
              <c:strCache>
                <c:ptCount val="1"/>
                <c:pt idx="0">
                  <c:v>実行結果</c:v>
                </c:pt>
              </c:strCache>
            </c:strRef>
          </c:tx>
          <c:spPr>
            <a:solidFill>
              <a:schemeClr val="accent1"/>
            </a:solidFill>
            <a:ln>
              <a:noFill/>
            </a:ln>
            <a:effectLst/>
          </c:spPr>
          <c:invertIfNegative val="0"/>
          <c:val>
            <c:numRef>
              <c:f>顧客照会!$J$2:$J$1645</c:f>
              <c:numCache>
                <c:formatCode>General</c:formatCode>
                <c:ptCount val="1344"/>
                <c:pt idx="0">
                  <c:v>4944877</c:v>
                </c:pt>
                <c:pt idx="1">
                  <c:v>286519</c:v>
                </c:pt>
                <c:pt idx="2">
                  <c:v>277164</c:v>
                </c:pt>
                <c:pt idx="3">
                  <c:v>276801</c:v>
                </c:pt>
                <c:pt idx="4">
                  <c:v>262511</c:v>
                </c:pt>
                <c:pt idx="5">
                  <c:v>259094</c:v>
                </c:pt>
                <c:pt idx="6">
                  <c:v>248838</c:v>
                </c:pt>
                <c:pt idx="7">
                  <c:v>239349</c:v>
                </c:pt>
                <c:pt idx="8">
                  <c:v>239265</c:v>
                </c:pt>
                <c:pt idx="9">
                  <c:v>229933</c:v>
                </c:pt>
                <c:pt idx="10">
                  <c:v>222925</c:v>
                </c:pt>
                <c:pt idx="11">
                  <c:v>221976</c:v>
                </c:pt>
                <c:pt idx="12">
                  <c:v>221696</c:v>
                </c:pt>
                <c:pt idx="13">
                  <c:v>219480</c:v>
                </c:pt>
                <c:pt idx="14">
                  <c:v>218777</c:v>
                </c:pt>
                <c:pt idx="15">
                  <c:v>218745</c:v>
                </c:pt>
                <c:pt idx="16">
                  <c:v>217748</c:v>
                </c:pt>
                <c:pt idx="17">
                  <c:v>213007</c:v>
                </c:pt>
                <c:pt idx="18">
                  <c:v>211406</c:v>
                </c:pt>
                <c:pt idx="19">
                  <c:v>198817</c:v>
                </c:pt>
                <c:pt idx="20">
                  <c:v>197754</c:v>
                </c:pt>
                <c:pt idx="21">
                  <c:v>196815</c:v>
                </c:pt>
                <c:pt idx="22">
                  <c:v>195868</c:v>
                </c:pt>
                <c:pt idx="23">
                  <c:v>190412</c:v>
                </c:pt>
                <c:pt idx="24">
                  <c:v>184277</c:v>
                </c:pt>
                <c:pt idx="25">
                  <c:v>170761</c:v>
                </c:pt>
                <c:pt idx="26">
                  <c:v>167684</c:v>
                </c:pt>
                <c:pt idx="27">
                  <c:v>167510</c:v>
                </c:pt>
                <c:pt idx="28">
                  <c:v>166137</c:v>
                </c:pt>
                <c:pt idx="29">
                  <c:v>165497</c:v>
                </c:pt>
                <c:pt idx="30">
                  <c:v>164402</c:v>
                </c:pt>
                <c:pt idx="31">
                  <c:v>163848</c:v>
                </c:pt>
                <c:pt idx="32">
                  <c:v>162679</c:v>
                </c:pt>
                <c:pt idx="33">
                  <c:v>159667</c:v>
                </c:pt>
                <c:pt idx="34">
                  <c:v>158623</c:v>
                </c:pt>
                <c:pt idx="35">
                  <c:v>158556</c:v>
                </c:pt>
                <c:pt idx="36">
                  <c:v>157880</c:v>
                </c:pt>
                <c:pt idx="37">
                  <c:v>154743</c:v>
                </c:pt>
                <c:pt idx="38">
                  <c:v>154640</c:v>
                </c:pt>
                <c:pt idx="39">
                  <c:v>151393</c:v>
                </c:pt>
                <c:pt idx="40">
                  <c:v>148497</c:v>
                </c:pt>
                <c:pt idx="41">
                  <c:v>148474</c:v>
                </c:pt>
                <c:pt idx="42">
                  <c:v>146907</c:v>
                </c:pt>
                <c:pt idx="43">
                  <c:v>146355</c:v>
                </c:pt>
                <c:pt idx="44">
                  <c:v>145510</c:v>
                </c:pt>
                <c:pt idx="45">
                  <c:v>142625</c:v>
                </c:pt>
                <c:pt idx="46">
                  <c:v>139934</c:v>
                </c:pt>
                <c:pt idx="47">
                  <c:v>139115</c:v>
                </c:pt>
                <c:pt idx="48">
                  <c:v>138468</c:v>
                </c:pt>
                <c:pt idx="49">
                  <c:v>136670</c:v>
                </c:pt>
                <c:pt idx="50">
                  <c:v>134946</c:v>
                </c:pt>
                <c:pt idx="51">
                  <c:v>134564</c:v>
                </c:pt>
                <c:pt idx="52">
                  <c:v>133866</c:v>
                </c:pt>
                <c:pt idx="53">
                  <c:v>132803</c:v>
                </c:pt>
                <c:pt idx="54">
                  <c:v>132316</c:v>
                </c:pt>
                <c:pt idx="55">
                  <c:v>130569</c:v>
                </c:pt>
                <c:pt idx="56">
                  <c:v>129961</c:v>
                </c:pt>
                <c:pt idx="57">
                  <c:v>129316</c:v>
                </c:pt>
                <c:pt idx="58">
                  <c:v>128283</c:v>
                </c:pt>
                <c:pt idx="59">
                  <c:v>127954</c:v>
                </c:pt>
                <c:pt idx="60">
                  <c:v>127751</c:v>
                </c:pt>
                <c:pt idx="61">
                  <c:v>127581</c:v>
                </c:pt>
                <c:pt idx="62">
                  <c:v>125756</c:v>
                </c:pt>
                <c:pt idx="63">
                  <c:v>125013</c:v>
                </c:pt>
                <c:pt idx="64">
                  <c:v>125004</c:v>
                </c:pt>
                <c:pt idx="65">
                  <c:v>122213</c:v>
                </c:pt>
                <c:pt idx="66">
                  <c:v>122131</c:v>
                </c:pt>
                <c:pt idx="67">
                  <c:v>121993</c:v>
                </c:pt>
                <c:pt idx="68">
                  <c:v>121318</c:v>
                </c:pt>
                <c:pt idx="69">
                  <c:v>118562</c:v>
                </c:pt>
                <c:pt idx="70">
                  <c:v>118544</c:v>
                </c:pt>
                <c:pt idx="71">
                  <c:v>118416</c:v>
                </c:pt>
                <c:pt idx="72">
                  <c:v>117249</c:v>
                </c:pt>
                <c:pt idx="73">
                  <c:v>117216</c:v>
                </c:pt>
                <c:pt idx="74">
                  <c:v>116697</c:v>
                </c:pt>
                <c:pt idx="75">
                  <c:v>115744</c:v>
                </c:pt>
                <c:pt idx="76">
                  <c:v>115333</c:v>
                </c:pt>
                <c:pt idx="77">
                  <c:v>114754</c:v>
                </c:pt>
                <c:pt idx="78">
                  <c:v>114644</c:v>
                </c:pt>
                <c:pt idx="79">
                  <c:v>114250</c:v>
                </c:pt>
                <c:pt idx="80">
                  <c:v>114145</c:v>
                </c:pt>
                <c:pt idx="81">
                  <c:v>114106</c:v>
                </c:pt>
                <c:pt idx="82">
                  <c:v>113761</c:v>
                </c:pt>
                <c:pt idx="83">
                  <c:v>113512</c:v>
                </c:pt>
                <c:pt idx="84">
                  <c:v>113504</c:v>
                </c:pt>
                <c:pt idx="85">
                  <c:v>112322</c:v>
                </c:pt>
                <c:pt idx="86">
                  <c:v>112306</c:v>
                </c:pt>
                <c:pt idx="87">
                  <c:v>112106</c:v>
                </c:pt>
                <c:pt idx="88">
                  <c:v>112043</c:v>
                </c:pt>
                <c:pt idx="89">
                  <c:v>110290</c:v>
                </c:pt>
                <c:pt idx="90">
                  <c:v>110084</c:v>
                </c:pt>
                <c:pt idx="91">
                  <c:v>108982</c:v>
                </c:pt>
                <c:pt idx="92">
                  <c:v>108910</c:v>
                </c:pt>
                <c:pt idx="93">
                  <c:v>108325</c:v>
                </c:pt>
                <c:pt idx="94">
                  <c:v>108240</c:v>
                </c:pt>
                <c:pt idx="95">
                  <c:v>108088</c:v>
                </c:pt>
                <c:pt idx="96">
                  <c:v>108052</c:v>
                </c:pt>
                <c:pt idx="97">
                  <c:v>108034</c:v>
                </c:pt>
                <c:pt idx="98">
                  <c:v>108027</c:v>
                </c:pt>
                <c:pt idx="99">
                  <c:v>107895</c:v>
                </c:pt>
                <c:pt idx="100">
                  <c:v>107194</c:v>
                </c:pt>
                <c:pt idx="101">
                  <c:v>107090</c:v>
                </c:pt>
                <c:pt idx="102">
                  <c:v>107026</c:v>
                </c:pt>
                <c:pt idx="103">
                  <c:v>107015</c:v>
                </c:pt>
                <c:pt idx="104">
                  <c:v>106922</c:v>
                </c:pt>
                <c:pt idx="105">
                  <c:v>106757</c:v>
                </c:pt>
                <c:pt idx="106">
                  <c:v>106052</c:v>
                </c:pt>
                <c:pt idx="107">
                  <c:v>105900</c:v>
                </c:pt>
                <c:pt idx="108">
                  <c:v>105888</c:v>
                </c:pt>
                <c:pt idx="109">
                  <c:v>105172</c:v>
                </c:pt>
                <c:pt idx="110">
                  <c:v>105150</c:v>
                </c:pt>
                <c:pt idx="111">
                  <c:v>104937</c:v>
                </c:pt>
                <c:pt idx="112">
                  <c:v>104399</c:v>
                </c:pt>
                <c:pt idx="113">
                  <c:v>103323</c:v>
                </c:pt>
                <c:pt idx="114">
                  <c:v>103252</c:v>
                </c:pt>
                <c:pt idx="115">
                  <c:v>102878</c:v>
                </c:pt>
                <c:pt idx="116">
                  <c:v>102792</c:v>
                </c:pt>
                <c:pt idx="117">
                  <c:v>102784</c:v>
                </c:pt>
                <c:pt idx="118">
                  <c:v>102705</c:v>
                </c:pt>
                <c:pt idx="119">
                  <c:v>102398</c:v>
                </c:pt>
                <c:pt idx="120">
                  <c:v>102320</c:v>
                </c:pt>
                <c:pt idx="121">
                  <c:v>102308</c:v>
                </c:pt>
                <c:pt idx="122">
                  <c:v>102289</c:v>
                </c:pt>
                <c:pt idx="123">
                  <c:v>102097</c:v>
                </c:pt>
                <c:pt idx="124">
                  <c:v>101053</c:v>
                </c:pt>
                <c:pt idx="125">
                  <c:v>100797</c:v>
                </c:pt>
                <c:pt idx="126">
                  <c:v>100712</c:v>
                </c:pt>
                <c:pt idx="127">
                  <c:v>100479</c:v>
                </c:pt>
                <c:pt idx="128">
                  <c:v>100387</c:v>
                </c:pt>
                <c:pt idx="129">
                  <c:v>100324</c:v>
                </c:pt>
                <c:pt idx="130">
                  <c:v>100247</c:v>
                </c:pt>
                <c:pt idx="131">
                  <c:v>99794</c:v>
                </c:pt>
                <c:pt idx="132">
                  <c:v>99582</c:v>
                </c:pt>
                <c:pt idx="133">
                  <c:v>99502</c:v>
                </c:pt>
                <c:pt idx="134">
                  <c:v>99464</c:v>
                </c:pt>
                <c:pt idx="135">
                  <c:v>98746</c:v>
                </c:pt>
                <c:pt idx="136">
                  <c:v>98616</c:v>
                </c:pt>
                <c:pt idx="137">
                  <c:v>98085</c:v>
                </c:pt>
                <c:pt idx="138">
                  <c:v>98024</c:v>
                </c:pt>
                <c:pt idx="139">
                  <c:v>97323</c:v>
                </c:pt>
                <c:pt idx="140">
                  <c:v>97219</c:v>
                </c:pt>
                <c:pt idx="141">
                  <c:v>97194</c:v>
                </c:pt>
                <c:pt idx="142">
                  <c:v>96830</c:v>
                </c:pt>
                <c:pt idx="143">
                  <c:v>96569</c:v>
                </c:pt>
                <c:pt idx="144">
                  <c:v>96542</c:v>
                </c:pt>
                <c:pt idx="145">
                  <c:v>96402</c:v>
                </c:pt>
                <c:pt idx="146">
                  <c:v>96208</c:v>
                </c:pt>
                <c:pt idx="147">
                  <c:v>95496</c:v>
                </c:pt>
                <c:pt idx="148">
                  <c:v>95451</c:v>
                </c:pt>
                <c:pt idx="149">
                  <c:v>95418</c:v>
                </c:pt>
                <c:pt idx="150">
                  <c:v>95141</c:v>
                </c:pt>
                <c:pt idx="151">
                  <c:v>94893</c:v>
                </c:pt>
                <c:pt idx="152">
                  <c:v>94869</c:v>
                </c:pt>
                <c:pt idx="153">
                  <c:v>94826</c:v>
                </c:pt>
                <c:pt idx="154">
                  <c:v>94537</c:v>
                </c:pt>
                <c:pt idx="155">
                  <c:v>94520</c:v>
                </c:pt>
                <c:pt idx="156">
                  <c:v>94392</c:v>
                </c:pt>
                <c:pt idx="157">
                  <c:v>93667</c:v>
                </c:pt>
                <c:pt idx="158">
                  <c:v>93663</c:v>
                </c:pt>
                <c:pt idx="159">
                  <c:v>93462</c:v>
                </c:pt>
                <c:pt idx="160">
                  <c:v>93418</c:v>
                </c:pt>
                <c:pt idx="161">
                  <c:v>92717</c:v>
                </c:pt>
                <c:pt idx="162">
                  <c:v>92649</c:v>
                </c:pt>
                <c:pt idx="163">
                  <c:v>92618</c:v>
                </c:pt>
                <c:pt idx="164">
                  <c:v>92225</c:v>
                </c:pt>
                <c:pt idx="165">
                  <c:v>91756</c:v>
                </c:pt>
                <c:pt idx="166">
                  <c:v>91734</c:v>
                </c:pt>
                <c:pt idx="167">
                  <c:v>91712</c:v>
                </c:pt>
                <c:pt idx="168">
                  <c:v>91387</c:v>
                </c:pt>
                <c:pt idx="169">
                  <c:v>91267</c:v>
                </c:pt>
                <c:pt idx="170">
                  <c:v>91201</c:v>
                </c:pt>
                <c:pt idx="171">
                  <c:v>91126</c:v>
                </c:pt>
                <c:pt idx="172">
                  <c:v>90781</c:v>
                </c:pt>
                <c:pt idx="173">
                  <c:v>90516</c:v>
                </c:pt>
                <c:pt idx="174">
                  <c:v>90433</c:v>
                </c:pt>
                <c:pt idx="175">
                  <c:v>90317</c:v>
                </c:pt>
                <c:pt idx="176">
                  <c:v>90286</c:v>
                </c:pt>
                <c:pt idx="177">
                  <c:v>90216</c:v>
                </c:pt>
                <c:pt idx="178">
                  <c:v>90212</c:v>
                </c:pt>
                <c:pt idx="179">
                  <c:v>90097</c:v>
                </c:pt>
                <c:pt idx="180">
                  <c:v>90056</c:v>
                </c:pt>
                <c:pt idx="181">
                  <c:v>89970</c:v>
                </c:pt>
                <c:pt idx="182">
                  <c:v>89802</c:v>
                </c:pt>
                <c:pt idx="183">
                  <c:v>89584</c:v>
                </c:pt>
                <c:pt idx="184">
                  <c:v>89263</c:v>
                </c:pt>
                <c:pt idx="185">
                  <c:v>89070</c:v>
                </c:pt>
                <c:pt idx="186">
                  <c:v>88888</c:v>
                </c:pt>
                <c:pt idx="187">
                  <c:v>88472</c:v>
                </c:pt>
                <c:pt idx="188">
                  <c:v>88346</c:v>
                </c:pt>
                <c:pt idx="189">
                  <c:v>87997</c:v>
                </c:pt>
                <c:pt idx="190">
                  <c:v>87948</c:v>
                </c:pt>
                <c:pt idx="191">
                  <c:v>87526</c:v>
                </c:pt>
                <c:pt idx="192">
                  <c:v>87514</c:v>
                </c:pt>
                <c:pt idx="193">
                  <c:v>87355</c:v>
                </c:pt>
                <c:pt idx="194">
                  <c:v>87336</c:v>
                </c:pt>
                <c:pt idx="195">
                  <c:v>87121</c:v>
                </c:pt>
                <c:pt idx="196">
                  <c:v>87095</c:v>
                </c:pt>
                <c:pt idx="197">
                  <c:v>87029</c:v>
                </c:pt>
                <c:pt idx="198">
                  <c:v>86938</c:v>
                </c:pt>
                <c:pt idx="199">
                  <c:v>86776</c:v>
                </c:pt>
                <c:pt idx="200">
                  <c:v>86601</c:v>
                </c:pt>
                <c:pt idx="201">
                  <c:v>86533</c:v>
                </c:pt>
                <c:pt idx="202">
                  <c:v>86492</c:v>
                </c:pt>
                <c:pt idx="203">
                  <c:v>86378</c:v>
                </c:pt>
                <c:pt idx="204">
                  <c:v>86347</c:v>
                </c:pt>
                <c:pt idx="205">
                  <c:v>86152</c:v>
                </c:pt>
                <c:pt idx="206">
                  <c:v>86098</c:v>
                </c:pt>
                <c:pt idx="207">
                  <c:v>86087</c:v>
                </c:pt>
                <c:pt idx="208">
                  <c:v>85944</c:v>
                </c:pt>
                <c:pt idx="209">
                  <c:v>85909</c:v>
                </c:pt>
                <c:pt idx="210">
                  <c:v>85870</c:v>
                </c:pt>
                <c:pt idx="211">
                  <c:v>85704</c:v>
                </c:pt>
                <c:pt idx="212">
                  <c:v>85657</c:v>
                </c:pt>
                <c:pt idx="213">
                  <c:v>85360</c:v>
                </c:pt>
                <c:pt idx="214">
                  <c:v>85140</c:v>
                </c:pt>
                <c:pt idx="215">
                  <c:v>85044</c:v>
                </c:pt>
                <c:pt idx="216">
                  <c:v>85018</c:v>
                </c:pt>
                <c:pt idx="217">
                  <c:v>85016</c:v>
                </c:pt>
                <c:pt idx="218">
                  <c:v>84515</c:v>
                </c:pt>
                <c:pt idx="219">
                  <c:v>84350</c:v>
                </c:pt>
                <c:pt idx="220">
                  <c:v>84125</c:v>
                </c:pt>
                <c:pt idx="221">
                  <c:v>84016</c:v>
                </c:pt>
                <c:pt idx="222">
                  <c:v>83951</c:v>
                </c:pt>
                <c:pt idx="223">
                  <c:v>83811</c:v>
                </c:pt>
                <c:pt idx="224">
                  <c:v>83803</c:v>
                </c:pt>
                <c:pt idx="225">
                  <c:v>83540</c:v>
                </c:pt>
                <c:pt idx="226">
                  <c:v>83485</c:v>
                </c:pt>
                <c:pt idx="227">
                  <c:v>83372</c:v>
                </c:pt>
                <c:pt idx="228">
                  <c:v>83367</c:v>
                </c:pt>
                <c:pt idx="229">
                  <c:v>83254</c:v>
                </c:pt>
                <c:pt idx="230">
                  <c:v>82810</c:v>
                </c:pt>
                <c:pt idx="231">
                  <c:v>82785</c:v>
                </c:pt>
                <c:pt idx="232">
                  <c:v>82783</c:v>
                </c:pt>
                <c:pt idx="233">
                  <c:v>82770</c:v>
                </c:pt>
                <c:pt idx="234">
                  <c:v>82756</c:v>
                </c:pt>
                <c:pt idx="235">
                  <c:v>82744</c:v>
                </c:pt>
                <c:pt idx="236">
                  <c:v>82465</c:v>
                </c:pt>
                <c:pt idx="237">
                  <c:v>82203</c:v>
                </c:pt>
                <c:pt idx="238">
                  <c:v>82123</c:v>
                </c:pt>
                <c:pt idx="239">
                  <c:v>82013</c:v>
                </c:pt>
                <c:pt idx="240">
                  <c:v>81943</c:v>
                </c:pt>
                <c:pt idx="241">
                  <c:v>81911</c:v>
                </c:pt>
                <c:pt idx="242">
                  <c:v>81619</c:v>
                </c:pt>
                <c:pt idx="243">
                  <c:v>81511</c:v>
                </c:pt>
                <c:pt idx="244">
                  <c:v>81379</c:v>
                </c:pt>
                <c:pt idx="245">
                  <c:v>81241</c:v>
                </c:pt>
                <c:pt idx="246">
                  <c:v>81186</c:v>
                </c:pt>
                <c:pt idx="247">
                  <c:v>81164</c:v>
                </c:pt>
                <c:pt idx="248">
                  <c:v>81143</c:v>
                </c:pt>
                <c:pt idx="249">
                  <c:v>81107</c:v>
                </c:pt>
                <c:pt idx="250">
                  <c:v>81035</c:v>
                </c:pt>
                <c:pt idx="251">
                  <c:v>80977</c:v>
                </c:pt>
                <c:pt idx="252">
                  <c:v>80946</c:v>
                </c:pt>
                <c:pt idx="253">
                  <c:v>80910</c:v>
                </c:pt>
                <c:pt idx="254">
                  <c:v>80835</c:v>
                </c:pt>
                <c:pt idx="255">
                  <c:v>80825</c:v>
                </c:pt>
                <c:pt idx="256">
                  <c:v>80696</c:v>
                </c:pt>
                <c:pt idx="257">
                  <c:v>80405</c:v>
                </c:pt>
                <c:pt idx="258">
                  <c:v>80300</c:v>
                </c:pt>
                <c:pt idx="259">
                  <c:v>80095</c:v>
                </c:pt>
                <c:pt idx="260">
                  <c:v>80093</c:v>
                </c:pt>
                <c:pt idx="261">
                  <c:v>79994</c:v>
                </c:pt>
                <c:pt idx="262">
                  <c:v>79922</c:v>
                </c:pt>
                <c:pt idx="263">
                  <c:v>79920</c:v>
                </c:pt>
                <c:pt idx="264">
                  <c:v>79887</c:v>
                </c:pt>
                <c:pt idx="265">
                  <c:v>79878</c:v>
                </c:pt>
                <c:pt idx="266">
                  <c:v>79836</c:v>
                </c:pt>
                <c:pt idx="267">
                  <c:v>79817</c:v>
                </c:pt>
                <c:pt idx="268">
                  <c:v>79737</c:v>
                </c:pt>
                <c:pt idx="269">
                  <c:v>79718</c:v>
                </c:pt>
                <c:pt idx="270">
                  <c:v>79651</c:v>
                </c:pt>
                <c:pt idx="271">
                  <c:v>79599</c:v>
                </c:pt>
                <c:pt idx="272">
                  <c:v>79508</c:v>
                </c:pt>
                <c:pt idx="273">
                  <c:v>79490</c:v>
                </c:pt>
                <c:pt idx="274">
                  <c:v>79462</c:v>
                </c:pt>
                <c:pt idx="275">
                  <c:v>79397</c:v>
                </c:pt>
                <c:pt idx="276">
                  <c:v>79344</c:v>
                </c:pt>
                <c:pt idx="277">
                  <c:v>79211</c:v>
                </c:pt>
                <c:pt idx="278">
                  <c:v>79059</c:v>
                </c:pt>
                <c:pt idx="279">
                  <c:v>79038</c:v>
                </c:pt>
                <c:pt idx="280">
                  <c:v>78966</c:v>
                </c:pt>
                <c:pt idx="281">
                  <c:v>78911</c:v>
                </c:pt>
                <c:pt idx="282">
                  <c:v>78901</c:v>
                </c:pt>
                <c:pt idx="283">
                  <c:v>78843</c:v>
                </c:pt>
                <c:pt idx="284">
                  <c:v>78818</c:v>
                </c:pt>
                <c:pt idx="285">
                  <c:v>78768</c:v>
                </c:pt>
                <c:pt idx="286">
                  <c:v>78676</c:v>
                </c:pt>
                <c:pt idx="287">
                  <c:v>78572</c:v>
                </c:pt>
                <c:pt idx="288">
                  <c:v>78527</c:v>
                </c:pt>
                <c:pt idx="289">
                  <c:v>78422</c:v>
                </c:pt>
                <c:pt idx="290">
                  <c:v>78418</c:v>
                </c:pt>
                <c:pt idx="291">
                  <c:v>78394</c:v>
                </c:pt>
                <c:pt idx="292">
                  <c:v>78375</c:v>
                </c:pt>
                <c:pt idx="293">
                  <c:v>78332</c:v>
                </c:pt>
                <c:pt idx="294">
                  <c:v>78272</c:v>
                </c:pt>
                <c:pt idx="295">
                  <c:v>78224</c:v>
                </c:pt>
                <c:pt idx="296">
                  <c:v>78150</c:v>
                </c:pt>
                <c:pt idx="297">
                  <c:v>78086</c:v>
                </c:pt>
                <c:pt idx="298">
                  <c:v>77956</c:v>
                </c:pt>
                <c:pt idx="299">
                  <c:v>77946</c:v>
                </c:pt>
                <c:pt idx="300">
                  <c:v>77784</c:v>
                </c:pt>
                <c:pt idx="301">
                  <c:v>77686</c:v>
                </c:pt>
                <c:pt idx="302">
                  <c:v>77660</c:v>
                </c:pt>
                <c:pt idx="303">
                  <c:v>77632</c:v>
                </c:pt>
                <c:pt idx="304">
                  <c:v>77609</c:v>
                </c:pt>
                <c:pt idx="305">
                  <c:v>77602</c:v>
                </c:pt>
                <c:pt idx="306">
                  <c:v>77558</c:v>
                </c:pt>
                <c:pt idx="307">
                  <c:v>77497</c:v>
                </c:pt>
                <c:pt idx="308">
                  <c:v>77444</c:v>
                </c:pt>
                <c:pt idx="309">
                  <c:v>77443</c:v>
                </c:pt>
                <c:pt idx="310">
                  <c:v>77408</c:v>
                </c:pt>
                <c:pt idx="311">
                  <c:v>77396</c:v>
                </c:pt>
                <c:pt idx="312">
                  <c:v>77385</c:v>
                </c:pt>
                <c:pt idx="313">
                  <c:v>77340</c:v>
                </c:pt>
                <c:pt idx="314">
                  <c:v>77327</c:v>
                </c:pt>
                <c:pt idx="315">
                  <c:v>77312</c:v>
                </c:pt>
                <c:pt idx="316">
                  <c:v>77229</c:v>
                </c:pt>
                <c:pt idx="317">
                  <c:v>77229</c:v>
                </c:pt>
                <c:pt idx="318">
                  <c:v>77137</c:v>
                </c:pt>
                <c:pt idx="319">
                  <c:v>77131</c:v>
                </c:pt>
                <c:pt idx="320">
                  <c:v>77096</c:v>
                </c:pt>
                <c:pt idx="321">
                  <c:v>77056</c:v>
                </c:pt>
                <c:pt idx="322">
                  <c:v>76983</c:v>
                </c:pt>
                <c:pt idx="323">
                  <c:v>76814</c:v>
                </c:pt>
                <c:pt idx="324">
                  <c:v>76780</c:v>
                </c:pt>
                <c:pt idx="325">
                  <c:v>76650</c:v>
                </c:pt>
                <c:pt idx="326">
                  <c:v>76620</c:v>
                </c:pt>
                <c:pt idx="327">
                  <c:v>76596</c:v>
                </c:pt>
                <c:pt idx="328">
                  <c:v>76583</c:v>
                </c:pt>
                <c:pt idx="329">
                  <c:v>76524</c:v>
                </c:pt>
                <c:pt idx="330">
                  <c:v>76504</c:v>
                </c:pt>
                <c:pt idx="331">
                  <c:v>76494</c:v>
                </c:pt>
                <c:pt idx="332">
                  <c:v>76484</c:v>
                </c:pt>
                <c:pt idx="333">
                  <c:v>76399</c:v>
                </c:pt>
                <c:pt idx="334">
                  <c:v>76390</c:v>
                </c:pt>
                <c:pt idx="335">
                  <c:v>76332</c:v>
                </c:pt>
                <c:pt idx="336">
                  <c:v>76310</c:v>
                </c:pt>
                <c:pt idx="337">
                  <c:v>76308</c:v>
                </c:pt>
                <c:pt idx="338">
                  <c:v>76308</c:v>
                </c:pt>
                <c:pt idx="339">
                  <c:v>76261</c:v>
                </c:pt>
                <c:pt idx="340">
                  <c:v>76219</c:v>
                </c:pt>
                <c:pt idx="341">
                  <c:v>76136</c:v>
                </c:pt>
                <c:pt idx="342">
                  <c:v>76054</c:v>
                </c:pt>
                <c:pt idx="343">
                  <c:v>76048</c:v>
                </c:pt>
                <c:pt idx="344">
                  <c:v>75984</c:v>
                </c:pt>
                <c:pt idx="345">
                  <c:v>75941</c:v>
                </c:pt>
                <c:pt idx="346">
                  <c:v>75888</c:v>
                </c:pt>
                <c:pt idx="347">
                  <c:v>75881</c:v>
                </c:pt>
                <c:pt idx="348">
                  <c:v>75849</c:v>
                </c:pt>
                <c:pt idx="349">
                  <c:v>75832</c:v>
                </c:pt>
                <c:pt idx="350">
                  <c:v>75711</c:v>
                </c:pt>
                <c:pt idx="351">
                  <c:v>75609</c:v>
                </c:pt>
                <c:pt idx="352">
                  <c:v>75524</c:v>
                </c:pt>
                <c:pt idx="353">
                  <c:v>75479</c:v>
                </c:pt>
                <c:pt idx="354">
                  <c:v>75468</c:v>
                </c:pt>
                <c:pt idx="355">
                  <c:v>75445</c:v>
                </c:pt>
                <c:pt idx="356">
                  <c:v>75395</c:v>
                </c:pt>
                <c:pt idx="357">
                  <c:v>75314</c:v>
                </c:pt>
                <c:pt idx="358">
                  <c:v>75210</c:v>
                </c:pt>
                <c:pt idx="359">
                  <c:v>75191</c:v>
                </c:pt>
                <c:pt idx="360">
                  <c:v>75177</c:v>
                </c:pt>
                <c:pt idx="361">
                  <c:v>75172</c:v>
                </c:pt>
                <c:pt idx="362">
                  <c:v>75132</c:v>
                </c:pt>
                <c:pt idx="363">
                  <c:v>74991</c:v>
                </c:pt>
                <c:pt idx="364">
                  <c:v>74983</c:v>
                </c:pt>
                <c:pt idx="365">
                  <c:v>74982</c:v>
                </c:pt>
                <c:pt idx="366">
                  <c:v>74959</c:v>
                </c:pt>
                <c:pt idx="367">
                  <c:v>74876</c:v>
                </c:pt>
                <c:pt idx="368">
                  <c:v>74840</c:v>
                </c:pt>
                <c:pt idx="369">
                  <c:v>74816</c:v>
                </c:pt>
                <c:pt idx="370">
                  <c:v>74607</c:v>
                </c:pt>
                <c:pt idx="371">
                  <c:v>74600</c:v>
                </c:pt>
                <c:pt idx="372">
                  <c:v>74453</c:v>
                </c:pt>
                <c:pt idx="373">
                  <c:v>74436</c:v>
                </c:pt>
                <c:pt idx="374">
                  <c:v>74395</c:v>
                </c:pt>
                <c:pt idx="375">
                  <c:v>74356</c:v>
                </c:pt>
                <c:pt idx="376">
                  <c:v>74330</c:v>
                </c:pt>
                <c:pt idx="377">
                  <c:v>74290</c:v>
                </c:pt>
                <c:pt idx="378">
                  <c:v>74272</c:v>
                </c:pt>
                <c:pt idx="379">
                  <c:v>74220</c:v>
                </c:pt>
                <c:pt idx="380">
                  <c:v>74206</c:v>
                </c:pt>
                <c:pt idx="381">
                  <c:v>74180</c:v>
                </c:pt>
                <c:pt idx="382">
                  <c:v>74132</c:v>
                </c:pt>
                <c:pt idx="383">
                  <c:v>74112</c:v>
                </c:pt>
                <c:pt idx="384">
                  <c:v>74098</c:v>
                </c:pt>
                <c:pt idx="385">
                  <c:v>74090</c:v>
                </c:pt>
                <c:pt idx="386">
                  <c:v>74086</c:v>
                </c:pt>
                <c:pt idx="387">
                  <c:v>74033</c:v>
                </c:pt>
                <c:pt idx="388">
                  <c:v>73930</c:v>
                </c:pt>
                <c:pt idx="389">
                  <c:v>73901</c:v>
                </c:pt>
                <c:pt idx="390">
                  <c:v>73896</c:v>
                </c:pt>
                <c:pt idx="391">
                  <c:v>73888</c:v>
                </c:pt>
                <c:pt idx="392">
                  <c:v>73866</c:v>
                </c:pt>
                <c:pt idx="393">
                  <c:v>73835</c:v>
                </c:pt>
                <c:pt idx="394">
                  <c:v>73829</c:v>
                </c:pt>
                <c:pt idx="395">
                  <c:v>73824</c:v>
                </c:pt>
                <c:pt idx="396">
                  <c:v>73743</c:v>
                </c:pt>
                <c:pt idx="397">
                  <c:v>73710</c:v>
                </c:pt>
                <c:pt idx="398">
                  <c:v>73683</c:v>
                </c:pt>
                <c:pt idx="399">
                  <c:v>73564</c:v>
                </c:pt>
                <c:pt idx="400">
                  <c:v>73541</c:v>
                </c:pt>
                <c:pt idx="401">
                  <c:v>73512</c:v>
                </c:pt>
                <c:pt idx="402">
                  <c:v>73471</c:v>
                </c:pt>
                <c:pt idx="403">
                  <c:v>73471</c:v>
                </c:pt>
                <c:pt idx="404">
                  <c:v>73466</c:v>
                </c:pt>
                <c:pt idx="405">
                  <c:v>73425</c:v>
                </c:pt>
                <c:pt idx="406">
                  <c:v>73396</c:v>
                </c:pt>
                <c:pt idx="407">
                  <c:v>73340</c:v>
                </c:pt>
                <c:pt idx="408">
                  <c:v>73208</c:v>
                </c:pt>
                <c:pt idx="409">
                  <c:v>73203</c:v>
                </c:pt>
                <c:pt idx="410">
                  <c:v>73195</c:v>
                </c:pt>
                <c:pt idx="411">
                  <c:v>73137</c:v>
                </c:pt>
                <c:pt idx="412">
                  <c:v>73131</c:v>
                </c:pt>
                <c:pt idx="413">
                  <c:v>73080</c:v>
                </c:pt>
                <c:pt idx="414">
                  <c:v>73064</c:v>
                </c:pt>
                <c:pt idx="415">
                  <c:v>73058</c:v>
                </c:pt>
                <c:pt idx="416">
                  <c:v>73056</c:v>
                </c:pt>
                <c:pt idx="417">
                  <c:v>73021</c:v>
                </c:pt>
                <c:pt idx="418">
                  <c:v>73009</c:v>
                </c:pt>
                <c:pt idx="419">
                  <c:v>72924</c:v>
                </c:pt>
                <c:pt idx="420">
                  <c:v>72905</c:v>
                </c:pt>
                <c:pt idx="421">
                  <c:v>72882</c:v>
                </c:pt>
                <c:pt idx="422">
                  <c:v>72841</c:v>
                </c:pt>
                <c:pt idx="423">
                  <c:v>72836</c:v>
                </c:pt>
                <c:pt idx="424">
                  <c:v>72706</c:v>
                </c:pt>
                <c:pt idx="425">
                  <c:v>72666</c:v>
                </c:pt>
                <c:pt idx="426">
                  <c:v>72650</c:v>
                </c:pt>
                <c:pt idx="427">
                  <c:v>72469</c:v>
                </c:pt>
                <c:pt idx="428">
                  <c:v>72401</c:v>
                </c:pt>
                <c:pt idx="429">
                  <c:v>72401</c:v>
                </c:pt>
                <c:pt idx="430">
                  <c:v>72382</c:v>
                </c:pt>
                <c:pt idx="431">
                  <c:v>72308</c:v>
                </c:pt>
                <c:pt idx="432">
                  <c:v>72299</c:v>
                </c:pt>
                <c:pt idx="433">
                  <c:v>72253</c:v>
                </c:pt>
                <c:pt idx="434">
                  <c:v>72252</c:v>
                </c:pt>
                <c:pt idx="435">
                  <c:v>72237</c:v>
                </c:pt>
                <c:pt idx="436">
                  <c:v>72145</c:v>
                </c:pt>
                <c:pt idx="437">
                  <c:v>72115</c:v>
                </c:pt>
                <c:pt idx="438">
                  <c:v>72111</c:v>
                </c:pt>
                <c:pt idx="439">
                  <c:v>72083</c:v>
                </c:pt>
                <c:pt idx="440">
                  <c:v>72079</c:v>
                </c:pt>
                <c:pt idx="441">
                  <c:v>72030</c:v>
                </c:pt>
                <c:pt idx="442">
                  <c:v>72026</c:v>
                </c:pt>
                <c:pt idx="443">
                  <c:v>71994</c:v>
                </c:pt>
                <c:pt idx="444">
                  <c:v>71934</c:v>
                </c:pt>
                <c:pt idx="445">
                  <c:v>71923</c:v>
                </c:pt>
                <c:pt idx="446">
                  <c:v>71881</c:v>
                </c:pt>
                <c:pt idx="447">
                  <c:v>71879</c:v>
                </c:pt>
                <c:pt idx="448">
                  <c:v>71871</c:v>
                </c:pt>
                <c:pt idx="449">
                  <c:v>71865</c:v>
                </c:pt>
                <c:pt idx="450">
                  <c:v>71861</c:v>
                </c:pt>
                <c:pt idx="451">
                  <c:v>71840</c:v>
                </c:pt>
                <c:pt idx="452">
                  <c:v>71829</c:v>
                </c:pt>
                <c:pt idx="453">
                  <c:v>71803</c:v>
                </c:pt>
                <c:pt idx="454">
                  <c:v>71721</c:v>
                </c:pt>
                <c:pt idx="455">
                  <c:v>71706</c:v>
                </c:pt>
                <c:pt idx="456">
                  <c:v>71647</c:v>
                </c:pt>
                <c:pt idx="457">
                  <c:v>71601</c:v>
                </c:pt>
                <c:pt idx="458">
                  <c:v>71596</c:v>
                </c:pt>
                <c:pt idx="459">
                  <c:v>71572</c:v>
                </c:pt>
                <c:pt idx="460">
                  <c:v>71563</c:v>
                </c:pt>
                <c:pt idx="461">
                  <c:v>71563</c:v>
                </c:pt>
                <c:pt idx="462">
                  <c:v>71557</c:v>
                </c:pt>
                <c:pt idx="463">
                  <c:v>71506</c:v>
                </c:pt>
                <c:pt idx="464">
                  <c:v>71499</c:v>
                </c:pt>
                <c:pt idx="465">
                  <c:v>71487</c:v>
                </c:pt>
                <c:pt idx="466">
                  <c:v>71482</c:v>
                </c:pt>
                <c:pt idx="467">
                  <c:v>71480</c:v>
                </c:pt>
                <c:pt idx="468">
                  <c:v>71469</c:v>
                </c:pt>
                <c:pt idx="469">
                  <c:v>71463</c:v>
                </c:pt>
                <c:pt idx="470">
                  <c:v>71462</c:v>
                </c:pt>
                <c:pt idx="471">
                  <c:v>71443</c:v>
                </c:pt>
                <c:pt idx="472">
                  <c:v>71435</c:v>
                </c:pt>
                <c:pt idx="473">
                  <c:v>71416</c:v>
                </c:pt>
                <c:pt idx="474">
                  <c:v>71408</c:v>
                </c:pt>
                <c:pt idx="475">
                  <c:v>71400</c:v>
                </c:pt>
                <c:pt idx="476">
                  <c:v>71379</c:v>
                </c:pt>
                <c:pt idx="477">
                  <c:v>71373</c:v>
                </c:pt>
                <c:pt idx="478">
                  <c:v>71371</c:v>
                </c:pt>
                <c:pt idx="479">
                  <c:v>71327</c:v>
                </c:pt>
                <c:pt idx="480">
                  <c:v>71301</c:v>
                </c:pt>
                <c:pt idx="481">
                  <c:v>71278</c:v>
                </c:pt>
                <c:pt idx="482">
                  <c:v>71237</c:v>
                </c:pt>
                <c:pt idx="483">
                  <c:v>71230</c:v>
                </c:pt>
                <c:pt idx="484">
                  <c:v>71175</c:v>
                </c:pt>
                <c:pt idx="485">
                  <c:v>71169</c:v>
                </c:pt>
                <c:pt idx="486">
                  <c:v>71162</c:v>
                </c:pt>
                <c:pt idx="487">
                  <c:v>71152</c:v>
                </c:pt>
                <c:pt idx="488">
                  <c:v>71132</c:v>
                </c:pt>
                <c:pt idx="489">
                  <c:v>71130</c:v>
                </c:pt>
                <c:pt idx="490">
                  <c:v>71128</c:v>
                </c:pt>
                <c:pt idx="491">
                  <c:v>71096</c:v>
                </c:pt>
                <c:pt idx="492">
                  <c:v>71096</c:v>
                </c:pt>
                <c:pt idx="493">
                  <c:v>71092</c:v>
                </c:pt>
                <c:pt idx="494">
                  <c:v>71026</c:v>
                </c:pt>
                <c:pt idx="495">
                  <c:v>70942</c:v>
                </c:pt>
                <c:pt idx="496">
                  <c:v>70911</c:v>
                </c:pt>
                <c:pt idx="497">
                  <c:v>70898</c:v>
                </c:pt>
                <c:pt idx="498">
                  <c:v>70882</c:v>
                </c:pt>
                <c:pt idx="499">
                  <c:v>70820</c:v>
                </c:pt>
                <c:pt idx="500">
                  <c:v>70776</c:v>
                </c:pt>
                <c:pt idx="501">
                  <c:v>70761</c:v>
                </c:pt>
                <c:pt idx="502">
                  <c:v>70760</c:v>
                </c:pt>
                <c:pt idx="503">
                  <c:v>70752</c:v>
                </c:pt>
                <c:pt idx="504">
                  <c:v>70712</c:v>
                </c:pt>
                <c:pt idx="505">
                  <c:v>70660</c:v>
                </c:pt>
                <c:pt idx="506">
                  <c:v>70659</c:v>
                </c:pt>
                <c:pt idx="507">
                  <c:v>70646</c:v>
                </c:pt>
                <c:pt idx="508">
                  <c:v>70620</c:v>
                </c:pt>
                <c:pt idx="509">
                  <c:v>70605</c:v>
                </c:pt>
                <c:pt idx="510">
                  <c:v>70568</c:v>
                </c:pt>
                <c:pt idx="511">
                  <c:v>70562</c:v>
                </c:pt>
                <c:pt idx="512">
                  <c:v>70547</c:v>
                </c:pt>
                <c:pt idx="513">
                  <c:v>70493</c:v>
                </c:pt>
                <c:pt idx="514">
                  <c:v>70439</c:v>
                </c:pt>
                <c:pt idx="515">
                  <c:v>70427</c:v>
                </c:pt>
                <c:pt idx="516">
                  <c:v>70415</c:v>
                </c:pt>
                <c:pt idx="517">
                  <c:v>70400</c:v>
                </c:pt>
                <c:pt idx="518">
                  <c:v>70376</c:v>
                </c:pt>
                <c:pt idx="519">
                  <c:v>70345</c:v>
                </c:pt>
                <c:pt idx="520">
                  <c:v>70321</c:v>
                </c:pt>
                <c:pt idx="521">
                  <c:v>70315</c:v>
                </c:pt>
                <c:pt idx="522">
                  <c:v>70312</c:v>
                </c:pt>
                <c:pt idx="523">
                  <c:v>70300</c:v>
                </c:pt>
                <c:pt idx="524">
                  <c:v>70249</c:v>
                </c:pt>
                <c:pt idx="525">
                  <c:v>70248</c:v>
                </c:pt>
                <c:pt idx="526">
                  <c:v>70244</c:v>
                </c:pt>
                <c:pt idx="527">
                  <c:v>70236</c:v>
                </c:pt>
                <c:pt idx="528">
                  <c:v>70232</c:v>
                </c:pt>
                <c:pt idx="529">
                  <c:v>70217</c:v>
                </c:pt>
                <c:pt idx="530">
                  <c:v>70175</c:v>
                </c:pt>
                <c:pt idx="531">
                  <c:v>70163</c:v>
                </c:pt>
                <c:pt idx="532">
                  <c:v>70151</c:v>
                </c:pt>
                <c:pt idx="533">
                  <c:v>70138</c:v>
                </c:pt>
                <c:pt idx="534">
                  <c:v>70129</c:v>
                </c:pt>
                <c:pt idx="535">
                  <c:v>70093</c:v>
                </c:pt>
                <c:pt idx="536">
                  <c:v>70076</c:v>
                </c:pt>
                <c:pt idx="537">
                  <c:v>70045</c:v>
                </c:pt>
                <c:pt idx="538">
                  <c:v>70038</c:v>
                </c:pt>
                <c:pt idx="539">
                  <c:v>70020</c:v>
                </c:pt>
                <c:pt idx="540">
                  <c:v>69978</c:v>
                </c:pt>
                <c:pt idx="541">
                  <c:v>69956</c:v>
                </c:pt>
                <c:pt idx="542">
                  <c:v>69929</c:v>
                </c:pt>
                <c:pt idx="543">
                  <c:v>69924</c:v>
                </c:pt>
                <c:pt idx="544">
                  <c:v>69902</c:v>
                </c:pt>
                <c:pt idx="545">
                  <c:v>69760</c:v>
                </c:pt>
                <c:pt idx="546">
                  <c:v>69725</c:v>
                </c:pt>
                <c:pt idx="547">
                  <c:v>69725</c:v>
                </c:pt>
                <c:pt idx="548">
                  <c:v>69719</c:v>
                </c:pt>
                <c:pt idx="549">
                  <c:v>69688</c:v>
                </c:pt>
                <c:pt idx="550">
                  <c:v>69661</c:v>
                </c:pt>
                <c:pt idx="551">
                  <c:v>69646</c:v>
                </c:pt>
                <c:pt idx="552">
                  <c:v>69611</c:v>
                </c:pt>
                <c:pt idx="553">
                  <c:v>69596</c:v>
                </c:pt>
                <c:pt idx="554">
                  <c:v>69567</c:v>
                </c:pt>
                <c:pt idx="555">
                  <c:v>69553</c:v>
                </c:pt>
                <c:pt idx="556">
                  <c:v>69512</c:v>
                </c:pt>
                <c:pt idx="557">
                  <c:v>69496</c:v>
                </c:pt>
                <c:pt idx="558">
                  <c:v>69485</c:v>
                </c:pt>
                <c:pt idx="559">
                  <c:v>69470</c:v>
                </c:pt>
                <c:pt idx="560">
                  <c:v>69364</c:v>
                </c:pt>
                <c:pt idx="561">
                  <c:v>69363</c:v>
                </c:pt>
                <c:pt idx="562">
                  <c:v>69334</c:v>
                </c:pt>
                <c:pt idx="563">
                  <c:v>69226</c:v>
                </c:pt>
                <c:pt idx="564">
                  <c:v>69222</c:v>
                </c:pt>
                <c:pt idx="565">
                  <c:v>69217</c:v>
                </c:pt>
                <c:pt idx="566">
                  <c:v>69194</c:v>
                </c:pt>
                <c:pt idx="567">
                  <c:v>69171</c:v>
                </c:pt>
                <c:pt idx="568">
                  <c:v>69169</c:v>
                </c:pt>
                <c:pt idx="569">
                  <c:v>69164</c:v>
                </c:pt>
                <c:pt idx="570">
                  <c:v>69145</c:v>
                </c:pt>
                <c:pt idx="571">
                  <c:v>69125</c:v>
                </c:pt>
                <c:pt idx="572">
                  <c:v>69124</c:v>
                </c:pt>
                <c:pt idx="573">
                  <c:v>69063</c:v>
                </c:pt>
                <c:pt idx="574">
                  <c:v>69062</c:v>
                </c:pt>
                <c:pt idx="575">
                  <c:v>69040</c:v>
                </c:pt>
                <c:pt idx="576">
                  <c:v>68982</c:v>
                </c:pt>
                <c:pt idx="577">
                  <c:v>68938</c:v>
                </c:pt>
                <c:pt idx="578">
                  <c:v>68897</c:v>
                </c:pt>
                <c:pt idx="579">
                  <c:v>68849</c:v>
                </c:pt>
                <c:pt idx="580">
                  <c:v>68845</c:v>
                </c:pt>
                <c:pt idx="581">
                  <c:v>68775</c:v>
                </c:pt>
                <c:pt idx="582">
                  <c:v>68754</c:v>
                </c:pt>
                <c:pt idx="583">
                  <c:v>68740</c:v>
                </c:pt>
                <c:pt idx="584">
                  <c:v>68704</c:v>
                </c:pt>
                <c:pt idx="585">
                  <c:v>68682</c:v>
                </c:pt>
                <c:pt idx="586">
                  <c:v>68652</c:v>
                </c:pt>
                <c:pt idx="587">
                  <c:v>68622</c:v>
                </c:pt>
                <c:pt idx="588">
                  <c:v>68615</c:v>
                </c:pt>
                <c:pt idx="589">
                  <c:v>68606</c:v>
                </c:pt>
                <c:pt idx="590">
                  <c:v>68600</c:v>
                </c:pt>
                <c:pt idx="591">
                  <c:v>68557</c:v>
                </c:pt>
                <c:pt idx="592">
                  <c:v>68554</c:v>
                </c:pt>
                <c:pt idx="593">
                  <c:v>68533</c:v>
                </c:pt>
                <c:pt idx="594">
                  <c:v>68519</c:v>
                </c:pt>
                <c:pt idx="595">
                  <c:v>68505</c:v>
                </c:pt>
                <c:pt idx="596">
                  <c:v>68501</c:v>
                </c:pt>
                <c:pt idx="597">
                  <c:v>68494</c:v>
                </c:pt>
                <c:pt idx="598">
                  <c:v>68443</c:v>
                </c:pt>
                <c:pt idx="599">
                  <c:v>68429</c:v>
                </c:pt>
                <c:pt idx="600">
                  <c:v>68419</c:v>
                </c:pt>
                <c:pt idx="601">
                  <c:v>68397</c:v>
                </c:pt>
                <c:pt idx="602">
                  <c:v>68388</c:v>
                </c:pt>
                <c:pt idx="603">
                  <c:v>68334</c:v>
                </c:pt>
                <c:pt idx="604">
                  <c:v>68315</c:v>
                </c:pt>
                <c:pt idx="605">
                  <c:v>68309</c:v>
                </c:pt>
                <c:pt idx="606">
                  <c:v>68300</c:v>
                </c:pt>
                <c:pt idx="607">
                  <c:v>68270</c:v>
                </c:pt>
                <c:pt idx="608">
                  <c:v>68240</c:v>
                </c:pt>
                <c:pt idx="609">
                  <c:v>68239</c:v>
                </c:pt>
                <c:pt idx="610">
                  <c:v>68201</c:v>
                </c:pt>
                <c:pt idx="611">
                  <c:v>68194</c:v>
                </c:pt>
                <c:pt idx="612">
                  <c:v>68081</c:v>
                </c:pt>
                <c:pt idx="613">
                  <c:v>68062</c:v>
                </c:pt>
                <c:pt idx="614">
                  <c:v>68053</c:v>
                </c:pt>
                <c:pt idx="615">
                  <c:v>68039</c:v>
                </c:pt>
                <c:pt idx="616">
                  <c:v>68032</c:v>
                </c:pt>
                <c:pt idx="617">
                  <c:v>67998</c:v>
                </c:pt>
                <c:pt idx="618">
                  <c:v>67996</c:v>
                </c:pt>
                <c:pt idx="619">
                  <c:v>67979</c:v>
                </c:pt>
                <c:pt idx="620">
                  <c:v>67973</c:v>
                </c:pt>
                <c:pt idx="621">
                  <c:v>67948</c:v>
                </c:pt>
                <c:pt idx="622">
                  <c:v>67899</c:v>
                </c:pt>
                <c:pt idx="623">
                  <c:v>67899</c:v>
                </c:pt>
                <c:pt idx="624">
                  <c:v>67896</c:v>
                </c:pt>
                <c:pt idx="625">
                  <c:v>67873</c:v>
                </c:pt>
                <c:pt idx="626">
                  <c:v>67846</c:v>
                </c:pt>
                <c:pt idx="627">
                  <c:v>67838</c:v>
                </c:pt>
                <c:pt idx="628">
                  <c:v>67834</c:v>
                </c:pt>
                <c:pt idx="629">
                  <c:v>67833</c:v>
                </c:pt>
                <c:pt idx="630">
                  <c:v>67779</c:v>
                </c:pt>
                <c:pt idx="631">
                  <c:v>67753</c:v>
                </c:pt>
                <c:pt idx="632">
                  <c:v>67744</c:v>
                </c:pt>
                <c:pt idx="633">
                  <c:v>67731</c:v>
                </c:pt>
                <c:pt idx="634">
                  <c:v>67719</c:v>
                </c:pt>
                <c:pt idx="635">
                  <c:v>67708</c:v>
                </c:pt>
                <c:pt idx="636">
                  <c:v>67690</c:v>
                </c:pt>
                <c:pt idx="637">
                  <c:v>67664</c:v>
                </c:pt>
                <c:pt idx="638">
                  <c:v>67657</c:v>
                </c:pt>
                <c:pt idx="639">
                  <c:v>67631</c:v>
                </c:pt>
                <c:pt idx="640">
                  <c:v>67576</c:v>
                </c:pt>
                <c:pt idx="641">
                  <c:v>67547</c:v>
                </c:pt>
                <c:pt idx="642">
                  <c:v>67532</c:v>
                </c:pt>
                <c:pt idx="643">
                  <c:v>67527</c:v>
                </c:pt>
                <c:pt idx="644">
                  <c:v>67481</c:v>
                </c:pt>
                <c:pt idx="645">
                  <c:v>67471</c:v>
                </c:pt>
                <c:pt idx="646">
                  <c:v>67438</c:v>
                </c:pt>
                <c:pt idx="647">
                  <c:v>67428</c:v>
                </c:pt>
                <c:pt idx="648">
                  <c:v>67372</c:v>
                </c:pt>
                <c:pt idx="649">
                  <c:v>67348</c:v>
                </c:pt>
                <c:pt idx="650">
                  <c:v>67337</c:v>
                </c:pt>
                <c:pt idx="651">
                  <c:v>67310</c:v>
                </c:pt>
                <c:pt idx="652">
                  <c:v>67288</c:v>
                </c:pt>
                <c:pt idx="653">
                  <c:v>67284</c:v>
                </c:pt>
                <c:pt idx="654">
                  <c:v>67277</c:v>
                </c:pt>
                <c:pt idx="655">
                  <c:v>67264</c:v>
                </c:pt>
                <c:pt idx="656">
                  <c:v>67240</c:v>
                </c:pt>
                <c:pt idx="657">
                  <c:v>67208</c:v>
                </c:pt>
                <c:pt idx="658">
                  <c:v>67201</c:v>
                </c:pt>
                <c:pt idx="659">
                  <c:v>67156</c:v>
                </c:pt>
                <c:pt idx="660">
                  <c:v>67155</c:v>
                </c:pt>
                <c:pt idx="661">
                  <c:v>67136</c:v>
                </c:pt>
                <c:pt idx="662">
                  <c:v>67109</c:v>
                </c:pt>
                <c:pt idx="663">
                  <c:v>67066</c:v>
                </c:pt>
                <c:pt idx="664">
                  <c:v>67051</c:v>
                </c:pt>
                <c:pt idx="665">
                  <c:v>67011</c:v>
                </c:pt>
                <c:pt idx="666">
                  <c:v>66966</c:v>
                </c:pt>
                <c:pt idx="667">
                  <c:v>66954</c:v>
                </c:pt>
                <c:pt idx="668">
                  <c:v>66938</c:v>
                </c:pt>
                <c:pt idx="669">
                  <c:v>66924</c:v>
                </c:pt>
                <c:pt idx="670">
                  <c:v>66895</c:v>
                </c:pt>
                <c:pt idx="671">
                  <c:v>66877</c:v>
                </c:pt>
                <c:pt idx="672">
                  <c:v>66874</c:v>
                </c:pt>
                <c:pt idx="673">
                  <c:v>66855</c:v>
                </c:pt>
                <c:pt idx="674">
                  <c:v>66837</c:v>
                </c:pt>
                <c:pt idx="675">
                  <c:v>66812</c:v>
                </c:pt>
                <c:pt idx="676">
                  <c:v>66782</c:v>
                </c:pt>
                <c:pt idx="677">
                  <c:v>66731</c:v>
                </c:pt>
                <c:pt idx="678">
                  <c:v>66714</c:v>
                </c:pt>
                <c:pt idx="679">
                  <c:v>66701</c:v>
                </c:pt>
                <c:pt idx="680">
                  <c:v>66665</c:v>
                </c:pt>
                <c:pt idx="681">
                  <c:v>66644</c:v>
                </c:pt>
                <c:pt idx="682">
                  <c:v>66619</c:v>
                </c:pt>
                <c:pt idx="683">
                  <c:v>66616</c:v>
                </c:pt>
                <c:pt idx="684">
                  <c:v>66575</c:v>
                </c:pt>
                <c:pt idx="685">
                  <c:v>66535</c:v>
                </c:pt>
                <c:pt idx="686">
                  <c:v>66503</c:v>
                </c:pt>
                <c:pt idx="687">
                  <c:v>66484</c:v>
                </c:pt>
                <c:pt idx="688">
                  <c:v>66441</c:v>
                </c:pt>
                <c:pt idx="689">
                  <c:v>66439</c:v>
                </c:pt>
                <c:pt idx="690">
                  <c:v>66439</c:v>
                </c:pt>
                <c:pt idx="691">
                  <c:v>66399</c:v>
                </c:pt>
                <c:pt idx="692">
                  <c:v>66381</c:v>
                </c:pt>
                <c:pt idx="693">
                  <c:v>66357</c:v>
                </c:pt>
                <c:pt idx="694">
                  <c:v>66313</c:v>
                </c:pt>
                <c:pt idx="695">
                  <c:v>66312</c:v>
                </c:pt>
                <c:pt idx="696">
                  <c:v>66309</c:v>
                </c:pt>
                <c:pt idx="697">
                  <c:v>66291</c:v>
                </c:pt>
                <c:pt idx="698">
                  <c:v>66290</c:v>
                </c:pt>
                <c:pt idx="699">
                  <c:v>66284</c:v>
                </c:pt>
                <c:pt idx="700">
                  <c:v>66236</c:v>
                </c:pt>
                <c:pt idx="701">
                  <c:v>66223</c:v>
                </c:pt>
                <c:pt idx="702">
                  <c:v>66205</c:v>
                </c:pt>
                <c:pt idx="703">
                  <c:v>66184</c:v>
                </c:pt>
                <c:pt idx="704">
                  <c:v>66167</c:v>
                </c:pt>
                <c:pt idx="705">
                  <c:v>66165</c:v>
                </c:pt>
                <c:pt idx="706">
                  <c:v>66163</c:v>
                </c:pt>
                <c:pt idx="707">
                  <c:v>66126</c:v>
                </c:pt>
                <c:pt idx="708">
                  <c:v>66119</c:v>
                </c:pt>
                <c:pt idx="709">
                  <c:v>66102</c:v>
                </c:pt>
                <c:pt idx="710">
                  <c:v>66059</c:v>
                </c:pt>
                <c:pt idx="711">
                  <c:v>65987</c:v>
                </c:pt>
                <c:pt idx="712">
                  <c:v>65889</c:v>
                </c:pt>
                <c:pt idx="713">
                  <c:v>65888</c:v>
                </c:pt>
                <c:pt idx="714">
                  <c:v>65829</c:v>
                </c:pt>
                <c:pt idx="715">
                  <c:v>65828</c:v>
                </c:pt>
                <c:pt idx="716">
                  <c:v>65826</c:v>
                </c:pt>
                <c:pt idx="717">
                  <c:v>65823</c:v>
                </c:pt>
                <c:pt idx="718">
                  <c:v>65793</c:v>
                </c:pt>
                <c:pt idx="719">
                  <c:v>65754</c:v>
                </c:pt>
                <c:pt idx="720">
                  <c:v>65741</c:v>
                </c:pt>
                <c:pt idx="721">
                  <c:v>65736</c:v>
                </c:pt>
                <c:pt idx="722">
                  <c:v>65702</c:v>
                </c:pt>
                <c:pt idx="723">
                  <c:v>65697</c:v>
                </c:pt>
                <c:pt idx="724">
                  <c:v>65694</c:v>
                </c:pt>
                <c:pt idx="725">
                  <c:v>65691</c:v>
                </c:pt>
                <c:pt idx="726">
                  <c:v>65682</c:v>
                </c:pt>
                <c:pt idx="727">
                  <c:v>65680</c:v>
                </c:pt>
                <c:pt idx="728">
                  <c:v>65666</c:v>
                </c:pt>
                <c:pt idx="729">
                  <c:v>65663</c:v>
                </c:pt>
                <c:pt idx="730">
                  <c:v>65634</c:v>
                </c:pt>
                <c:pt idx="731">
                  <c:v>65623</c:v>
                </c:pt>
                <c:pt idx="732">
                  <c:v>65619</c:v>
                </c:pt>
                <c:pt idx="733">
                  <c:v>65607</c:v>
                </c:pt>
                <c:pt idx="734">
                  <c:v>65588</c:v>
                </c:pt>
                <c:pt idx="735">
                  <c:v>65551</c:v>
                </c:pt>
                <c:pt idx="736">
                  <c:v>65507</c:v>
                </c:pt>
                <c:pt idx="737">
                  <c:v>65490</c:v>
                </c:pt>
                <c:pt idx="738">
                  <c:v>65489</c:v>
                </c:pt>
                <c:pt idx="739">
                  <c:v>65432</c:v>
                </c:pt>
                <c:pt idx="740">
                  <c:v>65358</c:v>
                </c:pt>
                <c:pt idx="741">
                  <c:v>65341</c:v>
                </c:pt>
                <c:pt idx="742">
                  <c:v>65324</c:v>
                </c:pt>
                <c:pt idx="743">
                  <c:v>65290</c:v>
                </c:pt>
                <c:pt idx="744">
                  <c:v>65281</c:v>
                </c:pt>
                <c:pt idx="745">
                  <c:v>65273</c:v>
                </c:pt>
                <c:pt idx="746">
                  <c:v>65267</c:v>
                </c:pt>
                <c:pt idx="747">
                  <c:v>65223</c:v>
                </c:pt>
                <c:pt idx="748">
                  <c:v>65221</c:v>
                </c:pt>
                <c:pt idx="749">
                  <c:v>65219</c:v>
                </c:pt>
                <c:pt idx="750">
                  <c:v>65204</c:v>
                </c:pt>
                <c:pt idx="751">
                  <c:v>65189</c:v>
                </c:pt>
                <c:pt idx="752">
                  <c:v>65042</c:v>
                </c:pt>
                <c:pt idx="753">
                  <c:v>65031</c:v>
                </c:pt>
                <c:pt idx="754">
                  <c:v>65022</c:v>
                </c:pt>
                <c:pt idx="755">
                  <c:v>65009</c:v>
                </c:pt>
                <c:pt idx="756">
                  <c:v>65004</c:v>
                </c:pt>
                <c:pt idx="757">
                  <c:v>65000</c:v>
                </c:pt>
                <c:pt idx="758">
                  <c:v>64971</c:v>
                </c:pt>
                <c:pt idx="759">
                  <c:v>64966</c:v>
                </c:pt>
                <c:pt idx="760">
                  <c:v>64937</c:v>
                </c:pt>
                <c:pt idx="761">
                  <c:v>64906</c:v>
                </c:pt>
                <c:pt idx="762">
                  <c:v>64840</c:v>
                </c:pt>
                <c:pt idx="763">
                  <c:v>64826</c:v>
                </c:pt>
                <c:pt idx="764">
                  <c:v>64823</c:v>
                </c:pt>
                <c:pt idx="765">
                  <c:v>64800</c:v>
                </c:pt>
                <c:pt idx="766">
                  <c:v>64785</c:v>
                </c:pt>
                <c:pt idx="767">
                  <c:v>64758</c:v>
                </c:pt>
                <c:pt idx="768">
                  <c:v>64734</c:v>
                </c:pt>
                <c:pt idx="769">
                  <c:v>64669</c:v>
                </c:pt>
                <c:pt idx="770">
                  <c:v>64648</c:v>
                </c:pt>
                <c:pt idx="771">
                  <c:v>64584</c:v>
                </c:pt>
                <c:pt idx="772">
                  <c:v>64580</c:v>
                </c:pt>
                <c:pt idx="773">
                  <c:v>64518</c:v>
                </c:pt>
                <c:pt idx="774">
                  <c:v>64448</c:v>
                </c:pt>
                <c:pt idx="775">
                  <c:v>64438</c:v>
                </c:pt>
                <c:pt idx="776">
                  <c:v>64386</c:v>
                </c:pt>
                <c:pt idx="777">
                  <c:v>64306</c:v>
                </c:pt>
                <c:pt idx="778">
                  <c:v>64272</c:v>
                </c:pt>
                <c:pt idx="779">
                  <c:v>64259</c:v>
                </c:pt>
                <c:pt idx="780">
                  <c:v>64247</c:v>
                </c:pt>
                <c:pt idx="781">
                  <c:v>64178</c:v>
                </c:pt>
                <c:pt idx="782">
                  <c:v>64151</c:v>
                </c:pt>
                <c:pt idx="783">
                  <c:v>64130</c:v>
                </c:pt>
                <c:pt idx="784">
                  <c:v>64117</c:v>
                </c:pt>
                <c:pt idx="785">
                  <c:v>64089</c:v>
                </c:pt>
                <c:pt idx="786">
                  <c:v>64076</c:v>
                </c:pt>
                <c:pt idx="787">
                  <c:v>64072</c:v>
                </c:pt>
                <c:pt idx="788">
                  <c:v>64032</c:v>
                </c:pt>
                <c:pt idx="789">
                  <c:v>64001</c:v>
                </c:pt>
                <c:pt idx="790">
                  <c:v>63999</c:v>
                </c:pt>
                <c:pt idx="791">
                  <c:v>63912</c:v>
                </c:pt>
                <c:pt idx="792">
                  <c:v>63903</c:v>
                </c:pt>
                <c:pt idx="793">
                  <c:v>63896</c:v>
                </c:pt>
                <c:pt idx="794">
                  <c:v>63782</c:v>
                </c:pt>
                <c:pt idx="795">
                  <c:v>63734</c:v>
                </c:pt>
                <c:pt idx="796">
                  <c:v>63733</c:v>
                </c:pt>
                <c:pt idx="797">
                  <c:v>63729</c:v>
                </c:pt>
                <c:pt idx="798">
                  <c:v>63698</c:v>
                </c:pt>
                <c:pt idx="799">
                  <c:v>63686</c:v>
                </c:pt>
                <c:pt idx="800">
                  <c:v>63664</c:v>
                </c:pt>
                <c:pt idx="801">
                  <c:v>63625</c:v>
                </c:pt>
                <c:pt idx="802">
                  <c:v>63622</c:v>
                </c:pt>
                <c:pt idx="803">
                  <c:v>63550</c:v>
                </c:pt>
                <c:pt idx="804">
                  <c:v>63541</c:v>
                </c:pt>
                <c:pt idx="805">
                  <c:v>63535</c:v>
                </c:pt>
                <c:pt idx="806">
                  <c:v>63531</c:v>
                </c:pt>
                <c:pt idx="807">
                  <c:v>63528</c:v>
                </c:pt>
                <c:pt idx="808">
                  <c:v>63491</c:v>
                </c:pt>
                <c:pt idx="809">
                  <c:v>63481</c:v>
                </c:pt>
                <c:pt idx="810">
                  <c:v>63402</c:v>
                </c:pt>
                <c:pt idx="811">
                  <c:v>63315</c:v>
                </c:pt>
                <c:pt idx="812">
                  <c:v>63299</c:v>
                </c:pt>
                <c:pt idx="813">
                  <c:v>63248</c:v>
                </c:pt>
                <c:pt idx="814">
                  <c:v>63205</c:v>
                </c:pt>
                <c:pt idx="815">
                  <c:v>63197</c:v>
                </c:pt>
                <c:pt idx="816">
                  <c:v>63158</c:v>
                </c:pt>
                <c:pt idx="817">
                  <c:v>63131</c:v>
                </c:pt>
                <c:pt idx="818">
                  <c:v>63087</c:v>
                </c:pt>
                <c:pt idx="819">
                  <c:v>63062</c:v>
                </c:pt>
                <c:pt idx="820">
                  <c:v>63060</c:v>
                </c:pt>
                <c:pt idx="821">
                  <c:v>63051</c:v>
                </c:pt>
                <c:pt idx="822">
                  <c:v>63000</c:v>
                </c:pt>
                <c:pt idx="823">
                  <c:v>62995</c:v>
                </c:pt>
                <c:pt idx="824">
                  <c:v>62993</c:v>
                </c:pt>
                <c:pt idx="825">
                  <c:v>62964</c:v>
                </c:pt>
                <c:pt idx="826">
                  <c:v>62943</c:v>
                </c:pt>
                <c:pt idx="827">
                  <c:v>62925</c:v>
                </c:pt>
                <c:pt idx="828">
                  <c:v>62915</c:v>
                </c:pt>
                <c:pt idx="829">
                  <c:v>62890</c:v>
                </c:pt>
                <c:pt idx="830">
                  <c:v>62879</c:v>
                </c:pt>
                <c:pt idx="831">
                  <c:v>62870</c:v>
                </c:pt>
                <c:pt idx="832">
                  <c:v>62869</c:v>
                </c:pt>
                <c:pt idx="833">
                  <c:v>62853</c:v>
                </c:pt>
                <c:pt idx="834">
                  <c:v>62846</c:v>
                </c:pt>
                <c:pt idx="835">
                  <c:v>62823</c:v>
                </c:pt>
                <c:pt idx="836">
                  <c:v>62758</c:v>
                </c:pt>
                <c:pt idx="837">
                  <c:v>62741</c:v>
                </c:pt>
                <c:pt idx="838">
                  <c:v>62698</c:v>
                </c:pt>
                <c:pt idx="839">
                  <c:v>62642</c:v>
                </c:pt>
                <c:pt idx="840">
                  <c:v>62624</c:v>
                </c:pt>
                <c:pt idx="841">
                  <c:v>62588</c:v>
                </c:pt>
                <c:pt idx="842">
                  <c:v>62540</c:v>
                </c:pt>
                <c:pt idx="843">
                  <c:v>62529</c:v>
                </c:pt>
                <c:pt idx="844">
                  <c:v>62512</c:v>
                </c:pt>
                <c:pt idx="845">
                  <c:v>62467</c:v>
                </c:pt>
                <c:pt idx="846">
                  <c:v>62378</c:v>
                </c:pt>
                <c:pt idx="847">
                  <c:v>62322</c:v>
                </c:pt>
                <c:pt idx="848">
                  <c:v>62306</c:v>
                </c:pt>
                <c:pt idx="849">
                  <c:v>62304</c:v>
                </c:pt>
                <c:pt idx="850">
                  <c:v>62221</c:v>
                </c:pt>
                <c:pt idx="851">
                  <c:v>62218</c:v>
                </c:pt>
                <c:pt idx="852">
                  <c:v>62184</c:v>
                </c:pt>
                <c:pt idx="853">
                  <c:v>62181</c:v>
                </c:pt>
                <c:pt idx="854">
                  <c:v>62143</c:v>
                </c:pt>
                <c:pt idx="855">
                  <c:v>62135</c:v>
                </c:pt>
                <c:pt idx="856">
                  <c:v>62130</c:v>
                </c:pt>
                <c:pt idx="857">
                  <c:v>62110</c:v>
                </c:pt>
                <c:pt idx="858">
                  <c:v>62003</c:v>
                </c:pt>
                <c:pt idx="859">
                  <c:v>61961</c:v>
                </c:pt>
                <c:pt idx="860">
                  <c:v>61945</c:v>
                </c:pt>
                <c:pt idx="861">
                  <c:v>61934</c:v>
                </c:pt>
                <c:pt idx="862">
                  <c:v>61922</c:v>
                </c:pt>
                <c:pt idx="863">
                  <c:v>61902</c:v>
                </c:pt>
                <c:pt idx="864">
                  <c:v>61861</c:v>
                </c:pt>
                <c:pt idx="865">
                  <c:v>61845</c:v>
                </c:pt>
                <c:pt idx="866">
                  <c:v>61788</c:v>
                </c:pt>
                <c:pt idx="867">
                  <c:v>61785</c:v>
                </c:pt>
                <c:pt idx="868">
                  <c:v>61767</c:v>
                </c:pt>
                <c:pt idx="869">
                  <c:v>61745</c:v>
                </c:pt>
                <c:pt idx="870">
                  <c:v>61719</c:v>
                </c:pt>
                <c:pt idx="871">
                  <c:v>61679</c:v>
                </c:pt>
                <c:pt idx="872">
                  <c:v>61672</c:v>
                </c:pt>
                <c:pt idx="873">
                  <c:v>61647</c:v>
                </c:pt>
                <c:pt idx="874">
                  <c:v>61629</c:v>
                </c:pt>
                <c:pt idx="875">
                  <c:v>61514</c:v>
                </c:pt>
                <c:pt idx="876">
                  <c:v>61502</c:v>
                </c:pt>
                <c:pt idx="877">
                  <c:v>61442</c:v>
                </c:pt>
                <c:pt idx="878">
                  <c:v>61323</c:v>
                </c:pt>
                <c:pt idx="879">
                  <c:v>61319</c:v>
                </c:pt>
                <c:pt idx="880">
                  <c:v>61304</c:v>
                </c:pt>
                <c:pt idx="881">
                  <c:v>61257</c:v>
                </c:pt>
                <c:pt idx="882">
                  <c:v>61245</c:v>
                </c:pt>
                <c:pt idx="883">
                  <c:v>61240</c:v>
                </c:pt>
                <c:pt idx="884">
                  <c:v>61197</c:v>
                </c:pt>
                <c:pt idx="885">
                  <c:v>61190</c:v>
                </c:pt>
                <c:pt idx="886">
                  <c:v>61171</c:v>
                </c:pt>
                <c:pt idx="887">
                  <c:v>61142</c:v>
                </c:pt>
                <c:pt idx="888">
                  <c:v>61137</c:v>
                </c:pt>
                <c:pt idx="889">
                  <c:v>61137</c:v>
                </c:pt>
                <c:pt idx="890">
                  <c:v>61061</c:v>
                </c:pt>
                <c:pt idx="891">
                  <c:v>61052</c:v>
                </c:pt>
                <c:pt idx="892">
                  <c:v>61026</c:v>
                </c:pt>
                <c:pt idx="893">
                  <c:v>61017</c:v>
                </c:pt>
                <c:pt idx="894">
                  <c:v>60984</c:v>
                </c:pt>
                <c:pt idx="895">
                  <c:v>60967</c:v>
                </c:pt>
                <c:pt idx="896">
                  <c:v>60910</c:v>
                </c:pt>
                <c:pt idx="897">
                  <c:v>60888</c:v>
                </c:pt>
                <c:pt idx="898">
                  <c:v>60848</c:v>
                </c:pt>
                <c:pt idx="899">
                  <c:v>60813</c:v>
                </c:pt>
                <c:pt idx="900">
                  <c:v>60779</c:v>
                </c:pt>
                <c:pt idx="901">
                  <c:v>60755</c:v>
                </c:pt>
                <c:pt idx="902">
                  <c:v>60749</c:v>
                </c:pt>
                <c:pt idx="903">
                  <c:v>60642</c:v>
                </c:pt>
                <c:pt idx="904">
                  <c:v>60547</c:v>
                </c:pt>
                <c:pt idx="905">
                  <c:v>60530</c:v>
                </c:pt>
                <c:pt idx="906">
                  <c:v>60525</c:v>
                </c:pt>
                <c:pt idx="907">
                  <c:v>60509</c:v>
                </c:pt>
                <c:pt idx="908">
                  <c:v>60482</c:v>
                </c:pt>
                <c:pt idx="909">
                  <c:v>60436</c:v>
                </c:pt>
                <c:pt idx="910">
                  <c:v>60433</c:v>
                </c:pt>
                <c:pt idx="911">
                  <c:v>60427</c:v>
                </c:pt>
                <c:pt idx="912">
                  <c:v>60379</c:v>
                </c:pt>
                <c:pt idx="913">
                  <c:v>60370</c:v>
                </c:pt>
                <c:pt idx="914">
                  <c:v>60335</c:v>
                </c:pt>
                <c:pt idx="915">
                  <c:v>60319</c:v>
                </c:pt>
                <c:pt idx="916">
                  <c:v>60279</c:v>
                </c:pt>
                <c:pt idx="917">
                  <c:v>60278</c:v>
                </c:pt>
                <c:pt idx="918">
                  <c:v>60199</c:v>
                </c:pt>
                <c:pt idx="919">
                  <c:v>60174</c:v>
                </c:pt>
                <c:pt idx="920">
                  <c:v>60163</c:v>
                </c:pt>
                <c:pt idx="921">
                  <c:v>60155</c:v>
                </c:pt>
                <c:pt idx="922">
                  <c:v>60090</c:v>
                </c:pt>
                <c:pt idx="923">
                  <c:v>60089</c:v>
                </c:pt>
                <c:pt idx="924">
                  <c:v>60000</c:v>
                </c:pt>
                <c:pt idx="925">
                  <c:v>59973</c:v>
                </c:pt>
                <c:pt idx="926">
                  <c:v>59932</c:v>
                </c:pt>
                <c:pt idx="927">
                  <c:v>59843</c:v>
                </c:pt>
                <c:pt idx="928">
                  <c:v>59796</c:v>
                </c:pt>
                <c:pt idx="929">
                  <c:v>59786</c:v>
                </c:pt>
                <c:pt idx="930">
                  <c:v>59753</c:v>
                </c:pt>
                <c:pt idx="931">
                  <c:v>59740</c:v>
                </c:pt>
                <c:pt idx="932">
                  <c:v>59729</c:v>
                </c:pt>
                <c:pt idx="933">
                  <c:v>59699</c:v>
                </c:pt>
                <c:pt idx="934">
                  <c:v>59644</c:v>
                </c:pt>
                <c:pt idx="935">
                  <c:v>59618</c:v>
                </c:pt>
                <c:pt idx="936">
                  <c:v>59570</c:v>
                </c:pt>
                <c:pt idx="937">
                  <c:v>59542</c:v>
                </c:pt>
                <c:pt idx="938">
                  <c:v>59525</c:v>
                </c:pt>
                <c:pt idx="939">
                  <c:v>59442</c:v>
                </c:pt>
                <c:pt idx="940">
                  <c:v>59401</c:v>
                </c:pt>
                <c:pt idx="941">
                  <c:v>59300</c:v>
                </c:pt>
                <c:pt idx="942">
                  <c:v>59278</c:v>
                </c:pt>
                <c:pt idx="943">
                  <c:v>59277</c:v>
                </c:pt>
                <c:pt idx="944">
                  <c:v>59257</c:v>
                </c:pt>
                <c:pt idx="945">
                  <c:v>59236</c:v>
                </c:pt>
                <c:pt idx="946">
                  <c:v>59188</c:v>
                </c:pt>
                <c:pt idx="947">
                  <c:v>59183</c:v>
                </c:pt>
                <c:pt idx="948">
                  <c:v>59175</c:v>
                </c:pt>
                <c:pt idx="949">
                  <c:v>59174</c:v>
                </c:pt>
                <c:pt idx="950">
                  <c:v>59139</c:v>
                </c:pt>
                <c:pt idx="951">
                  <c:v>59122</c:v>
                </c:pt>
                <c:pt idx="952">
                  <c:v>59088</c:v>
                </c:pt>
                <c:pt idx="953">
                  <c:v>59065</c:v>
                </c:pt>
                <c:pt idx="954">
                  <c:v>58980</c:v>
                </c:pt>
                <c:pt idx="955">
                  <c:v>58958</c:v>
                </c:pt>
                <c:pt idx="956">
                  <c:v>58923</c:v>
                </c:pt>
                <c:pt idx="957">
                  <c:v>58909</c:v>
                </c:pt>
                <c:pt idx="958">
                  <c:v>58883</c:v>
                </c:pt>
                <c:pt idx="959">
                  <c:v>58866</c:v>
                </c:pt>
                <c:pt idx="960">
                  <c:v>58837</c:v>
                </c:pt>
                <c:pt idx="961">
                  <c:v>58833</c:v>
                </c:pt>
                <c:pt idx="962">
                  <c:v>58830</c:v>
                </c:pt>
                <c:pt idx="963">
                  <c:v>58825</c:v>
                </c:pt>
                <c:pt idx="964">
                  <c:v>58820</c:v>
                </c:pt>
                <c:pt idx="965">
                  <c:v>58814</c:v>
                </c:pt>
                <c:pt idx="966">
                  <c:v>58806</c:v>
                </c:pt>
                <c:pt idx="967">
                  <c:v>58745</c:v>
                </c:pt>
                <c:pt idx="968">
                  <c:v>58719</c:v>
                </c:pt>
                <c:pt idx="969">
                  <c:v>58715</c:v>
                </c:pt>
                <c:pt idx="970">
                  <c:v>58713</c:v>
                </c:pt>
                <c:pt idx="971">
                  <c:v>58710</c:v>
                </c:pt>
                <c:pt idx="972">
                  <c:v>58705</c:v>
                </c:pt>
                <c:pt idx="973">
                  <c:v>58686</c:v>
                </c:pt>
                <c:pt idx="974">
                  <c:v>58641</c:v>
                </c:pt>
                <c:pt idx="975">
                  <c:v>58628</c:v>
                </c:pt>
                <c:pt idx="976">
                  <c:v>58614</c:v>
                </c:pt>
                <c:pt idx="977">
                  <c:v>58567</c:v>
                </c:pt>
                <c:pt idx="978">
                  <c:v>58526</c:v>
                </c:pt>
                <c:pt idx="979">
                  <c:v>58496</c:v>
                </c:pt>
                <c:pt idx="980">
                  <c:v>58431</c:v>
                </c:pt>
                <c:pt idx="981">
                  <c:v>58399</c:v>
                </c:pt>
                <c:pt idx="982">
                  <c:v>58392</c:v>
                </c:pt>
                <c:pt idx="983">
                  <c:v>58253</c:v>
                </c:pt>
                <c:pt idx="984">
                  <c:v>58200</c:v>
                </c:pt>
                <c:pt idx="985">
                  <c:v>58192</c:v>
                </c:pt>
                <c:pt idx="986">
                  <c:v>58179</c:v>
                </c:pt>
                <c:pt idx="987">
                  <c:v>58098</c:v>
                </c:pt>
                <c:pt idx="988">
                  <c:v>58048</c:v>
                </c:pt>
                <c:pt idx="989">
                  <c:v>58033</c:v>
                </c:pt>
                <c:pt idx="990">
                  <c:v>57987</c:v>
                </c:pt>
                <c:pt idx="991">
                  <c:v>57974</c:v>
                </c:pt>
                <c:pt idx="992">
                  <c:v>57932</c:v>
                </c:pt>
                <c:pt idx="993">
                  <c:v>57868</c:v>
                </c:pt>
                <c:pt idx="994">
                  <c:v>57828</c:v>
                </c:pt>
                <c:pt idx="995">
                  <c:v>57802</c:v>
                </c:pt>
                <c:pt idx="996">
                  <c:v>57766</c:v>
                </c:pt>
                <c:pt idx="997">
                  <c:v>57748</c:v>
                </c:pt>
                <c:pt idx="998">
                  <c:v>57657</c:v>
                </c:pt>
                <c:pt idx="999">
                  <c:v>57626</c:v>
                </c:pt>
                <c:pt idx="1000">
                  <c:v>57565</c:v>
                </c:pt>
                <c:pt idx="1001">
                  <c:v>57556</c:v>
                </c:pt>
                <c:pt idx="1002">
                  <c:v>57537</c:v>
                </c:pt>
                <c:pt idx="1003">
                  <c:v>57496</c:v>
                </c:pt>
                <c:pt idx="1004">
                  <c:v>57459</c:v>
                </c:pt>
                <c:pt idx="1005">
                  <c:v>57447</c:v>
                </c:pt>
                <c:pt idx="1006">
                  <c:v>57418</c:v>
                </c:pt>
                <c:pt idx="1007">
                  <c:v>57414</c:v>
                </c:pt>
                <c:pt idx="1008">
                  <c:v>57390</c:v>
                </c:pt>
                <c:pt idx="1009">
                  <c:v>57387</c:v>
                </c:pt>
                <c:pt idx="1010">
                  <c:v>57351</c:v>
                </c:pt>
                <c:pt idx="1011">
                  <c:v>57309</c:v>
                </c:pt>
                <c:pt idx="1012">
                  <c:v>57299</c:v>
                </c:pt>
                <c:pt idx="1013">
                  <c:v>57297</c:v>
                </c:pt>
                <c:pt idx="1014">
                  <c:v>57292</c:v>
                </c:pt>
                <c:pt idx="1015">
                  <c:v>57289</c:v>
                </c:pt>
                <c:pt idx="1016">
                  <c:v>57271</c:v>
                </c:pt>
                <c:pt idx="1017">
                  <c:v>57269</c:v>
                </c:pt>
                <c:pt idx="1018">
                  <c:v>57261</c:v>
                </c:pt>
                <c:pt idx="1019">
                  <c:v>57258</c:v>
                </c:pt>
                <c:pt idx="1020">
                  <c:v>57247</c:v>
                </c:pt>
                <c:pt idx="1021">
                  <c:v>57224</c:v>
                </c:pt>
                <c:pt idx="1022">
                  <c:v>57187</c:v>
                </c:pt>
                <c:pt idx="1023">
                  <c:v>57087</c:v>
                </c:pt>
                <c:pt idx="1024">
                  <c:v>57067</c:v>
                </c:pt>
                <c:pt idx="1025">
                  <c:v>57039</c:v>
                </c:pt>
                <c:pt idx="1026">
                  <c:v>57024</c:v>
                </c:pt>
                <c:pt idx="1027">
                  <c:v>57023</c:v>
                </c:pt>
                <c:pt idx="1028">
                  <c:v>56993</c:v>
                </c:pt>
                <c:pt idx="1029">
                  <c:v>56978</c:v>
                </c:pt>
                <c:pt idx="1030">
                  <c:v>56975</c:v>
                </c:pt>
                <c:pt idx="1031">
                  <c:v>56893</c:v>
                </c:pt>
                <c:pt idx="1032">
                  <c:v>56884</c:v>
                </c:pt>
                <c:pt idx="1033">
                  <c:v>56827</c:v>
                </c:pt>
                <c:pt idx="1034">
                  <c:v>56811</c:v>
                </c:pt>
                <c:pt idx="1035">
                  <c:v>56786</c:v>
                </c:pt>
                <c:pt idx="1036">
                  <c:v>56784</c:v>
                </c:pt>
                <c:pt idx="1037">
                  <c:v>56783</c:v>
                </c:pt>
                <c:pt idx="1038">
                  <c:v>56772</c:v>
                </c:pt>
                <c:pt idx="1039">
                  <c:v>56748</c:v>
                </c:pt>
                <c:pt idx="1040">
                  <c:v>56695</c:v>
                </c:pt>
                <c:pt idx="1041">
                  <c:v>56694</c:v>
                </c:pt>
                <c:pt idx="1042">
                  <c:v>56678</c:v>
                </c:pt>
                <c:pt idx="1043">
                  <c:v>56639</c:v>
                </c:pt>
                <c:pt idx="1044">
                  <c:v>56523</c:v>
                </c:pt>
                <c:pt idx="1045">
                  <c:v>56505</c:v>
                </c:pt>
                <c:pt idx="1046">
                  <c:v>56488</c:v>
                </c:pt>
                <c:pt idx="1047">
                  <c:v>56403</c:v>
                </c:pt>
                <c:pt idx="1048">
                  <c:v>56387</c:v>
                </c:pt>
                <c:pt idx="1049">
                  <c:v>56356</c:v>
                </c:pt>
                <c:pt idx="1050">
                  <c:v>56349</c:v>
                </c:pt>
                <c:pt idx="1051">
                  <c:v>56276</c:v>
                </c:pt>
                <c:pt idx="1052">
                  <c:v>56274</c:v>
                </c:pt>
                <c:pt idx="1053">
                  <c:v>56197</c:v>
                </c:pt>
                <c:pt idx="1054">
                  <c:v>56181</c:v>
                </c:pt>
                <c:pt idx="1055">
                  <c:v>56175</c:v>
                </c:pt>
                <c:pt idx="1056">
                  <c:v>56137</c:v>
                </c:pt>
                <c:pt idx="1057">
                  <c:v>56115</c:v>
                </c:pt>
                <c:pt idx="1058">
                  <c:v>56115</c:v>
                </c:pt>
                <c:pt idx="1059">
                  <c:v>56044</c:v>
                </c:pt>
                <c:pt idx="1060">
                  <c:v>56039</c:v>
                </c:pt>
                <c:pt idx="1061">
                  <c:v>56031</c:v>
                </c:pt>
                <c:pt idx="1062">
                  <c:v>55952</c:v>
                </c:pt>
                <c:pt idx="1063">
                  <c:v>55939</c:v>
                </c:pt>
                <c:pt idx="1064">
                  <c:v>55926</c:v>
                </c:pt>
                <c:pt idx="1065">
                  <c:v>55917</c:v>
                </c:pt>
                <c:pt idx="1066">
                  <c:v>55889</c:v>
                </c:pt>
                <c:pt idx="1067">
                  <c:v>55844</c:v>
                </c:pt>
                <c:pt idx="1068">
                  <c:v>55836</c:v>
                </c:pt>
                <c:pt idx="1069">
                  <c:v>55824</c:v>
                </c:pt>
                <c:pt idx="1070">
                  <c:v>55682</c:v>
                </c:pt>
                <c:pt idx="1071">
                  <c:v>55670</c:v>
                </c:pt>
                <c:pt idx="1072">
                  <c:v>55653</c:v>
                </c:pt>
                <c:pt idx="1073">
                  <c:v>55649</c:v>
                </c:pt>
                <c:pt idx="1074">
                  <c:v>55576</c:v>
                </c:pt>
                <c:pt idx="1075">
                  <c:v>55559</c:v>
                </c:pt>
                <c:pt idx="1076">
                  <c:v>55551</c:v>
                </c:pt>
                <c:pt idx="1077">
                  <c:v>55517</c:v>
                </c:pt>
                <c:pt idx="1078">
                  <c:v>55483</c:v>
                </c:pt>
                <c:pt idx="1079">
                  <c:v>55389</c:v>
                </c:pt>
                <c:pt idx="1080">
                  <c:v>55366</c:v>
                </c:pt>
                <c:pt idx="1081">
                  <c:v>55331</c:v>
                </c:pt>
                <c:pt idx="1082">
                  <c:v>55327</c:v>
                </c:pt>
                <c:pt idx="1083">
                  <c:v>55307</c:v>
                </c:pt>
                <c:pt idx="1084">
                  <c:v>55273</c:v>
                </c:pt>
                <c:pt idx="1085">
                  <c:v>55258</c:v>
                </c:pt>
                <c:pt idx="1086">
                  <c:v>55248</c:v>
                </c:pt>
                <c:pt idx="1087">
                  <c:v>55235</c:v>
                </c:pt>
                <c:pt idx="1088">
                  <c:v>55231</c:v>
                </c:pt>
                <c:pt idx="1089">
                  <c:v>55209</c:v>
                </c:pt>
                <c:pt idx="1090">
                  <c:v>55207</c:v>
                </c:pt>
                <c:pt idx="1091">
                  <c:v>55205</c:v>
                </c:pt>
                <c:pt idx="1092">
                  <c:v>55199</c:v>
                </c:pt>
                <c:pt idx="1093">
                  <c:v>55121</c:v>
                </c:pt>
                <c:pt idx="1094">
                  <c:v>55047</c:v>
                </c:pt>
                <c:pt idx="1095">
                  <c:v>55044</c:v>
                </c:pt>
                <c:pt idx="1096">
                  <c:v>55036</c:v>
                </c:pt>
                <c:pt idx="1097">
                  <c:v>55020</c:v>
                </c:pt>
                <c:pt idx="1098">
                  <c:v>54962</c:v>
                </c:pt>
                <c:pt idx="1099">
                  <c:v>54958</c:v>
                </c:pt>
                <c:pt idx="1100">
                  <c:v>54958</c:v>
                </c:pt>
                <c:pt idx="1101">
                  <c:v>54907</c:v>
                </c:pt>
                <c:pt idx="1102">
                  <c:v>54884</c:v>
                </c:pt>
                <c:pt idx="1103">
                  <c:v>54875</c:v>
                </c:pt>
                <c:pt idx="1104">
                  <c:v>54836</c:v>
                </c:pt>
                <c:pt idx="1105">
                  <c:v>54755</c:v>
                </c:pt>
                <c:pt idx="1106">
                  <c:v>54748</c:v>
                </c:pt>
                <c:pt idx="1107">
                  <c:v>54733</c:v>
                </c:pt>
                <c:pt idx="1108">
                  <c:v>54691</c:v>
                </c:pt>
                <c:pt idx="1109">
                  <c:v>54674</c:v>
                </c:pt>
                <c:pt idx="1110">
                  <c:v>54665</c:v>
                </c:pt>
                <c:pt idx="1111">
                  <c:v>54650</c:v>
                </c:pt>
                <c:pt idx="1112">
                  <c:v>54638</c:v>
                </c:pt>
                <c:pt idx="1113">
                  <c:v>54531</c:v>
                </c:pt>
                <c:pt idx="1114">
                  <c:v>54511</c:v>
                </c:pt>
                <c:pt idx="1115">
                  <c:v>54502</c:v>
                </c:pt>
                <c:pt idx="1116">
                  <c:v>54467</c:v>
                </c:pt>
                <c:pt idx="1117">
                  <c:v>54441</c:v>
                </c:pt>
                <c:pt idx="1118">
                  <c:v>54441</c:v>
                </c:pt>
                <c:pt idx="1119">
                  <c:v>54414</c:v>
                </c:pt>
                <c:pt idx="1120">
                  <c:v>54401</c:v>
                </c:pt>
                <c:pt idx="1121">
                  <c:v>54374</c:v>
                </c:pt>
                <c:pt idx="1122">
                  <c:v>54254</c:v>
                </c:pt>
                <c:pt idx="1123">
                  <c:v>54220</c:v>
                </c:pt>
                <c:pt idx="1124">
                  <c:v>54216</c:v>
                </c:pt>
                <c:pt idx="1125">
                  <c:v>54204</c:v>
                </c:pt>
                <c:pt idx="1126">
                  <c:v>54201</c:v>
                </c:pt>
                <c:pt idx="1127">
                  <c:v>54192</c:v>
                </c:pt>
                <c:pt idx="1128">
                  <c:v>54184</c:v>
                </c:pt>
                <c:pt idx="1129">
                  <c:v>54110</c:v>
                </c:pt>
                <c:pt idx="1130">
                  <c:v>54095</c:v>
                </c:pt>
                <c:pt idx="1131">
                  <c:v>54078</c:v>
                </c:pt>
                <c:pt idx="1132">
                  <c:v>54064</c:v>
                </c:pt>
                <c:pt idx="1133">
                  <c:v>54062</c:v>
                </c:pt>
                <c:pt idx="1134">
                  <c:v>54039</c:v>
                </c:pt>
                <c:pt idx="1135">
                  <c:v>54017</c:v>
                </c:pt>
                <c:pt idx="1136">
                  <c:v>54015</c:v>
                </c:pt>
                <c:pt idx="1137">
                  <c:v>53954</c:v>
                </c:pt>
                <c:pt idx="1138">
                  <c:v>53951</c:v>
                </c:pt>
                <c:pt idx="1139">
                  <c:v>53915</c:v>
                </c:pt>
                <c:pt idx="1140">
                  <c:v>53826</c:v>
                </c:pt>
                <c:pt idx="1141">
                  <c:v>53774</c:v>
                </c:pt>
                <c:pt idx="1142">
                  <c:v>53693</c:v>
                </c:pt>
                <c:pt idx="1143">
                  <c:v>53660</c:v>
                </c:pt>
                <c:pt idx="1144">
                  <c:v>53658</c:v>
                </c:pt>
                <c:pt idx="1145">
                  <c:v>53649</c:v>
                </c:pt>
                <c:pt idx="1146">
                  <c:v>53642</c:v>
                </c:pt>
                <c:pt idx="1147">
                  <c:v>53495</c:v>
                </c:pt>
                <c:pt idx="1148">
                  <c:v>53487</c:v>
                </c:pt>
                <c:pt idx="1149">
                  <c:v>53452</c:v>
                </c:pt>
                <c:pt idx="1150">
                  <c:v>53438</c:v>
                </c:pt>
                <c:pt idx="1151">
                  <c:v>53392</c:v>
                </c:pt>
                <c:pt idx="1152">
                  <c:v>53378</c:v>
                </c:pt>
                <c:pt idx="1153">
                  <c:v>53346</c:v>
                </c:pt>
                <c:pt idx="1154">
                  <c:v>53339</c:v>
                </c:pt>
                <c:pt idx="1155">
                  <c:v>53187</c:v>
                </c:pt>
                <c:pt idx="1156">
                  <c:v>53156</c:v>
                </c:pt>
                <c:pt idx="1157">
                  <c:v>53108</c:v>
                </c:pt>
                <c:pt idx="1158">
                  <c:v>53103</c:v>
                </c:pt>
                <c:pt idx="1159">
                  <c:v>53088</c:v>
                </c:pt>
                <c:pt idx="1160">
                  <c:v>53083</c:v>
                </c:pt>
                <c:pt idx="1161">
                  <c:v>53044</c:v>
                </c:pt>
                <c:pt idx="1162">
                  <c:v>53014</c:v>
                </c:pt>
                <c:pt idx="1163">
                  <c:v>52941</c:v>
                </c:pt>
                <c:pt idx="1164">
                  <c:v>52849</c:v>
                </c:pt>
                <c:pt idx="1165">
                  <c:v>52822</c:v>
                </c:pt>
                <c:pt idx="1166">
                  <c:v>52772</c:v>
                </c:pt>
                <c:pt idx="1167">
                  <c:v>52765</c:v>
                </c:pt>
                <c:pt idx="1168">
                  <c:v>52763</c:v>
                </c:pt>
                <c:pt idx="1169">
                  <c:v>52757</c:v>
                </c:pt>
                <c:pt idx="1170">
                  <c:v>52748</c:v>
                </c:pt>
                <c:pt idx="1171">
                  <c:v>52731</c:v>
                </c:pt>
                <c:pt idx="1172">
                  <c:v>52672</c:v>
                </c:pt>
                <c:pt idx="1173">
                  <c:v>52636</c:v>
                </c:pt>
                <c:pt idx="1174">
                  <c:v>52523</c:v>
                </c:pt>
                <c:pt idx="1175">
                  <c:v>52517</c:v>
                </c:pt>
                <c:pt idx="1176">
                  <c:v>52488</c:v>
                </c:pt>
                <c:pt idx="1177">
                  <c:v>52475</c:v>
                </c:pt>
                <c:pt idx="1178">
                  <c:v>52451</c:v>
                </c:pt>
                <c:pt idx="1179">
                  <c:v>52425</c:v>
                </c:pt>
                <c:pt idx="1180">
                  <c:v>52419</c:v>
                </c:pt>
                <c:pt idx="1181">
                  <c:v>52342</c:v>
                </c:pt>
                <c:pt idx="1182">
                  <c:v>52269</c:v>
                </c:pt>
                <c:pt idx="1183">
                  <c:v>52241</c:v>
                </c:pt>
                <c:pt idx="1184">
                  <c:v>52078</c:v>
                </c:pt>
                <c:pt idx="1185">
                  <c:v>52060</c:v>
                </c:pt>
                <c:pt idx="1186">
                  <c:v>52057</c:v>
                </c:pt>
                <c:pt idx="1187">
                  <c:v>51914</c:v>
                </c:pt>
                <c:pt idx="1188">
                  <c:v>51869</c:v>
                </c:pt>
                <c:pt idx="1189">
                  <c:v>51837</c:v>
                </c:pt>
                <c:pt idx="1190">
                  <c:v>51783</c:v>
                </c:pt>
                <c:pt idx="1191">
                  <c:v>51776</c:v>
                </c:pt>
                <c:pt idx="1192">
                  <c:v>51770</c:v>
                </c:pt>
                <c:pt idx="1193">
                  <c:v>51770</c:v>
                </c:pt>
                <c:pt idx="1194">
                  <c:v>51710</c:v>
                </c:pt>
                <c:pt idx="1195">
                  <c:v>51680</c:v>
                </c:pt>
                <c:pt idx="1196">
                  <c:v>51632</c:v>
                </c:pt>
                <c:pt idx="1197">
                  <c:v>51619</c:v>
                </c:pt>
                <c:pt idx="1198">
                  <c:v>51615</c:v>
                </c:pt>
                <c:pt idx="1199">
                  <c:v>51584</c:v>
                </c:pt>
                <c:pt idx="1200">
                  <c:v>51581</c:v>
                </c:pt>
                <c:pt idx="1201">
                  <c:v>51569</c:v>
                </c:pt>
                <c:pt idx="1202">
                  <c:v>51557</c:v>
                </c:pt>
                <c:pt idx="1203">
                  <c:v>51535</c:v>
                </c:pt>
                <c:pt idx="1204">
                  <c:v>51535</c:v>
                </c:pt>
                <c:pt idx="1205">
                  <c:v>51519</c:v>
                </c:pt>
                <c:pt idx="1206">
                  <c:v>51483</c:v>
                </c:pt>
                <c:pt idx="1207">
                  <c:v>51471</c:v>
                </c:pt>
                <c:pt idx="1208">
                  <c:v>51419</c:v>
                </c:pt>
                <c:pt idx="1209">
                  <c:v>51374</c:v>
                </c:pt>
                <c:pt idx="1210">
                  <c:v>51365</c:v>
                </c:pt>
                <c:pt idx="1211">
                  <c:v>51306</c:v>
                </c:pt>
                <c:pt idx="1212">
                  <c:v>51223</c:v>
                </c:pt>
                <c:pt idx="1213">
                  <c:v>51153</c:v>
                </c:pt>
                <c:pt idx="1214">
                  <c:v>51020</c:v>
                </c:pt>
                <c:pt idx="1215">
                  <c:v>51001</c:v>
                </c:pt>
                <c:pt idx="1216">
                  <c:v>50984</c:v>
                </c:pt>
                <c:pt idx="1217">
                  <c:v>50884</c:v>
                </c:pt>
                <c:pt idx="1218">
                  <c:v>50793</c:v>
                </c:pt>
                <c:pt idx="1219">
                  <c:v>50715</c:v>
                </c:pt>
                <c:pt idx="1220">
                  <c:v>50688</c:v>
                </c:pt>
                <c:pt idx="1221">
                  <c:v>50661</c:v>
                </c:pt>
                <c:pt idx="1222">
                  <c:v>50661</c:v>
                </c:pt>
                <c:pt idx="1223">
                  <c:v>50548</c:v>
                </c:pt>
                <c:pt idx="1224">
                  <c:v>50521</c:v>
                </c:pt>
                <c:pt idx="1225">
                  <c:v>50438</c:v>
                </c:pt>
                <c:pt idx="1226">
                  <c:v>50356</c:v>
                </c:pt>
                <c:pt idx="1227">
                  <c:v>50217</c:v>
                </c:pt>
                <c:pt idx="1228">
                  <c:v>50185</c:v>
                </c:pt>
                <c:pt idx="1229">
                  <c:v>50050</c:v>
                </c:pt>
                <c:pt idx="1230">
                  <c:v>49805</c:v>
                </c:pt>
                <c:pt idx="1231">
                  <c:v>49703</c:v>
                </c:pt>
                <c:pt idx="1232">
                  <c:v>49648</c:v>
                </c:pt>
                <c:pt idx="1233">
                  <c:v>49597</c:v>
                </c:pt>
                <c:pt idx="1234">
                  <c:v>49585</c:v>
                </c:pt>
                <c:pt idx="1235">
                  <c:v>49576</c:v>
                </c:pt>
                <c:pt idx="1236">
                  <c:v>49391</c:v>
                </c:pt>
                <c:pt idx="1237">
                  <c:v>49260</c:v>
                </c:pt>
                <c:pt idx="1238">
                  <c:v>49250</c:v>
                </c:pt>
                <c:pt idx="1239">
                  <c:v>49239</c:v>
                </c:pt>
                <c:pt idx="1240">
                  <c:v>49173</c:v>
                </c:pt>
                <c:pt idx="1241">
                  <c:v>48953</c:v>
                </c:pt>
                <c:pt idx="1242">
                  <c:v>48763</c:v>
                </c:pt>
                <c:pt idx="1243">
                  <c:v>48693</c:v>
                </c:pt>
                <c:pt idx="1244">
                  <c:v>48605</c:v>
                </c:pt>
                <c:pt idx="1245">
                  <c:v>48603</c:v>
                </c:pt>
                <c:pt idx="1246">
                  <c:v>48548</c:v>
                </c:pt>
                <c:pt idx="1247">
                  <c:v>48429</c:v>
                </c:pt>
                <c:pt idx="1248">
                  <c:v>48359</c:v>
                </c:pt>
                <c:pt idx="1249">
                  <c:v>48165</c:v>
                </c:pt>
                <c:pt idx="1250">
                  <c:v>48091</c:v>
                </c:pt>
                <c:pt idx="1251">
                  <c:v>48039</c:v>
                </c:pt>
                <c:pt idx="1252">
                  <c:v>48014</c:v>
                </c:pt>
                <c:pt idx="1253">
                  <c:v>47825</c:v>
                </c:pt>
                <c:pt idx="1254">
                  <c:v>47677</c:v>
                </c:pt>
                <c:pt idx="1255">
                  <c:v>47668</c:v>
                </c:pt>
                <c:pt idx="1256">
                  <c:v>47481</c:v>
                </c:pt>
                <c:pt idx="1257">
                  <c:v>47357</c:v>
                </c:pt>
                <c:pt idx="1258">
                  <c:v>47303</c:v>
                </c:pt>
                <c:pt idx="1259">
                  <c:v>46951</c:v>
                </c:pt>
                <c:pt idx="1260">
                  <c:v>46813</c:v>
                </c:pt>
                <c:pt idx="1261">
                  <c:v>46805</c:v>
                </c:pt>
                <c:pt idx="1262">
                  <c:v>46578</c:v>
                </c:pt>
                <c:pt idx="1263">
                  <c:v>46286</c:v>
                </c:pt>
                <c:pt idx="1264">
                  <c:v>46115</c:v>
                </c:pt>
                <c:pt idx="1265">
                  <c:v>45818</c:v>
                </c:pt>
                <c:pt idx="1266">
                  <c:v>45338</c:v>
                </c:pt>
                <c:pt idx="1267">
                  <c:v>45313</c:v>
                </c:pt>
                <c:pt idx="1268">
                  <c:v>45171</c:v>
                </c:pt>
                <c:pt idx="1269">
                  <c:v>45093</c:v>
                </c:pt>
                <c:pt idx="1270">
                  <c:v>44864</c:v>
                </c:pt>
                <c:pt idx="1271">
                  <c:v>44510</c:v>
                </c:pt>
                <c:pt idx="1272">
                  <c:v>44345</c:v>
                </c:pt>
                <c:pt idx="1273">
                  <c:v>44180</c:v>
                </c:pt>
                <c:pt idx="1274">
                  <c:v>44016</c:v>
                </c:pt>
                <c:pt idx="1275">
                  <c:v>43689</c:v>
                </c:pt>
                <c:pt idx="1276">
                  <c:v>43507</c:v>
                </c:pt>
                <c:pt idx="1277">
                  <c:v>43360</c:v>
                </c:pt>
                <c:pt idx="1278">
                  <c:v>43301</c:v>
                </c:pt>
                <c:pt idx="1279">
                  <c:v>43298</c:v>
                </c:pt>
                <c:pt idx="1280">
                  <c:v>43167</c:v>
                </c:pt>
                <c:pt idx="1281">
                  <c:v>42937</c:v>
                </c:pt>
                <c:pt idx="1282">
                  <c:v>42639</c:v>
                </c:pt>
                <c:pt idx="1283">
                  <c:v>42614</c:v>
                </c:pt>
                <c:pt idx="1284">
                  <c:v>42592</c:v>
                </c:pt>
                <c:pt idx="1285">
                  <c:v>42272</c:v>
                </c:pt>
                <c:pt idx="1286">
                  <c:v>42147</c:v>
                </c:pt>
                <c:pt idx="1287">
                  <c:v>42070</c:v>
                </c:pt>
                <c:pt idx="1288">
                  <c:v>42029</c:v>
                </c:pt>
                <c:pt idx="1289">
                  <c:v>42006</c:v>
                </c:pt>
                <c:pt idx="1290">
                  <c:v>41938</c:v>
                </c:pt>
                <c:pt idx="1291">
                  <c:v>41852</c:v>
                </c:pt>
                <c:pt idx="1292">
                  <c:v>41576</c:v>
                </c:pt>
                <c:pt idx="1293">
                  <c:v>41484</c:v>
                </c:pt>
                <c:pt idx="1294">
                  <c:v>41351</c:v>
                </c:pt>
                <c:pt idx="1295">
                  <c:v>41098</c:v>
                </c:pt>
                <c:pt idx="1296">
                  <c:v>40884</c:v>
                </c:pt>
                <c:pt idx="1297">
                  <c:v>40726</c:v>
                </c:pt>
                <c:pt idx="1298">
                  <c:v>40549</c:v>
                </c:pt>
                <c:pt idx="1299">
                  <c:v>40471</c:v>
                </c:pt>
                <c:pt idx="1300">
                  <c:v>40374</c:v>
                </c:pt>
                <c:pt idx="1301">
                  <c:v>40165</c:v>
                </c:pt>
                <c:pt idx="1302">
                  <c:v>40143</c:v>
                </c:pt>
                <c:pt idx="1303">
                  <c:v>40017</c:v>
                </c:pt>
                <c:pt idx="1304">
                  <c:v>39843</c:v>
                </c:pt>
                <c:pt idx="1305">
                  <c:v>39348</c:v>
                </c:pt>
                <c:pt idx="1306">
                  <c:v>38879</c:v>
                </c:pt>
                <c:pt idx="1307">
                  <c:v>38649</c:v>
                </c:pt>
                <c:pt idx="1308">
                  <c:v>38546</c:v>
                </c:pt>
                <c:pt idx="1309">
                  <c:v>38252</c:v>
                </c:pt>
                <c:pt idx="1310">
                  <c:v>38070</c:v>
                </c:pt>
                <c:pt idx="1311">
                  <c:v>37922</c:v>
                </c:pt>
                <c:pt idx="1312">
                  <c:v>37788</c:v>
                </c:pt>
                <c:pt idx="1313">
                  <c:v>37558</c:v>
                </c:pt>
                <c:pt idx="1314">
                  <c:v>36898</c:v>
                </c:pt>
                <c:pt idx="1315">
                  <c:v>36484</c:v>
                </c:pt>
                <c:pt idx="1316">
                  <c:v>35912</c:v>
                </c:pt>
                <c:pt idx="1317">
                  <c:v>35706</c:v>
                </c:pt>
                <c:pt idx="1318">
                  <c:v>35062</c:v>
                </c:pt>
                <c:pt idx="1319">
                  <c:v>34977</c:v>
                </c:pt>
                <c:pt idx="1320">
                  <c:v>34960</c:v>
                </c:pt>
                <c:pt idx="1321">
                  <c:v>34910</c:v>
                </c:pt>
                <c:pt idx="1322">
                  <c:v>34878</c:v>
                </c:pt>
                <c:pt idx="1323">
                  <c:v>34686</c:v>
                </c:pt>
                <c:pt idx="1324">
                  <c:v>34283</c:v>
                </c:pt>
                <c:pt idx="1325">
                  <c:v>34099</c:v>
                </c:pt>
                <c:pt idx="1326">
                  <c:v>33226</c:v>
                </c:pt>
                <c:pt idx="1327">
                  <c:v>33134</c:v>
                </c:pt>
                <c:pt idx="1328">
                  <c:v>31289</c:v>
                </c:pt>
                <c:pt idx="1329">
                  <c:v>30486</c:v>
                </c:pt>
                <c:pt idx="1330">
                  <c:v>29491</c:v>
                </c:pt>
                <c:pt idx="1331">
                  <c:v>29012</c:v>
                </c:pt>
                <c:pt idx="1332">
                  <c:v>25751</c:v>
                </c:pt>
                <c:pt idx="1333">
                  <c:v>25504</c:v>
                </c:pt>
                <c:pt idx="1334">
                  <c:v>24407</c:v>
                </c:pt>
                <c:pt idx="1335">
                  <c:v>22737</c:v>
                </c:pt>
                <c:pt idx="1336">
                  <c:v>22675</c:v>
                </c:pt>
                <c:pt idx="1337">
                  <c:v>22171</c:v>
                </c:pt>
                <c:pt idx="1338">
                  <c:v>13833</c:v>
                </c:pt>
                <c:pt idx="1339">
                  <c:v>11663</c:v>
                </c:pt>
                <c:pt idx="1340">
                  <c:v>11578</c:v>
                </c:pt>
                <c:pt idx="1341">
                  <c:v>11414</c:v>
                </c:pt>
                <c:pt idx="1342">
                  <c:v>11319</c:v>
                </c:pt>
                <c:pt idx="1343">
                  <c:v>10852</c:v>
                </c:pt>
              </c:numCache>
            </c:numRef>
          </c:val>
          <c:extLst xmlns:c16r2="http://schemas.microsoft.com/office/drawing/2015/06/chart">
            <c:ext xmlns:c16="http://schemas.microsoft.com/office/drawing/2014/chart" uri="{C3380CC4-5D6E-409C-BE32-E72D297353CC}">
              <c16:uniqueId val="{00000000-53C1-429D-80A1-15F4D53A6300}"/>
            </c:ext>
          </c:extLst>
        </c:ser>
        <c:dLbls>
          <c:showLegendKey val="0"/>
          <c:showVal val="0"/>
          <c:showCatName val="0"/>
          <c:showSerName val="0"/>
          <c:showPercent val="0"/>
          <c:showBubbleSize val="0"/>
        </c:dLbls>
        <c:gapWidth val="219"/>
        <c:overlap val="-27"/>
        <c:axId val="-1379879392"/>
        <c:axId val="-1379878304"/>
      </c:barChart>
      <c:catAx>
        <c:axId val="-137987939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8304"/>
        <c:crosses val="autoZero"/>
        <c:auto val="1"/>
        <c:lblAlgn val="ctr"/>
        <c:lblOffset val="100"/>
        <c:noMultiLvlLbl val="0"/>
      </c:catAx>
      <c:valAx>
        <c:axId val="-13798783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939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clustered"/>
        <c:varyColors val="0"/>
        <c:ser>
          <c:idx val="0"/>
          <c:order val="0"/>
          <c:tx>
            <c:strRef>
              <c:f>顧客登録!$J$1</c:f>
              <c:strCache>
                <c:ptCount val="1"/>
                <c:pt idx="0">
                  <c:v>実行結果</c:v>
                </c:pt>
              </c:strCache>
            </c:strRef>
          </c:tx>
          <c:spPr>
            <a:solidFill>
              <a:schemeClr val="accent1"/>
            </a:solidFill>
            <a:ln>
              <a:noFill/>
            </a:ln>
            <a:effectLst/>
          </c:spPr>
          <c:invertIfNegative val="0"/>
          <c:val>
            <c:numRef>
              <c:f>顧客登録!$J$2:$J$53646</c:f>
              <c:numCache>
                <c:formatCode>General</c:formatCode>
                <c:ptCount val="53608"/>
                <c:pt idx="0">
                  <c:v>1313728</c:v>
                </c:pt>
                <c:pt idx="1">
                  <c:v>1033135</c:v>
                </c:pt>
                <c:pt idx="2">
                  <c:v>863881</c:v>
                </c:pt>
                <c:pt idx="3">
                  <c:v>828868</c:v>
                </c:pt>
                <c:pt idx="4">
                  <c:v>806261</c:v>
                </c:pt>
                <c:pt idx="5">
                  <c:v>794298</c:v>
                </c:pt>
                <c:pt idx="6">
                  <c:v>731612</c:v>
                </c:pt>
                <c:pt idx="7">
                  <c:v>698359</c:v>
                </c:pt>
                <c:pt idx="8">
                  <c:v>643358</c:v>
                </c:pt>
                <c:pt idx="9">
                  <c:v>629009</c:v>
                </c:pt>
                <c:pt idx="10">
                  <c:v>628585</c:v>
                </c:pt>
                <c:pt idx="11">
                  <c:v>628532</c:v>
                </c:pt>
                <c:pt idx="12">
                  <c:v>613812</c:v>
                </c:pt>
                <c:pt idx="13">
                  <c:v>608550</c:v>
                </c:pt>
                <c:pt idx="14">
                  <c:v>594873</c:v>
                </c:pt>
                <c:pt idx="15">
                  <c:v>583375</c:v>
                </c:pt>
                <c:pt idx="16">
                  <c:v>577596</c:v>
                </c:pt>
                <c:pt idx="17">
                  <c:v>571729</c:v>
                </c:pt>
                <c:pt idx="18">
                  <c:v>564812</c:v>
                </c:pt>
                <c:pt idx="19">
                  <c:v>556257</c:v>
                </c:pt>
                <c:pt idx="20">
                  <c:v>555044</c:v>
                </c:pt>
                <c:pt idx="21">
                  <c:v>550165</c:v>
                </c:pt>
                <c:pt idx="22">
                  <c:v>545577</c:v>
                </c:pt>
                <c:pt idx="23">
                  <c:v>544113</c:v>
                </c:pt>
                <c:pt idx="24">
                  <c:v>538888</c:v>
                </c:pt>
                <c:pt idx="25">
                  <c:v>536805</c:v>
                </c:pt>
                <c:pt idx="26">
                  <c:v>534548</c:v>
                </c:pt>
                <c:pt idx="27">
                  <c:v>533780</c:v>
                </c:pt>
                <c:pt idx="28">
                  <c:v>532425</c:v>
                </c:pt>
                <c:pt idx="29">
                  <c:v>530762</c:v>
                </c:pt>
                <c:pt idx="30">
                  <c:v>525812</c:v>
                </c:pt>
                <c:pt idx="31">
                  <c:v>523215</c:v>
                </c:pt>
                <c:pt idx="32">
                  <c:v>522309</c:v>
                </c:pt>
                <c:pt idx="33">
                  <c:v>519547</c:v>
                </c:pt>
                <c:pt idx="34">
                  <c:v>519323</c:v>
                </c:pt>
                <c:pt idx="35">
                  <c:v>518815</c:v>
                </c:pt>
                <c:pt idx="36">
                  <c:v>518102</c:v>
                </c:pt>
                <c:pt idx="37">
                  <c:v>514215</c:v>
                </c:pt>
                <c:pt idx="38">
                  <c:v>513961</c:v>
                </c:pt>
                <c:pt idx="39">
                  <c:v>512874</c:v>
                </c:pt>
                <c:pt idx="40">
                  <c:v>507072</c:v>
                </c:pt>
                <c:pt idx="41">
                  <c:v>506759</c:v>
                </c:pt>
                <c:pt idx="42">
                  <c:v>506162</c:v>
                </c:pt>
                <c:pt idx="43">
                  <c:v>505542</c:v>
                </c:pt>
                <c:pt idx="44">
                  <c:v>503569</c:v>
                </c:pt>
                <c:pt idx="45">
                  <c:v>503516</c:v>
                </c:pt>
                <c:pt idx="46">
                  <c:v>502585</c:v>
                </c:pt>
                <c:pt idx="47">
                  <c:v>499578</c:v>
                </c:pt>
                <c:pt idx="48">
                  <c:v>499453</c:v>
                </c:pt>
                <c:pt idx="49">
                  <c:v>498720</c:v>
                </c:pt>
                <c:pt idx="50">
                  <c:v>498180</c:v>
                </c:pt>
                <c:pt idx="51">
                  <c:v>497091</c:v>
                </c:pt>
                <c:pt idx="52">
                  <c:v>495958</c:v>
                </c:pt>
                <c:pt idx="53">
                  <c:v>494556</c:v>
                </c:pt>
                <c:pt idx="54">
                  <c:v>494176</c:v>
                </c:pt>
                <c:pt idx="55">
                  <c:v>493907</c:v>
                </c:pt>
                <c:pt idx="56">
                  <c:v>493749</c:v>
                </c:pt>
                <c:pt idx="57">
                  <c:v>492679</c:v>
                </c:pt>
                <c:pt idx="58">
                  <c:v>492393</c:v>
                </c:pt>
                <c:pt idx="59">
                  <c:v>491524</c:v>
                </c:pt>
                <c:pt idx="60">
                  <c:v>491051</c:v>
                </c:pt>
                <c:pt idx="61">
                  <c:v>490984</c:v>
                </c:pt>
                <c:pt idx="62">
                  <c:v>490588</c:v>
                </c:pt>
                <c:pt idx="63">
                  <c:v>490170</c:v>
                </c:pt>
                <c:pt idx="64">
                  <c:v>489752</c:v>
                </c:pt>
                <c:pt idx="65">
                  <c:v>489524</c:v>
                </c:pt>
                <c:pt idx="66">
                  <c:v>489196</c:v>
                </c:pt>
                <c:pt idx="67">
                  <c:v>488530</c:v>
                </c:pt>
                <c:pt idx="68">
                  <c:v>488336</c:v>
                </c:pt>
                <c:pt idx="69">
                  <c:v>487859</c:v>
                </c:pt>
                <c:pt idx="70">
                  <c:v>486809</c:v>
                </c:pt>
                <c:pt idx="71">
                  <c:v>485482</c:v>
                </c:pt>
                <c:pt idx="72">
                  <c:v>483262</c:v>
                </c:pt>
                <c:pt idx="73">
                  <c:v>483094</c:v>
                </c:pt>
                <c:pt idx="74">
                  <c:v>483025</c:v>
                </c:pt>
                <c:pt idx="75">
                  <c:v>482218</c:v>
                </c:pt>
                <c:pt idx="76">
                  <c:v>481897</c:v>
                </c:pt>
                <c:pt idx="77">
                  <c:v>481827</c:v>
                </c:pt>
                <c:pt idx="78">
                  <c:v>481817</c:v>
                </c:pt>
                <c:pt idx="79">
                  <c:v>480786</c:v>
                </c:pt>
                <c:pt idx="80">
                  <c:v>479449</c:v>
                </c:pt>
                <c:pt idx="81">
                  <c:v>479413</c:v>
                </c:pt>
                <c:pt idx="82">
                  <c:v>478406</c:v>
                </c:pt>
                <c:pt idx="83">
                  <c:v>477019</c:v>
                </c:pt>
                <c:pt idx="84">
                  <c:v>476941</c:v>
                </c:pt>
                <c:pt idx="85">
                  <c:v>476903</c:v>
                </c:pt>
                <c:pt idx="86">
                  <c:v>476603</c:v>
                </c:pt>
                <c:pt idx="87">
                  <c:v>476470</c:v>
                </c:pt>
                <c:pt idx="88">
                  <c:v>475022</c:v>
                </c:pt>
                <c:pt idx="89">
                  <c:v>474758</c:v>
                </c:pt>
                <c:pt idx="90">
                  <c:v>474573</c:v>
                </c:pt>
                <c:pt idx="91">
                  <c:v>473947</c:v>
                </c:pt>
                <c:pt idx="92">
                  <c:v>473048</c:v>
                </c:pt>
                <c:pt idx="93">
                  <c:v>472827</c:v>
                </c:pt>
                <c:pt idx="94">
                  <c:v>472418</c:v>
                </c:pt>
                <c:pt idx="95">
                  <c:v>471840</c:v>
                </c:pt>
                <c:pt idx="96">
                  <c:v>470993</c:v>
                </c:pt>
                <c:pt idx="97">
                  <c:v>470051</c:v>
                </c:pt>
                <c:pt idx="98">
                  <c:v>469131</c:v>
                </c:pt>
                <c:pt idx="99">
                  <c:v>468989</c:v>
                </c:pt>
                <c:pt idx="100">
                  <c:v>468617</c:v>
                </c:pt>
                <c:pt idx="101">
                  <c:v>468550</c:v>
                </c:pt>
                <c:pt idx="102">
                  <c:v>468517</c:v>
                </c:pt>
                <c:pt idx="103">
                  <c:v>468277</c:v>
                </c:pt>
                <c:pt idx="104">
                  <c:v>467227</c:v>
                </c:pt>
                <c:pt idx="105">
                  <c:v>467119</c:v>
                </c:pt>
                <c:pt idx="106">
                  <c:v>466756</c:v>
                </c:pt>
                <c:pt idx="107">
                  <c:v>466055</c:v>
                </c:pt>
                <c:pt idx="108">
                  <c:v>465895</c:v>
                </c:pt>
                <c:pt idx="109">
                  <c:v>465708</c:v>
                </c:pt>
                <c:pt idx="110">
                  <c:v>465418</c:v>
                </c:pt>
                <c:pt idx="111">
                  <c:v>464239</c:v>
                </c:pt>
                <c:pt idx="112">
                  <c:v>463550</c:v>
                </c:pt>
                <c:pt idx="113">
                  <c:v>462775</c:v>
                </c:pt>
                <c:pt idx="114">
                  <c:v>462486</c:v>
                </c:pt>
                <c:pt idx="115">
                  <c:v>462410</c:v>
                </c:pt>
                <c:pt idx="116">
                  <c:v>462297</c:v>
                </c:pt>
                <c:pt idx="117">
                  <c:v>462124</c:v>
                </c:pt>
                <c:pt idx="118">
                  <c:v>462117</c:v>
                </c:pt>
                <c:pt idx="119">
                  <c:v>462097</c:v>
                </c:pt>
                <c:pt idx="120">
                  <c:v>461848</c:v>
                </c:pt>
                <c:pt idx="121">
                  <c:v>461842</c:v>
                </c:pt>
                <c:pt idx="122">
                  <c:v>461209</c:v>
                </c:pt>
                <c:pt idx="123">
                  <c:v>461042</c:v>
                </c:pt>
                <c:pt idx="124">
                  <c:v>460881</c:v>
                </c:pt>
                <c:pt idx="125">
                  <c:v>460585</c:v>
                </c:pt>
                <c:pt idx="126">
                  <c:v>460090</c:v>
                </c:pt>
                <c:pt idx="127">
                  <c:v>459732</c:v>
                </c:pt>
                <c:pt idx="128">
                  <c:v>459437</c:v>
                </c:pt>
                <c:pt idx="129">
                  <c:v>459194</c:v>
                </c:pt>
                <c:pt idx="130">
                  <c:v>458431</c:v>
                </c:pt>
                <c:pt idx="131">
                  <c:v>457785</c:v>
                </c:pt>
                <c:pt idx="132">
                  <c:v>457036</c:v>
                </c:pt>
                <c:pt idx="133">
                  <c:v>457029</c:v>
                </c:pt>
                <c:pt idx="134">
                  <c:v>456868</c:v>
                </c:pt>
                <c:pt idx="135">
                  <c:v>456835</c:v>
                </c:pt>
                <c:pt idx="136">
                  <c:v>456470</c:v>
                </c:pt>
                <c:pt idx="137">
                  <c:v>456391</c:v>
                </c:pt>
                <c:pt idx="138">
                  <c:v>456313</c:v>
                </c:pt>
                <c:pt idx="139">
                  <c:v>456008</c:v>
                </c:pt>
                <c:pt idx="140">
                  <c:v>455631</c:v>
                </c:pt>
                <c:pt idx="141">
                  <c:v>455627</c:v>
                </c:pt>
                <c:pt idx="142">
                  <c:v>455373</c:v>
                </c:pt>
                <c:pt idx="143">
                  <c:v>455254</c:v>
                </c:pt>
                <c:pt idx="144">
                  <c:v>454334</c:v>
                </c:pt>
                <c:pt idx="145">
                  <c:v>454208</c:v>
                </c:pt>
                <c:pt idx="146">
                  <c:v>454126</c:v>
                </c:pt>
                <c:pt idx="147">
                  <c:v>453641</c:v>
                </c:pt>
                <c:pt idx="148">
                  <c:v>453609</c:v>
                </c:pt>
                <c:pt idx="149">
                  <c:v>453287</c:v>
                </c:pt>
                <c:pt idx="150">
                  <c:v>452923</c:v>
                </c:pt>
                <c:pt idx="151">
                  <c:v>452445</c:v>
                </c:pt>
                <c:pt idx="152">
                  <c:v>452251</c:v>
                </c:pt>
                <c:pt idx="153">
                  <c:v>452142</c:v>
                </c:pt>
                <c:pt idx="154">
                  <c:v>452038</c:v>
                </c:pt>
                <c:pt idx="155">
                  <c:v>451840</c:v>
                </c:pt>
                <c:pt idx="156">
                  <c:v>451724</c:v>
                </c:pt>
                <c:pt idx="157">
                  <c:v>451048</c:v>
                </c:pt>
                <c:pt idx="158">
                  <c:v>450710</c:v>
                </c:pt>
                <c:pt idx="159">
                  <c:v>450455</c:v>
                </c:pt>
                <c:pt idx="160">
                  <c:v>450344</c:v>
                </c:pt>
                <c:pt idx="161">
                  <c:v>450105</c:v>
                </c:pt>
                <c:pt idx="162">
                  <c:v>449963</c:v>
                </c:pt>
                <c:pt idx="163">
                  <c:v>449578</c:v>
                </c:pt>
                <c:pt idx="164">
                  <c:v>449473</c:v>
                </c:pt>
                <c:pt idx="165">
                  <c:v>449456</c:v>
                </c:pt>
                <c:pt idx="166">
                  <c:v>449447</c:v>
                </c:pt>
                <c:pt idx="167">
                  <c:v>449334</c:v>
                </c:pt>
                <c:pt idx="168">
                  <c:v>449271</c:v>
                </c:pt>
                <c:pt idx="169">
                  <c:v>448987</c:v>
                </c:pt>
                <c:pt idx="170">
                  <c:v>448797</c:v>
                </c:pt>
                <c:pt idx="171">
                  <c:v>448775</c:v>
                </c:pt>
                <c:pt idx="172">
                  <c:v>448586</c:v>
                </c:pt>
                <c:pt idx="173">
                  <c:v>448249</c:v>
                </c:pt>
                <c:pt idx="174">
                  <c:v>447924</c:v>
                </c:pt>
                <c:pt idx="175">
                  <c:v>447835</c:v>
                </c:pt>
                <c:pt idx="176">
                  <c:v>447779</c:v>
                </c:pt>
                <c:pt idx="177">
                  <c:v>447530</c:v>
                </c:pt>
                <c:pt idx="178">
                  <c:v>447467</c:v>
                </c:pt>
                <c:pt idx="179">
                  <c:v>447349</c:v>
                </c:pt>
                <c:pt idx="180">
                  <c:v>447265</c:v>
                </c:pt>
                <c:pt idx="181">
                  <c:v>447060</c:v>
                </c:pt>
                <c:pt idx="182">
                  <c:v>446978</c:v>
                </c:pt>
                <c:pt idx="183">
                  <c:v>446899</c:v>
                </c:pt>
                <c:pt idx="184">
                  <c:v>446383</c:v>
                </c:pt>
                <c:pt idx="185">
                  <c:v>446311</c:v>
                </c:pt>
                <c:pt idx="186">
                  <c:v>446279</c:v>
                </c:pt>
                <c:pt idx="187">
                  <c:v>446237</c:v>
                </c:pt>
                <c:pt idx="188">
                  <c:v>446176</c:v>
                </c:pt>
                <c:pt idx="189">
                  <c:v>446001</c:v>
                </c:pt>
                <c:pt idx="190">
                  <c:v>445455</c:v>
                </c:pt>
                <c:pt idx="191">
                  <c:v>445367</c:v>
                </c:pt>
                <c:pt idx="192">
                  <c:v>445240</c:v>
                </c:pt>
                <c:pt idx="193">
                  <c:v>445208</c:v>
                </c:pt>
                <c:pt idx="194">
                  <c:v>444798</c:v>
                </c:pt>
                <c:pt idx="195">
                  <c:v>444787</c:v>
                </c:pt>
                <c:pt idx="196">
                  <c:v>444432</c:v>
                </c:pt>
                <c:pt idx="197">
                  <c:v>444309</c:v>
                </c:pt>
                <c:pt idx="198">
                  <c:v>444029</c:v>
                </c:pt>
                <c:pt idx="199">
                  <c:v>443468</c:v>
                </c:pt>
                <c:pt idx="200">
                  <c:v>443385</c:v>
                </c:pt>
                <c:pt idx="201">
                  <c:v>443374</c:v>
                </c:pt>
                <c:pt idx="202">
                  <c:v>443196</c:v>
                </c:pt>
                <c:pt idx="203">
                  <c:v>442827</c:v>
                </c:pt>
                <c:pt idx="204">
                  <c:v>442750</c:v>
                </c:pt>
                <c:pt idx="205">
                  <c:v>442686</c:v>
                </c:pt>
                <c:pt idx="206">
                  <c:v>442267</c:v>
                </c:pt>
                <c:pt idx="207">
                  <c:v>442186</c:v>
                </c:pt>
                <c:pt idx="208">
                  <c:v>441767</c:v>
                </c:pt>
                <c:pt idx="209">
                  <c:v>441184</c:v>
                </c:pt>
                <c:pt idx="210">
                  <c:v>441057</c:v>
                </c:pt>
                <c:pt idx="211">
                  <c:v>440942</c:v>
                </c:pt>
                <c:pt idx="212">
                  <c:v>440566</c:v>
                </c:pt>
                <c:pt idx="213">
                  <c:v>440420</c:v>
                </c:pt>
                <c:pt idx="214">
                  <c:v>440369</c:v>
                </c:pt>
                <c:pt idx="215">
                  <c:v>440047</c:v>
                </c:pt>
                <c:pt idx="216">
                  <c:v>440041</c:v>
                </c:pt>
                <c:pt idx="217">
                  <c:v>440009</c:v>
                </c:pt>
                <c:pt idx="218">
                  <c:v>439717</c:v>
                </c:pt>
                <c:pt idx="219">
                  <c:v>439715</c:v>
                </c:pt>
                <c:pt idx="220">
                  <c:v>439606</c:v>
                </c:pt>
                <c:pt idx="221">
                  <c:v>439575</c:v>
                </c:pt>
                <c:pt idx="222">
                  <c:v>438745</c:v>
                </c:pt>
                <c:pt idx="223">
                  <c:v>438691</c:v>
                </c:pt>
                <c:pt idx="224">
                  <c:v>438449</c:v>
                </c:pt>
                <c:pt idx="225">
                  <c:v>438134</c:v>
                </c:pt>
                <c:pt idx="226">
                  <c:v>438114</c:v>
                </c:pt>
                <c:pt idx="227">
                  <c:v>438099</c:v>
                </c:pt>
                <c:pt idx="228">
                  <c:v>438093</c:v>
                </c:pt>
                <c:pt idx="229">
                  <c:v>437742</c:v>
                </c:pt>
                <c:pt idx="230">
                  <c:v>437347</c:v>
                </c:pt>
                <c:pt idx="231">
                  <c:v>436833</c:v>
                </c:pt>
                <c:pt idx="232">
                  <c:v>436335</c:v>
                </c:pt>
                <c:pt idx="233">
                  <c:v>436215</c:v>
                </c:pt>
                <c:pt idx="234">
                  <c:v>436178</c:v>
                </c:pt>
                <c:pt idx="235">
                  <c:v>436000</c:v>
                </c:pt>
                <c:pt idx="236">
                  <c:v>435948</c:v>
                </c:pt>
                <c:pt idx="237">
                  <c:v>435921</c:v>
                </c:pt>
                <c:pt idx="238">
                  <c:v>435557</c:v>
                </c:pt>
                <c:pt idx="239">
                  <c:v>435312</c:v>
                </c:pt>
                <c:pt idx="240">
                  <c:v>435044</c:v>
                </c:pt>
                <c:pt idx="241">
                  <c:v>434732</c:v>
                </c:pt>
                <c:pt idx="242">
                  <c:v>434594</c:v>
                </c:pt>
                <c:pt idx="243">
                  <c:v>434584</c:v>
                </c:pt>
                <c:pt idx="244">
                  <c:v>434034</c:v>
                </c:pt>
                <c:pt idx="245">
                  <c:v>433923</c:v>
                </c:pt>
                <c:pt idx="246">
                  <c:v>433848</c:v>
                </c:pt>
                <c:pt idx="247">
                  <c:v>433808</c:v>
                </c:pt>
                <c:pt idx="248">
                  <c:v>433416</c:v>
                </c:pt>
                <c:pt idx="249">
                  <c:v>433237</c:v>
                </c:pt>
                <c:pt idx="250">
                  <c:v>433066</c:v>
                </c:pt>
                <c:pt idx="251">
                  <c:v>433026</c:v>
                </c:pt>
                <c:pt idx="252">
                  <c:v>432832</c:v>
                </c:pt>
                <c:pt idx="253">
                  <c:v>432536</c:v>
                </c:pt>
                <c:pt idx="254">
                  <c:v>432421</c:v>
                </c:pt>
                <c:pt idx="255">
                  <c:v>432373</c:v>
                </c:pt>
                <c:pt idx="256">
                  <c:v>432148</c:v>
                </c:pt>
                <c:pt idx="257">
                  <c:v>431994</c:v>
                </c:pt>
                <c:pt idx="258">
                  <c:v>431508</c:v>
                </c:pt>
                <c:pt idx="259">
                  <c:v>431153</c:v>
                </c:pt>
                <c:pt idx="260">
                  <c:v>431057</c:v>
                </c:pt>
                <c:pt idx="261">
                  <c:v>430982</c:v>
                </c:pt>
                <c:pt idx="262">
                  <c:v>430753</c:v>
                </c:pt>
                <c:pt idx="263">
                  <c:v>430705</c:v>
                </c:pt>
                <c:pt idx="264">
                  <c:v>430483</c:v>
                </c:pt>
                <c:pt idx="265">
                  <c:v>430325</c:v>
                </c:pt>
                <c:pt idx="266">
                  <c:v>430269</c:v>
                </c:pt>
                <c:pt idx="267">
                  <c:v>430192</c:v>
                </c:pt>
                <c:pt idx="268">
                  <c:v>429910</c:v>
                </c:pt>
                <c:pt idx="269">
                  <c:v>429724</c:v>
                </c:pt>
                <c:pt idx="270">
                  <c:v>429680</c:v>
                </c:pt>
                <c:pt idx="271">
                  <c:v>429561</c:v>
                </c:pt>
                <c:pt idx="272">
                  <c:v>429516</c:v>
                </c:pt>
                <c:pt idx="273">
                  <c:v>429455</c:v>
                </c:pt>
                <c:pt idx="274">
                  <c:v>429201</c:v>
                </c:pt>
                <c:pt idx="275">
                  <c:v>428952</c:v>
                </c:pt>
                <c:pt idx="276">
                  <c:v>428649</c:v>
                </c:pt>
                <c:pt idx="277">
                  <c:v>428522</c:v>
                </c:pt>
                <c:pt idx="278">
                  <c:v>428499</c:v>
                </c:pt>
                <c:pt idx="279">
                  <c:v>428371</c:v>
                </c:pt>
                <c:pt idx="280">
                  <c:v>428308</c:v>
                </c:pt>
                <c:pt idx="281">
                  <c:v>428298</c:v>
                </c:pt>
                <c:pt idx="282">
                  <c:v>428171</c:v>
                </c:pt>
                <c:pt idx="283">
                  <c:v>428038</c:v>
                </c:pt>
                <c:pt idx="284">
                  <c:v>427871</c:v>
                </c:pt>
                <c:pt idx="285">
                  <c:v>427821</c:v>
                </c:pt>
                <c:pt idx="286">
                  <c:v>427736</c:v>
                </c:pt>
                <c:pt idx="287">
                  <c:v>427327</c:v>
                </c:pt>
                <c:pt idx="288">
                  <c:v>427052</c:v>
                </c:pt>
                <c:pt idx="289">
                  <c:v>426934</c:v>
                </c:pt>
                <c:pt idx="290">
                  <c:v>426492</c:v>
                </c:pt>
                <c:pt idx="291">
                  <c:v>426443</c:v>
                </c:pt>
                <c:pt idx="292">
                  <c:v>426335</c:v>
                </c:pt>
                <c:pt idx="293">
                  <c:v>426246</c:v>
                </c:pt>
                <c:pt idx="294">
                  <c:v>426185</c:v>
                </c:pt>
                <c:pt idx="295">
                  <c:v>426061</c:v>
                </c:pt>
                <c:pt idx="296">
                  <c:v>426014</c:v>
                </c:pt>
                <c:pt idx="297">
                  <c:v>426006</c:v>
                </c:pt>
                <c:pt idx="298">
                  <c:v>425756</c:v>
                </c:pt>
                <c:pt idx="299">
                  <c:v>425742</c:v>
                </c:pt>
                <c:pt idx="300">
                  <c:v>425544</c:v>
                </c:pt>
                <c:pt idx="301">
                  <c:v>425505</c:v>
                </c:pt>
                <c:pt idx="302">
                  <c:v>425411</c:v>
                </c:pt>
                <c:pt idx="303">
                  <c:v>425336</c:v>
                </c:pt>
                <c:pt idx="304">
                  <c:v>425327</c:v>
                </c:pt>
                <c:pt idx="305">
                  <c:v>425272</c:v>
                </c:pt>
                <c:pt idx="306">
                  <c:v>425200</c:v>
                </c:pt>
                <c:pt idx="307">
                  <c:v>425097</c:v>
                </c:pt>
                <c:pt idx="308">
                  <c:v>424990</c:v>
                </c:pt>
                <c:pt idx="309">
                  <c:v>424875</c:v>
                </c:pt>
                <c:pt idx="310">
                  <c:v>424716</c:v>
                </c:pt>
                <c:pt idx="311">
                  <c:v>424713</c:v>
                </c:pt>
                <c:pt idx="312">
                  <c:v>424670</c:v>
                </c:pt>
                <c:pt idx="313">
                  <c:v>424617</c:v>
                </c:pt>
                <c:pt idx="314">
                  <c:v>424390</c:v>
                </c:pt>
                <c:pt idx="315">
                  <c:v>424198</c:v>
                </c:pt>
                <c:pt idx="316">
                  <c:v>424086</c:v>
                </c:pt>
                <c:pt idx="317">
                  <c:v>424063</c:v>
                </c:pt>
                <c:pt idx="318">
                  <c:v>424019</c:v>
                </c:pt>
                <c:pt idx="319">
                  <c:v>423990</c:v>
                </c:pt>
                <c:pt idx="320">
                  <c:v>423760</c:v>
                </c:pt>
                <c:pt idx="321">
                  <c:v>423497</c:v>
                </c:pt>
                <c:pt idx="322">
                  <c:v>423454</c:v>
                </c:pt>
                <c:pt idx="323">
                  <c:v>423412</c:v>
                </c:pt>
                <c:pt idx="324">
                  <c:v>423392</c:v>
                </c:pt>
                <c:pt idx="325">
                  <c:v>423151</c:v>
                </c:pt>
                <c:pt idx="326">
                  <c:v>423007</c:v>
                </c:pt>
                <c:pt idx="327">
                  <c:v>422239</c:v>
                </c:pt>
                <c:pt idx="328">
                  <c:v>422031</c:v>
                </c:pt>
                <c:pt idx="329">
                  <c:v>421947</c:v>
                </c:pt>
                <c:pt idx="330">
                  <c:v>421658</c:v>
                </c:pt>
                <c:pt idx="331">
                  <c:v>421595</c:v>
                </c:pt>
                <c:pt idx="332">
                  <c:v>421573</c:v>
                </c:pt>
                <c:pt idx="333">
                  <c:v>421512</c:v>
                </c:pt>
                <c:pt idx="334">
                  <c:v>421412</c:v>
                </c:pt>
                <c:pt idx="335">
                  <c:v>421376</c:v>
                </c:pt>
                <c:pt idx="336">
                  <c:v>421178</c:v>
                </c:pt>
                <c:pt idx="337">
                  <c:v>421151</c:v>
                </c:pt>
                <c:pt idx="338">
                  <c:v>421100</c:v>
                </c:pt>
                <c:pt idx="339">
                  <c:v>420970</c:v>
                </c:pt>
                <c:pt idx="340">
                  <c:v>420924</c:v>
                </c:pt>
                <c:pt idx="341">
                  <c:v>420863</c:v>
                </c:pt>
                <c:pt idx="342">
                  <c:v>420737</c:v>
                </c:pt>
                <c:pt idx="343">
                  <c:v>420589</c:v>
                </c:pt>
                <c:pt idx="344">
                  <c:v>420544</c:v>
                </c:pt>
                <c:pt idx="345">
                  <c:v>420525</c:v>
                </c:pt>
                <c:pt idx="346">
                  <c:v>420435</c:v>
                </c:pt>
                <c:pt idx="347">
                  <c:v>420368</c:v>
                </c:pt>
                <c:pt idx="348">
                  <c:v>420320</c:v>
                </c:pt>
                <c:pt idx="349">
                  <c:v>420285</c:v>
                </c:pt>
                <c:pt idx="350">
                  <c:v>420191</c:v>
                </c:pt>
                <c:pt idx="351">
                  <c:v>420185</c:v>
                </c:pt>
                <c:pt idx="352">
                  <c:v>420113</c:v>
                </c:pt>
                <c:pt idx="353">
                  <c:v>420078</c:v>
                </c:pt>
                <c:pt idx="354">
                  <c:v>420037</c:v>
                </c:pt>
                <c:pt idx="355">
                  <c:v>419924</c:v>
                </c:pt>
                <c:pt idx="356">
                  <c:v>419858</c:v>
                </c:pt>
                <c:pt idx="357">
                  <c:v>419832</c:v>
                </c:pt>
                <c:pt idx="358">
                  <c:v>419815</c:v>
                </c:pt>
                <c:pt idx="359">
                  <c:v>419713</c:v>
                </c:pt>
                <c:pt idx="360">
                  <c:v>419647</c:v>
                </c:pt>
                <c:pt idx="361">
                  <c:v>419278</c:v>
                </c:pt>
                <c:pt idx="362">
                  <c:v>419218</c:v>
                </c:pt>
                <c:pt idx="363">
                  <c:v>419176</c:v>
                </c:pt>
                <c:pt idx="364">
                  <c:v>419031</c:v>
                </c:pt>
                <c:pt idx="365">
                  <c:v>418899</c:v>
                </c:pt>
                <c:pt idx="366">
                  <c:v>418866</c:v>
                </c:pt>
                <c:pt idx="367">
                  <c:v>418778</c:v>
                </c:pt>
                <c:pt idx="368">
                  <c:v>418646</c:v>
                </c:pt>
                <c:pt idx="369">
                  <c:v>418586</c:v>
                </c:pt>
                <c:pt idx="370">
                  <c:v>418578</c:v>
                </c:pt>
                <c:pt idx="371">
                  <c:v>418469</c:v>
                </c:pt>
                <c:pt idx="372">
                  <c:v>418281</c:v>
                </c:pt>
                <c:pt idx="373">
                  <c:v>418241</c:v>
                </c:pt>
                <c:pt idx="374">
                  <c:v>418143</c:v>
                </c:pt>
                <c:pt idx="375">
                  <c:v>418070</c:v>
                </c:pt>
                <c:pt idx="376">
                  <c:v>417925</c:v>
                </c:pt>
                <c:pt idx="377">
                  <c:v>417782</c:v>
                </c:pt>
                <c:pt idx="378">
                  <c:v>417762</c:v>
                </c:pt>
                <c:pt idx="379">
                  <c:v>417697</c:v>
                </c:pt>
                <c:pt idx="380">
                  <c:v>417680</c:v>
                </c:pt>
                <c:pt idx="381">
                  <c:v>417549</c:v>
                </c:pt>
                <c:pt idx="382">
                  <c:v>417424</c:v>
                </c:pt>
                <c:pt idx="383">
                  <c:v>417380</c:v>
                </c:pt>
                <c:pt idx="384">
                  <c:v>417365</c:v>
                </c:pt>
                <c:pt idx="385">
                  <c:v>417318</c:v>
                </c:pt>
                <c:pt idx="386">
                  <c:v>417303</c:v>
                </c:pt>
                <c:pt idx="387">
                  <c:v>417197</c:v>
                </c:pt>
                <c:pt idx="388">
                  <c:v>417098</c:v>
                </c:pt>
                <c:pt idx="389">
                  <c:v>416985</c:v>
                </c:pt>
                <c:pt idx="390">
                  <c:v>416900</c:v>
                </c:pt>
                <c:pt idx="391">
                  <c:v>416851</c:v>
                </c:pt>
                <c:pt idx="392">
                  <c:v>416810</c:v>
                </c:pt>
                <c:pt idx="393">
                  <c:v>416672</c:v>
                </c:pt>
                <c:pt idx="394">
                  <c:v>416657</c:v>
                </c:pt>
                <c:pt idx="395">
                  <c:v>416648</c:v>
                </c:pt>
                <c:pt idx="396">
                  <c:v>416492</c:v>
                </c:pt>
                <c:pt idx="397">
                  <c:v>416376</c:v>
                </c:pt>
                <c:pt idx="398">
                  <c:v>416306</c:v>
                </c:pt>
                <c:pt idx="399">
                  <c:v>416295</c:v>
                </c:pt>
                <c:pt idx="400">
                  <c:v>416191</c:v>
                </c:pt>
                <c:pt idx="401">
                  <c:v>416127</c:v>
                </c:pt>
                <c:pt idx="402">
                  <c:v>416119</c:v>
                </c:pt>
                <c:pt idx="403">
                  <c:v>416022</c:v>
                </c:pt>
                <c:pt idx="404">
                  <c:v>416013</c:v>
                </c:pt>
                <c:pt idx="405">
                  <c:v>415921</c:v>
                </c:pt>
                <c:pt idx="406">
                  <c:v>415916</c:v>
                </c:pt>
                <c:pt idx="407">
                  <c:v>415758</c:v>
                </c:pt>
                <c:pt idx="408">
                  <c:v>415734</c:v>
                </c:pt>
                <c:pt idx="409">
                  <c:v>415693</c:v>
                </c:pt>
                <c:pt idx="410">
                  <c:v>415482</c:v>
                </c:pt>
                <c:pt idx="411">
                  <c:v>415428</c:v>
                </c:pt>
                <c:pt idx="412">
                  <c:v>415290</c:v>
                </c:pt>
                <c:pt idx="413">
                  <c:v>415162</c:v>
                </c:pt>
                <c:pt idx="414">
                  <c:v>415122</c:v>
                </c:pt>
                <c:pt idx="415">
                  <c:v>415032</c:v>
                </c:pt>
                <c:pt idx="416">
                  <c:v>414992</c:v>
                </c:pt>
                <c:pt idx="417">
                  <c:v>414903</c:v>
                </c:pt>
                <c:pt idx="418">
                  <c:v>414792</c:v>
                </c:pt>
                <c:pt idx="419">
                  <c:v>414667</c:v>
                </c:pt>
                <c:pt idx="420">
                  <c:v>414637</c:v>
                </c:pt>
                <c:pt idx="421">
                  <c:v>414580</c:v>
                </c:pt>
                <c:pt idx="422">
                  <c:v>414480</c:v>
                </c:pt>
                <c:pt idx="423">
                  <c:v>414386</c:v>
                </c:pt>
                <c:pt idx="424">
                  <c:v>414347</c:v>
                </c:pt>
                <c:pt idx="425">
                  <c:v>414277</c:v>
                </c:pt>
                <c:pt idx="426">
                  <c:v>414276</c:v>
                </c:pt>
                <c:pt idx="427">
                  <c:v>414251</c:v>
                </c:pt>
                <c:pt idx="428">
                  <c:v>414192</c:v>
                </c:pt>
                <c:pt idx="429">
                  <c:v>414182</c:v>
                </c:pt>
                <c:pt idx="430">
                  <c:v>414040</c:v>
                </c:pt>
                <c:pt idx="431">
                  <c:v>413997</c:v>
                </c:pt>
                <c:pt idx="432">
                  <c:v>413923</c:v>
                </c:pt>
                <c:pt idx="433">
                  <c:v>413830</c:v>
                </c:pt>
                <c:pt idx="434">
                  <c:v>413829</c:v>
                </c:pt>
                <c:pt idx="435">
                  <c:v>413817</c:v>
                </c:pt>
                <c:pt idx="436">
                  <c:v>413762</c:v>
                </c:pt>
                <c:pt idx="437">
                  <c:v>413709</c:v>
                </c:pt>
                <c:pt idx="438">
                  <c:v>413648</c:v>
                </c:pt>
                <c:pt idx="439">
                  <c:v>413640</c:v>
                </c:pt>
                <c:pt idx="440">
                  <c:v>413583</c:v>
                </c:pt>
                <c:pt idx="441">
                  <c:v>413386</c:v>
                </c:pt>
                <c:pt idx="442">
                  <c:v>413299</c:v>
                </c:pt>
                <c:pt idx="443">
                  <c:v>412920</c:v>
                </c:pt>
                <c:pt idx="444">
                  <c:v>412835</c:v>
                </c:pt>
                <c:pt idx="445">
                  <c:v>412750</c:v>
                </c:pt>
                <c:pt idx="446">
                  <c:v>412680</c:v>
                </c:pt>
                <c:pt idx="447">
                  <c:v>412636</c:v>
                </c:pt>
                <c:pt idx="448">
                  <c:v>412578</c:v>
                </c:pt>
                <c:pt idx="449">
                  <c:v>412541</c:v>
                </c:pt>
                <c:pt idx="450">
                  <c:v>412344</c:v>
                </c:pt>
                <c:pt idx="451">
                  <c:v>412284</c:v>
                </c:pt>
                <c:pt idx="452">
                  <c:v>412278</c:v>
                </c:pt>
                <c:pt idx="453">
                  <c:v>412232</c:v>
                </c:pt>
                <c:pt idx="454">
                  <c:v>412185</c:v>
                </c:pt>
                <c:pt idx="455">
                  <c:v>412074</c:v>
                </c:pt>
                <c:pt idx="456">
                  <c:v>411932</c:v>
                </c:pt>
                <c:pt idx="457">
                  <c:v>411895</c:v>
                </c:pt>
                <c:pt idx="458">
                  <c:v>411782</c:v>
                </c:pt>
                <c:pt idx="459">
                  <c:v>411470</c:v>
                </c:pt>
                <c:pt idx="460">
                  <c:v>411362</c:v>
                </c:pt>
                <c:pt idx="461">
                  <c:v>411335</c:v>
                </c:pt>
                <c:pt idx="462">
                  <c:v>411291</c:v>
                </c:pt>
                <c:pt idx="463">
                  <c:v>411116</c:v>
                </c:pt>
                <c:pt idx="464">
                  <c:v>411115</c:v>
                </c:pt>
                <c:pt idx="465">
                  <c:v>411018</c:v>
                </c:pt>
                <c:pt idx="466">
                  <c:v>410898</c:v>
                </c:pt>
                <c:pt idx="467">
                  <c:v>410719</c:v>
                </c:pt>
                <c:pt idx="468">
                  <c:v>410589</c:v>
                </c:pt>
                <c:pt idx="469">
                  <c:v>410570</c:v>
                </c:pt>
                <c:pt idx="470">
                  <c:v>410516</c:v>
                </c:pt>
                <c:pt idx="471">
                  <c:v>410326</c:v>
                </c:pt>
                <c:pt idx="472">
                  <c:v>410322</c:v>
                </c:pt>
                <c:pt idx="473">
                  <c:v>410245</c:v>
                </c:pt>
                <c:pt idx="474">
                  <c:v>410170</c:v>
                </c:pt>
                <c:pt idx="475">
                  <c:v>410029</c:v>
                </c:pt>
                <c:pt idx="476">
                  <c:v>409837</c:v>
                </c:pt>
                <c:pt idx="477">
                  <c:v>409783</c:v>
                </c:pt>
                <c:pt idx="478">
                  <c:v>409733</c:v>
                </c:pt>
                <c:pt idx="479">
                  <c:v>409725</c:v>
                </c:pt>
                <c:pt idx="480">
                  <c:v>409623</c:v>
                </c:pt>
                <c:pt idx="481">
                  <c:v>409421</c:v>
                </c:pt>
                <c:pt idx="482">
                  <c:v>409280</c:v>
                </c:pt>
                <c:pt idx="483">
                  <c:v>409229</c:v>
                </c:pt>
                <c:pt idx="484">
                  <c:v>409219</c:v>
                </c:pt>
                <c:pt idx="485">
                  <c:v>409131</c:v>
                </c:pt>
                <c:pt idx="486">
                  <c:v>409087</c:v>
                </c:pt>
                <c:pt idx="487">
                  <c:v>409003</c:v>
                </c:pt>
                <c:pt idx="488">
                  <c:v>408937</c:v>
                </c:pt>
                <c:pt idx="489">
                  <c:v>408836</c:v>
                </c:pt>
                <c:pt idx="490">
                  <c:v>408794</c:v>
                </c:pt>
                <c:pt idx="491">
                  <c:v>408750</c:v>
                </c:pt>
                <c:pt idx="492">
                  <c:v>408740</c:v>
                </c:pt>
                <c:pt idx="493">
                  <c:v>408703</c:v>
                </c:pt>
                <c:pt idx="494">
                  <c:v>408585</c:v>
                </c:pt>
                <c:pt idx="495">
                  <c:v>408506</c:v>
                </c:pt>
                <c:pt idx="496">
                  <c:v>408450</c:v>
                </c:pt>
                <c:pt idx="497">
                  <c:v>408422</c:v>
                </c:pt>
                <c:pt idx="498">
                  <c:v>408402</c:v>
                </c:pt>
                <c:pt idx="499">
                  <c:v>408353</c:v>
                </c:pt>
                <c:pt idx="500">
                  <c:v>408349</c:v>
                </c:pt>
                <c:pt idx="501">
                  <c:v>408340</c:v>
                </c:pt>
                <c:pt idx="502">
                  <c:v>408277</c:v>
                </c:pt>
                <c:pt idx="503">
                  <c:v>408203</c:v>
                </c:pt>
                <c:pt idx="504">
                  <c:v>408099</c:v>
                </c:pt>
                <c:pt idx="505">
                  <c:v>407983</c:v>
                </c:pt>
                <c:pt idx="506">
                  <c:v>407949</c:v>
                </c:pt>
                <c:pt idx="507">
                  <c:v>407896</c:v>
                </c:pt>
                <c:pt idx="508">
                  <c:v>407830</c:v>
                </c:pt>
                <c:pt idx="509">
                  <c:v>407797</c:v>
                </c:pt>
                <c:pt idx="510">
                  <c:v>407736</c:v>
                </c:pt>
                <c:pt idx="511">
                  <c:v>407545</c:v>
                </c:pt>
                <c:pt idx="512">
                  <c:v>407530</c:v>
                </c:pt>
                <c:pt idx="513">
                  <c:v>407345</c:v>
                </c:pt>
                <c:pt idx="514">
                  <c:v>407301</c:v>
                </c:pt>
                <c:pt idx="515">
                  <c:v>407225</c:v>
                </c:pt>
                <c:pt idx="516">
                  <c:v>407145</c:v>
                </c:pt>
                <c:pt idx="517">
                  <c:v>407132</c:v>
                </c:pt>
                <c:pt idx="518">
                  <c:v>407115</c:v>
                </c:pt>
                <c:pt idx="519">
                  <c:v>407073</c:v>
                </c:pt>
                <c:pt idx="520">
                  <c:v>407018</c:v>
                </c:pt>
                <c:pt idx="521">
                  <c:v>406999</c:v>
                </c:pt>
                <c:pt idx="522">
                  <c:v>406939</c:v>
                </c:pt>
                <c:pt idx="523">
                  <c:v>406923</c:v>
                </c:pt>
                <c:pt idx="524">
                  <c:v>406916</c:v>
                </c:pt>
                <c:pt idx="525">
                  <c:v>406909</c:v>
                </c:pt>
                <c:pt idx="526">
                  <c:v>406885</c:v>
                </c:pt>
                <c:pt idx="527">
                  <c:v>406877</c:v>
                </c:pt>
                <c:pt idx="528">
                  <c:v>406850</c:v>
                </c:pt>
                <c:pt idx="529">
                  <c:v>406772</c:v>
                </c:pt>
                <c:pt idx="530">
                  <c:v>406586</c:v>
                </c:pt>
                <c:pt idx="531">
                  <c:v>406522</c:v>
                </c:pt>
                <c:pt idx="532">
                  <c:v>406481</c:v>
                </c:pt>
                <c:pt idx="533">
                  <c:v>406352</c:v>
                </c:pt>
                <c:pt idx="534">
                  <c:v>406195</c:v>
                </c:pt>
                <c:pt idx="535">
                  <c:v>406150</c:v>
                </c:pt>
                <c:pt idx="536">
                  <c:v>406142</c:v>
                </c:pt>
                <c:pt idx="537">
                  <c:v>406119</c:v>
                </c:pt>
                <c:pt idx="538">
                  <c:v>406083</c:v>
                </c:pt>
                <c:pt idx="539">
                  <c:v>405926</c:v>
                </c:pt>
                <c:pt idx="540">
                  <c:v>405852</c:v>
                </c:pt>
                <c:pt idx="541">
                  <c:v>405788</c:v>
                </c:pt>
                <c:pt idx="542">
                  <c:v>405759</c:v>
                </c:pt>
                <c:pt idx="543">
                  <c:v>405718</c:v>
                </c:pt>
                <c:pt idx="544">
                  <c:v>405695</c:v>
                </c:pt>
                <c:pt idx="545">
                  <c:v>405505</c:v>
                </c:pt>
                <c:pt idx="546">
                  <c:v>405420</c:v>
                </c:pt>
                <c:pt idx="547">
                  <c:v>405324</c:v>
                </c:pt>
                <c:pt idx="548">
                  <c:v>405278</c:v>
                </c:pt>
                <c:pt idx="549">
                  <c:v>405262</c:v>
                </c:pt>
                <c:pt idx="550">
                  <c:v>405231</c:v>
                </c:pt>
                <c:pt idx="551">
                  <c:v>405220</c:v>
                </c:pt>
                <c:pt idx="552">
                  <c:v>405220</c:v>
                </c:pt>
                <c:pt idx="553">
                  <c:v>405187</c:v>
                </c:pt>
                <c:pt idx="554">
                  <c:v>405083</c:v>
                </c:pt>
                <c:pt idx="555">
                  <c:v>404981</c:v>
                </c:pt>
                <c:pt idx="556">
                  <c:v>404816</c:v>
                </c:pt>
                <c:pt idx="557">
                  <c:v>404708</c:v>
                </c:pt>
                <c:pt idx="558">
                  <c:v>404676</c:v>
                </c:pt>
                <c:pt idx="559">
                  <c:v>404639</c:v>
                </c:pt>
                <c:pt idx="560">
                  <c:v>404500</c:v>
                </c:pt>
                <c:pt idx="561">
                  <c:v>404471</c:v>
                </c:pt>
                <c:pt idx="562">
                  <c:v>404366</c:v>
                </c:pt>
                <c:pt idx="563">
                  <c:v>404332</c:v>
                </c:pt>
                <c:pt idx="564">
                  <c:v>404132</c:v>
                </c:pt>
                <c:pt idx="565">
                  <c:v>404122</c:v>
                </c:pt>
                <c:pt idx="566">
                  <c:v>403999</c:v>
                </c:pt>
                <c:pt idx="567">
                  <c:v>403993</c:v>
                </c:pt>
                <c:pt idx="568">
                  <c:v>403889</c:v>
                </c:pt>
                <c:pt idx="569">
                  <c:v>403875</c:v>
                </c:pt>
                <c:pt idx="570">
                  <c:v>403867</c:v>
                </c:pt>
                <c:pt idx="571">
                  <c:v>403817</c:v>
                </c:pt>
                <c:pt idx="572">
                  <c:v>403733</c:v>
                </c:pt>
                <c:pt idx="573">
                  <c:v>403700</c:v>
                </c:pt>
                <c:pt idx="574">
                  <c:v>403655</c:v>
                </c:pt>
                <c:pt idx="575">
                  <c:v>403646</c:v>
                </c:pt>
                <c:pt idx="576">
                  <c:v>403600</c:v>
                </c:pt>
                <c:pt idx="577">
                  <c:v>403452</c:v>
                </c:pt>
                <c:pt idx="578">
                  <c:v>403434</c:v>
                </c:pt>
                <c:pt idx="579">
                  <c:v>403414</c:v>
                </c:pt>
                <c:pt idx="580">
                  <c:v>403348</c:v>
                </c:pt>
                <c:pt idx="581">
                  <c:v>403196</c:v>
                </c:pt>
                <c:pt idx="582">
                  <c:v>403194</c:v>
                </c:pt>
                <c:pt idx="583">
                  <c:v>403185</c:v>
                </c:pt>
                <c:pt idx="584">
                  <c:v>403074</c:v>
                </c:pt>
                <c:pt idx="585">
                  <c:v>402817</c:v>
                </c:pt>
                <c:pt idx="586">
                  <c:v>402816</c:v>
                </c:pt>
                <c:pt idx="587">
                  <c:v>402781</c:v>
                </c:pt>
                <c:pt idx="588">
                  <c:v>402735</c:v>
                </c:pt>
                <c:pt idx="589">
                  <c:v>402716</c:v>
                </c:pt>
                <c:pt idx="590">
                  <c:v>402712</c:v>
                </c:pt>
                <c:pt idx="591">
                  <c:v>402385</c:v>
                </c:pt>
                <c:pt idx="592">
                  <c:v>402378</c:v>
                </c:pt>
                <c:pt idx="593">
                  <c:v>402369</c:v>
                </c:pt>
                <c:pt idx="594">
                  <c:v>402299</c:v>
                </c:pt>
                <c:pt idx="595">
                  <c:v>402235</c:v>
                </c:pt>
                <c:pt idx="596">
                  <c:v>402188</c:v>
                </c:pt>
                <c:pt idx="597">
                  <c:v>402151</c:v>
                </c:pt>
                <c:pt idx="598">
                  <c:v>402103</c:v>
                </c:pt>
                <c:pt idx="599">
                  <c:v>402101</c:v>
                </c:pt>
                <c:pt idx="600">
                  <c:v>402078</c:v>
                </c:pt>
                <c:pt idx="601">
                  <c:v>402054</c:v>
                </c:pt>
                <c:pt idx="602">
                  <c:v>402038</c:v>
                </c:pt>
                <c:pt idx="603">
                  <c:v>402032</c:v>
                </c:pt>
                <c:pt idx="604">
                  <c:v>401996</c:v>
                </c:pt>
                <c:pt idx="605">
                  <c:v>401864</c:v>
                </c:pt>
                <c:pt idx="606">
                  <c:v>401741</c:v>
                </c:pt>
                <c:pt idx="607">
                  <c:v>401731</c:v>
                </c:pt>
                <c:pt idx="608">
                  <c:v>401691</c:v>
                </c:pt>
                <c:pt idx="609">
                  <c:v>401591</c:v>
                </c:pt>
                <c:pt idx="610">
                  <c:v>401438</c:v>
                </c:pt>
                <c:pt idx="611">
                  <c:v>401379</c:v>
                </c:pt>
                <c:pt idx="612">
                  <c:v>401322</c:v>
                </c:pt>
                <c:pt idx="613">
                  <c:v>401312</c:v>
                </c:pt>
                <c:pt idx="614">
                  <c:v>401293</c:v>
                </c:pt>
                <c:pt idx="615">
                  <c:v>401129</c:v>
                </c:pt>
                <c:pt idx="616">
                  <c:v>401127</c:v>
                </c:pt>
                <c:pt idx="617">
                  <c:v>401035</c:v>
                </c:pt>
                <c:pt idx="618">
                  <c:v>400988</c:v>
                </c:pt>
                <c:pt idx="619">
                  <c:v>400970</c:v>
                </c:pt>
                <c:pt idx="620">
                  <c:v>400932</c:v>
                </c:pt>
                <c:pt idx="621">
                  <c:v>400911</c:v>
                </c:pt>
                <c:pt idx="622">
                  <c:v>400838</c:v>
                </c:pt>
                <c:pt idx="623">
                  <c:v>400759</c:v>
                </c:pt>
                <c:pt idx="624">
                  <c:v>400612</c:v>
                </c:pt>
                <c:pt idx="625">
                  <c:v>400589</c:v>
                </c:pt>
                <c:pt idx="626">
                  <c:v>400403</c:v>
                </c:pt>
                <c:pt idx="627">
                  <c:v>400311</c:v>
                </c:pt>
                <c:pt idx="628">
                  <c:v>400269</c:v>
                </c:pt>
                <c:pt idx="629">
                  <c:v>400229</c:v>
                </c:pt>
                <c:pt idx="630">
                  <c:v>400156</c:v>
                </c:pt>
                <c:pt idx="631">
                  <c:v>400133</c:v>
                </c:pt>
                <c:pt idx="632">
                  <c:v>399996</c:v>
                </c:pt>
                <c:pt idx="633">
                  <c:v>399951</c:v>
                </c:pt>
                <c:pt idx="634">
                  <c:v>399862</c:v>
                </c:pt>
                <c:pt idx="635">
                  <c:v>399855</c:v>
                </c:pt>
                <c:pt idx="636">
                  <c:v>399849</c:v>
                </c:pt>
                <c:pt idx="637">
                  <c:v>399837</c:v>
                </c:pt>
                <c:pt idx="638">
                  <c:v>399758</c:v>
                </c:pt>
                <c:pt idx="639">
                  <c:v>399612</c:v>
                </c:pt>
                <c:pt idx="640">
                  <c:v>399606</c:v>
                </c:pt>
                <c:pt idx="641">
                  <c:v>399581</c:v>
                </c:pt>
                <c:pt idx="642">
                  <c:v>399491</c:v>
                </c:pt>
                <c:pt idx="643">
                  <c:v>399433</c:v>
                </c:pt>
                <c:pt idx="644">
                  <c:v>399425</c:v>
                </c:pt>
                <c:pt idx="645">
                  <c:v>399405</c:v>
                </c:pt>
                <c:pt idx="646">
                  <c:v>399278</c:v>
                </c:pt>
                <c:pt idx="647">
                  <c:v>399256</c:v>
                </c:pt>
                <c:pt idx="648">
                  <c:v>399255</c:v>
                </c:pt>
                <c:pt idx="649">
                  <c:v>399228</c:v>
                </c:pt>
                <c:pt idx="650">
                  <c:v>399204</c:v>
                </c:pt>
                <c:pt idx="651">
                  <c:v>399099</c:v>
                </c:pt>
                <c:pt idx="652">
                  <c:v>399090</c:v>
                </c:pt>
                <c:pt idx="653">
                  <c:v>399059</c:v>
                </c:pt>
                <c:pt idx="654">
                  <c:v>398908</c:v>
                </c:pt>
                <c:pt idx="655">
                  <c:v>398844</c:v>
                </c:pt>
                <c:pt idx="656">
                  <c:v>398838</c:v>
                </c:pt>
                <c:pt idx="657">
                  <c:v>398786</c:v>
                </c:pt>
                <c:pt idx="658">
                  <c:v>398613</c:v>
                </c:pt>
                <c:pt idx="659">
                  <c:v>398599</c:v>
                </c:pt>
                <c:pt idx="660">
                  <c:v>398535</c:v>
                </c:pt>
                <c:pt idx="661">
                  <c:v>398514</c:v>
                </c:pt>
                <c:pt idx="662">
                  <c:v>398390</c:v>
                </c:pt>
                <c:pt idx="663">
                  <c:v>398376</c:v>
                </c:pt>
                <c:pt idx="664">
                  <c:v>398366</c:v>
                </c:pt>
                <c:pt idx="665">
                  <c:v>398322</c:v>
                </c:pt>
                <c:pt idx="666">
                  <c:v>398267</c:v>
                </c:pt>
                <c:pt idx="667">
                  <c:v>398256</c:v>
                </c:pt>
                <c:pt idx="668">
                  <c:v>398243</c:v>
                </c:pt>
                <c:pt idx="669">
                  <c:v>398229</c:v>
                </c:pt>
                <c:pt idx="670">
                  <c:v>398170</c:v>
                </c:pt>
                <c:pt idx="671">
                  <c:v>398165</c:v>
                </c:pt>
                <c:pt idx="672">
                  <c:v>398155</c:v>
                </c:pt>
                <c:pt idx="673">
                  <c:v>398139</c:v>
                </c:pt>
                <c:pt idx="674">
                  <c:v>398103</c:v>
                </c:pt>
                <c:pt idx="675">
                  <c:v>398098</c:v>
                </c:pt>
                <c:pt idx="676">
                  <c:v>398089</c:v>
                </c:pt>
                <c:pt idx="677">
                  <c:v>398077</c:v>
                </c:pt>
                <c:pt idx="678">
                  <c:v>398033</c:v>
                </c:pt>
                <c:pt idx="679">
                  <c:v>398017</c:v>
                </c:pt>
                <c:pt idx="680">
                  <c:v>397956</c:v>
                </c:pt>
                <c:pt idx="681">
                  <c:v>397921</c:v>
                </c:pt>
                <c:pt idx="682">
                  <c:v>397821</c:v>
                </c:pt>
                <c:pt idx="683">
                  <c:v>397745</c:v>
                </c:pt>
                <c:pt idx="684">
                  <c:v>397731</c:v>
                </c:pt>
                <c:pt idx="685">
                  <c:v>397714</c:v>
                </c:pt>
                <c:pt idx="686">
                  <c:v>397669</c:v>
                </c:pt>
                <c:pt idx="687">
                  <c:v>397530</c:v>
                </c:pt>
                <c:pt idx="688">
                  <c:v>397477</c:v>
                </c:pt>
                <c:pt idx="689">
                  <c:v>397430</c:v>
                </c:pt>
                <c:pt idx="690">
                  <c:v>397172</c:v>
                </c:pt>
                <c:pt idx="691">
                  <c:v>397122</c:v>
                </c:pt>
                <c:pt idx="692">
                  <c:v>397104</c:v>
                </c:pt>
                <c:pt idx="693">
                  <c:v>397083</c:v>
                </c:pt>
                <c:pt idx="694">
                  <c:v>397029</c:v>
                </c:pt>
                <c:pt idx="695">
                  <c:v>396966</c:v>
                </c:pt>
                <c:pt idx="696">
                  <c:v>396948</c:v>
                </c:pt>
                <c:pt idx="697">
                  <c:v>396913</c:v>
                </c:pt>
                <c:pt idx="698">
                  <c:v>396897</c:v>
                </c:pt>
                <c:pt idx="699">
                  <c:v>396848</c:v>
                </c:pt>
                <c:pt idx="700">
                  <c:v>396775</c:v>
                </c:pt>
                <c:pt idx="701">
                  <c:v>396708</c:v>
                </c:pt>
                <c:pt idx="702">
                  <c:v>396674</c:v>
                </c:pt>
                <c:pt idx="703">
                  <c:v>396558</c:v>
                </c:pt>
                <c:pt idx="704">
                  <c:v>396548</c:v>
                </c:pt>
                <c:pt idx="705">
                  <c:v>396530</c:v>
                </c:pt>
                <c:pt idx="706">
                  <c:v>396480</c:v>
                </c:pt>
                <c:pt idx="707">
                  <c:v>396479</c:v>
                </c:pt>
                <c:pt idx="708">
                  <c:v>396452</c:v>
                </c:pt>
                <c:pt idx="709">
                  <c:v>396306</c:v>
                </c:pt>
                <c:pt idx="710">
                  <c:v>396113</c:v>
                </c:pt>
                <c:pt idx="711">
                  <c:v>396061</c:v>
                </c:pt>
                <c:pt idx="712">
                  <c:v>396035</c:v>
                </c:pt>
                <c:pt idx="713">
                  <c:v>395893</c:v>
                </c:pt>
                <c:pt idx="714">
                  <c:v>395865</c:v>
                </c:pt>
                <c:pt idx="715">
                  <c:v>395743</c:v>
                </c:pt>
                <c:pt idx="716">
                  <c:v>395738</c:v>
                </c:pt>
                <c:pt idx="717">
                  <c:v>395656</c:v>
                </c:pt>
                <c:pt idx="718">
                  <c:v>395631</c:v>
                </c:pt>
                <c:pt idx="719">
                  <c:v>395608</c:v>
                </c:pt>
                <c:pt idx="720">
                  <c:v>395529</c:v>
                </c:pt>
                <c:pt idx="721">
                  <c:v>395473</c:v>
                </c:pt>
                <c:pt idx="722">
                  <c:v>395437</c:v>
                </c:pt>
                <c:pt idx="723">
                  <c:v>395359</c:v>
                </c:pt>
                <c:pt idx="724">
                  <c:v>395300</c:v>
                </c:pt>
                <c:pt idx="725">
                  <c:v>395282</c:v>
                </c:pt>
                <c:pt idx="726">
                  <c:v>395264</c:v>
                </c:pt>
                <c:pt idx="727">
                  <c:v>395180</c:v>
                </c:pt>
                <c:pt idx="728">
                  <c:v>395146</c:v>
                </c:pt>
                <c:pt idx="729">
                  <c:v>395111</c:v>
                </c:pt>
                <c:pt idx="730">
                  <c:v>395049</c:v>
                </c:pt>
                <c:pt idx="731">
                  <c:v>395018</c:v>
                </c:pt>
                <c:pt idx="732">
                  <c:v>394997</c:v>
                </c:pt>
                <c:pt idx="733">
                  <c:v>394966</c:v>
                </c:pt>
                <c:pt idx="734">
                  <c:v>394965</c:v>
                </c:pt>
                <c:pt idx="735">
                  <c:v>394954</c:v>
                </c:pt>
                <c:pt idx="736">
                  <c:v>394943</c:v>
                </c:pt>
                <c:pt idx="737">
                  <c:v>394939</c:v>
                </c:pt>
                <c:pt idx="738">
                  <c:v>394868</c:v>
                </c:pt>
                <c:pt idx="739">
                  <c:v>394857</c:v>
                </c:pt>
                <c:pt idx="740">
                  <c:v>394813</c:v>
                </c:pt>
                <c:pt idx="741">
                  <c:v>394758</c:v>
                </c:pt>
                <c:pt idx="742">
                  <c:v>394747</c:v>
                </c:pt>
                <c:pt idx="743">
                  <c:v>394697</c:v>
                </c:pt>
                <c:pt idx="744">
                  <c:v>394638</c:v>
                </c:pt>
                <c:pt idx="745">
                  <c:v>394609</c:v>
                </c:pt>
                <c:pt idx="746">
                  <c:v>394606</c:v>
                </c:pt>
                <c:pt idx="747">
                  <c:v>394402</c:v>
                </c:pt>
                <c:pt idx="748">
                  <c:v>394394</c:v>
                </c:pt>
                <c:pt idx="749">
                  <c:v>394381</c:v>
                </c:pt>
                <c:pt idx="750">
                  <c:v>394342</c:v>
                </c:pt>
                <c:pt idx="751">
                  <c:v>394307</c:v>
                </c:pt>
                <c:pt idx="752">
                  <c:v>394291</c:v>
                </c:pt>
                <c:pt idx="753">
                  <c:v>394214</c:v>
                </c:pt>
                <c:pt idx="754">
                  <c:v>394192</c:v>
                </c:pt>
                <c:pt idx="755">
                  <c:v>394107</c:v>
                </c:pt>
                <c:pt idx="756">
                  <c:v>394045</c:v>
                </c:pt>
                <c:pt idx="757">
                  <c:v>393982</c:v>
                </c:pt>
                <c:pt idx="758">
                  <c:v>393886</c:v>
                </c:pt>
                <c:pt idx="759">
                  <c:v>393845</c:v>
                </c:pt>
                <c:pt idx="760">
                  <c:v>393809</c:v>
                </c:pt>
                <c:pt idx="761">
                  <c:v>393780</c:v>
                </c:pt>
                <c:pt idx="762">
                  <c:v>393779</c:v>
                </c:pt>
                <c:pt idx="763">
                  <c:v>393686</c:v>
                </c:pt>
                <c:pt idx="764">
                  <c:v>393567</c:v>
                </c:pt>
                <c:pt idx="765">
                  <c:v>393562</c:v>
                </c:pt>
                <c:pt idx="766">
                  <c:v>393524</c:v>
                </c:pt>
                <c:pt idx="767">
                  <c:v>393479</c:v>
                </c:pt>
                <c:pt idx="768">
                  <c:v>393477</c:v>
                </c:pt>
                <c:pt idx="769">
                  <c:v>393449</c:v>
                </c:pt>
                <c:pt idx="770">
                  <c:v>393349</c:v>
                </c:pt>
                <c:pt idx="771">
                  <c:v>393335</c:v>
                </c:pt>
                <c:pt idx="772">
                  <c:v>393297</c:v>
                </c:pt>
                <c:pt idx="773">
                  <c:v>393204</c:v>
                </c:pt>
                <c:pt idx="774">
                  <c:v>393199</c:v>
                </c:pt>
                <c:pt idx="775">
                  <c:v>393147</c:v>
                </c:pt>
                <c:pt idx="776">
                  <c:v>393110</c:v>
                </c:pt>
                <c:pt idx="777">
                  <c:v>393083</c:v>
                </c:pt>
                <c:pt idx="778">
                  <c:v>393067</c:v>
                </c:pt>
                <c:pt idx="779">
                  <c:v>393022</c:v>
                </c:pt>
                <c:pt idx="780">
                  <c:v>393005</c:v>
                </c:pt>
                <c:pt idx="781">
                  <c:v>392953</c:v>
                </c:pt>
                <c:pt idx="782">
                  <c:v>392842</c:v>
                </c:pt>
                <c:pt idx="783">
                  <c:v>392832</c:v>
                </c:pt>
                <c:pt idx="784">
                  <c:v>392777</c:v>
                </c:pt>
                <c:pt idx="785">
                  <c:v>392761</c:v>
                </c:pt>
                <c:pt idx="786">
                  <c:v>392609</c:v>
                </c:pt>
                <c:pt idx="787">
                  <c:v>392529</c:v>
                </c:pt>
                <c:pt idx="788">
                  <c:v>392437</c:v>
                </c:pt>
                <c:pt idx="789">
                  <c:v>392418</c:v>
                </c:pt>
                <c:pt idx="790">
                  <c:v>392392</c:v>
                </c:pt>
                <c:pt idx="791">
                  <c:v>392382</c:v>
                </c:pt>
                <c:pt idx="792">
                  <c:v>392244</c:v>
                </c:pt>
                <c:pt idx="793">
                  <c:v>392232</c:v>
                </c:pt>
                <c:pt idx="794">
                  <c:v>392113</c:v>
                </c:pt>
                <c:pt idx="795">
                  <c:v>392051</c:v>
                </c:pt>
                <c:pt idx="796">
                  <c:v>391941</c:v>
                </c:pt>
                <c:pt idx="797">
                  <c:v>391878</c:v>
                </c:pt>
                <c:pt idx="798">
                  <c:v>391814</c:v>
                </c:pt>
                <c:pt idx="799">
                  <c:v>391795</c:v>
                </c:pt>
                <c:pt idx="800">
                  <c:v>391746</c:v>
                </c:pt>
                <c:pt idx="801">
                  <c:v>391645</c:v>
                </c:pt>
                <c:pt idx="802">
                  <c:v>391640</c:v>
                </c:pt>
                <c:pt idx="803">
                  <c:v>391617</c:v>
                </c:pt>
                <c:pt idx="804">
                  <c:v>391535</c:v>
                </c:pt>
                <c:pt idx="805">
                  <c:v>391527</c:v>
                </c:pt>
                <c:pt idx="806">
                  <c:v>391473</c:v>
                </c:pt>
                <c:pt idx="807">
                  <c:v>391461</c:v>
                </c:pt>
                <c:pt idx="808">
                  <c:v>391412</c:v>
                </c:pt>
                <c:pt idx="809">
                  <c:v>391344</c:v>
                </c:pt>
                <c:pt idx="810">
                  <c:v>391310</c:v>
                </c:pt>
                <c:pt idx="811">
                  <c:v>391310</c:v>
                </c:pt>
                <c:pt idx="812">
                  <c:v>391231</c:v>
                </c:pt>
                <c:pt idx="813">
                  <c:v>391193</c:v>
                </c:pt>
                <c:pt idx="814">
                  <c:v>391076</c:v>
                </c:pt>
                <c:pt idx="815">
                  <c:v>391055</c:v>
                </c:pt>
                <c:pt idx="816">
                  <c:v>390979</c:v>
                </c:pt>
                <c:pt idx="817">
                  <c:v>390957</c:v>
                </c:pt>
                <c:pt idx="818">
                  <c:v>390917</c:v>
                </c:pt>
                <c:pt idx="819">
                  <c:v>390898</c:v>
                </c:pt>
                <c:pt idx="820">
                  <c:v>390858</c:v>
                </c:pt>
                <c:pt idx="821">
                  <c:v>390847</c:v>
                </c:pt>
                <c:pt idx="822">
                  <c:v>390628</c:v>
                </c:pt>
                <c:pt idx="823">
                  <c:v>390622</c:v>
                </c:pt>
                <c:pt idx="824">
                  <c:v>390610</c:v>
                </c:pt>
                <c:pt idx="825">
                  <c:v>390560</c:v>
                </c:pt>
                <c:pt idx="826">
                  <c:v>390535</c:v>
                </c:pt>
                <c:pt idx="827">
                  <c:v>390467</c:v>
                </c:pt>
                <c:pt idx="828">
                  <c:v>390422</c:v>
                </c:pt>
                <c:pt idx="829">
                  <c:v>390398</c:v>
                </c:pt>
                <c:pt idx="830">
                  <c:v>390364</c:v>
                </c:pt>
                <c:pt idx="831">
                  <c:v>390296</c:v>
                </c:pt>
                <c:pt idx="832">
                  <c:v>390268</c:v>
                </c:pt>
                <c:pt idx="833">
                  <c:v>390249</c:v>
                </c:pt>
                <c:pt idx="834">
                  <c:v>390233</c:v>
                </c:pt>
                <c:pt idx="835">
                  <c:v>390232</c:v>
                </c:pt>
                <c:pt idx="836">
                  <c:v>390115</c:v>
                </c:pt>
                <c:pt idx="837">
                  <c:v>390101</c:v>
                </c:pt>
                <c:pt idx="838">
                  <c:v>389962</c:v>
                </c:pt>
                <c:pt idx="839">
                  <c:v>389883</c:v>
                </c:pt>
                <c:pt idx="840">
                  <c:v>389872</c:v>
                </c:pt>
                <c:pt idx="841">
                  <c:v>389660</c:v>
                </c:pt>
                <c:pt idx="842">
                  <c:v>389647</c:v>
                </c:pt>
                <c:pt idx="843">
                  <c:v>389617</c:v>
                </c:pt>
                <c:pt idx="844">
                  <c:v>389615</c:v>
                </c:pt>
                <c:pt idx="845">
                  <c:v>389563</c:v>
                </c:pt>
                <c:pt idx="846">
                  <c:v>389503</c:v>
                </c:pt>
                <c:pt idx="847">
                  <c:v>389454</c:v>
                </c:pt>
                <c:pt idx="848">
                  <c:v>389401</c:v>
                </c:pt>
                <c:pt idx="849">
                  <c:v>389370</c:v>
                </c:pt>
                <c:pt idx="850">
                  <c:v>389323</c:v>
                </c:pt>
                <c:pt idx="851">
                  <c:v>389253</c:v>
                </c:pt>
                <c:pt idx="852">
                  <c:v>389240</c:v>
                </c:pt>
                <c:pt idx="853">
                  <c:v>389237</c:v>
                </c:pt>
                <c:pt idx="854">
                  <c:v>389199</c:v>
                </c:pt>
                <c:pt idx="855">
                  <c:v>389095</c:v>
                </c:pt>
                <c:pt idx="856">
                  <c:v>389085</c:v>
                </c:pt>
                <c:pt idx="857">
                  <c:v>389066</c:v>
                </c:pt>
                <c:pt idx="858">
                  <c:v>389050</c:v>
                </c:pt>
                <c:pt idx="859">
                  <c:v>389024</c:v>
                </c:pt>
                <c:pt idx="860">
                  <c:v>389002</c:v>
                </c:pt>
                <c:pt idx="861">
                  <c:v>388986</c:v>
                </c:pt>
                <c:pt idx="862">
                  <c:v>388972</c:v>
                </c:pt>
                <c:pt idx="863">
                  <c:v>388951</c:v>
                </c:pt>
                <c:pt idx="864">
                  <c:v>388944</c:v>
                </c:pt>
                <c:pt idx="865">
                  <c:v>388929</c:v>
                </c:pt>
                <c:pt idx="866">
                  <c:v>388882</c:v>
                </c:pt>
                <c:pt idx="867">
                  <c:v>388829</c:v>
                </c:pt>
                <c:pt idx="868">
                  <c:v>388828</c:v>
                </c:pt>
                <c:pt idx="869">
                  <c:v>388784</c:v>
                </c:pt>
                <c:pt idx="870">
                  <c:v>388743</c:v>
                </c:pt>
                <c:pt idx="871">
                  <c:v>388726</c:v>
                </c:pt>
                <c:pt idx="872">
                  <c:v>388691</c:v>
                </c:pt>
                <c:pt idx="873">
                  <c:v>388577</c:v>
                </c:pt>
                <c:pt idx="874">
                  <c:v>388515</c:v>
                </c:pt>
                <c:pt idx="875">
                  <c:v>388511</c:v>
                </c:pt>
                <c:pt idx="876">
                  <c:v>388466</c:v>
                </c:pt>
                <c:pt idx="877">
                  <c:v>388433</c:v>
                </c:pt>
                <c:pt idx="878">
                  <c:v>388405</c:v>
                </c:pt>
                <c:pt idx="879">
                  <c:v>388358</c:v>
                </c:pt>
                <c:pt idx="880">
                  <c:v>388282</c:v>
                </c:pt>
                <c:pt idx="881">
                  <c:v>388282</c:v>
                </c:pt>
                <c:pt idx="882">
                  <c:v>388272</c:v>
                </c:pt>
                <c:pt idx="883">
                  <c:v>388249</c:v>
                </c:pt>
                <c:pt idx="884">
                  <c:v>388220</c:v>
                </c:pt>
                <c:pt idx="885">
                  <c:v>388194</c:v>
                </c:pt>
                <c:pt idx="886">
                  <c:v>388190</c:v>
                </c:pt>
                <c:pt idx="887">
                  <c:v>388186</c:v>
                </c:pt>
                <c:pt idx="888">
                  <c:v>388022</c:v>
                </c:pt>
                <c:pt idx="889">
                  <c:v>388011</c:v>
                </c:pt>
                <c:pt idx="890">
                  <c:v>387996</c:v>
                </c:pt>
                <c:pt idx="891">
                  <c:v>387917</c:v>
                </c:pt>
                <c:pt idx="892">
                  <c:v>387916</c:v>
                </c:pt>
                <c:pt idx="893">
                  <c:v>387890</c:v>
                </c:pt>
                <c:pt idx="894">
                  <c:v>387836</c:v>
                </c:pt>
                <c:pt idx="895">
                  <c:v>387716</c:v>
                </c:pt>
                <c:pt idx="896">
                  <c:v>387543</c:v>
                </c:pt>
                <c:pt idx="897">
                  <c:v>387521</c:v>
                </c:pt>
                <c:pt idx="898">
                  <c:v>387433</c:v>
                </c:pt>
                <c:pt idx="899">
                  <c:v>387403</c:v>
                </c:pt>
                <c:pt idx="900">
                  <c:v>387388</c:v>
                </c:pt>
                <c:pt idx="901">
                  <c:v>387334</c:v>
                </c:pt>
                <c:pt idx="902">
                  <c:v>387328</c:v>
                </c:pt>
                <c:pt idx="903">
                  <c:v>387288</c:v>
                </c:pt>
                <c:pt idx="904">
                  <c:v>387273</c:v>
                </c:pt>
                <c:pt idx="905">
                  <c:v>387233</c:v>
                </c:pt>
                <c:pt idx="906">
                  <c:v>387159</c:v>
                </c:pt>
                <c:pt idx="907">
                  <c:v>387159</c:v>
                </c:pt>
                <c:pt idx="908">
                  <c:v>387086</c:v>
                </c:pt>
                <c:pt idx="909">
                  <c:v>387071</c:v>
                </c:pt>
                <c:pt idx="910">
                  <c:v>386916</c:v>
                </c:pt>
                <c:pt idx="911">
                  <c:v>386866</c:v>
                </c:pt>
                <c:pt idx="912">
                  <c:v>386804</c:v>
                </c:pt>
                <c:pt idx="913">
                  <c:v>386798</c:v>
                </c:pt>
                <c:pt idx="914">
                  <c:v>386783</c:v>
                </c:pt>
                <c:pt idx="915">
                  <c:v>386756</c:v>
                </c:pt>
                <c:pt idx="916">
                  <c:v>386755</c:v>
                </c:pt>
                <c:pt idx="917">
                  <c:v>386706</c:v>
                </c:pt>
                <c:pt idx="918">
                  <c:v>386684</c:v>
                </c:pt>
                <c:pt idx="919">
                  <c:v>386674</c:v>
                </c:pt>
                <c:pt idx="920">
                  <c:v>386631</c:v>
                </c:pt>
                <c:pt idx="921">
                  <c:v>386588</c:v>
                </c:pt>
                <c:pt idx="922">
                  <c:v>386554</c:v>
                </c:pt>
                <c:pt idx="923">
                  <c:v>386543</c:v>
                </c:pt>
                <c:pt idx="924">
                  <c:v>386536</c:v>
                </c:pt>
                <c:pt idx="925">
                  <c:v>386516</c:v>
                </c:pt>
                <c:pt idx="926">
                  <c:v>386501</c:v>
                </c:pt>
                <c:pt idx="927">
                  <c:v>386494</c:v>
                </c:pt>
                <c:pt idx="928">
                  <c:v>386453</c:v>
                </c:pt>
                <c:pt idx="929">
                  <c:v>386426</c:v>
                </c:pt>
                <c:pt idx="930">
                  <c:v>386418</c:v>
                </c:pt>
                <c:pt idx="931">
                  <c:v>386396</c:v>
                </c:pt>
                <c:pt idx="932">
                  <c:v>386387</c:v>
                </c:pt>
                <c:pt idx="933">
                  <c:v>386368</c:v>
                </c:pt>
                <c:pt idx="934">
                  <c:v>386362</c:v>
                </c:pt>
                <c:pt idx="935">
                  <c:v>386359</c:v>
                </c:pt>
                <c:pt idx="936">
                  <c:v>386336</c:v>
                </c:pt>
                <c:pt idx="937">
                  <c:v>386260</c:v>
                </c:pt>
                <c:pt idx="938">
                  <c:v>386213</c:v>
                </c:pt>
                <c:pt idx="939">
                  <c:v>386184</c:v>
                </c:pt>
                <c:pt idx="940">
                  <c:v>386173</c:v>
                </c:pt>
                <c:pt idx="941">
                  <c:v>386126</c:v>
                </c:pt>
                <c:pt idx="942">
                  <c:v>386095</c:v>
                </c:pt>
                <c:pt idx="943">
                  <c:v>385998</c:v>
                </c:pt>
                <c:pt idx="944">
                  <c:v>385908</c:v>
                </c:pt>
                <c:pt idx="945">
                  <c:v>385878</c:v>
                </c:pt>
                <c:pt idx="946">
                  <c:v>385826</c:v>
                </c:pt>
                <c:pt idx="947">
                  <c:v>385810</c:v>
                </c:pt>
                <c:pt idx="948">
                  <c:v>385793</c:v>
                </c:pt>
                <c:pt idx="949">
                  <c:v>385772</c:v>
                </c:pt>
                <c:pt idx="950">
                  <c:v>385750</c:v>
                </c:pt>
                <c:pt idx="951">
                  <c:v>385718</c:v>
                </c:pt>
                <c:pt idx="952">
                  <c:v>385588</c:v>
                </c:pt>
                <c:pt idx="953">
                  <c:v>385564</c:v>
                </c:pt>
                <c:pt idx="954">
                  <c:v>385547</c:v>
                </c:pt>
                <c:pt idx="955">
                  <c:v>385449</c:v>
                </c:pt>
                <c:pt idx="956">
                  <c:v>385437</c:v>
                </c:pt>
                <c:pt idx="957">
                  <c:v>385413</c:v>
                </c:pt>
                <c:pt idx="958">
                  <c:v>385408</c:v>
                </c:pt>
                <c:pt idx="959">
                  <c:v>385406</c:v>
                </c:pt>
                <c:pt idx="960">
                  <c:v>385328</c:v>
                </c:pt>
                <c:pt idx="961">
                  <c:v>385291</c:v>
                </c:pt>
                <c:pt idx="962">
                  <c:v>385286</c:v>
                </c:pt>
                <c:pt idx="963">
                  <c:v>385240</c:v>
                </c:pt>
                <c:pt idx="964">
                  <c:v>385208</c:v>
                </c:pt>
                <c:pt idx="965">
                  <c:v>385181</c:v>
                </c:pt>
                <c:pt idx="966">
                  <c:v>385148</c:v>
                </c:pt>
                <c:pt idx="967">
                  <c:v>385143</c:v>
                </c:pt>
                <c:pt idx="968">
                  <c:v>385106</c:v>
                </c:pt>
                <c:pt idx="969">
                  <c:v>385058</c:v>
                </c:pt>
                <c:pt idx="970">
                  <c:v>384994</c:v>
                </c:pt>
                <c:pt idx="971">
                  <c:v>384978</c:v>
                </c:pt>
                <c:pt idx="972">
                  <c:v>384946</c:v>
                </c:pt>
                <c:pt idx="973">
                  <c:v>384920</c:v>
                </c:pt>
                <c:pt idx="974">
                  <c:v>384903</c:v>
                </c:pt>
                <c:pt idx="975">
                  <c:v>384889</c:v>
                </c:pt>
                <c:pt idx="976">
                  <c:v>384833</c:v>
                </c:pt>
                <c:pt idx="977">
                  <c:v>384758</c:v>
                </c:pt>
                <c:pt idx="978">
                  <c:v>384619</c:v>
                </c:pt>
                <c:pt idx="979">
                  <c:v>384580</c:v>
                </c:pt>
                <c:pt idx="980">
                  <c:v>384569</c:v>
                </c:pt>
                <c:pt idx="981">
                  <c:v>384564</c:v>
                </c:pt>
                <c:pt idx="982">
                  <c:v>384553</c:v>
                </c:pt>
                <c:pt idx="983">
                  <c:v>384536</c:v>
                </c:pt>
                <c:pt idx="984">
                  <c:v>384526</c:v>
                </c:pt>
                <c:pt idx="985">
                  <c:v>384468</c:v>
                </c:pt>
                <c:pt idx="986">
                  <c:v>384456</c:v>
                </c:pt>
                <c:pt idx="987">
                  <c:v>384448</c:v>
                </c:pt>
                <c:pt idx="988">
                  <c:v>384367</c:v>
                </c:pt>
                <c:pt idx="989">
                  <c:v>384322</c:v>
                </c:pt>
                <c:pt idx="990">
                  <c:v>384243</c:v>
                </c:pt>
                <c:pt idx="991">
                  <c:v>384230</c:v>
                </c:pt>
                <c:pt idx="992">
                  <c:v>384214</c:v>
                </c:pt>
                <c:pt idx="993">
                  <c:v>384204</c:v>
                </c:pt>
                <c:pt idx="994">
                  <c:v>384184</c:v>
                </c:pt>
                <c:pt idx="995">
                  <c:v>384175</c:v>
                </c:pt>
                <c:pt idx="996">
                  <c:v>384174</c:v>
                </c:pt>
                <c:pt idx="997">
                  <c:v>384173</c:v>
                </c:pt>
                <c:pt idx="998">
                  <c:v>384167</c:v>
                </c:pt>
                <c:pt idx="999">
                  <c:v>384113</c:v>
                </c:pt>
                <c:pt idx="1000">
                  <c:v>384067</c:v>
                </c:pt>
                <c:pt idx="1001">
                  <c:v>384045</c:v>
                </c:pt>
                <c:pt idx="1002">
                  <c:v>384021</c:v>
                </c:pt>
                <c:pt idx="1003">
                  <c:v>384017</c:v>
                </c:pt>
                <c:pt idx="1004">
                  <c:v>384011</c:v>
                </c:pt>
                <c:pt idx="1005">
                  <c:v>383999</c:v>
                </c:pt>
                <c:pt idx="1006">
                  <c:v>383924</c:v>
                </c:pt>
                <c:pt idx="1007">
                  <c:v>383837</c:v>
                </c:pt>
                <c:pt idx="1008">
                  <c:v>383832</c:v>
                </c:pt>
                <c:pt idx="1009">
                  <c:v>383827</c:v>
                </c:pt>
                <c:pt idx="1010">
                  <c:v>383707</c:v>
                </c:pt>
                <c:pt idx="1011">
                  <c:v>383700</c:v>
                </c:pt>
                <c:pt idx="1012">
                  <c:v>383688</c:v>
                </c:pt>
                <c:pt idx="1013">
                  <c:v>383632</c:v>
                </c:pt>
                <c:pt idx="1014">
                  <c:v>383605</c:v>
                </c:pt>
                <c:pt idx="1015">
                  <c:v>383570</c:v>
                </c:pt>
                <c:pt idx="1016">
                  <c:v>383563</c:v>
                </c:pt>
                <c:pt idx="1017">
                  <c:v>383501</c:v>
                </c:pt>
                <c:pt idx="1018">
                  <c:v>383494</c:v>
                </c:pt>
                <c:pt idx="1019">
                  <c:v>383489</c:v>
                </c:pt>
                <c:pt idx="1020">
                  <c:v>383471</c:v>
                </c:pt>
                <c:pt idx="1021">
                  <c:v>383420</c:v>
                </c:pt>
                <c:pt idx="1022">
                  <c:v>383403</c:v>
                </c:pt>
                <c:pt idx="1023">
                  <c:v>383388</c:v>
                </c:pt>
                <c:pt idx="1024">
                  <c:v>383384</c:v>
                </c:pt>
                <c:pt idx="1025">
                  <c:v>383381</c:v>
                </c:pt>
                <c:pt idx="1026">
                  <c:v>383301</c:v>
                </c:pt>
                <c:pt idx="1027">
                  <c:v>383279</c:v>
                </c:pt>
                <c:pt idx="1028">
                  <c:v>383276</c:v>
                </c:pt>
                <c:pt idx="1029">
                  <c:v>383234</c:v>
                </c:pt>
                <c:pt idx="1030">
                  <c:v>383233</c:v>
                </c:pt>
                <c:pt idx="1031">
                  <c:v>383197</c:v>
                </c:pt>
                <c:pt idx="1032">
                  <c:v>383184</c:v>
                </c:pt>
                <c:pt idx="1033">
                  <c:v>383159</c:v>
                </c:pt>
                <c:pt idx="1034">
                  <c:v>383154</c:v>
                </c:pt>
                <c:pt idx="1035">
                  <c:v>383151</c:v>
                </c:pt>
                <c:pt idx="1036">
                  <c:v>383131</c:v>
                </c:pt>
                <c:pt idx="1037">
                  <c:v>383116</c:v>
                </c:pt>
                <c:pt idx="1038">
                  <c:v>383096</c:v>
                </c:pt>
                <c:pt idx="1039">
                  <c:v>383053</c:v>
                </c:pt>
                <c:pt idx="1040">
                  <c:v>383032</c:v>
                </c:pt>
                <c:pt idx="1041">
                  <c:v>383010</c:v>
                </c:pt>
                <c:pt idx="1042">
                  <c:v>382945</c:v>
                </c:pt>
                <c:pt idx="1043">
                  <c:v>382888</c:v>
                </c:pt>
                <c:pt idx="1044">
                  <c:v>382884</c:v>
                </c:pt>
                <c:pt idx="1045">
                  <c:v>382872</c:v>
                </c:pt>
                <c:pt idx="1046">
                  <c:v>382828</c:v>
                </c:pt>
                <c:pt idx="1047">
                  <c:v>382818</c:v>
                </c:pt>
                <c:pt idx="1048">
                  <c:v>382807</c:v>
                </c:pt>
                <c:pt idx="1049">
                  <c:v>382789</c:v>
                </c:pt>
                <c:pt idx="1050">
                  <c:v>382686</c:v>
                </c:pt>
                <c:pt idx="1051">
                  <c:v>382640</c:v>
                </c:pt>
                <c:pt idx="1052">
                  <c:v>382620</c:v>
                </c:pt>
                <c:pt idx="1053">
                  <c:v>382587</c:v>
                </c:pt>
                <c:pt idx="1054">
                  <c:v>382582</c:v>
                </c:pt>
                <c:pt idx="1055">
                  <c:v>382562</c:v>
                </c:pt>
                <c:pt idx="1056">
                  <c:v>382525</c:v>
                </c:pt>
                <c:pt idx="1057">
                  <c:v>382441</c:v>
                </c:pt>
                <c:pt idx="1058">
                  <c:v>382437</c:v>
                </c:pt>
                <c:pt idx="1059">
                  <c:v>382333</c:v>
                </c:pt>
                <c:pt idx="1060">
                  <c:v>382311</c:v>
                </c:pt>
                <c:pt idx="1061">
                  <c:v>382273</c:v>
                </c:pt>
                <c:pt idx="1062">
                  <c:v>382249</c:v>
                </c:pt>
                <c:pt idx="1063">
                  <c:v>382240</c:v>
                </c:pt>
                <c:pt idx="1064">
                  <c:v>382144</c:v>
                </c:pt>
                <c:pt idx="1065">
                  <c:v>382110</c:v>
                </c:pt>
                <c:pt idx="1066">
                  <c:v>381968</c:v>
                </c:pt>
                <c:pt idx="1067">
                  <c:v>381925</c:v>
                </c:pt>
                <c:pt idx="1068">
                  <c:v>381917</c:v>
                </c:pt>
                <c:pt idx="1069">
                  <c:v>381907</c:v>
                </c:pt>
                <c:pt idx="1070">
                  <c:v>381896</c:v>
                </c:pt>
                <c:pt idx="1071">
                  <c:v>381873</c:v>
                </c:pt>
                <c:pt idx="1072">
                  <c:v>381868</c:v>
                </c:pt>
                <c:pt idx="1073">
                  <c:v>381853</c:v>
                </c:pt>
                <c:pt idx="1074">
                  <c:v>381798</c:v>
                </c:pt>
                <c:pt idx="1075">
                  <c:v>381795</c:v>
                </c:pt>
                <c:pt idx="1076">
                  <c:v>381727</c:v>
                </c:pt>
                <c:pt idx="1077">
                  <c:v>381638</c:v>
                </c:pt>
                <c:pt idx="1078">
                  <c:v>381621</c:v>
                </c:pt>
                <c:pt idx="1079">
                  <c:v>381611</c:v>
                </c:pt>
                <c:pt idx="1080">
                  <c:v>381554</c:v>
                </c:pt>
                <c:pt idx="1081">
                  <c:v>381538</c:v>
                </c:pt>
                <c:pt idx="1082">
                  <c:v>381521</c:v>
                </c:pt>
                <c:pt idx="1083">
                  <c:v>381514</c:v>
                </c:pt>
                <c:pt idx="1084">
                  <c:v>381514</c:v>
                </c:pt>
                <c:pt idx="1085">
                  <c:v>381501</c:v>
                </c:pt>
                <c:pt idx="1086">
                  <c:v>381477</c:v>
                </c:pt>
                <c:pt idx="1087">
                  <c:v>381441</c:v>
                </c:pt>
                <c:pt idx="1088">
                  <c:v>381434</c:v>
                </c:pt>
                <c:pt idx="1089">
                  <c:v>381429</c:v>
                </c:pt>
                <c:pt idx="1090">
                  <c:v>381424</c:v>
                </c:pt>
                <c:pt idx="1091">
                  <c:v>381401</c:v>
                </c:pt>
                <c:pt idx="1092">
                  <c:v>381397</c:v>
                </c:pt>
                <c:pt idx="1093">
                  <c:v>381381</c:v>
                </c:pt>
                <c:pt idx="1094">
                  <c:v>381373</c:v>
                </c:pt>
                <c:pt idx="1095">
                  <c:v>381341</c:v>
                </c:pt>
                <c:pt idx="1096">
                  <c:v>381230</c:v>
                </c:pt>
                <c:pt idx="1097">
                  <c:v>381168</c:v>
                </c:pt>
                <c:pt idx="1098">
                  <c:v>381149</c:v>
                </c:pt>
                <c:pt idx="1099">
                  <c:v>381109</c:v>
                </c:pt>
                <c:pt idx="1100">
                  <c:v>381069</c:v>
                </c:pt>
                <c:pt idx="1101">
                  <c:v>381015</c:v>
                </c:pt>
                <c:pt idx="1102">
                  <c:v>381001</c:v>
                </c:pt>
                <c:pt idx="1103">
                  <c:v>380990</c:v>
                </c:pt>
                <c:pt idx="1104">
                  <c:v>380943</c:v>
                </c:pt>
                <c:pt idx="1105">
                  <c:v>380880</c:v>
                </c:pt>
                <c:pt idx="1106">
                  <c:v>380834</c:v>
                </c:pt>
                <c:pt idx="1107">
                  <c:v>380830</c:v>
                </c:pt>
                <c:pt idx="1108">
                  <c:v>380824</c:v>
                </c:pt>
                <c:pt idx="1109">
                  <c:v>380785</c:v>
                </c:pt>
                <c:pt idx="1110">
                  <c:v>380754</c:v>
                </c:pt>
                <c:pt idx="1111">
                  <c:v>380725</c:v>
                </c:pt>
                <c:pt idx="1112">
                  <c:v>380691</c:v>
                </c:pt>
                <c:pt idx="1113">
                  <c:v>380651</c:v>
                </c:pt>
                <c:pt idx="1114">
                  <c:v>380639</c:v>
                </c:pt>
                <c:pt idx="1115">
                  <c:v>380627</c:v>
                </c:pt>
                <c:pt idx="1116">
                  <c:v>380523</c:v>
                </c:pt>
                <c:pt idx="1117">
                  <c:v>380429</c:v>
                </c:pt>
                <c:pt idx="1118">
                  <c:v>380405</c:v>
                </c:pt>
                <c:pt idx="1119">
                  <c:v>380400</c:v>
                </c:pt>
                <c:pt idx="1120">
                  <c:v>380386</c:v>
                </c:pt>
                <c:pt idx="1121">
                  <c:v>380365</c:v>
                </c:pt>
                <c:pt idx="1122">
                  <c:v>380362</c:v>
                </c:pt>
                <c:pt idx="1123">
                  <c:v>380359</c:v>
                </c:pt>
                <c:pt idx="1124">
                  <c:v>380333</c:v>
                </c:pt>
                <c:pt idx="1125">
                  <c:v>380311</c:v>
                </c:pt>
                <c:pt idx="1126">
                  <c:v>380305</c:v>
                </c:pt>
                <c:pt idx="1127">
                  <c:v>380257</c:v>
                </c:pt>
                <c:pt idx="1128">
                  <c:v>380211</c:v>
                </c:pt>
                <c:pt idx="1129">
                  <c:v>380207</c:v>
                </c:pt>
                <c:pt idx="1130">
                  <c:v>380094</c:v>
                </c:pt>
                <c:pt idx="1131">
                  <c:v>380082</c:v>
                </c:pt>
                <c:pt idx="1132">
                  <c:v>380067</c:v>
                </c:pt>
                <c:pt idx="1133">
                  <c:v>379994</c:v>
                </c:pt>
                <c:pt idx="1134">
                  <c:v>379958</c:v>
                </c:pt>
                <c:pt idx="1135">
                  <c:v>379942</c:v>
                </c:pt>
                <c:pt idx="1136">
                  <c:v>379897</c:v>
                </c:pt>
                <c:pt idx="1137">
                  <c:v>379862</c:v>
                </c:pt>
                <c:pt idx="1138">
                  <c:v>379852</c:v>
                </c:pt>
                <c:pt idx="1139">
                  <c:v>379848</c:v>
                </c:pt>
                <c:pt idx="1140">
                  <c:v>379801</c:v>
                </c:pt>
                <c:pt idx="1141">
                  <c:v>379750</c:v>
                </c:pt>
                <c:pt idx="1142">
                  <c:v>379717</c:v>
                </c:pt>
                <c:pt idx="1143">
                  <c:v>379703</c:v>
                </c:pt>
                <c:pt idx="1144">
                  <c:v>379697</c:v>
                </c:pt>
                <c:pt idx="1145">
                  <c:v>379571</c:v>
                </c:pt>
                <c:pt idx="1146">
                  <c:v>379562</c:v>
                </c:pt>
                <c:pt idx="1147">
                  <c:v>379544</c:v>
                </c:pt>
                <c:pt idx="1148">
                  <c:v>379525</c:v>
                </c:pt>
                <c:pt idx="1149">
                  <c:v>379515</c:v>
                </c:pt>
                <c:pt idx="1150">
                  <c:v>379421</c:v>
                </c:pt>
                <c:pt idx="1151">
                  <c:v>379376</c:v>
                </c:pt>
                <c:pt idx="1152">
                  <c:v>379369</c:v>
                </c:pt>
                <c:pt idx="1153">
                  <c:v>379298</c:v>
                </c:pt>
                <c:pt idx="1154">
                  <c:v>379281</c:v>
                </c:pt>
                <c:pt idx="1155">
                  <c:v>379275</c:v>
                </c:pt>
                <c:pt idx="1156">
                  <c:v>379264</c:v>
                </c:pt>
                <c:pt idx="1157">
                  <c:v>379248</c:v>
                </c:pt>
                <c:pt idx="1158">
                  <c:v>379241</c:v>
                </c:pt>
                <c:pt idx="1159">
                  <c:v>379241</c:v>
                </c:pt>
                <c:pt idx="1160">
                  <c:v>379216</c:v>
                </c:pt>
                <c:pt idx="1161">
                  <c:v>379128</c:v>
                </c:pt>
                <c:pt idx="1162">
                  <c:v>379030</c:v>
                </c:pt>
                <c:pt idx="1163">
                  <c:v>379021</c:v>
                </c:pt>
                <c:pt idx="1164">
                  <c:v>378918</c:v>
                </c:pt>
                <c:pt idx="1165">
                  <c:v>378882</c:v>
                </c:pt>
                <c:pt idx="1166">
                  <c:v>378864</c:v>
                </c:pt>
                <c:pt idx="1167">
                  <c:v>378843</c:v>
                </c:pt>
                <c:pt idx="1168">
                  <c:v>378832</c:v>
                </c:pt>
                <c:pt idx="1169">
                  <c:v>378831</c:v>
                </c:pt>
                <c:pt idx="1170">
                  <c:v>378754</c:v>
                </c:pt>
                <c:pt idx="1171">
                  <c:v>378753</c:v>
                </c:pt>
                <c:pt idx="1172">
                  <c:v>378745</c:v>
                </c:pt>
                <c:pt idx="1173">
                  <c:v>378734</c:v>
                </c:pt>
                <c:pt idx="1174">
                  <c:v>378725</c:v>
                </c:pt>
                <c:pt idx="1175">
                  <c:v>378614</c:v>
                </c:pt>
                <c:pt idx="1176">
                  <c:v>378605</c:v>
                </c:pt>
                <c:pt idx="1177">
                  <c:v>378559</c:v>
                </c:pt>
                <c:pt idx="1178">
                  <c:v>378550</c:v>
                </c:pt>
                <c:pt idx="1179">
                  <c:v>378497</c:v>
                </c:pt>
                <c:pt idx="1180">
                  <c:v>378481</c:v>
                </c:pt>
                <c:pt idx="1181">
                  <c:v>378368</c:v>
                </c:pt>
                <c:pt idx="1182">
                  <c:v>378268</c:v>
                </c:pt>
                <c:pt idx="1183">
                  <c:v>378262</c:v>
                </c:pt>
                <c:pt idx="1184">
                  <c:v>378252</c:v>
                </c:pt>
                <c:pt idx="1185">
                  <c:v>378221</c:v>
                </c:pt>
                <c:pt idx="1186">
                  <c:v>378161</c:v>
                </c:pt>
                <c:pt idx="1187">
                  <c:v>378093</c:v>
                </c:pt>
                <c:pt idx="1188">
                  <c:v>378079</c:v>
                </c:pt>
                <c:pt idx="1189">
                  <c:v>378042</c:v>
                </c:pt>
                <c:pt idx="1190">
                  <c:v>378011</c:v>
                </c:pt>
                <c:pt idx="1191">
                  <c:v>377984</c:v>
                </c:pt>
                <c:pt idx="1192">
                  <c:v>377916</c:v>
                </c:pt>
                <c:pt idx="1193">
                  <c:v>377913</c:v>
                </c:pt>
                <c:pt idx="1194">
                  <c:v>377884</c:v>
                </c:pt>
                <c:pt idx="1195">
                  <c:v>377871</c:v>
                </c:pt>
                <c:pt idx="1196">
                  <c:v>377870</c:v>
                </c:pt>
                <c:pt idx="1197">
                  <c:v>377852</c:v>
                </c:pt>
                <c:pt idx="1198">
                  <c:v>377848</c:v>
                </c:pt>
                <c:pt idx="1199">
                  <c:v>377842</c:v>
                </c:pt>
                <c:pt idx="1200">
                  <c:v>377778</c:v>
                </c:pt>
                <c:pt idx="1201">
                  <c:v>377722</c:v>
                </c:pt>
                <c:pt idx="1202">
                  <c:v>377687</c:v>
                </c:pt>
                <c:pt idx="1203">
                  <c:v>377658</c:v>
                </c:pt>
                <c:pt idx="1204">
                  <c:v>377655</c:v>
                </c:pt>
                <c:pt idx="1205">
                  <c:v>377591</c:v>
                </c:pt>
                <c:pt idx="1206">
                  <c:v>377559</c:v>
                </c:pt>
                <c:pt idx="1207">
                  <c:v>377513</c:v>
                </c:pt>
                <c:pt idx="1208">
                  <c:v>377491</c:v>
                </c:pt>
                <c:pt idx="1209">
                  <c:v>377452</c:v>
                </c:pt>
                <c:pt idx="1210">
                  <c:v>377418</c:v>
                </c:pt>
                <c:pt idx="1211">
                  <c:v>377414</c:v>
                </c:pt>
                <c:pt idx="1212">
                  <c:v>377401</c:v>
                </c:pt>
                <c:pt idx="1213">
                  <c:v>377397</c:v>
                </c:pt>
                <c:pt idx="1214">
                  <c:v>377374</c:v>
                </c:pt>
                <c:pt idx="1215">
                  <c:v>377337</c:v>
                </c:pt>
                <c:pt idx="1216">
                  <c:v>377332</c:v>
                </c:pt>
                <c:pt idx="1217">
                  <c:v>377297</c:v>
                </c:pt>
                <c:pt idx="1218">
                  <c:v>377290</c:v>
                </c:pt>
                <c:pt idx="1219">
                  <c:v>377281</c:v>
                </c:pt>
                <c:pt idx="1220">
                  <c:v>377268</c:v>
                </c:pt>
                <c:pt idx="1221">
                  <c:v>377252</c:v>
                </c:pt>
                <c:pt idx="1222">
                  <c:v>377238</c:v>
                </c:pt>
                <c:pt idx="1223">
                  <c:v>377219</c:v>
                </c:pt>
                <c:pt idx="1224">
                  <c:v>377216</c:v>
                </c:pt>
                <c:pt idx="1225">
                  <c:v>377137</c:v>
                </c:pt>
                <c:pt idx="1226">
                  <c:v>377090</c:v>
                </c:pt>
                <c:pt idx="1227">
                  <c:v>377088</c:v>
                </c:pt>
                <c:pt idx="1228">
                  <c:v>377069</c:v>
                </c:pt>
                <c:pt idx="1229">
                  <c:v>377039</c:v>
                </c:pt>
                <c:pt idx="1230">
                  <c:v>377034</c:v>
                </c:pt>
                <c:pt idx="1231">
                  <c:v>376976</c:v>
                </c:pt>
                <c:pt idx="1232">
                  <c:v>376949</c:v>
                </c:pt>
                <c:pt idx="1233">
                  <c:v>376945</c:v>
                </c:pt>
                <c:pt idx="1234">
                  <c:v>376900</c:v>
                </c:pt>
                <c:pt idx="1235">
                  <c:v>376848</c:v>
                </c:pt>
                <c:pt idx="1236">
                  <c:v>376840</c:v>
                </c:pt>
                <c:pt idx="1237">
                  <c:v>376812</c:v>
                </c:pt>
                <c:pt idx="1238">
                  <c:v>376714</c:v>
                </c:pt>
                <c:pt idx="1239">
                  <c:v>376695</c:v>
                </c:pt>
                <c:pt idx="1240">
                  <c:v>376672</c:v>
                </c:pt>
                <c:pt idx="1241">
                  <c:v>376669</c:v>
                </c:pt>
                <c:pt idx="1242">
                  <c:v>376644</c:v>
                </c:pt>
                <c:pt idx="1243">
                  <c:v>376644</c:v>
                </c:pt>
                <c:pt idx="1244">
                  <c:v>376615</c:v>
                </c:pt>
                <c:pt idx="1245">
                  <c:v>376613</c:v>
                </c:pt>
                <c:pt idx="1246">
                  <c:v>376602</c:v>
                </c:pt>
                <c:pt idx="1247">
                  <c:v>376578</c:v>
                </c:pt>
                <c:pt idx="1248">
                  <c:v>376564</c:v>
                </c:pt>
                <c:pt idx="1249">
                  <c:v>376521</c:v>
                </c:pt>
                <c:pt idx="1250">
                  <c:v>376511</c:v>
                </c:pt>
                <c:pt idx="1251">
                  <c:v>376505</c:v>
                </c:pt>
                <c:pt idx="1252">
                  <c:v>376475</c:v>
                </c:pt>
                <c:pt idx="1253">
                  <c:v>376470</c:v>
                </c:pt>
                <c:pt idx="1254">
                  <c:v>376444</c:v>
                </c:pt>
                <c:pt idx="1255">
                  <c:v>376443</c:v>
                </c:pt>
                <c:pt idx="1256">
                  <c:v>376382</c:v>
                </c:pt>
                <c:pt idx="1257">
                  <c:v>376373</c:v>
                </c:pt>
                <c:pt idx="1258">
                  <c:v>376360</c:v>
                </c:pt>
                <c:pt idx="1259">
                  <c:v>376288</c:v>
                </c:pt>
                <c:pt idx="1260">
                  <c:v>376285</c:v>
                </c:pt>
                <c:pt idx="1261">
                  <c:v>376272</c:v>
                </c:pt>
                <c:pt idx="1262">
                  <c:v>376264</c:v>
                </c:pt>
                <c:pt idx="1263">
                  <c:v>376258</c:v>
                </c:pt>
                <c:pt idx="1264">
                  <c:v>376219</c:v>
                </c:pt>
                <c:pt idx="1265">
                  <c:v>376187</c:v>
                </c:pt>
                <c:pt idx="1266">
                  <c:v>376177</c:v>
                </c:pt>
                <c:pt idx="1267">
                  <c:v>376153</c:v>
                </c:pt>
                <c:pt idx="1268">
                  <c:v>376101</c:v>
                </c:pt>
                <c:pt idx="1269">
                  <c:v>376091</c:v>
                </c:pt>
                <c:pt idx="1270">
                  <c:v>376090</c:v>
                </c:pt>
                <c:pt idx="1271">
                  <c:v>376086</c:v>
                </c:pt>
                <c:pt idx="1272">
                  <c:v>376021</c:v>
                </c:pt>
                <c:pt idx="1273">
                  <c:v>376000</c:v>
                </c:pt>
                <c:pt idx="1274">
                  <c:v>375980</c:v>
                </c:pt>
                <c:pt idx="1275">
                  <c:v>375904</c:v>
                </c:pt>
                <c:pt idx="1276">
                  <c:v>375894</c:v>
                </c:pt>
                <c:pt idx="1277">
                  <c:v>375851</c:v>
                </c:pt>
                <c:pt idx="1278">
                  <c:v>375819</c:v>
                </c:pt>
                <c:pt idx="1279">
                  <c:v>375816</c:v>
                </c:pt>
                <c:pt idx="1280">
                  <c:v>375804</c:v>
                </c:pt>
                <c:pt idx="1281">
                  <c:v>375799</c:v>
                </c:pt>
                <c:pt idx="1282">
                  <c:v>375788</c:v>
                </c:pt>
                <c:pt idx="1283">
                  <c:v>375769</c:v>
                </c:pt>
                <c:pt idx="1284">
                  <c:v>375768</c:v>
                </c:pt>
                <c:pt idx="1285">
                  <c:v>375741</c:v>
                </c:pt>
                <c:pt idx="1286">
                  <c:v>375721</c:v>
                </c:pt>
                <c:pt idx="1287">
                  <c:v>375692</c:v>
                </c:pt>
                <c:pt idx="1288">
                  <c:v>375670</c:v>
                </c:pt>
                <c:pt idx="1289">
                  <c:v>375656</c:v>
                </c:pt>
                <c:pt idx="1290">
                  <c:v>375632</c:v>
                </c:pt>
                <c:pt idx="1291">
                  <c:v>375588</c:v>
                </c:pt>
                <c:pt idx="1292">
                  <c:v>375577</c:v>
                </c:pt>
                <c:pt idx="1293">
                  <c:v>375571</c:v>
                </c:pt>
                <c:pt idx="1294">
                  <c:v>375528</c:v>
                </c:pt>
                <c:pt idx="1295">
                  <c:v>375519</c:v>
                </c:pt>
                <c:pt idx="1296">
                  <c:v>375517</c:v>
                </c:pt>
                <c:pt idx="1297">
                  <c:v>375517</c:v>
                </c:pt>
                <c:pt idx="1298">
                  <c:v>375502</c:v>
                </c:pt>
                <c:pt idx="1299">
                  <c:v>375454</c:v>
                </c:pt>
                <c:pt idx="1300">
                  <c:v>375448</c:v>
                </c:pt>
                <c:pt idx="1301">
                  <c:v>375403</c:v>
                </c:pt>
                <c:pt idx="1302">
                  <c:v>375395</c:v>
                </c:pt>
                <c:pt idx="1303">
                  <c:v>375380</c:v>
                </c:pt>
                <c:pt idx="1304">
                  <c:v>375363</c:v>
                </c:pt>
                <c:pt idx="1305">
                  <c:v>375256</c:v>
                </c:pt>
                <c:pt idx="1306">
                  <c:v>375161</c:v>
                </c:pt>
                <c:pt idx="1307">
                  <c:v>375158</c:v>
                </c:pt>
                <c:pt idx="1308">
                  <c:v>375151</c:v>
                </c:pt>
                <c:pt idx="1309">
                  <c:v>375124</c:v>
                </c:pt>
                <c:pt idx="1310">
                  <c:v>375038</c:v>
                </c:pt>
                <c:pt idx="1311">
                  <c:v>375033</c:v>
                </c:pt>
                <c:pt idx="1312">
                  <c:v>375020</c:v>
                </c:pt>
                <c:pt idx="1313">
                  <c:v>375005</c:v>
                </c:pt>
                <c:pt idx="1314">
                  <c:v>374972</c:v>
                </c:pt>
                <c:pt idx="1315">
                  <c:v>374921</c:v>
                </c:pt>
                <c:pt idx="1316">
                  <c:v>374917</c:v>
                </c:pt>
                <c:pt idx="1317">
                  <c:v>374901</c:v>
                </c:pt>
                <c:pt idx="1318">
                  <c:v>374875</c:v>
                </c:pt>
                <c:pt idx="1319">
                  <c:v>374874</c:v>
                </c:pt>
                <c:pt idx="1320">
                  <c:v>374840</c:v>
                </c:pt>
                <c:pt idx="1321">
                  <c:v>374791</c:v>
                </c:pt>
                <c:pt idx="1322">
                  <c:v>374760</c:v>
                </c:pt>
                <c:pt idx="1323">
                  <c:v>374729</c:v>
                </c:pt>
                <c:pt idx="1324">
                  <c:v>374714</c:v>
                </c:pt>
                <c:pt idx="1325">
                  <c:v>374653</c:v>
                </c:pt>
                <c:pt idx="1326">
                  <c:v>374601</c:v>
                </c:pt>
                <c:pt idx="1327">
                  <c:v>374544</c:v>
                </c:pt>
                <c:pt idx="1328">
                  <c:v>374511</c:v>
                </c:pt>
                <c:pt idx="1329">
                  <c:v>374449</c:v>
                </c:pt>
                <c:pt idx="1330">
                  <c:v>374444</c:v>
                </c:pt>
                <c:pt idx="1331">
                  <c:v>374424</c:v>
                </c:pt>
                <c:pt idx="1332">
                  <c:v>374401</c:v>
                </c:pt>
                <c:pt idx="1333">
                  <c:v>374383</c:v>
                </c:pt>
                <c:pt idx="1334">
                  <c:v>374376</c:v>
                </c:pt>
                <c:pt idx="1335">
                  <c:v>374376</c:v>
                </c:pt>
                <c:pt idx="1336">
                  <c:v>374341</c:v>
                </c:pt>
                <c:pt idx="1337">
                  <c:v>374339</c:v>
                </c:pt>
                <c:pt idx="1338">
                  <c:v>374338</c:v>
                </c:pt>
                <c:pt idx="1339">
                  <c:v>374279</c:v>
                </c:pt>
                <c:pt idx="1340">
                  <c:v>374253</c:v>
                </c:pt>
                <c:pt idx="1341">
                  <c:v>374218</c:v>
                </c:pt>
                <c:pt idx="1342">
                  <c:v>374189</c:v>
                </c:pt>
                <c:pt idx="1343">
                  <c:v>374157</c:v>
                </c:pt>
                <c:pt idx="1344">
                  <c:v>374154</c:v>
                </c:pt>
                <c:pt idx="1345">
                  <c:v>374150</c:v>
                </c:pt>
                <c:pt idx="1346">
                  <c:v>374146</c:v>
                </c:pt>
                <c:pt idx="1347">
                  <c:v>374142</c:v>
                </c:pt>
                <c:pt idx="1348">
                  <c:v>374126</c:v>
                </c:pt>
                <c:pt idx="1349">
                  <c:v>374049</c:v>
                </c:pt>
                <c:pt idx="1350">
                  <c:v>374032</c:v>
                </c:pt>
                <c:pt idx="1351">
                  <c:v>374026</c:v>
                </c:pt>
                <c:pt idx="1352">
                  <c:v>374014</c:v>
                </c:pt>
                <c:pt idx="1353">
                  <c:v>374003</c:v>
                </c:pt>
                <c:pt idx="1354">
                  <c:v>373970</c:v>
                </c:pt>
                <c:pt idx="1355">
                  <c:v>373958</c:v>
                </c:pt>
                <c:pt idx="1356">
                  <c:v>373913</c:v>
                </c:pt>
                <c:pt idx="1357">
                  <c:v>373865</c:v>
                </c:pt>
                <c:pt idx="1358">
                  <c:v>373824</c:v>
                </c:pt>
                <c:pt idx="1359">
                  <c:v>373811</c:v>
                </c:pt>
                <c:pt idx="1360">
                  <c:v>373769</c:v>
                </c:pt>
                <c:pt idx="1361">
                  <c:v>373761</c:v>
                </c:pt>
                <c:pt idx="1362">
                  <c:v>373750</c:v>
                </c:pt>
                <c:pt idx="1363">
                  <c:v>373744</c:v>
                </c:pt>
                <c:pt idx="1364">
                  <c:v>373738</c:v>
                </c:pt>
                <c:pt idx="1365">
                  <c:v>373731</c:v>
                </c:pt>
                <c:pt idx="1366">
                  <c:v>373696</c:v>
                </c:pt>
                <c:pt idx="1367">
                  <c:v>373691</c:v>
                </c:pt>
                <c:pt idx="1368">
                  <c:v>373683</c:v>
                </c:pt>
                <c:pt idx="1369">
                  <c:v>373682</c:v>
                </c:pt>
                <c:pt idx="1370">
                  <c:v>373664</c:v>
                </c:pt>
                <c:pt idx="1371">
                  <c:v>373657</c:v>
                </c:pt>
                <c:pt idx="1372">
                  <c:v>373600</c:v>
                </c:pt>
                <c:pt idx="1373">
                  <c:v>373555</c:v>
                </c:pt>
                <c:pt idx="1374">
                  <c:v>373549</c:v>
                </c:pt>
                <c:pt idx="1375">
                  <c:v>373537</c:v>
                </c:pt>
                <c:pt idx="1376">
                  <c:v>373512</c:v>
                </c:pt>
                <c:pt idx="1377">
                  <c:v>373501</c:v>
                </c:pt>
                <c:pt idx="1378">
                  <c:v>373476</c:v>
                </c:pt>
                <c:pt idx="1379">
                  <c:v>373443</c:v>
                </c:pt>
                <c:pt idx="1380">
                  <c:v>373431</c:v>
                </c:pt>
                <c:pt idx="1381">
                  <c:v>373407</c:v>
                </c:pt>
                <c:pt idx="1382">
                  <c:v>373365</c:v>
                </c:pt>
                <c:pt idx="1383">
                  <c:v>373327</c:v>
                </c:pt>
                <c:pt idx="1384">
                  <c:v>373320</c:v>
                </c:pt>
                <c:pt idx="1385">
                  <c:v>373306</c:v>
                </c:pt>
                <c:pt idx="1386">
                  <c:v>373279</c:v>
                </c:pt>
                <c:pt idx="1387">
                  <c:v>373249</c:v>
                </c:pt>
                <c:pt idx="1388">
                  <c:v>373234</c:v>
                </c:pt>
                <c:pt idx="1389">
                  <c:v>373215</c:v>
                </c:pt>
                <c:pt idx="1390">
                  <c:v>373193</c:v>
                </c:pt>
                <c:pt idx="1391">
                  <c:v>373190</c:v>
                </c:pt>
                <c:pt idx="1392">
                  <c:v>373181</c:v>
                </c:pt>
                <c:pt idx="1393">
                  <c:v>373180</c:v>
                </c:pt>
                <c:pt idx="1394">
                  <c:v>373116</c:v>
                </c:pt>
                <c:pt idx="1395">
                  <c:v>373082</c:v>
                </c:pt>
                <c:pt idx="1396">
                  <c:v>373071</c:v>
                </c:pt>
                <c:pt idx="1397">
                  <c:v>373057</c:v>
                </c:pt>
                <c:pt idx="1398">
                  <c:v>373032</c:v>
                </c:pt>
                <c:pt idx="1399">
                  <c:v>373026</c:v>
                </c:pt>
                <c:pt idx="1400">
                  <c:v>372919</c:v>
                </c:pt>
                <c:pt idx="1401">
                  <c:v>372896</c:v>
                </c:pt>
                <c:pt idx="1402">
                  <c:v>372874</c:v>
                </c:pt>
                <c:pt idx="1403">
                  <c:v>372871</c:v>
                </c:pt>
                <c:pt idx="1404">
                  <c:v>372866</c:v>
                </c:pt>
                <c:pt idx="1405">
                  <c:v>372859</c:v>
                </c:pt>
                <c:pt idx="1406">
                  <c:v>372849</c:v>
                </c:pt>
                <c:pt idx="1407">
                  <c:v>372836</c:v>
                </c:pt>
                <c:pt idx="1408">
                  <c:v>372824</c:v>
                </c:pt>
                <c:pt idx="1409">
                  <c:v>372817</c:v>
                </c:pt>
                <c:pt idx="1410">
                  <c:v>372805</c:v>
                </c:pt>
                <c:pt idx="1411">
                  <c:v>372763</c:v>
                </c:pt>
                <c:pt idx="1412">
                  <c:v>372747</c:v>
                </c:pt>
                <c:pt idx="1413">
                  <c:v>372743</c:v>
                </c:pt>
                <c:pt idx="1414">
                  <c:v>372714</c:v>
                </c:pt>
                <c:pt idx="1415">
                  <c:v>372691</c:v>
                </c:pt>
                <c:pt idx="1416">
                  <c:v>372636</c:v>
                </c:pt>
                <c:pt idx="1417">
                  <c:v>372626</c:v>
                </c:pt>
                <c:pt idx="1418">
                  <c:v>372623</c:v>
                </c:pt>
                <c:pt idx="1419">
                  <c:v>372616</c:v>
                </c:pt>
                <c:pt idx="1420">
                  <c:v>372579</c:v>
                </c:pt>
                <c:pt idx="1421">
                  <c:v>372558</c:v>
                </c:pt>
                <c:pt idx="1422">
                  <c:v>372545</c:v>
                </c:pt>
                <c:pt idx="1423">
                  <c:v>372544</c:v>
                </c:pt>
                <c:pt idx="1424">
                  <c:v>372527</c:v>
                </c:pt>
                <c:pt idx="1425">
                  <c:v>372520</c:v>
                </c:pt>
                <c:pt idx="1426">
                  <c:v>372513</c:v>
                </c:pt>
                <c:pt idx="1427">
                  <c:v>372499</c:v>
                </c:pt>
                <c:pt idx="1428">
                  <c:v>372465</c:v>
                </c:pt>
                <c:pt idx="1429">
                  <c:v>372463</c:v>
                </c:pt>
                <c:pt idx="1430">
                  <c:v>372456</c:v>
                </c:pt>
                <c:pt idx="1431">
                  <c:v>372454</c:v>
                </c:pt>
                <c:pt idx="1432">
                  <c:v>372433</c:v>
                </c:pt>
                <c:pt idx="1433">
                  <c:v>372424</c:v>
                </c:pt>
                <c:pt idx="1434">
                  <c:v>372417</c:v>
                </c:pt>
                <c:pt idx="1435">
                  <c:v>372402</c:v>
                </c:pt>
                <c:pt idx="1436">
                  <c:v>372373</c:v>
                </c:pt>
                <c:pt idx="1437">
                  <c:v>372334</c:v>
                </c:pt>
                <c:pt idx="1438">
                  <c:v>372333</c:v>
                </c:pt>
                <c:pt idx="1439">
                  <c:v>372302</c:v>
                </c:pt>
                <c:pt idx="1440">
                  <c:v>372257</c:v>
                </c:pt>
                <c:pt idx="1441">
                  <c:v>372241</c:v>
                </c:pt>
                <c:pt idx="1442">
                  <c:v>372231</c:v>
                </c:pt>
                <c:pt idx="1443">
                  <c:v>372214</c:v>
                </c:pt>
                <c:pt idx="1444">
                  <c:v>372163</c:v>
                </c:pt>
                <c:pt idx="1445">
                  <c:v>372153</c:v>
                </c:pt>
                <c:pt idx="1446">
                  <c:v>372149</c:v>
                </c:pt>
                <c:pt idx="1447">
                  <c:v>372144</c:v>
                </c:pt>
                <c:pt idx="1448">
                  <c:v>372116</c:v>
                </c:pt>
                <c:pt idx="1449">
                  <c:v>372099</c:v>
                </c:pt>
                <c:pt idx="1450">
                  <c:v>372054</c:v>
                </c:pt>
                <c:pt idx="1451">
                  <c:v>372017</c:v>
                </c:pt>
                <c:pt idx="1452">
                  <c:v>371999</c:v>
                </c:pt>
                <c:pt idx="1453">
                  <c:v>371996</c:v>
                </c:pt>
                <c:pt idx="1454">
                  <c:v>371982</c:v>
                </c:pt>
                <c:pt idx="1455">
                  <c:v>371966</c:v>
                </c:pt>
                <c:pt idx="1456">
                  <c:v>371909</c:v>
                </c:pt>
                <c:pt idx="1457">
                  <c:v>371856</c:v>
                </c:pt>
                <c:pt idx="1458">
                  <c:v>371813</c:v>
                </c:pt>
                <c:pt idx="1459">
                  <c:v>371799</c:v>
                </c:pt>
                <c:pt idx="1460">
                  <c:v>371787</c:v>
                </c:pt>
                <c:pt idx="1461">
                  <c:v>371751</c:v>
                </c:pt>
                <c:pt idx="1462">
                  <c:v>371730</c:v>
                </c:pt>
                <c:pt idx="1463">
                  <c:v>371715</c:v>
                </c:pt>
                <c:pt idx="1464">
                  <c:v>371688</c:v>
                </c:pt>
                <c:pt idx="1465">
                  <c:v>371683</c:v>
                </c:pt>
                <c:pt idx="1466">
                  <c:v>371676</c:v>
                </c:pt>
                <c:pt idx="1467">
                  <c:v>371670</c:v>
                </c:pt>
                <c:pt idx="1468">
                  <c:v>371659</c:v>
                </c:pt>
                <c:pt idx="1469">
                  <c:v>371631</c:v>
                </c:pt>
                <c:pt idx="1470">
                  <c:v>371612</c:v>
                </c:pt>
                <c:pt idx="1471">
                  <c:v>371611</c:v>
                </c:pt>
                <c:pt idx="1472">
                  <c:v>371606</c:v>
                </c:pt>
                <c:pt idx="1473">
                  <c:v>371606</c:v>
                </c:pt>
                <c:pt idx="1474">
                  <c:v>371568</c:v>
                </c:pt>
                <c:pt idx="1475">
                  <c:v>371558</c:v>
                </c:pt>
                <c:pt idx="1476">
                  <c:v>371522</c:v>
                </c:pt>
                <c:pt idx="1477">
                  <c:v>371514</c:v>
                </c:pt>
                <c:pt idx="1478">
                  <c:v>371511</c:v>
                </c:pt>
                <c:pt idx="1479">
                  <c:v>371503</c:v>
                </c:pt>
                <c:pt idx="1480">
                  <c:v>371493</c:v>
                </c:pt>
                <c:pt idx="1481">
                  <c:v>371477</c:v>
                </c:pt>
                <c:pt idx="1482">
                  <c:v>371476</c:v>
                </c:pt>
                <c:pt idx="1483">
                  <c:v>371472</c:v>
                </c:pt>
                <c:pt idx="1484">
                  <c:v>371468</c:v>
                </c:pt>
                <c:pt idx="1485">
                  <c:v>371461</c:v>
                </c:pt>
                <c:pt idx="1486">
                  <c:v>371437</c:v>
                </c:pt>
                <c:pt idx="1487">
                  <c:v>371434</c:v>
                </c:pt>
                <c:pt idx="1488">
                  <c:v>371424</c:v>
                </c:pt>
                <c:pt idx="1489">
                  <c:v>371380</c:v>
                </c:pt>
                <c:pt idx="1490">
                  <c:v>371351</c:v>
                </c:pt>
                <c:pt idx="1491">
                  <c:v>371350</c:v>
                </c:pt>
                <c:pt idx="1492">
                  <c:v>371337</c:v>
                </c:pt>
                <c:pt idx="1493">
                  <c:v>371323</c:v>
                </c:pt>
                <c:pt idx="1494">
                  <c:v>371309</c:v>
                </c:pt>
                <c:pt idx="1495">
                  <c:v>371303</c:v>
                </c:pt>
                <c:pt idx="1496">
                  <c:v>371293</c:v>
                </c:pt>
                <c:pt idx="1497">
                  <c:v>371288</c:v>
                </c:pt>
                <c:pt idx="1498">
                  <c:v>371278</c:v>
                </c:pt>
                <c:pt idx="1499">
                  <c:v>371277</c:v>
                </c:pt>
                <c:pt idx="1500">
                  <c:v>371252</c:v>
                </c:pt>
                <c:pt idx="1501">
                  <c:v>371189</c:v>
                </c:pt>
                <c:pt idx="1502">
                  <c:v>371182</c:v>
                </c:pt>
                <c:pt idx="1503">
                  <c:v>371181</c:v>
                </c:pt>
                <c:pt idx="1504">
                  <c:v>371171</c:v>
                </c:pt>
                <c:pt idx="1505">
                  <c:v>371165</c:v>
                </c:pt>
                <c:pt idx="1506">
                  <c:v>371163</c:v>
                </c:pt>
                <c:pt idx="1507">
                  <c:v>371140</c:v>
                </c:pt>
                <c:pt idx="1508">
                  <c:v>371107</c:v>
                </c:pt>
                <c:pt idx="1509">
                  <c:v>371066</c:v>
                </c:pt>
                <c:pt idx="1510">
                  <c:v>371064</c:v>
                </c:pt>
                <c:pt idx="1511">
                  <c:v>371048</c:v>
                </c:pt>
                <c:pt idx="1512">
                  <c:v>371029</c:v>
                </c:pt>
                <c:pt idx="1513">
                  <c:v>370999</c:v>
                </c:pt>
                <c:pt idx="1514">
                  <c:v>370969</c:v>
                </c:pt>
                <c:pt idx="1515">
                  <c:v>370959</c:v>
                </c:pt>
                <c:pt idx="1516">
                  <c:v>370948</c:v>
                </c:pt>
                <c:pt idx="1517">
                  <c:v>370927</c:v>
                </c:pt>
                <c:pt idx="1518">
                  <c:v>370926</c:v>
                </c:pt>
                <c:pt idx="1519">
                  <c:v>370920</c:v>
                </c:pt>
                <c:pt idx="1520">
                  <c:v>370909</c:v>
                </c:pt>
                <c:pt idx="1521">
                  <c:v>370883</c:v>
                </c:pt>
                <c:pt idx="1522">
                  <c:v>370882</c:v>
                </c:pt>
                <c:pt idx="1523">
                  <c:v>370881</c:v>
                </c:pt>
                <c:pt idx="1524">
                  <c:v>370876</c:v>
                </c:pt>
                <c:pt idx="1525">
                  <c:v>370860</c:v>
                </c:pt>
                <c:pt idx="1526">
                  <c:v>370855</c:v>
                </c:pt>
                <c:pt idx="1527">
                  <c:v>370848</c:v>
                </c:pt>
                <c:pt idx="1528">
                  <c:v>370841</c:v>
                </c:pt>
                <c:pt idx="1529">
                  <c:v>370830</c:v>
                </c:pt>
                <c:pt idx="1530">
                  <c:v>370829</c:v>
                </c:pt>
                <c:pt idx="1531">
                  <c:v>370773</c:v>
                </c:pt>
                <c:pt idx="1532">
                  <c:v>370770</c:v>
                </c:pt>
                <c:pt idx="1533">
                  <c:v>370770</c:v>
                </c:pt>
                <c:pt idx="1534">
                  <c:v>370747</c:v>
                </c:pt>
                <c:pt idx="1535">
                  <c:v>370746</c:v>
                </c:pt>
                <c:pt idx="1536">
                  <c:v>370743</c:v>
                </c:pt>
                <c:pt idx="1537">
                  <c:v>370737</c:v>
                </c:pt>
                <c:pt idx="1538">
                  <c:v>370729</c:v>
                </c:pt>
                <c:pt idx="1539">
                  <c:v>370636</c:v>
                </c:pt>
                <c:pt idx="1540">
                  <c:v>370599</c:v>
                </c:pt>
                <c:pt idx="1541">
                  <c:v>370586</c:v>
                </c:pt>
                <c:pt idx="1542">
                  <c:v>370584</c:v>
                </c:pt>
                <c:pt idx="1543">
                  <c:v>370566</c:v>
                </c:pt>
                <c:pt idx="1544">
                  <c:v>370547</c:v>
                </c:pt>
                <c:pt idx="1545">
                  <c:v>370518</c:v>
                </c:pt>
                <c:pt idx="1546">
                  <c:v>370497</c:v>
                </c:pt>
                <c:pt idx="1547">
                  <c:v>370473</c:v>
                </c:pt>
                <c:pt idx="1548">
                  <c:v>370468</c:v>
                </c:pt>
                <c:pt idx="1549">
                  <c:v>370452</c:v>
                </c:pt>
                <c:pt idx="1550">
                  <c:v>370442</c:v>
                </c:pt>
                <c:pt idx="1551">
                  <c:v>370429</c:v>
                </c:pt>
                <c:pt idx="1552">
                  <c:v>370428</c:v>
                </c:pt>
                <c:pt idx="1553">
                  <c:v>370419</c:v>
                </c:pt>
                <c:pt idx="1554">
                  <c:v>370393</c:v>
                </c:pt>
                <c:pt idx="1555">
                  <c:v>370385</c:v>
                </c:pt>
                <c:pt idx="1556">
                  <c:v>370365</c:v>
                </c:pt>
                <c:pt idx="1557">
                  <c:v>370355</c:v>
                </c:pt>
                <c:pt idx="1558">
                  <c:v>370351</c:v>
                </c:pt>
                <c:pt idx="1559">
                  <c:v>370330</c:v>
                </c:pt>
                <c:pt idx="1560">
                  <c:v>370330</c:v>
                </c:pt>
                <c:pt idx="1561">
                  <c:v>370305</c:v>
                </c:pt>
                <c:pt idx="1562">
                  <c:v>370301</c:v>
                </c:pt>
                <c:pt idx="1563">
                  <c:v>370290</c:v>
                </c:pt>
                <c:pt idx="1564">
                  <c:v>370275</c:v>
                </c:pt>
                <c:pt idx="1565">
                  <c:v>370269</c:v>
                </c:pt>
                <c:pt idx="1566">
                  <c:v>370252</c:v>
                </c:pt>
                <c:pt idx="1567">
                  <c:v>370249</c:v>
                </c:pt>
                <c:pt idx="1568">
                  <c:v>370229</c:v>
                </c:pt>
                <c:pt idx="1569">
                  <c:v>370196</c:v>
                </c:pt>
                <c:pt idx="1570">
                  <c:v>370191</c:v>
                </c:pt>
                <c:pt idx="1571">
                  <c:v>370144</c:v>
                </c:pt>
                <c:pt idx="1572">
                  <c:v>370122</c:v>
                </c:pt>
                <c:pt idx="1573">
                  <c:v>370100</c:v>
                </c:pt>
                <c:pt idx="1574">
                  <c:v>370064</c:v>
                </c:pt>
                <c:pt idx="1575">
                  <c:v>370059</c:v>
                </c:pt>
                <c:pt idx="1576">
                  <c:v>370041</c:v>
                </c:pt>
                <c:pt idx="1577">
                  <c:v>370041</c:v>
                </c:pt>
                <c:pt idx="1578">
                  <c:v>369989</c:v>
                </c:pt>
                <c:pt idx="1579">
                  <c:v>369947</c:v>
                </c:pt>
                <c:pt idx="1580">
                  <c:v>369901</c:v>
                </c:pt>
                <c:pt idx="1581">
                  <c:v>369805</c:v>
                </c:pt>
                <c:pt idx="1582">
                  <c:v>369770</c:v>
                </c:pt>
                <c:pt idx="1583">
                  <c:v>369727</c:v>
                </c:pt>
                <c:pt idx="1584">
                  <c:v>369726</c:v>
                </c:pt>
                <c:pt idx="1585">
                  <c:v>369708</c:v>
                </c:pt>
                <c:pt idx="1586">
                  <c:v>369706</c:v>
                </c:pt>
                <c:pt idx="1587">
                  <c:v>369683</c:v>
                </c:pt>
                <c:pt idx="1588">
                  <c:v>369681</c:v>
                </c:pt>
                <c:pt idx="1589">
                  <c:v>369666</c:v>
                </c:pt>
                <c:pt idx="1590">
                  <c:v>369648</c:v>
                </c:pt>
                <c:pt idx="1591">
                  <c:v>369635</c:v>
                </c:pt>
                <c:pt idx="1592">
                  <c:v>369592</c:v>
                </c:pt>
                <c:pt idx="1593">
                  <c:v>369587</c:v>
                </c:pt>
                <c:pt idx="1594">
                  <c:v>369554</c:v>
                </c:pt>
                <c:pt idx="1595">
                  <c:v>369541</c:v>
                </c:pt>
                <c:pt idx="1596">
                  <c:v>369522</c:v>
                </c:pt>
                <c:pt idx="1597">
                  <c:v>369492</c:v>
                </c:pt>
                <c:pt idx="1598">
                  <c:v>369436</c:v>
                </c:pt>
                <c:pt idx="1599">
                  <c:v>369432</c:v>
                </c:pt>
                <c:pt idx="1600">
                  <c:v>369403</c:v>
                </c:pt>
                <c:pt idx="1601">
                  <c:v>369349</c:v>
                </c:pt>
                <c:pt idx="1602">
                  <c:v>369328</c:v>
                </c:pt>
                <c:pt idx="1603">
                  <c:v>369293</c:v>
                </c:pt>
                <c:pt idx="1604">
                  <c:v>369290</c:v>
                </c:pt>
                <c:pt idx="1605">
                  <c:v>369285</c:v>
                </c:pt>
                <c:pt idx="1606">
                  <c:v>369284</c:v>
                </c:pt>
                <c:pt idx="1607">
                  <c:v>369280</c:v>
                </c:pt>
                <c:pt idx="1608">
                  <c:v>369267</c:v>
                </c:pt>
                <c:pt idx="1609">
                  <c:v>369259</c:v>
                </c:pt>
                <c:pt idx="1610">
                  <c:v>369162</c:v>
                </c:pt>
                <c:pt idx="1611">
                  <c:v>369146</c:v>
                </c:pt>
                <c:pt idx="1612">
                  <c:v>369129</c:v>
                </c:pt>
                <c:pt idx="1613">
                  <c:v>369117</c:v>
                </c:pt>
                <c:pt idx="1614">
                  <c:v>369110</c:v>
                </c:pt>
                <c:pt idx="1615">
                  <c:v>369105</c:v>
                </c:pt>
                <c:pt idx="1616">
                  <c:v>369103</c:v>
                </c:pt>
                <c:pt idx="1617">
                  <c:v>369091</c:v>
                </c:pt>
                <c:pt idx="1618">
                  <c:v>369081</c:v>
                </c:pt>
                <c:pt idx="1619">
                  <c:v>369070</c:v>
                </c:pt>
                <c:pt idx="1620">
                  <c:v>369022</c:v>
                </c:pt>
                <c:pt idx="1621">
                  <c:v>369020</c:v>
                </c:pt>
                <c:pt idx="1622">
                  <c:v>368992</c:v>
                </c:pt>
                <c:pt idx="1623">
                  <c:v>368986</c:v>
                </c:pt>
                <c:pt idx="1624">
                  <c:v>368981</c:v>
                </c:pt>
                <c:pt idx="1625">
                  <c:v>368943</c:v>
                </c:pt>
                <c:pt idx="1626">
                  <c:v>368917</c:v>
                </c:pt>
                <c:pt idx="1627">
                  <c:v>368880</c:v>
                </c:pt>
                <c:pt idx="1628">
                  <c:v>368842</c:v>
                </c:pt>
                <c:pt idx="1629">
                  <c:v>368837</c:v>
                </c:pt>
                <c:pt idx="1630">
                  <c:v>368811</c:v>
                </c:pt>
                <c:pt idx="1631">
                  <c:v>368748</c:v>
                </c:pt>
                <c:pt idx="1632">
                  <c:v>368663</c:v>
                </c:pt>
                <c:pt idx="1633">
                  <c:v>368624</c:v>
                </c:pt>
                <c:pt idx="1634">
                  <c:v>368614</c:v>
                </c:pt>
                <c:pt idx="1635">
                  <c:v>368540</c:v>
                </c:pt>
                <c:pt idx="1636">
                  <c:v>368529</c:v>
                </c:pt>
                <c:pt idx="1637">
                  <c:v>368522</c:v>
                </c:pt>
                <c:pt idx="1638">
                  <c:v>368504</c:v>
                </c:pt>
                <c:pt idx="1639">
                  <c:v>368487</c:v>
                </c:pt>
                <c:pt idx="1640">
                  <c:v>368478</c:v>
                </c:pt>
                <c:pt idx="1641">
                  <c:v>368462</c:v>
                </c:pt>
                <c:pt idx="1642">
                  <c:v>368461</c:v>
                </c:pt>
                <c:pt idx="1643">
                  <c:v>368457</c:v>
                </c:pt>
                <c:pt idx="1644">
                  <c:v>368439</c:v>
                </c:pt>
                <c:pt idx="1645">
                  <c:v>368412</c:v>
                </c:pt>
                <c:pt idx="1646">
                  <c:v>368348</c:v>
                </c:pt>
                <c:pt idx="1647">
                  <c:v>368341</c:v>
                </c:pt>
                <c:pt idx="1648">
                  <c:v>368341</c:v>
                </c:pt>
                <c:pt idx="1649">
                  <c:v>368304</c:v>
                </c:pt>
                <c:pt idx="1650">
                  <c:v>368238</c:v>
                </c:pt>
                <c:pt idx="1651">
                  <c:v>368218</c:v>
                </c:pt>
                <c:pt idx="1652">
                  <c:v>368199</c:v>
                </c:pt>
                <c:pt idx="1653">
                  <c:v>368125</c:v>
                </c:pt>
                <c:pt idx="1654">
                  <c:v>368125</c:v>
                </c:pt>
                <c:pt idx="1655">
                  <c:v>368114</c:v>
                </c:pt>
                <c:pt idx="1656">
                  <c:v>368109</c:v>
                </c:pt>
                <c:pt idx="1657">
                  <c:v>368071</c:v>
                </c:pt>
                <c:pt idx="1658">
                  <c:v>368045</c:v>
                </c:pt>
                <c:pt idx="1659">
                  <c:v>368020</c:v>
                </c:pt>
                <c:pt idx="1660">
                  <c:v>367989</c:v>
                </c:pt>
                <c:pt idx="1661">
                  <c:v>367983</c:v>
                </c:pt>
                <c:pt idx="1662">
                  <c:v>367972</c:v>
                </c:pt>
                <c:pt idx="1663">
                  <c:v>367955</c:v>
                </c:pt>
                <c:pt idx="1664">
                  <c:v>367954</c:v>
                </c:pt>
                <c:pt idx="1665">
                  <c:v>367949</c:v>
                </c:pt>
                <c:pt idx="1666">
                  <c:v>367883</c:v>
                </c:pt>
                <c:pt idx="1667">
                  <c:v>367859</c:v>
                </c:pt>
                <c:pt idx="1668">
                  <c:v>367845</c:v>
                </c:pt>
                <c:pt idx="1669">
                  <c:v>367819</c:v>
                </c:pt>
                <c:pt idx="1670">
                  <c:v>367794</c:v>
                </c:pt>
                <c:pt idx="1671">
                  <c:v>367791</c:v>
                </c:pt>
                <c:pt idx="1672">
                  <c:v>367789</c:v>
                </c:pt>
                <c:pt idx="1673">
                  <c:v>367724</c:v>
                </c:pt>
                <c:pt idx="1674">
                  <c:v>367710</c:v>
                </c:pt>
                <c:pt idx="1675">
                  <c:v>367696</c:v>
                </c:pt>
                <c:pt idx="1676">
                  <c:v>367546</c:v>
                </c:pt>
                <c:pt idx="1677">
                  <c:v>367523</c:v>
                </c:pt>
                <c:pt idx="1678">
                  <c:v>367511</c:v>
                </c:pt>
                <c:pt idx="1679">
                  <c:v>367503</c:v>
                </c:pt>
                <c:pt idx="1680">
                  <c:v>367440</c:v>
                </c:pt>
                <c:pt idx="1681">
                  <c:v>367435</c:v>
                </c:pt>
                <c:pt idx="1682">
                  <c:v>367428</c:v>
                </c:pt>
                <c:pt idx="1683">
                  <c:v>367407</c:v>
                </c:pt>
                <c:pt idx="1684">
                  <c:v>367397</c:v>
                </c:pt>
                <c:pt idx="1685">
                  <c:v>367395</c:v>
                </c:pt>
                <c:pt idx="1686">
                  <c:v>367391</c:v>
                </c:pt>
                <c:pt idx="1687">
                  <c:v>367373</c:v>
                </c:pt>
                <c:pt idx="1688">
                  <c:v>367370</c:v>
                </c:pt>
                <c:pt idx="1689">
                  <c:v>367343</c:v>
                </c:pt>
                <c:pt idx="1690">
                  <c:v>367343</c:v>
                </c:pt>
                <c:pt idx="1691">
                  <c:v>367338</c:v>
                </c:pt>
                <c:pt idx="1692">
                  <c:v>367327</c:v>
                </c:pt>
                <c:pt idx="1693">
                  <c:v>367298</c:v>
                </c:pt>
                <c:pt idx="1694">
                  <c:v>367285</c:v>
                </c:pt>
                <c:pt idx="1695">
                  <c:v>367235</c:v>
                </c:pt>
                <c:pt idx="1696">
                  <c:v>367223</c:v>
                </c:pt>
                <c:pt idx="1697">
                  <c:v>367217</c:v>
                </c:pt>
                <c:pt idx="1698">
                  <c:v>367206</c:v>
                </c:pt>
                <c:pt idx="1699">
                  <c:v>367154</c:v>
                </c:pt>
                <c:pt idx="1700">
                  <c:v>366987</c:v>
                </c:pt>
                <c:pt idx="1701">
                  <c:v>366985</c:v>
                </c:pt>
                <c:pt idx="1702">
                  <c:v>366967</c:v>
                </c:pt>
                <c:pt idx="1703">
                  <c:v>366961</c:v>
                </c:pt>
                <c:pt idx="1704">
                  <c:v>366955</c:v>
                </c:pt>
                <c:pt idx="1705">
                  <c:v>366924</c:v>
                </c:pt>
                <c:pt idx="1706">
                  <c:v>366923</c:v>
                </c:pt>
                <c:pt idx="1707">
                  <c:v>366911</c:v>
                </c:pt>
                <c:pt idx="1708">
                  <c:v>366907</c:v>
                </c:pt>
                <c:pt idx="1709">
                  <c:v>366906</c:v>
                </c:pt>
                <c:pt idx="1710">
                  <c:v>366882</c:v>
                </c:pt>
                <c:pt idx="1711">
                  <c:v>366868</c:v>
                </c:pt>
                <c:pt idx="1712">
                  <c:v>366857</c:v>
                </c:pt>
                <c:pt idx="1713">
                  <c:v>366812</c:v>
                </c:pt>
                <c:pt idx="1714">
                  <c:v>366799</c:v>
                </c:pt>
                <c:pt idx="1715">
                  <c:v>366782</c:v>
                </c:pt>
                <c:pt idx="1716">
                  <c:v>366773</c:v>
                </c:pt>
                <c:pt idx="1717">
                  <c:v>366762</c:v>
                </c:pt>
                <c:pt idx="1718">
                  <c:v>366752</c:v>
                </c:pt>
                <c:pt idx="1719">
                  <c:v>366725</c:v>
                </c:pt>
                <c:pt idx="1720">
                  <c:v>366705</c:v>
                </c:pt>
                <c:pt idx="1721">
                  <c:v>366691</c:v>
                </c:pt>
                <c:pt idx="1722">
                  <c:v>366681</c:v>
                </c:pt>
                <c:pt idx="1723">
                  <c:v>366652</c:v>
                </c:pt>
                <c:pt idx="1724">
                  <c:v>366634</c:v>
                </c:pt>
                <c:pt idx="1725">
                  <c:v>366605</c:v>
                </c:pt>
                <c:pt idx="1726">
                  <c:v>366589</c:v>
                </c:pt>
                <c:pt idx="1727">
                  <c:v>366572</c:v>
                </c:pt>
                <c:pt idx="1728">
                  <c:v>366544</c:v>
                </c:pt>
                <c:pt idx="1729">
                  <c:v>366529</c:v>
                </c:pt>
                <c:pt idx="1730">
                  <c:v>366520</c:v>
                </c:pt>
                <c:pt idx="1731">
                  <c:v>366510</c:v>
                </c:pt>
                <c:pt idx="1732">
                  <c:v>366503</c:v>
                </c:pt>
                <c:pt idx="1733">
                  <c:v>366483</c:v>
                </c:pt>
                <c:pt idx="1734">
                  <c:v>366483</c:v>
                </c:pt>
                <c:pt idx="1735">
                  <c:v>366411</c:v>
                </c:pt>
                <c:pt idx="1736">
                  <c:v>366391</c:v>
                </c:pt>
                <c:pt idx="1737">
                  <c:v>366341</c:v>
                </c:pt>
                <c:pt idx="1738">
                  <c:v>366311</c:v>
                </c:pt>
                <c:pt idx="1739">
                  <c:v>366243</c:v>
                </c:pt>
                <c:pt idx="1740">
                  <c:v>366218</c:v>
                </c:pt>
                <c:pt idx="1741">
                  <c:v>366217</c:v>
                </c:pt>
                <c:pt idx="1742">
                  <c:v>366168</c:v>
                </c:pt>
                <c:pt idx="1743">
                  <c:v>366156</c:v>
                </c:pt>
                <c:pt idx="1744">
                  <c:v>366089</c:v>
                </c:pt>
                <c:pt idx="1745">
                  <c:v>366088</c:v>
                </c:pt>
                <c:pt idx="1746">
                  <c:v>366064</c:v>
                </c:pt>
                <c:pt idx="1747">
                  <c:v>366043</c:v>
                </c:pt>
                <c:pt idx="1748">
                  <c:v>366028</c:v>
                </c:pt>
                <c:pt idx="1749">
                  <c:v>366016</c:v>
                </c:pt>
                <c:pt idx="1750">
                  <c:v>366008</c:v>
                </c:pt>
                <c:pt idx="1751">
                  <c:v>365989</c:v>
                </c:pt>
                <c:pt idx="1752">
                  <c:v>365957</c:v>
                </c:pt>
                <c:pt idx="1753">
                  <c:v>365927</c:v>
                </c:pt>
                <c:pt idx="1754">
                  <c:v>365922</c:v>
                </c:pt>
                <c:pt idx="1755">
                  <c:v>365906</c:v>
                </c:pt>
                <c:pt idx="1756">
                  <c:v>365866</c:v>
                </c:pt>
                <c:pt idx="1757">
                  <c:v>365716</c:v>
                </c:pt>
                <c:pt idx="1758">
                  <c:v>365712</c:v>
                </c:pt>
                <c:pt idx="1759">
                  <c:v>365652</c:v>
                </c:pt>
                <c:pt idx="1760">
                  <c:v>365637</c:v>
                </c:pt>
                <c:pt idx="1761">
                  <c:v>365593</c:v>
                </c:pt>
                <c:pt idx="1762">
                  <c:v>365584</c:v>
                </c:pt>
                <c:pt idx="1763">
                  <c:v>365568</c:v>
                </c:pt>
                <c:pt idx="1764">
                  <c:v>365564</c:v>
                </c:pt>
                <c:pt idx="1765">
                  <c:v>365542</c:v>
                </c:pt>
                <c:pt idx="1766">
                  <c:v>365522</c:v>
                </c:pt>
                <c:pt idx="1767">
                  <c:v>365519</c:v>
                </c:pt>
                <c:pt idx="1768">
                  <c:v>365516</c:v>
                </c:pt>
                <c:pt idx="1769">
                  <c:v>365437</c:v>
                </c:pt>
                <c:pt idx="1770">
                  <c:v>365424</c:v>
                </c:pt>
                <c:pt idx="1771">
                  <c:v>365379</c:v>
                </c:pt>
                <c:pt idx="1772">
                  <c:v>365377</c:v>
                </c:pt>
                <c:pt idx="1773">
                  <c:v>365369</c:v>
                </c:pt>
                <c:pt idx="1774">
                  <c:v>365363</c:v>
                </c:pt>
                <c:pt idx="1775">
                  <c:v>365328</c:v>
                </c:pt>
                <c:pt idx="1776">
                  <c:v>365302</c:v>
                </c:pt>
                <c:pt idx="1777">
                  <c:v>365289</c:v>
                </c:pt>
                <c:pt idx="1778">
                  <c:v>365278</c:v>
                </c:pt>
                <c:pt idx="1779">
                  <c:v>365270</c:v>
                </c:pt>
                <c:pt idx="1780">
                  <c:v>365251</c:v>
                </c:pt>
                <c:pt idx="1781">
                  <c:v>365206</c:v>
                </c:pt>
                <c:pt idx="1782">
                  <c:v>365203</c:v>
                </c:pt>
                <c:pt idx="1783">
                  <c:v>365201</c:v>
                </c:pt>
                <c:pt idx="1784">
                  <c:v>365186</c:v>
                </c:pt>
                <c:pt idx="1785">
                  <c:v>365182</c:v>
                </c:pt>
                <c:pt idx="1786">
                  <c:v>365177</c:v>
                </c:pt>
                <c:pt idx="1787">
                  <c:v>365174</c:v>
                </c:pt>
                <c:pt idx="1788">
                  <c:v>365164</c:v>
                </c:pt>
                <c:pt idx="1789">
                  <c:v>365141</c:v>
                </c:pt>
                <c:pt idx="1790">
                  <c:v>365079</c:v>
                </c:pt>
                <c:pt idx="1791">
                  <c:v>365060</c:v>
                </c:pt>
                <c:pt idx="1792">
                  <c:v>365032</c:v>
                </c:pt>
                <c:pt idx="1793">
                  <c:v>365010</c:v>
                </c:pt>
                <c:pt idx="1794">
                  <c:v>364940</c:v>
                </c:pt>
                <c:pt idx="1795">
                  <c:v>364922</c:v>
                </c:pt>
                <c:pt idx="1796">
                  <c:v>364891</c:v>
                </c:pt>
                <c:pt idx="1797">
                  <c:v>364878</c:v>
                </c:pt>
                <c:pt idx="1798">
                  <c:v>364859</c:v>
                </c:pt>
                <c:pt idx="1799">
                  <c:v>364835</c:v>
                </c:pt>
                <c:pt idx="1800">
                  <c:v>364833</c:v>
                </c:pt>
                <c:pt idx="1801">
                  <c:v>364828</c:v>
                </c:pt>
                <c:pt idx="1802">
                  <c:v>364815</c:v>
                </c:pt>
                <c:pt idx="1803">
                  <c:v>364806</c:v>
                </c:pt>
                <c:pt idx="1804">
                  <c:v>364783</c:v>
                </c:pt>
                <c:pt idx="1805">
                  <c:v>364767</c:v>
                </c:pt>
                <c:pt idx="1806">
                  <c:v>364760</c:v>
                </c:pt>
                <c:pt idx="1807">
                  <c:v>364751</c:v>
                </c:pt>
                <c:pt idx="1808">
                  <c:v>364736</c:v>
                </c:pt>
                <c:pt idx="1809">
                  <c:v>364699</c:v>
                </c:pt>
                <c:pt idx="1810">
                  <c:v>364666</c:v>
                </c:pt>
                <c:pt idx="1811">
                  <c:v>364665</c:v>
                </c:pt>
                <c:pt idx="1812">
                  <c:v>364651</c:v>
                </c:pt>
                <c:pt idx="1813">
                  <c:v>364630</c:v>
                </c:pt>
                <c:pt idx="1814">
                  <c:v>364619</c:v>
                </c:pt>
                <c:pt idx="1815">
                  <c:v>364616</c:v>
                </c:pt>
                <c:pt idx="1816">
                  <c:v>364599</c:v>
                </c:pt>
                <c:pt idx="1817">
                  <c:v>364598</c:v>
                </c:pt>
                <c:pt idx="1818">
                  <c:v>364591</c:v>
                </c:pt>
                <c:pt idx="1819">
                  <c:v>364557</c:v>
                </c:pt>
                <c:pt idx="1820">
                  <c:v>364551</c:v>
                </c:pt>
                <c:pt idx="1821">
                  <c:v>364551</c:v>
                </c:pt>
                <c:pt idx="1822">
                  <c:v>364512</c:v>
                </c:pt>
                <c:pt idx="1823">
                  <c:v>364505</c:v>
                </c:pt>
                <c:pt idx="1824">
                  <c:v>364470</c:v>
                </c:pt>
                <c:pt idx="1825">
                  <c:v>364463</c:v>
                </c:pt>
                <c:pt idx="1826">
                  <c:v>364452</c:v>
                </c:pt>
                <c:pt idx="1827">
                  <c:v>364451</c:v>
                </c:pt>
                <c:pt idx="1828">
                  <c:v>364451</c:v>
                </c:pt>
                <c:pt idx="1829">
                  <c:v>364449</c:v>
                </c:pt>
                <c:pt idx="1830">
                  <c:v>364449</c:v>
                </c:pt>
                <c:pt idx="1831">
                  <c:v>364449</c:v>
                </c:pt>
                <c:pt idx="1832">
                  <c:v>364350</c:v>
                </c:pt>
                <c:pt idx="1833">
                  <c:v>364349</c:v>
                </c:pt>
                <c:pt idx="1834">
                  <c:v>364334</c:v>
                </c:pt>
                <c:pt idx="1835">
                  <c:v>364252</c:v>
                </c:pt>
                <c:pt idx="1836">
                  <c:v>364248</c:v>
                </c:pt>
                <c:pt idx="1837">
                  <c:v>364237</c:v>
                </c:pt>
                <c:pt idx="1838">
                  <c:v>364228</c:v>
                </c:pt>
                <c:pt idx="1839">
                  <c:v>364208</c:v>
                </c:pt>
                <c:pt idx="1840">
                  <c:v>364186</c:v>
                </c:pt>
                <c:pt idx="1841">
                  <c:v>364185</c:v>
                </c:pt>
                <c:pt idx="1842">
                  <c:v>364114</c:v>
                </c:pt>
                <c:pt idx="1843">
                  <c:v>364108</c:v>
                </c:pt>
                <c:pt idx="1844">
                  <c:v>364102</c:v>
                </c:pt>
                <c:pt idx="1845">
                  <c:v>364060</c:v>
                </c:pt>
                <c:pt idx="1846">
                  <c:v>364035</c:v>
                </c:pt>
                <c:pt idx="1847">
                  <c:v>363977</c:v>
                </c:pt>
                <c:pt idx="1848">
                  <c:v>363966</c:v>
                </c:pt>
                <c:pt idx="1849">
                  <c:v>363955</c:v>
                </c:pt>
                <c:pt idx="1850">
                  <c:v>363879</c:v>
                </c:pt>
                <c:pt idx="1851">
                  <c:v>363870</c:v>
                </c:pt>
                <c:pt idx="1852">
                  <c:v>363859</c:v>
                </c:pt>
                <c:pt idx="1853">
                  <c:v>363850</c:v>
                </c:pt>
                <c:pt idx="1854">
                  <c:v>363842</c:v>
                </c:pt>
                <c:pt idx="1855">
                  <c:v>363840</c:v>
                </c:pt>
                <c:pt idx="1856">
                  <c:v>363840</c:v>
                </c:pt>
                <c:pt idx="1857">
                  <c:v>363838</c:v>
                </c:pt>
                <c:pt idx="1858">
                  <c:v>363809</c:v>
                </c:pt>
                <c:pt idx="1859">
                  <c:v>363803</c:v>
                </c:pt>
                <c:pt idx="1860">
                  <c:v>363801</c:v>
                </c:pt>
                <c:pt idx="1861">
                  <c:v>363767</c:v>
                </c:pt>
                <c:pt idx="1862">
                  <c:v>363762</c:v>
                </c:pt>
                <c:pt idx="1863">
                  <c:v>363635</c:v>
                </c:pt>
                <c:pt idx="1864">
                  <c:v>363631</c:v>
                </c:pt>
                <c:pt idx="1865">
                  <c:v>363611</c:v>
                </c:pt>
                <c:pt idx="1866">
                  <c:v>363608</c:v>
                </c:pt>
                <c:pt idx="1867">
                  <c:v>363596</c:v>
                </c:pt>
                <c:pt idx="1868">
                  <c:v>363567</c:v>
                </c:pt>
                <c:pt idx="1869">
                  <c:v>363564</c:v>
                </c:pt>
                <c:pt idx="1870">
                  <c:v>363535</c:v>
                </c:pt>
                <c:pt idx="1871">
                  <c:v>363498</c:v>
                </c:pt>
                <c:pt idx="1872">
                  <c:v>363465</c:v>
                </c:pt>
                <c:pt idx="1873">
                  <c:v>363446</c:v>
                </c:pt>
                <c:pt idx="1874">
                  <c:v>363437</c:v>
                </c:pt>
                <c:pt idx="1875">
                  <c:v>363435</c:v>
                </c:pt>
                <c:pt idx="1876">
                  <c:v>363412</c:v>
                </c:pt>
                <c:pt idx="1877">
                  <c:v>363411</c:v>
                </c:pt>
                <c:pt idx="1878">
                  <c:v>363405</c:v>
                </c:pt>
                <c:pt idx="1879">
                  <c:v>363378</c:v>
                </c:pt>
                <c:pt idx="1880">
                  <c:v>363365</c:v>
                </c:pt>
                <c:pt idx="1881">
                  <c:v>363351</c:v>
                </c:pt>
                <c:pt idx="1882">
                  <c:v>363319</c:v>
                </c:pt>
                <c:pt idx="1883">
                  <c:v>363257</c:v>
                </c:pt>
                <c:pt idx="1884">
                  <c:v>363209</c:v>
                </c:pt>
                <c:pt idx="1885">
                  <c:v>363206</c:v>
                </c:pt>
                <c:pt idx="1886">
                  <c:v>363202</c:v>
                </c:pt>
                <c:pt idx="1887">
                  <c:v>363197</c:v>
                </c:pt>
                <c:pt idx="1888">
                  <c:v>363136</c:v>
                </c:pt>
                <c:pt idx="1889">
                  <c:v>363126</c:v>
                </c:pt>
                <c:pt idx="1890">
                  <c:v>363116</c:v>
                </c:pt>
                <c:pt idx="1891">
                  <c:v>363110</c:v>
                </c:pt>
                <c:pt idx="1892">
                  <c:v>363076</c:v>
                </c:pt>
                <c:pt idx="1893">
                  <c:v>363054</c:v>
                </c:pt>
                <c:pt idx="1894">
                  <c:v>363042</c:v>
                </c:pt>
                <c:pt idx="1895">
                  <c:v>363023</c:v>
                </c:pt>
                <c:pt idx="1896">
                  <c:v>363021</c:v>
                </c:pt>
                <c:pt idx="1897">
                  <c:v>363012</c:v>
                </c:pt>
                <c:pt idx="1898">
                  <c:v>363008</c:v>
                </c:pt>
                <c:pt idx="1899">
                  <c:v>363004</c:v>
                </c:pt>
                <c:pt idx="1900">
                  <c:v>362995</c:v>
                </c:pt>
                <c:pt idx="1901">
                  <c:v>362972</c:v>
                </c:pt>
                <c:pt idx="1902">
                  <c:v>362972</c:v>
                </c:pt>
                <c:pt idx="1903">
                  <c:v>362915</c:v>
                </c:pt>
                <c:pt idx="1904">
                  <c:v>362898</c:v>
                </c:pt>
                <c:pt idx="1905">
                  <c:v>362880</c:v>
                </c:pt>
                <c:pt idx="1906">
                  <c:v>362857</c:v>
                </c:pt>
                <c:pt idx="1907">
                  <c:v>362853</c:v>
                </c:pt>
                <c:pt idx="1908">
                  <c:v>362841</c:v>
                </c:pt>
                <c:pt idx="1909">
                  <c:v>362840</c:v>
                </c:pt>
                <c:pt idx="1910">
                  <c:v>362805</c:v>
                </c:pt>
                <c:pt idx="1911">
                  <c:v>362778</c:v>
                </c:pt>
                <c:pt idx="1912">
                  <c:v>362759</c:v>
                </c:pt>
                <c:pt idx="1913">
                  <c:v>362719</c:v>
                </c:pt>
                <c:pt idx="1914">
                  <c:v>362712</c:v>
                </c:pt>
                <c:pt idx="1915">
                  <c:v>362709</c:v>
                </c:pt>
                <c:pt idx="1916">
                  <c:v>362691</c:v>
                </c:pt>
                <c:pt idx="1917">
                  <c:v>362689</c:v>
                </c:pt>
                <c:pt idx="1918">
                  <c:v>362688</c:v>
                </c:pt>
                <c:pt idx="1919">
                  <c:v>362663</c:v>
                </c:pt>
                <c:pt idx="1920">
                  <c:v>362603</c:v>
                </c:pt>
                <c:pt idx="1921">
                  <c:v>362601</c:v>
                </c:pt>
                <c:pt idx="1922">
                  <c:v>362599</c:v>
                </c:pt>
                <c:pt idx="1923">
                  <c:v>362578</c:v>
                </c:pt>
                <c:pt idx="1924">
                  <c:v>362562</c:v>
                </c:pt>
                <c:pt idx="1925">
                  <c:v>362548</c:v>
                </c:pt>
                <c:pt idx="1926">
                  <c:v>362539</c:v>
                </c:pt>
                <c:pt idx="1927">
                  <c:v>362517</c:v>
                </c:pt>
                <c:pt idx="1928">
                  <c:v>362512</c:v>
                </c:pt>
                <c:pt idx="1929">
                  <c:v>362473</c:v>
                </c:pt>
                <c:pt idx="1930">
                  <c:v>362473</c:v>
                </c:pt>
                <c:pt idx="1931">
                  <c:v>362458</c:v>
                </c:pt>
                <c:pt idx="1932">
                  <c:v>362451</c:v>
                </c:pt>
                <c:pt idx="1933">
                  <c:v>362446</c:v>
                </c:pt>
                <c:pt idx="1934">
                  <c:v>362413</c:v>
                </c:pt>
                <c:pt idx="1935">
                  <c:v>362379</c:v>
                </c:pt>
                <c:pt idx="1936">
                  <c:v>362359</c:v>
                </c:pt>
                <c:pt idx="1937">
                  <c:v>362357</c:v>
                </c:pt>
                <c:pt idx="1938">
                  <c:v>362345</c:v>
                </c:pt>
                <c:pt idx="1939">
                  <c:v>362277</c:v>
                </c:pt>
                <c:pt idx="1940">
                  <c:v>362215</c:v>
                </c:pt>
                <c:pt idx="1941">
                  <c:v>362174</c:v>
                </c:pt>
                <c:pt idx="1942">
                  <c:v>362146</c:v>
                </c:pt>
                <c:pt idx="1943">
                  <c:v>362138</c:v>
                </c:pt>
                <c:pt idx="1944">
                  <c:v>362116</c:v>
                </c:pt>
                <c:pt idx="1945">
                  <c:v>362104</c:v>
                </c:pt>
                <c:pt idx="1946">
                  <c:v>362102</c:v>
                </c:pt>
                <c:pt idx="1947">
                  <c:v>362078</c:v>
                </c:pt>
                <c:pt idx="1948">
                  <c:v>362068</c:v>
                </c:pt>
                <c:pt idx="1949">
                  <c:v>362062</c:v>
                </c:pt>
                <c:pt idx="1950">
                  <c:v>362034</c:v>
                </c:pt>
                <c:pt idx="1951">
                  <c:v>361987</c:v>
                </c:pt>
                <c:pt idx="1952">
                  <c:v>361986</c:v>
                </c:pt>
                <c:pt idx="1953">
                  <c:v>361958</c:v>
                </c:pt>
                <c:pt idx="1954">
                  <c:v>361951</c:v>
                </c:pt>
                <c:pt idx="1955">
                  <c:v>361921</c:v>
                </c:pt>
                <c:pt idx="1956">
                  <c:v>361916</c:v>
                </c:pt>
                <c:pt idx="1957">
                  <c:v>361904</c:v>
                </c:pt>
                <c:pt idx="1958">
                  <c:v>361894</c:v>
                </c:pt>
                <c:pt idx="1959">
                  <c:v>361853</c:v>
                </c:pt>
                <c:pt idx="1960">
                  <c:v>361837</c:v>
                </c:pt>
                <c:pt idx="1961">
                  <c:v>361828</c:v>
                </c:pt>
                <c:pt idx="1962">
                  <c:v>361799</c:v>
                </c:pt>
                <c:pt idx="1963">
                  <c:v>361772</c:v>
                </c:pt>
                <c:pt idx="1964">
                  <c:v>361772</c:v>
                </c:pt>
                <c:pt idx="1965">
                  <c:v>361740</c:v>
                </c:pt>
                <c:pt idx="1966">
                  <c:v>361675</c:v>
                </c:pt>
                <c:pt idx="1967">
                  <c:v>361608</c:v>
                </c:pt>
                <c:pt idx="1968">
                  <c:v>361594</c:v>
                </c:pt>
                <c:pt idx="1969">
                  <c:v>361566</c:v>
                </c:pt>
                <c:pt idx="1970">
                  <c:v>361556</c:v>
                </c:pt>
                <c:pt idx="1971">
                  <c:v>361532</c:v>
                </c:pt>
                <c:pt idx="1972">
                  <c:v>361530</c:v>
                </c:pt>
                <c:pt idx="1973">
                  <c:v>361499</c:v>
                </c:pt>
                <c:pt idx="1974">
                  <c:v>361449</c:v>
                </c:pt>
                <c:pt idx="1975">
                  <c:v>361449</c:v>
                </c:pt>
                <c:pt idx="1976">
                  <c:v>361434</c:v>
                </c:pt>
                <c:pt idx="1977">
                  <c:v>361432</c:v>
                </c:pt>
                <c:pt idx="1978">
                  <c:v>361424</c:v>
                </c:pt>
                <c:pt idx="1979">
                  <c:v>361423</c:v>
                </c:pt>
                <c:pt idx="1980">
                  <c:v>361405</c:v>
                </c:pt>
                <c:pt idx="1981">
                  <c:v>361386</c:v>
                </c:pt>
                <c:pt idx="1982">
                  <c:v>361372</c:v>
                </c:pt>
                <c:pt idx="1983">
                  <c:v>361365</c:v>
                </c:pt>
                <c:pt idx="1984">
                  <c:v>361357</c:v>
                </c:pt>
                <c:pt idx="1985">
                  <c:v>361337</c:v>
                </c:pt>
                <c:pt idx="1986">
                  <c:v>361337</c:v>
                </c:pt>
                <c:pt idx="1987">
                  <c:v>361330</c:v>
                </c:pt>
                <c:pt idx="1988">
                  <c:v>361320</c:v>
                </c:pt>
                <c:pt idx="1989">
                  <c:v>361317</c:v>
                </c:pt>
                <c:pt idx="1990">
                  <c:v>361309</c:v>
                </c:pt>
                <c:pt idx="1991">
                  <c:v>361271</c:v>
                </c:pt>
                <c:pt idx="1992">
                  <c:v>361246</c:v>
                </c:pt>
                <c:pt idx="1993">
                  <c:v>361228</c:v>
                </c:pt>
                <c:pt idx="1994">
                  <c:v>361185</c:v>
                </c:pt>
                <c:pt idx="1995">
                  <c:v>361181</c:v>
                </c:pt>
                <c:pt idx="1996">
                  <c:v>361098</c:v>
                </c:pt>
                <c:pt idx="1997">
                  <c:v>361094</c:v>
                </c:pt>
                <c:pt idx="1998">
                  <c:v>361091</c:v>
                </c:pt>
                <c:pt idx="1999">
                  <c:v>361049</c:v>
                </c:pt>
                <c:pt idx="2000">
                  <c:v>361019</c:v>
                </c:pt>
                <c:pt idx="2001">
                  <c:v>360999</c:v>
                </c:pt>
                <c:pt idx="2002">
                  <c:v>360981</c:v>
                </c:pt>
                <c:pt idx="2003">
                  <c:v>360969</c:v>
                </c:pt>
                <c:pt idx="2004">
                  <c:v>360947</c:v>
                </c:pt>
                <c:pt idx="2005">
                  <c:v>360926</c:v>
                </c:pt>
                <c:pt idx="2006">
                  <c:v>360895</c:v>
                </c:pt>
                <c:pt idx="2007">
                  <c:v>360835</c:v>
                </c:pt>
                <c:pt idx="2008">
                  <c:v>360827</c:v>
                </c:pt>
                <c:pt idx="2009">
                  <c:v>360819</c:v>
                </c:pt>
                <c:pt idx="2010">
                  <c:v>360810</c:v>
                </c:pt>
                <c:pt idx="2011">
                  <c:v>360801</c:v>
                </c:pt>
                <c:pt idx="2012">
                  <c:v>360791</c:v>
                </c:pt>
                <c:pt idx="2013">
                  <c:v>360784</c:v>
                </c:pt>
                <c:pt idx="2014">
                  <c:v>360779</c:v>
                </c:pt>
                <c:pt idx="2015">
                  <c:v>360769</c:v>
                </c:pt>
                <c:pt idx="2016">
                  <c:v>360743</c:v>
                </c:pt>
                <c:pt idx="2017">
                  <c:v>360715</c:v>
                </c:pt>
                <c:pt idx="2018">
                  <c:v>360695</c:v>
                </c:pt>
                <c:pt idx="2019">
                  <c:v>360689</c:v>
                </c:pt>
                <c:pt idx="2020">
                  <c:v>360687</c:v>
                </c:pt>
                <c:pt idx="2021">
                  <c:v>360686</c:v>
                </c:pt>
                <c:pt idx="2022">
                  <c:v>360648</c:v>
                </c:pt>
                <c:pt idx="2023">
                  <c:v>360624</c:v>
                </c:pt>
                <c:pt idx="2024">
                  <c:v>360613</c:v>
                </c:pt>
                <c:pt idx="2025">
                  <c:v>360599</c:v>
                </c:pt>
                <c:pt idx="2026">
                  <c:v>360598</c:v>
                </c:pt>
                <c:pt idx="2027">
                  <c:v>360596</c:v>
                </c:pt>
                <c:pt idx="2028">
                  <c:v>360592</c:v>
                </c:pt>
                <c:pt idx="2029">
                  <c:v>360588</c:v>
                </c:pt>
                <c:pt idx="2030">
                  <c:v>360566</c:v>
                </c:pt>
                <c:pt idx="2031">
                  <c:v>360560</c:v>
                </c:pt>
                <c:pt idx="2032">
                  <c:v>360558</c:v>
                </c:pt>
                <c:pt idx="2033">
                  <c:v>360558</c:v>
                </c:pt>
                <c:pt idx="2034">
                  <c:v>360554</c:v>
                </c:pt>
                <c:pt idx="2035">
                  <c:v>360530</c:v>
                </c:pt>
                <c:pt idx="2036">
                  <c:v>360525</c:v>
                </c:pt>
                <c:pt idx="2037">
                  <c:v>360514</c:v>
                </c:pt>
                <c:pt idx="2038">
                  <c:v>360472</c:v>
                </c:pt>
                <c:pt idx="2039">
                  <c:v>360468</c:v>
                </c:pt>
                <c:pt idx="2040">
                  <c:v>360454</c:v>
                </c:pt>
                <c:pt idx="2041">
                  <c:v>360397</c:v>
                </c:pt>
                <c:pt idx="2042">
                  <c:v>360340</c:v>
                </c:pt>
                <c:pt idx="2043">
                  <c:v>360335</c:v>
                </c:pt>
                <c:pt idx="2044">
                  <c:v>360320</c:v>
                </c:pt>
                <c:pt idx="2045">
                  <c:v>360302</c:v>
                </c:pt>
                <c:pt idx="2046">
                  <c:v>360289</c:v>
                </c:pt>
                <c:pt idx="2047">
                  <c:v>360286</c:v>
                </c:pt>
                <c:pt idx="2048">
                  <c:v>360219</c:v>
                </c:pt>
                <c:pt idx="2049">
                  <c:v>360194</c:v>
                </c:pt>
                <c:pt idx="2050">
                  <c:v>360164</c:v>
                </c:pt>
                <c:pt idx="2051">
                  <c:v>360112</c:v>
                </c:pt>
                <c:pt idx="2052">
                  <c:v>360106</c:v>
                </c:pt>
                <c:pt idx="2053">
                  <c:v>360085</c:v>
                </c:pt>
                <c:pt idx="2054">
                  <c:v>360079</c:v>
                </c:pt>
                <c:pt idx="2055">
                  <c:v>360075</c:v>
                </c:pt>
                <c:pt idx="2056">
                  <c:v>360055</c:v>
                </c:pt>
                <c:pt idx="2057">
                  <c:v>360049</c:v>
                </c:pt>
                <c:pt idx="2058">
                  <c:v>360043</c:v>
                </c:pt>
                <c:pt idx="2059">
                  <c:v>360020</c:v>
                </c:pt>
                <c:pt idx="2060">
                  <c:v>360017</c:v>
                </c:pt>
                <c:pt idx="2061">
                  <c:v>360016</c:v>
                </c:pt>
                <c:pt idx="2062">
                  <c:v>360015</c:v>
                </c:pt>
                <c:pt idx="2063">
                  <c:v>360006</c:v>
                </c:pt>
                <c:pt idx="2064">
                  <c:v>359996</c:v>
                </c:pt>
                <c:pt idx="2065">
                  <c:v>359979</c:v>
                </c:pt>
                <c:pt idx="2066">
                  <c:v>359931</c:v>
                </c:pt>
                <c:pt idx="2067">
                  <c:v>359924</c:v>
                </c:pt>
                <c:pt idx="2068">
                  <c:v>359922</c:v>
                </c:pt>
                <c:pt idx="2069">
                  <c:v>359901</c:v>
                </c:pt>
                <c:pt idx="2070">
                  <c:v>359878</c:v>
                </c:pt>
                <c:pt idx="2071">
                  <c:v>359878</c:v>
                </c:pt>
                <c:pt idx="2072">
                  <c:v>359842</c:v>
                </c:pt>
                <c:pt idx="2073">
                  <c:v>359806</c:v>
                </c:pt>
                <c:pt idx="2074">
                  <c:v>359794</c:v>
                </c:pt>
                <c:pt idx="2075">
                  <c:v>359793</c:v>
                </c:pt>
                <c:pt idx="2076">
                  <c:v>359791</c:v>
                </c:pt>
                <c:pt idx="2077">
                  <c:v>359759</c:v>
                </c:pt>
                <c:pt idx="2078">
                  <c:v>359744</c:v>
                </c:pt>
                <c:pt idx="2079">
                  <c:v>359719</c:v>
                </c:pt>
                <c:pt idx="2080">
                  <c:v>359713</c:v>
                </c:pt>
                <c:pt idx="2081">
                  <c:v>359695</c:v>
                </c:pt>
                <c:pt idx="2082">
                  <c:v>359660</c:v>
                </c:pt>
                <c:pt idx="2083">
                  <c:v>359647</c:v>
                </c:pt>
                <c:pt idx="2084">
                  <c:v>359642</c:v>
                </c:pt>
                <c:pt idx="2085">
                  <c:v>359606</c:v>
                </c:pt>
                <c:pt idx="2086">
                  <c:v>359599</c:v>
                </c:pt>
                <c:pt idx="2087">
                  <c:v>359597</c:v>
                </c:pt>
                <c:pt idx="2088">
                  <c:v>359566</c:v>
                </c:pt>
                <c:pt idx="2089">
                  <c:v>359550</c:v>
                </c:pt>
                <c:pt idx="2090">
                  <c:v>359540</c:v>
                </c:pt>
                <c:pt idx="2091">
                  <c:v>359532</c:v>
                </c:pt>
                <c:pt idx="2092">
                  <c:v>359507</c:v>
                </c:pt>
                <c:pt idx="2093">
                  <c:v>359498</c:v>
                </c:pt>
                <c:pt idx="2094">
                  <c:v>359495</c:v>
                </c:pt>
                <c:pt idx="2095">
                  <c:v>359479</c:v>
                </c:pt>
                <c:pt idx="2096">
                  <c:v>359467</c:v>
                </c:pt>
                <c:pt idx="2097">
                  <c:v>359448</c:v>
                </c:pt>
                <c:pt idx="2098">
                  <c:v>359414</c:v>
                </c:pt>
                <c:pt idx="2099">
                  <c:v>359404</c:v>
                </c:pt>
                <c:pt idx="2100">
                  <c:v>359399</c:v>
                </c:pt>
                <c:pt idx="2101">
                  <c:v>359398</c:v>
                </c:pt>
                <c:pt idx="2102">
                  <c:v>359392</c:v>
                </c:pt>
                <c:pt idx="2103">
                  <c:v>359377</c:v>
                </c:pt>
                <c:pt idx="2104">
                  <c:v>359345</c:v>
                </c:pt>
                <c:pt idx="2105">
                  <c:v>359343</c:v>
                </c:pt>
                <c:pt idx="2106">
                  <c:v>359341</c:v>
                </c:pt>
                <c:pt idx="2107">
                  <c:v>359325</c:v>
                </c:pt>
                <c:pt idx="2108">
                  <c:v>359321</c:v>
                </c:pt>
                <c:pt idx="2109">
                  <c:v>359314</c:v>
                </c:pt>
                <c:pt idx="2110">
                  <c:v>359314</c:v>
                </c:pt>
                <c:pt idx="2111">
                  <c:v>359309</c:v>
                </c:pt>
                <c:pt idx="2112">
                  <c:v>359306</c:v>
                </c:pt>
                <c:pt idx="2113">
                  <c:v>359304</c:v>
                </c:pt>
                <c:pt idx="2114">
                  <c:v>359281</c:v>
                </c:pt>
                <c:pt idx="2115">
                  <c:v>359280</c:v>
                </c:pt>
                <c:pt idx="2116">
                  <c:v>359279</c:v>
                </c:pt>
                <c:pt idx="2117">
                  <c:v>359251</c:v>
                </c:pt>
                <c:pt idx="2118">
                  <c:v>359248</c:v>
                </c:pt>
                <c:pt idx="2119">
                  <c:v>359240</c:v>
                </c:pt>
                <c:pt idx="2120">
                  <c:v>359238</c:v>
                </c:pt>
                <c:pt idx="2121">
                  <c:v>359216</c:v>
                </c:pt>
                <c:pt idx="2122">
                  <c:v>359209</c:v>
                </c:pt>
                <c:pt idx="2123">
                  <c:v>359198</c:v>
                </c:pt>
                <c:pt idx="2124">
                  <c:v>359195</c:v>
                </c:pt>
                <c:pt idx="2125">
                  <c:v>359182</c:v>
                </c:pt>
                <c:pt idx="2126">
                  <c:v>359088</c:v>
                </c:pt>
                <c:pt idx="2127">
                  <c:v>359087</c:v>
                </c:pt>
                <c:pt idx="2128">
                  <c:v>359060</c:v>
                </c:pt>
                <c:pt idx="2129">
                  <c:v>359052</c:v>
                </c:pt>
                <c:pt idx="2130">
                  <c:v>359035</c:v>
                </c:pt>
                <c:pt idx="2131">
                  <c:v>359024</c:v>
                </c:pt>
                <c:pt idx="2132">
                  <c:v>359000</c:v>
                </c:pt>
                <c:pt idx="2133">
                  <c:v>358977</c:v>
                </c:pt>
                <c:pt idx="2134">
                  <c:v>358951</c:v>
                </c:pt>
                <c:pt idx="2135">
                  <c:v>358939</c:v>
                </c:pt>
                <c:pt idx="2136">
                  <c:v>358912</c:v>
                </c:pt>
                <c:pt idx="2137">
                  <c:v>358896</c:v>
                </c:pt>
                <c:pt idx="2138">
                  <c:v>358880</c:v>
                </c:pt>
                <c:pt idx="2139">
                  <c:v>358876</c:v>
                </c:pt>
                <c:pt idx="2140">
                  <c:v>358860</c:v>
                </c:pt>
                <c:pt idx="2141">
                  <c:v>358857</c:v>
                </c:pt>
                <c:pt idx="2142">
                  <c:v>358850</c:v>
                </c:pt>
                <c:pt idx="2143">
                  <c:v>358836</c:v>
                </c:pt>
                <c:pt idx="2144">
                  <c:v>358823</c:v>
                </c:pt>
                <c:pt idx="2145">
                  <c:v>358821</c:v>
                </c:pt>
                <c:pt idx="2146">
                  <c:v>358819</c:v>
                </c:pt>
                <c:pt idx="2147">
                  <c:v>358807</c:v>
                </c:pt>
                <c:pt idx="2148">
                  <c:v>358803</c:v>
                </c:pt>
                <c:pt idx="2149">
                  <c:v>358799</c:v>
                </c:pt>
                <c:pt idx="2150">
                  <c:v>358792</c:v>
                </c:pt>
                <c:pt idx="2151">
                  <c:v>358771</c:v>
                </c:pt>
                <c:pt idx="2152">
                  <c:v>358769</c:v>
                </c:pt>
                <c:pt idx="2153">
                  <c:v>358763</c:v>
                </c:pt>
                <c:pt idx="2154">
                  <c:v>358754</c:v>
                </c:pt>
                <c:pt idx="2155">
                  <c:v>358747</c:v>
                </c:pt>
                <c:pt idx="2156">
                  <c:v>358728</c:v>
                </c:pt>
                <c:pt idx="2157">
                  <c:v>358713</c:v>
                </c:pt>
                <c:pt idx="2158">
                  <c:v>358705</c:v>
                </c:pt>
                <c:pt idx="2159">
                  <c:v>358703</c:v>
                </c:pt>
                <c:pt idx="2160">
                  <c:v>358654</c:v>
                </c:pt>
                <c:pt idx="2161">
                  <c:v>358591</c:v>
                </c:pt>
                <c:pt idx="2162">
                  <c:v>358554</c:v>
                </c:pt>
                <c:pt idx="2163">
                  <c:v>358482</c:v>
                </c:pt>
                <c:pt idx="2164">
                  <c:v>358468</c:v>
                </c:pt>
                <c:pt idx="2165">
                  <c:v>358456</c:v>
                </c:pt>
                <c:pt idx="2166">
                  <c:v>358439</c:v>
                </c:pt>
                <c:pt idx="2167">
                  <c:v>358437</c:v>
                </c:pt>
                <c:pt idx="2168">
                  <c:v>358427</c:v>
                </c:pt>
                <c:pt idx="2169">
                  <c:v>358426</c:v>
                </c:pt>
                <c:pt idx="2170">
                  <c:v>358422</c:v>
                </c:pt>
                <c:pt idx="2171">
                  <c:v>358419</c:v>
                </c:pt>
                <c:pt idx="2172">
                  <c:v>358417</c:v>
                </c:pt>
                <c:pt idx="2173">
                  <c:v>358406</c:v>
                </c:pt>
                <c:pt idx="2174">
                  <c:v>358399</c:v>
                </c:pt>
                <c:pt idx="2175">
                  <c:v>358393</c:v>
                </c:pt>
                <c:pt idx="2176">
                  <c:v>358385</c:v>
                </c:pt>
                <c:pt idx="2177">
                  <c:v>358385</c:v>
                </c:pt>
                <c:pt idx="2178">
                  <c:v>358376</c:v>
                </c:pt>
                <c:pt idx="2179">
                  <c:v>358369</c:v>
                </c:pt>
                <c:pt idx="2180">
                  <c:v>358349</c:v>
                </c:pt>
                <c:pt idx="2181">
                  <c:v>358307</c:v>
                </c:pt>
                <c:pt idx="2182">
                  <c:v>358278</c:v>
                </c:pt>
                <c:pt idx="2183">
                  <c:v>358273</c:v>
                </c:pt>
                <c:pt idx="2184">
                  <c:v>358258</c:v>
                </c:pt>
                <c:pt idx="2185">
                  <c:v>358253</c:v>
                </c:pt>
                <c:pt idx="2186">
                  <c:v>358238</c:v>
                </c:pt>
                <c:pt idx="2187">
                  <c:v>358212</c:v>
                </c:pt>
                <c:pt idx="2188">
                  <c:v>358189</c:v>
                </c:pt>
                <c:pt idx="2189">
                  <c:v>358177</c:v>
                </c:pt>
                <c:pt idx="2190">
                  <c:v>358168</c:v>
                </c:pt>
                <c:pt idx="2191">
                  <c:v>358156</c:v>
                </c:pt>
                <c:pt idx="2192">
                  <c:v>358124</c:v>
                </c:pt>
                <c:pt idx="2193">
                  <c:v>358119</c:v>
                </c:pt>
                <c:pt idx="2194">
                  <c:v>358104</c:v>
                </c:pt>
                <c:pt idx="2195">
                  <c:v>358087</c:v>
                </c:pt>
                <c:pt idx="2196">
                  <c:v>358069</c:v>
                </c:pt>
                <c:pt idx="2197">
                  <c:v>358056</c:v>
                </c:pt>
                <c:pt idx="2198">
                  <c:v>358032</c:v>
                </c:pt>
                <c:pt idx="2199">
                  <c:v>358005</c:v>
                </c:pt>
                <c:pt idx="2200">
                  <c:v>357998</c:v>
                </c:pt>
                <c:pt idx="2201">
                  <c:v>357998</c:v>
                </c:pt>
                <c:pt idx="2202">
                  <c:v>357997</c:v>
                </c:pt>
                <c:pt idx="2203">
                  <c:v>357976</c:v>
                </c:pt>
                <c:pt idx="2204">
                  <c:v>357954</c:v>
                </c:pt>
                <c:pt idx="2205">
                  <c:v>357903</c:v>
                </c:pt>
                <c:pt idx="2206">
                  <c:v>357887</c:v>
                </c:pt>
                <c:pt idx="2207">
                  <c:v>357886</c:v>
                </c:pt>
                <c:pt idx="2208">
                  <c:v>357875</c:v>
                </c:pt>
                <c:pt idx="2209">
                  <c:v>357865</c:v>
                </c:pt>
                <c:pt idx="2210">
                  <c:v>357839</c:v>
                </c:pt>
                <c:pt idx="2211">
                  <c:v>357827</c:v>
                </c:pt>
                <c:pt idx="2212">
                  <c:v>357820</c:v>
                </c:pt>
                <c:pt idx="2213">
                  <c:v>357802</c:v>
                </c:pt>
                <c:pt idx="2214">
                  <c:v>357783</c:v>
                </c:pt>
                <c:pt idx="2215">
                  <c:v>357783</c:v>
                </c:pt>
                <c:pt idx="2216">
                  <c:v>357778</c:v>
                </c:pt>
                <c:pt idx="2217">
                  <c:v>357766</c:v>
                </c:pt>
                <c:pt idx="2218">
                  <c:v>357765</c:v>
                </c:pt>
                <c:pt idx="2219">
                  <c:v>357752</c:v>
                </c:pt>
                <c:pt idx="2220">
                  <c:v>357707</c:v>
                </c:pt>
                <c:pt idx="2221">
                  <c:v>357693</c:v>
                </c:pt>
                <c:pt idx="2222">
                  <c:v>357669</c:v>
                </c:pt>
                <c:pt idx="2223">
                  <c:v>357647</c:v>
                </c:pt>
                <c:pt idx="2224">
                  <c:v>357619</c:v>
                </c:pt>
                <c:pt idx="2225">
                  <c:v>357615</c:v>
                </c:pt>
                <c:pt idx="2226">
                  <c:v>357599</c:v>
                </c:pt>
                <c:pt idx="2227">
                  <c:v>357538</c:v>
                </c:pt>
                <c:pt idx="2228">
                  <c:v>357522</c:v>
                </c:pt>
                <c:pt idx="2229">
                  <c:v>357520</c:v>
                </c:pt>
                <c:pt idx="2230">
                  <c:v>357501</c:v>
                </c:pt>
                <c:pt idx="2231">
                  <c:v>357494</c:v>
                </c:pt>
                <c:pt idx="2232">
                  <c:v>357485</c:v>
                </c:pt>
                <c:pt idx="2233">
                  <c:v>357481</c:v>
                </c:pt>
                <c:pt idx="2234">
                  <c:v>357456</c:v>
                </c:pt>
                <c:pt idx="2235">
                  <c:v>357437</c:v>
                </c:pt>
                <c:pt idx="2236">
                  <c:v>357379</c:v>
                </c:pt>
                <c:pt idx="2237">
                  <c:v>357377</c:v>
                </c:pt>
                <c:pt idx="2238">
                  <c:v>357370</c:v>
                </c:pt>
                <c:pt idx="2239">
                  <c:v>357343</c:v>
                </c:pt>
                <c:pt idx="2240">
                  <c:v>357340</c:v>
                </c:pt>
                <c:pt idx="2241">
                  <c:v>357334</c:v>
                </c:pt>
                <c:pt idx="2242">
                  <c:v>357287</c:v>
                </c:pt>
                <c:pt idx="2243">
                  <c:v>357282</c:v>
                </c:pt>
                <c:pt idx="2244">
                  <c:v>357272</c:v>
                </c:pt>
                <c:pt idx="2245">
                  <c:v>357266</c:v>
                </c:pt>
                <c:pt idx="2246">
                  <c:v>357232</c:v>
                </c:pt>
                <c:pt idx="2247">
                  <c:v>357229</c:v>
                </c:pt>
                <c:pt idx="2248">
                  <c:v>357153</c:v>
                </c:pt>
                <c:pt idx="2249">
                  <c:v>357149</c:v>
                </c:pt>
                <c:pt idx="2250">
                  <c:v>357143</c:v>
                </c:pt>
                <c:pt idx="2251">
                  <c:v>357132</c:v>
                </c:pt>
                <c:pt idx="2252">
                  <c:v>357071</c:v>
                </c:pt>
                <c:pt idx="2253">
                  <c:v>357053</c:v>
                </c:pt>
                <c:pt idx="2254">
                  <c:v>357044</c:v>
                </c:pt>
                <c:pt idx="2255">
                  <c:v>357019</c:v>
                </c:pt>
                <c:pt idx="2256">
                  <c:v>357003</c:v>
                </c:pt>
                <c:pt idx="2257">
                  <c:v>356998</c:v>
                </c:pt>
                <c:pt idx="2258">
                  <c:v>356984</c:v>
                </c:pt>
                <c:pt idx="2259">
                  <c:v>356979</c:v>
                </c:pt>
                <c:pt idx="2260">
                  <c:v>356963</c:v>
                </c:pt>
                <c:pt idx="2261">
                  <c:v>356951</c:v>
                </c:pt>
                <c:pt idx="2262">
                  <c:v>356905</c:v>
                </c:pt>
                <c:pt idx="2263">
                  <c:v>356881</c:v>
                </c:pt>
                <c:pt idx="2264">
                  <c:v>356872</c:v>
                </c:pt>
                <c:pt idx="2265">
                  <c:v>356865</c:v>
                </c:pt>
                <c:pt idx="2266">
                  <c:v>356845</c:v>
                </c:pt>
                <c:pt idx="2267">
                  <c:v>356819</c:v>
                </c:pt>
                <c:pt idx="2268">
                  <c:v>356804</c:v>
                </c:pt>
                <c:pt idx="2269">
                  <c:v>356798</c:v>
                </c:pt>
                <c:pt idx="2270">
                  <c:v>356796</c:v>
                </c:pt>
                <c:pt idx="2271">
                  <c:v>356764</c:v>
                </c:pt>
                <c:pt idx="2272">
                  <c:v>356764</c:v>
                </c:pt>
                <c:pt idx="2273">
                  <c:v>356746</c:v>
                </c:pt>
                <c:pt idx="2274">
                  <c:v>356728</c:v>
                </c:pt>
                <c:pt idx="2275">
                  <c:v>356725</c:v>
                </c:pt>
                <c:pt idx="2276">
                  <c:v>356721</c:v>
                </c:pt>
                <c:pt idx="2277">
                  <c:v>356711</c:v>
                </c:pt>
                <c:pt idx="2278">
                  <c:v>356696</c:v>
                </c:pt>
                <c:pt idx="2279">
                  <c:v>356695</c:v>
                </c:pt>
                <c:pt idx="2280">
                  <c:v>356672</c:v>
                </c:pt>
                <c:pt idx="2281">
                  <c:v>356664</c:v>
                </c:pt>
                <c:pt idx="2282">
                  <c:v>356645</c:v>
                </c:pt>
                <c:pt idx="2283">
                  <c:v>356635</c:v>
                </c:pt>
                <c:pt idx="2284">
                  <c:v>356610</c:v>
                </c:pt>
                <c:pt idx="2285">
                  <c:v>356608</c:v>
                </c:pt>
                <c:pt idx="2286">
                  <c:v>356585</c:v>
                </c:pt>
                <c:pt idx="2287">
                  <c:v>356582</c:v>
                </c:pt>
                <c:pt idx="2288">
                  <c:v>356573</c:v>
                </c:pt>
                <c:pt idx="2289">
                  <c:v>356570</c:v>
                </c:pt>
                <c:pt idx="2290">
                  <c:v>356570</c:v>
                </c:pt>
                <c:pt idx="2291">
                  <c:v>356562</c:v>
                </c:pt>
                <c:pt idx="2292">
                  <c:v>356528</c:v>
                </c:pt>
                <c:pt idx="2293">
                  <c:v>356506</c:v>
                </c:pt>
                <c:pt idx="2294">
                  <c:v>356503</c:v>
                </c:pt>
                <c:pt idx="2295">
                  <c:v>356497</c:v>
                </c:pt>
                <c:pt idx="2296">
                  <c:v>356478</c:v>
                </c:pt>
                <c:pt idx="2297">
                  <c:v>356475</c:v>
                </c:pt>
                <c:pt idx="2298">
                  <c:v>356442</c:v>
                </c:pt>
                <c:pt idx="2299">
                  <c:v>356440</c:v>
                </c:pt>
                <c:pt idx="2300">
                  <c:v>356429</c:v>
                </c:pt>
                <c:pt idx="2301">
                  <c:v>356408</c:v>
                </c:pt>
                <c:pt idx="2302">
                  <c:v>356401</c:v>
                </c:pt>
                <c:pt idx="2303">
                  <c:v>356396</c:v>
                </c:pt>
                <c:pt idx="2304">
                  <c:v>356384</c:v>
                </c:pt>
                <c:pt idx="2305">
                  <c:v>356320</c:v>
                </c:pt>
                <c:pt idx="2306">
                  <c:v>356293</c:v>
                </c:pt>
                <c:pt idx="2307">
                  <c:v>356279</c:v>
                </c:pt>
                <c:pt idx="2308">
                  <c:v>356274</c:v>
                </c:pt>
                <c:pt idx="2309">
                  <c:v>356264</c:v>
                </c:pt>
                <c:pt idx="2310">
                  <c:v>356264</c:v>
                </c:pt>
                <c:pt idx="2311">
                  <c:v>356249</c:v>
                </c:pt>
                <c:pt idx="2312">
                  <c:v>356214</c:v>
                </c:pt>
                <c:pt idx="2313">
                  <c:v>356207</c:v>
                </c:pt>
                <c:pt idx="2314">
                  <c:v>356196</c:v>
                </c:pt>
                <c:pt idx="2315">
                  <c:v>356178</c:v>
                </c:pt>
                <c:pt idx="2316">
                  <c:v>356164</c:v>
                </c:pt>
                <c:pt idx="2317">
                  <c:v>356162</c:v>
                </c:pt>
                <c:pt idx="2318">
                  <c:v>356159</c:v>
                </c:pt>
                <c:pt idx="2319">
                  <c:v>356153</c:v>
                </c:pt>
                <c:pt idx="2320">
                  <c:v>356088</c:v>
                </c:pt>
                <c:pt idx="2321">
                  <c:v>356083</c:v>
                </c:pt>
                <c:pt idx="2322">
                  <c:v>356074</c:v>
                </c:pt>
                <c:pt idx="2323">
                  <c:v>356032</c:v>
                </c:pt>
                <c:pt idx="2324">
                  <c:v>356029</c:v>
                </c:pt>
                <c:pt idx="2325">
                  <c:v>355999</c:v>
                </c:pt>
                <c:pt idx="2326">
                  <c:v>355991</c:v>
                </c:pt>
                <c:pt idx="2327">
                  <c:v>355987</c:v>
                </c:pt>
                <c:pt idx="2328">
                  <c:v>355980</c:v>
                </c:pt>
                <c:pt idx="2329">
                  <c:v>355965</c:v>
                </c:pt>
                <c:pt idx="2330">
                  <c:v>355961</c:v>
                </c:pt>
                <c:pt idx="2331">
                  <c:v>355944</c:v>
                </c:pt>
                <c:pt idx="2332">
                  <c:v>355924</c:v>
                </c:pt>
                <c:pt idx="2333">
                  <c:v>355909</c:v>
                </c:pt>
                <c:pt idx="2334">
                  <c:v>355864</c:v>
                </c:pt>
                <c:pt idx="2335">
                  <c:v>355851</c:v>
                </c:pt>
                <c:pt idx="2336">
                  <c:v>355839</c:v>
                </c:pt>
                <c:pt idx="2337">
                  <c:v>355805</c:v>
                </c:pt>
                <c:pt idx="2338">
                  <c:v>355802</c:v>
                </c:pt>
                <c:pt idx="2339">
                  <c:v>355765</c:v>
                </c:pt>
                <c:pt idx="2340">
                  <c:v>355748</c:v>
                </c:pt>
                <c:pt idx="2341">
                  <c:v>355732</c:v>
                </c:pt>
                <c:pt idx="2342">
                  <c:v>355697</c:v>
                </c:pt>
                <c:pt idx="2343">
                  <c:v>355690</c:v>
                </c:pt>
                <c:pt idx="2344">
                  <c:v>355688</c:v>
                </c:pt>
                <c:pt idx="2345">
                  <c:v>355660</c:v>
                </c:pt>
                <c:pt idx="2346">
                  <c:v>355658</c:v>
                </c:pt>
                <c:pt idx="2347">
                  <c:v>355578</c:v>
                </c:pt>
                <c:pt idx="2348">
                  <c:v>355571</c:v>
                </c:pt>
                <c:pt idx="2349">
                  <c:v>355549</c:v>
                </c:pt>
                <c:pt idx="2350">
                  <c:v>355541</c:v>
                </c:pt>
                <c:pt idx="2351">
                  <c:v>355529</c:v>
                </c:pt>
                <c:pt idx="2352">
                  <c:v>355529</c:v>
                </c:pt>
                <c:pt idx="2353">
                  <c:v>355517</c:v>
                </c:pt>
                <c:pt idx="2354">
                  <c:v>355496</c:v>
                </c:pt>
                <c:pt idx="2355">
                  <c:v>355495</c:v>
                </c:pt>
                <c:pt idx="2356">
                  <c:v>355477</c:v>
                </c:pt>
                <c:pt idx="2357">
                  <c:v>355457</c:v>
                </c:pt>
                <c:pt idx="2358">
                  <c:v>355456</c:v>
                </c:pt>
                <c:pt idx="2359">
                  <c:v>355442</c:v>
                </c:pt>
                <c:pt idx="2360">
                  <c:v>355442</c:v>
                </c:pt>
                <c:pt idx="2361">
                  <c:v>355415</c:v>
                </c:pt>
                <c:pt idx="2362">
                  <c:v>355414</c:v>
                </c:pt>
                <c:pt idx="2363">
                  <c:v>355405</c:v>
                </c:pt>
                <c:pt idx="2364">
                  <c:v>355366</c:v>
                </c:pt>
                <c:pt idx="2365">
                  <c:v>355333</c:v>
                </c:pt>
                <c:pt idx="2366">
                  <c:v>355317</c:v>
                </c:pt>
                <c:pt idx="2367">
                  <c:v>355310</c:v>
                </c:pt>
                <c:pt idx="2368">
                  <c:v>355303</c:v>
                </c:pt>
                <c:pt idx="2369">
                  <c:v>355293</c:v>
                </c:pt>
                <c:pt idx="2370">
                  <c:v>355276</c:v>
                </c:pt>
                <c:pt idx="2371">
                  <c:v>355269</c:v>
                </c:pt>
                <c:pt idx="2372">
                  <c:v>355268</c:v>
                </c:pt>
                <c:pt idx="2373">
                  <c:v>355259</c:v>
                </c:pt>
                <c:pt idx="2374">
                  <c:v>355256</c:v>
                </c:pt>
                <c:pt idx="2375">
                  <c:v>355255</c:v>
                </c:pt>
                <c:pt idx="2376">
                  <c:v>355140</c:v>
                </c:pt>
                <c:pt idx="2377">
                  <c:v>355137</c:v>
                </c:pt>
                <c:pt idx="2378">
                  <c:v>355133</c:v>
                </c:pt>
                <c:pt idx="2379">
                  <c:v>355104</c:v>
                </c:pt>
                <c:pt idx="2380">
                  <c:v>355092</c:v>
                </c:pt>
                <c:pt idx="2381">
                  <c:v>355081</c:v>
                </c:pt>
                <c:pt idx="2382">
                  <c:v>355075</c:v>
                </c:pt>
                <c:pt idx="2383">
                  <c:v>355059</c:v>
                </c:pt>
                <c:pt idx="2384">
                  <c:v>355054</c:v>
                </c:pt>
                <c:pt idx="2385">
                  <c:v>355052</c:v>
                </c:pt>
                <c:pt idx="2386">
                  <c:v>355045</c:v>
                </c:pt>
                <c:pt idx="2387">
                  <c:v>355042</c:v>
                </c:pt>
                <c:pt idx="2388">
                  <c:v>355039</c:v>
                </c:pt>
                <c:pt idx="2389">
                  <c:v>355037</c:v>
                </c:pt>
                <c:pt idx="2390">
                  <c:v>355022</c:v>
                </c:pt>
                <c:pt idx="2391">
                  <c:v>355021</c:v>
                </c:pt>
                <c:pt idx="2392">
                  <c:v>355006</c:v>
                </c:pt>
                <c:pt idx="2393">
                  <c:v>354971</c:v>
                </c:pt>
                <c:pt idx="2394">
                  <c:v>354953</c:v>
                </c:pt>
                <c:pt idx="2395">
                  <c:v>354904</c:v>
                </c:pt>
                <c:pt idx="2396">
                  <c:v>354891</c:v>
                </c:pt>
                <c:pt idx="2397">
                  <c:v>354873</c:v>
                </c:pt>
                <c:pt idx="2398">
                  <c:v>354861</c:v>
                </c:pt>
                <c:pt idx="2399">
                  <c:v>354857</c:v>
                </c:pt>
                <c:pt idx="2400">
                  <c:v>354843</c:v>
                </c:pt>
                <c:pt idx="2401">
                  <c:v>354833</c:v>
                </c:pt>
                <c:pt idx="2402">
                  <c:v>354833</c:v>
                </c:pt>
                <c:pt idx="2403">
                  <c:v>354816</c:v>
                </c:pt>
                <c:pt idx="2404">
                  <c:v>354785</c:v>
                </c:pt>
                <c:pt idx="2405">
                  <c:v>354783</c:v>
                </c:pt>
                <c:pt idx="2406">
                  <c:v>354757</c:v>
                </c:pt>
                <c:pt idx="2407">
                  <c:v>354722</c:v>
                </c:pt>
                <c:pt idx="2408">
                  <c:v>354683</c:v>
                </c:pt>
                <c:pt idx="2409">
                  <c:v>354623</c:v>
                </c:pt>
                <c:pt idx="2410">
                  <c:v>354616</c:v>
                </c:pt>
                <c:pt idx="2411">
                  <c:v>354599</c:v>
                </c:pt>
                <c:pt idx="2412">
                  <c:v>354579</c:v>
                </c:pt>
                <c:pt idx="2413">
                  <c:v>354559</c:v>
                </c:pt>
                <c:pt idx="2414">
                  <c:v>354549</c:v>
                </c:pt>
                <c:pt idx="2415">
                  <c:v>354540</c:v>
                </c:pt>
                <c:pt idx="2416">
                  <c:v>354494</c:v>
                </c:pt>
                <c:pt idx="2417">
                  <c:v>354486</c:v>
                </c:pt>
                <c:pt idx="2418">
                  <c:v>354484</c:v>
                </c:pt>
                <c:pt idx="2419">
                  <c:v>354445</c:v>
                </c:pt>
                <c:pt idx="2420">
                  <c:v>354411</c:v>
                </c:pt>
                <c:pt idx="2421">
                  <c:v>354387</c:v>
                </c:pt>
                <c:pt idx="2422">
                  <c:v>354381</c:v>
                </c:pt>
                <c:pt idx="2423">
                  <c:v>354376</c:v>
                </c:pt>
                <c:pt idx="2424">
                  <c:v>354375</c:v>
                </c:pt>
                <c:pt idx="2425">
                  <c:v>354373</c:v>
                </c:pt>
                <c:pt idx="2426">
                  <c:v>354360</c:v>
                </c:pt>
                <c:pt idx="2427">
                  <c:v>354353</c:v>
                </c:pt>
                <c:pt idx="2428">
                  <c:v>354326</c:v>
                </c:pt>
                <c:pt idx="2429">
                  <c:v>354322</c:v>
                </c:pt>
                <c:pt idx="2430">
                  <c:v>354297</c:v>
                </c:pt>
                <c:pt idx="2431">
                  <c:v>354297</c:v>
                </c:pt>
                <c:pt idx="2432">
                  <c:v>354283</c:v>
                </c:pt>
                <c:pt idx="2433">
                  <c:v>354270</c:v>
                </c:pt>
                <c:pt idx="2434">
                  <c:v>354234</c:v>
                </c:pt>
                <c:pt idx="2435">
                  <c:v>354222</c:v>
                </c:pt>
                <c:pt idx="2436">
                  <c:v>354210</c:v>
                </c:pt>
                <c:pt idx="2437">
                  <c:v>354208</c:v>
                </c:pt>
                <c:pt idx="2438">
                  <c:v>354203</c:v>
                </c:pt>
                <c:pt idx="2439">
                  <c:v>354171</c:v>
                </c:pt>
                <c:pt idx="2440">
                  <c:v>354152</c:v>
                </c:pt>
                <c:pt idx="2441">
                  <c:v>354125</c:v>
                </c:pt>
                <c:pt idx="2442">
                  <c:v>354093</c:v>
                </c:pt>
                <c:pt idx="2443">
                  <c:v>354080</c:v>
                </c:pt>
                <c:pt idx="2444">
                  <c:v>354072</c:v>
                </c:pt>
                <c:pt idx="2445">
                  <c:v>354052</c:v>
                </c:pt>
                <c:pt idx="2446">
                  <c:v>354048</c:v>
                </c:pt>
                <c:pt idx="2447">
                  <c:v>354048</c:v>
                </c:pt>
                <c:pt idx="2448">
                  <c:v>354047</c:v>
                </c:pt>
                <c:pt idx="2449">
                  <c:v>354045</c:v>
                </c:pt>
                <c:pt idx="2450">
                  <c:v>354040</c:v>
                </c:pt>
                <c:pt idx="2451">
                  <c:v>354008</c:v>
                </c:pt>
                <c:pt idx="2452">
                  <c:v>353986</c:v>
                </c:pt>
                <c:pt idx="2453">
                  <c:v>353984</c:v>
                </c:pt>
                <c:pt idx="2454">
                  <c:v>353975</c:v>
                </c:pt>
                <c:pt idx="2455">
                  <c:v>353954</c:v>
                </c:pt>
                <c:pt idx="2456">
                  <c:v>353932</c:v>
                </c:pt>
                <c:pt idx="2457">
                  <c:v>353924</c:v>
                </c:pt>
                <c:pt idx="2458">
                  <c:v>353897</c:v>
                </c:pt>
                <c:pt idx="2459">
                  <c:v>353892</c:v>
                </c:pt>
                <c:pt idx="2460">
                  <c:v>353882</c:v>
                </c:pt>
                <c:pt idx="2461">
                  <c:v>353875</c:v>
                </c:pt>
                <c:pt idx="2462">
                  <c:v>353856</c:v>
                </c:pt>
                <c:pt idx="2463">
                  <c:v>353848</c:v>
                </c:pt>
                <c:pt idx="2464">
                  <c:v>353838</c:v>
                </c:pt>
                <c:pt idx="2465">
                  <c:v>353831</c:v>
                </c:pt>
                <c:pt idx="2466">
                  <c:v>353809</c:v>
                </c:pt>
                <c:pt idx="2467">
                  <c:v>353806</c:v>
                </c:pt>
                <c:pt idx="2468">
                  <c:v>353800</c:v>
                </c:pt>
                <c:pt idx="2469">
                  <c:v>353746</c:v>
                </c:pt>
                <c:pt idx="2470">
                  <c:v>353742</c:v>
                </c:pt>
                <c:pt idx="2471">
                  <c:v>353696</c:v>
                </c:pt>
                <c:pt idx="2472">
                  <c:v>353684</c:v>
                </c:pt>
                <c:pt idx="2473">
                  <c:v>353643</c:v>
                </c:pt>
                <c:pt idx="2474">
                  <c:v>353640</c:v>
                </c:pt>
                <c:pt idx="2475">
                  <c:v>353640</c:v>
                </c:pt>
                <c:pt idx="2476">
                  <c:v>353599</c:v>
                </c:pt>
                <c:pt idx="2477">
                  <c:v>353593</c:v>
                </c:pt>
                <c:pt idx="2478">
                  <c:v>353560</c:v>
                </c:pt>
                <c:pt idx="2479">
                  <c:v>353554</c:v>
                </c:pt>
                <c:pt idx="2480">
                  <c:v>353547</c:v>
                </c:pt>
                <c:pt idx="2481">
                  <c:v>353539</c:v>
                </c:pt>
                <c:pt idx="2482">
                  <c:v>353523</c:v>
                </c:pt>
                <c:pt idx="2483">
                  <c:v>353498</c:v>
                </c:pt>
                <c:pt idx="2484">
                  <c:v>353484</c:v>
                </c:pt>
                <c:pt idx="2485">
                  <c:v>353474</c:v>
                </c:pt>
                <c:pt idx="2486">
                  <c:v>353456</c:v>
                </c:pt>
                <c:pt idx="2487">
                  <c:v>353451</c:v>
                </c:pt>
                <c:pt idx="2488">
                  <c:v>353449</c:v>
                </c:pt>
                <c:pt idx="2489">
                  <c:v>353434</c:v>
                </c:pt>
                <c:pt idx="2490">
                  <c:v>353410</c:v>
                </c:pt>
                <c:pt idx="2491">
                  <c:v>353406</c:v>
                </c:pt>
                <c:pt idx="2492">
                  <c:v>353392</c:v>
                </c:pt>
                <c:pt idx="2493">
                  <c:v>353390</c:v>
                </c:pt>
                <c:pt idx="2494">
                  <c:v>353358</c:v>
                </c:pt>
                <c:pt idx="2495">
                  <c:v>353341</c:v>
                </c:pt>
                <c:pt idx="2496">
                  <c:v>353324</c:v>
                </c:pt>
                <c:pt idx="2497">
                  <c:v>353300</c:v>
                </c:pt>
                <c:pt idx="2498">
                  <c:v>353298</c:v>
                </c:pt>
                <c:pt idx="2499">
                  <c:v>353286</c:v>
                </c:pt>
                <c:pt idx="2500">
                  <c:v>353282</c:v>
                </c:pt>
                <c:pt idx="2501">
                  <c:v>353281</c:v>
                </c:pt>
                <c:pt idx="2502">
                  <c:v>353256</c:v>
                </c:pt>
                <c:pt idx="2503">
                  <c:v>353207</c:v>
                </c:pt>
                <c:pt idx="2504">
                  <c:v>353187</c:v>
                </c:pt>
                <c:pt idx="2505">
                  <c:v>353172</c:v>
                </c:pt>
                <c:pt idx="2506">
                  <c:v>353170</c:v>
                </c:pt>
                <c:pt idx="2507">
                  <c:v>353164</c:v>
                </c:pt>
                <c:pt idx="2508">
                  <c:v>353139</c:v>
                </c:pt>
                <c:pt idx="2509">
                  <c:v>353126</c:v>
                </c:pt>
                <c:pt idx="2510">
                  <c:v>353124</c:v>
                </c:pt>
                <c:pt idx="2511">
                  <c:v>353103</c:v>
                </c:pt>
                <c:pt idx="2512">
                  <c:v>353061</c:v>
                </c:pt>
                <c:pt idx="2513">
                  <c:v>353042</c:v>
                </c:pt>
                <c:pt idx="2514">
                  <c:v>352990</c:v>
                </c:pt>
                <c:pt idx="2515">
                  <c:v>352940</c:v>
                </c:pt>
                <c:pt idx="2516">
                  <c:v>352940</c:v>
                </c:pt>
                <c:pt idx="2517">
                  <c:v>352919</c:v>
                </c:pt>
                <c:pt idx="2518">
                  <c:v>352908</c:v>
                </c:pt>
                <c:pt idx="2519">
                  <c:v>352896</c:v>
                </c:pt>
                <c:pt idx="2520">
                  <c:v>352890</c:v>
                </c:pt>
                <c:pt idx="2521">
                  <c:v>352888</c:v>
                </c:pt>
                <c:pt idx="2522">
                  <c:v>352851</c:v>
                </c:pt>
                <c:pt idx="2523">
                  <c:v>352845</c:v>
                </c:pt>
                <c:pt idx="2524">
                  <c:v>352837</c:v>
                </c:pt>
                <c:pt idx="2525">
                  <c:v>352836</c:v>
                </c:pt>
                <c:pt idx="2526">
                  <c:v>352815</c:v>
                </c:pt>
                <c:pt idx="2527">
                  <c:v>352806</c:v>
                </c:pt>
                <c:pt idx="2528">
                  <c:v>352796</c:v>
                </c:pt>
                <c:pt idx="2529">
                  <c:v>352790</c:v>
                </c:pt>
                <c:pt idx="2530">
                  <c:v>352776</c:v>
                </c:pt>
                <c:pt idx="2531">
                  <c:v>352774</c:v>
                </c:pt>
                <c:pt idx="2532">
                  <c:v>352759</c:v>
                </c:pt>
                <c:pt idx="2533">
                  <c:v>352722</c:v>
                </c:pt>
                <c:pt idx="2534">
                  <c:v>352707</c:v>
                </c:pt>
                <c:pt idx="2535">
                  <c:v>352647</c:v>
                </c:pt>
                <c:pt idx="2536">
                  <c:v>352636</c:v>
                </c:pt>
                <c:pt idx="2537">
                  <c:v>352599</c:v>
                </c:pt>
                <c:pt idx="2538">
                  <c:v>352574</c:v>
                </c:pt>
                <c:pt idx="2539">
                  <c:v>352573</c:v>
                </c:pt>
                <c:pt idx="2540">
                  <c:v>352569</c:v>
                </c:pt>
                <c:pt idx="2541">
                  <c:v>352554</c:v>
                </c:pt>
                <c:pt idx="2542">
                  <c:v>352544</c:v>
                </c:pt>
                <c:pt idx="2543">
                  <c:v>352541</c:v>
                </c:pt>
                <c:pt idx="2544">
                  <c:v>352530</c:v>
                </c:pt>
                <c:pt idx="2545">
                  <c:v>352502</c:v>
                </c:pt>
                <c:pt idx="2546">
                  <c:v>352494</c:v>
                </c:pt>
                <c:pt idx="2547">
                  <c:v>352471</c:v>
                </c:pt>
                <c:pt idx="2548">
                  <c:v>352445</c:v>
                </c:pt>
                <c:pt idx="2549">
                  <c:v>352427</c:v>
                </c:pt>
                <c:pt idx="2550">
                  <c:v>352381</c:v>
                </c:pt>
                <c:pt idx="2551">
                  <c:v>352325</c:v>
                </c:pt>
                <c:pt idx="2552">
                  <c:v>352323</c:v>
                </c:pt>
                <c:pt idx="2553">
                  <c:v>352320</c:v>
                </c:pt>
                <c:pt idx="2554">
                  <c:v>352286</c:v>
                </c:pt>
                <c:pt idx="2555">
                  <c:v>352272</c:v>
                </c:pt>
                <c:pt idx="2556">
                  <c:v>352270</c:v>
                </c:pt>
                <c:pt idx="2557">
                  <c:v>352259</c:v>
                </c:pt>
                <c:pt idx="2558">
                  <c:v>352256</c:v>
                </c:pt>
                <c:pt idx="2559">
                  <c:v>352255</c:v>
                </c:pt>
                <c:pt idx="2560">
                  <c:v>352201</c:v>
                </c:pt>
                <c:pt idx="2561">
                  <c:v>352108</c:v>
                </c:pt>
                <c:pt idx="2562">
                  <c:v>352105</c:v>
                </c:pt>
                <c:pt idx="2563">
                  <c:v>352102</c:v>
                </c:pt>
                <c:pt idx="2564">
                  <c:v>352099</c:v>
                </c:pt>
                <c:pt idx="2565">
                  <c:v>352081</c:v>
                </c:pt>
                <c:pt idx="2566">
                  <c:v>352071</c:v>
                </c:pt>
                <c:pt idx="2567">
                  <c:v>352060</c:v>
                </c:pt>
                <c:pt idx="2568">
                  <c:v>352047</c:v>
                </c:pt>
                <c:pt idx="2569">
                  <c:v>352040</c:v>
                </c:pt>
                <c:pt idx="2570">
                  <c:v>352024</c:v>
                </c:pt>
                <c:pt idx="2571">
                  <c:v>352023</c:v>
                </c:pt>
                <c:pt idx="2572">
                  <c:v>352011</c:v>
                </c:pt>
                <c:pt idx="2573">
                  <c:v>352010</c:v>
                </c:pt>
                <c:pt idx="2574">
                  <c:v>352009</c:v>
                </c:pt>
                <c:pt idx="2575">
                  <c:v>351984</c:v>
                </c:pt>
                <c:pt idx="2576">
                  <c:v>351978</c:v>
                </c:pt>
                <c:pt idx="2577">
                  <c:v>351931</c:v>
                </c:pt>
                <c:pt idx="2578">
                  <c:v>351913</c:v>
                </c:pt>
                <c:pt idx="2579">
                  <c:v>351876</c:v>
                </c:pt>
                <c:pt idx="2580">
                  <c:v>351872</c:v>
                </c:pt>
                <c:pt idx="2581">
                  <c:v>351864</c:v>
                </c:pt>
                <c:pt idx="2582">
                  <c:v>351827</c:v>
                </c:pt>
                <c:pt idx="2583">
                  <c:v>351820</c:v>
                </c:pt>
                <c:pt idx="2584">
                  <c:v>351791</c:v>
                </c:pt>
                <c:pt idx="2585">
                  <c:v>351784</c:v>
                </c:pt>
                <c:pt idx="2586">
                  <c:v>351781</c:v>
                </c:pt>
                <c:pt idx="2587">
                  <c:v>351774</c:v>
                </c:pt>
                <c:pt idx="2588">
                  <c:v>351748</c:v>
                </c:pt>
                <c:pt idx="2589">
                  <c:v>351735</c:v>
                </c:pt>
                <c:pt idx="2590">
                  <c:v>351734</c:v>
                </c:pt>
                <c:pt idx="2591">
                  <c:v>351730</c:v>
                </c:pt>
                <c:pt idx="2592">
                  <c:v>351719</c:v>
                </c:pt>
                <c:pt idx="2593">
                  <c:v>351706</c:v>
                </c:pt>
                <c:pt idx="2594">
                  <c:v>351696</c:v>
                </c:pt>
                <c:pt idx="2595">
                  <c:v>351670</c:v>
                </c:pt>
                <c:pt idx="2596">
                  <c:v>351650</c:v>
                </c:pt>
                <c:pt idx="2597">
                  <c:v>351645</c:v>
                </c:pt>
                <c:pt idx="2598">
                  <c:v>351624</c:v>
                </c:pt>
                <c:pt idx="2599">
                  <c:v>351613</c:v>
                </c:pt>
                <c:pt idx="2600">
                  <c:v>351609</c:v>
                </c:pt>
                <c:pt idx="2601">
                  <c:v>351600</c:v>
                </c:pt>
                <c:pt idx="2602">
                  <c:v>351597</c:v>
                </c:pt>
                <c:pt idx="2603">
                  <c:v>351572</c:v>
                </c:pt>
                <c:pt idx="2604">
                  <c:v>351564</c:v>
                </c:pt>
                <c:pt idx="2605">
                  <c:v>351495</c:v>
                </c:pt>
                <c:pt idx="2606">
                  <c:v>351493</c:v>
                </c:pt>
                <c:pt idx="2607">
                  <c:v>351478</c:v>
                </c:pt>
                <c:pt idx="2608">
                  <c:v>351446</c:v>
                </c:pt>
                <c:pt idx="2609">
                  <c:v>351425</c:v>
                </c:pt>
                <c:pt idx="2610">
                  <c:v>351384</c:v>
                </c:pt>
                <c:pt idx="2611">
                  <c:v>351345</c:v>
                </c:pt>
                <c:pt idx="2612">
                  <c:v>351316</c:v>
                </c:pt>
                <c:pt idx="2613">
                  <c:v>351309</c:v>
                </c:pt>
                <c:pt idx="2614">
                  <c:v>351290</c:v>
                </c:pt>
                <c:pt idx="2615">
                  <c:v>351285</c:v>
                </c:pt>
                <c:pt idx="2616">
                  <c:v>351280</c:v>
                </c:pt>
                <c:pt idx="2617">
                  <c:v>351255</c:v>
                </c:pt>
                <c:pt idx="2618">
                  <c:v>351252</c:v>
                </c:pt>
                <c:pt idx="2619">
                  <c:v>351239</c:v>
                </c:pt>
                <c:pt idx="2620">
                  <c:v>351237</c:v>
                </c:pt>
                <c:pt idx="2621">
                  <c:v>351208</c:v>
                </c:pt>
                <c:pt idx="2622">
                  <c:v>351191</c:v>
                </c:pt>
                <c:pt idx="2623">
                  <c:v>351148</c:v>
                </c:pt>
                <c:pt idx="2624">
                  <c:v>351143</c:v>
                </c:pt>
                <c:pt idx="2625">
                  <c:v>351127</c:v>
                </c:pt>
                <c:pt idx="2626">
                  <c:v>351110</c:v>
                </c:pt>
                <c:pt idx="2627">
                  <c:v>351104</c:v>
                </c:pt>
                <c:pt idx="2628">
                  <c:v>351092</c:v>
                </c:pt>
                <c:pt idx="2629">
                  <c:v>351088</c:v>
                </c:pt>
                <c:pt idx="2630">
                  <c:v>351069</c:v>
                </c:pt>
                <c:pt idx="2631">
                  <c:v>351038</c:v>
                </c:pt>
                <c:pt idx="2632">
                  <c:v>351033</c:v>
                </c:pt>
                <c:pt idx="2633">
                  <c:v>351004</c:v>
                </c:pt>
                <c:pt idx="2634">
                  <c:v>350996</c:v>
                </c:pt>
                <c:pt idx="2635">
                  <c:v>350948</c:v>
                </c:pt>
                <c:pt idx="2636">
                  <c:v>350929</c:v>
                </c:pt>
                <c:pt idx="2637">
                  <c:v>350905</c:v>
                </c:pt>
                <c:pt idx="2638">
                  <c:v>350894</c:v>
                </c:pt>
                <c:pt idx="2639">
                  <c:v>350876</c:v>
                </c:pt>
                <c:pt idx="2640">
                  <c:v>350857</c:v>
                </c:pt>
                <c:pt idx="2641">
                  <c:v>350839</c:v>
                </c:pt>
                <c:pt idx="2642">
                  <c:v>350801</c:v>
                </c:pt>
                <c:pt idx="2643">
                  <c:v>350775</c:v>
                </c:pt>
                <c:pt idx="2644">
                  <c:v>350716</c:v>
                </c:pt>
                <c:pt idx="2645">
                  <c:v>350705</c:v>
                </c:pt>
                <c:pt idx="2646">
                  <c:v>350685</c:v>
                </c:pt>
                <c:pt idx="2647">
                  <c:v>350669</c:v>
                </c:pt>
                <c:pt idx="2648">
                  <c:v>350661</c:v>
                </c:pt>
                <c:pt idx="2649">
                  <c:v>350645</c:v>
                </c:pt>
                <c:pt idx="2650">
                  <c:v>350644</c:v>
                </c:pt>
                <c:pt idx="2651">
                  <c:v>350625</c:v>
                </c:pt>
                <c:pt idx="2652">
                  <c:v>350603</c:v>
                </c:pt>
                <c:pt idx="2653">
                  <c:v>350566</c:v>
                </c:pt>
                <c:pt idx="2654">
                  <c:v>350558</c:v>
                </c:pt>
                <c:pt idx="2655">
                  <c:v>350537</c:v>
                </c:pt>
                <c:pt idx="2656">
                  <c:v>350517</c:v>
                </c:pt>
                <c:pt idx="2657">
                  <c:v>350469</c:v>
                </c:pt>
                <c:pt idx="2658">
                  <c:v>350465</c:v>
                </c:pt>
                <c:pt idx="2659">
                  <c:v>350452</c:v>
                </c:pt>
                <c:pt idx="2660">
                  <c:v>350448</c:v>
                </c:pt>
                <c:pt idx="2661">
                  <c:v>350382</c:v>
                </c:pt>
                <c:pt idx="2662">
                  <c:v>350360</c:v>
                </c:pt>
                <c:pt idx="2663">
                  <c:v>350350</c:v>
                </c:pt>
                <c:pt idx="2664">
                  <c:v>350349</c:v>
                </c:pt>
                <c:pt idx="2665">
                  <c:v>350349</c:v>
                </c:pt>
                <c:pt idx="2666">
                  <c:v>350334</c:v>
                </c:pt>
                <c:pt idx="2667">
                  <c:v>350301</c:v>
                </c:pt>
                <c:pt idx="2668">
                  <c:v>350301</c:v>
                </c:pt>
                <c:pt idx="2669">
                  <c:v>350293</c:v>
                </c:pt>
                <c:pt idx="2670">
                  <c:v>350287</c:v>
                </c:pt>
                <c:pt idx="2671">
                  <c:v>350285</c:v>
                </c:pt>
                <c:pt idx="2672">
                  <c:v>350283</c:v>
                </c:pt>
                <c:pt idx="2673">
                  <c:v>350269</c:v>
                </c:pt>
                <c:pt idx="2674">
                  <c:v>350266</c:v>
                </c:pt>
                <c:pt idx="2675">
                  <c:v>350258</c:v>
                </c:pt>
                <c:pt idx="2676">
                  <c:v>350254</c:v>
                </c:pt>
                <c:pt idx="2677">
                  <c:v>350246</c:v>
                </c:pt>
                <c:pt idx="2678">
                  <c:v>350234</c:v>
                </c:pt>
                <c:pt idx="2679">
                  <c:v>350203</c:v>
                </c:pt>
                <c:pt idx="2680">
                  <c:v>350188</c:v>
                </c:pt>
                <c:pt idx="2681">
                  <c:v>350171</c:v>
                </c:pt>
                <c:pt idx="2682">
                  <c:v>350123</c:v>
                </c:pt>
                <c:pt idx="2683">
                  <c:v>350107</c:v>
                </c:pt>
                <c:pt idx="2684">
                  <c:v>350099</c:v>
                </c:pt>
                <c:pt idx="2685">
                  <c:v>350081</c:v>
                </c:pt>
                <c:pt idx="2686">
                  <c:v>350051</c:v>
                </c:pt>
                <c:pt idx="2687">
                  <c:v>350020</c:v>
                </c:pt>
                <c:pt idx="2688">
                  <c:v>350017</c:v>
                </c:pt>
                <c:pt idx="2689">
                  <c:v>350011</c:v>
                </c:pt>
                <c:pt idx="2690">
                  <c:v>350005</c:v>
                </c:pt>
                <c:pt idx="2691">
                  <c:v>349952</c:v>
                </c:pt>
                <c:pt idx="2692">
                  <c:v>349921</c:v>
                </c:pt>
                <c:pt idx="2693">
                  <c:v>349915</c:v>
                </c:pt>
                <c:pt idx="2694">
                  <c:v>349865</c:v>
                </c:pt>
                <c:pt idx="2695">
                  <c:v>349857</c:v>
                </c:pt>
                <c:pt idx="2696">
                  <c:v>349854</c:v>
                </c:pt>
                <c:pt idx="2697">
                  <c:v>349846</c:v>
                </c:pt>
                <c:pt idx="2698">
                  <c:v>349843</c:v>
                </c:pt>
                <c:pt idx="2699">
                  <c:v>349752</c:v>
                </c:pt>
                <c:pt idx="2700">
                  <c:v>349714</c:v>
                </c:pt>
                <c:pt idx="2701">
                  <c:v>349703</c:v>
                </c:pt>
                <c:pt idx="2702">
                  <c:v>349703</c:v>
                </c:pt>
                <c:pt idx="2703">
                  <c:v>349695</c:v>
                </c:pt>
                <c:pt idx="2704">
                  <c:v>349691</c:v>
                </c:pt>
                <c:pt idx="2705">
                  <c:v>349687</c:v>
                </c:pt>
                <c:pt idx="2706">
                  <c:v>349658</c:v>
                </c:pt>
                <c:pt idx="2707">
                  <c:v>349641</c:v>
                </c:pt>
                <c:pt idx="2708">
                  <c:v>349632</c:v>
                </c:pt>
                <c:pt idx="2709">
                  <c:v>349612</c:v>
                </c:pt>
                <c:pt idx="2710">
                  <c:v>349599</c:v>
                </c:pt>
                <c:pt idx="2711">
                  <c:v>349575</c:v>
                </c:pt>
                <c:pt idx="2712">
                  <c:v>349573</c:v>
                </c:pt>
                <c:pt idx="2713">
                  <c:v>349567</c:v>
                </c:pt>
                <c:pt idx="2714">
                  <c:v>349529</c:v>
                </c:pt>
                <c:pt idx="2715">
                  <c:v>349519</c:v>
                </c:pt>
                <c:pt idx="2716">
                  <c:v>349513</c:v>
                </c:pt>
                <c:pt idx="2717">
                  <c:v>349507</c:v>
                </c:pt>
                <c:pt idx="2718">
                  <c:v>349492</c:v>
                </c:pt>
                <c:pt idx="2719">
                  <c:v>349457</c:v>
                </c:pt>
                <c:pt idx="2720">
                  <c:v>349425</c:v>
                </c:pt>
                <c:pt idx="2721">
                  <c:v>349415</c:v>
                </c:pt>
                <c:pt idx="2722">
                  <c:v>349395</c:v>
                </c:pt>
                <c:pt idx="2723">
                  <c:v>349383</c:v>
                </c:pt>
                <c:pt idx="2724">
                  <c:v>349379</c:v>
                </c:pt>
                <c:pt idx="2725">
                  <c:v>349354</c:v>
                </c:pt>
                <c:pt idx="2726">
                  <c:v>349345</c:v>
                </c:pt>
                <c:pt idx="2727">
                  <c:v>349341</c:v>
                </c:pt>
                <c:pt idx="2728">
                  <c:v>349316</c:v>
                </c:pt>
                <c:pt idx="2729">
                  <c:v>349296</c:v>
                </c:pt>
                <c:pt idx="2730">
                  <c:v>349269</c:v>
                </c:pt>
                <c:pt idx="2731">
                  <c:v>349215</c:v>
                </c:pt>
                <c:pt idx="2732">
                  <c:v>349183</c:v>
                </c:pt>
                <c:pt idx="2733">
                  <c:v>349171</c:v>
                </c:pt>
                <c:pt idx="2734">
                  <c:v>349154</c:v>
                </c:pt>
                <c:pt idx="2735">
                  <c:v>349115</c:v>
                </c:pt>
                <c:pt idx="2736">
                  <c:v>349092</c:v>
                </c:pt>
                <c:pt idx="2737">
                  <c:v>349077</c:v>
                </c:pt>
                <c:pt idx="2738">
                  <c:v>349075</c:v>
                </c:pt>
                <c:pt idx="2739">
                  <c:v>349059</c:v>
                </c:pt>
                <c:pt idx="2740">
                  <c:v>349059</c:v>
                </c:pt>
                <c:pt idx="2741">
                  <c:v>349052</c:v>
                </c:pt>
                <c:pt idx="2742">
                  <c:v>349047</c:v>
                </c:pt>
                <c:pt idx="2743">
                  <c:v>349038</c:v>
                </c:pt>
                <c:pt idx="2744">
                  <c:v>349018</c:v>
                </c:pt>
                <c:pt idx="2745">
                  <c:v>349016</c:v>
                </c:pt>
                <c:pt idx="2746">
                  <c:v>349002</c:v>
                </c:pt>
                <c:pt idx="2747">
                  <c:v>348994</c:v>
                </c:pt>
                <c:pt idx="2748">
                  <c:v>348974</c:v>
                </c:pt>
                <c:pt idx="2749">
                  <c:v>348960</c:v>
                </c:pt>
                <c:pt idx="2750">
                  <c:v>348927</c:v>
                </c:pt>
                <c:pt idx="2751">
                  <c:v>348904</c:v>
                </c:pt>
                <c:pt idx="2752">
                  <c:v>348870</c:v>
                </c:pt>
                <c:pt idx="2753">
                  <c:v>348852</c:v>
                </c:pt>
                <c:pt idx="2754">
                  <c:v>348791</c:v>
                </c:pt>
                <c:pt idx="2755">
                  <c:v>348779</c:v>
                </c:pt>
                <c:pt idx="2756">
                  <c:v>348773</c:v>
                </c:pt>
                <c:pt idx="2757">
                  <c:v>348769</c:v>
                </c:pt>
                <c:pt idx="2758">
                  <c:v>348751</c:v>
                </c:pt>
                <c:pt idx="2759">
                  <c:v>348726</c:v>
                </c:pt>
                <c:pt idx="2760">
                  <c:v>348703</c:v>
                </c:pt>
                <c:pt idx="2761">
                  <c:v>348699</c:v>
                </c:pt>
                <c:pt idx="2762">
                  <c:v>348693</c:v>
                </c:pt>
                <c:pt idx="2763">
                  <c:v>348687</c:v>
                </c:pt>
                <c:pt idx="2764">
                  <c:v>348682</c:v>
                </c:pt>
                <c:pt idx="2765">
                  <c:v>348666</c:v>
                </c:pt>
                <c:pt idx="2766">
                  <c:v>348617</c:v>
                </c:pt>
                <c:pt idx="2767">
                  <c:v>348612</c:v>
                </c:pt>
                <c:pt idx="2768">
                  <c:v>348591</c:v>
                </c:pt>
                <c:pt idx="2769">
                  <c:v>348582</c:v>
                </c:pt>
                <c:pt idx="2770">
                  <c:v>348560</c:v>
                </c:pt>
                <c:pt idx="2771">
                  <c:v>348554</c:v>
                </c:pt>
                <c:pt idx="2772">
                  <c:v>348548</c:v>
                </c:pt>
                <c:pt idx="2773">
                  <c:v>348495</c:v>
                </c:pt>
                <c:pt idx="2774">
                  <c:v>348484</c:v>
                </c:pt>
                <c:pt idx="2775">
                  <c:v>348484</c:v>
                </c:pt>
                <c:pt idx="2776">
                  <c:v>348457</c:v>
                </c:pt>
                <c:pt idx="2777">
                  <c:v>348444</c:v>
                </c:pt>
                <c:pt idx="2778">
                  <c:v>348429</c:v>
                </c:pt>
                <c:pt idx="2779">
                  <c:v>348424</c:v>
                </c:pt>
                <c:pt idx="2780">
                  <c:v>348416</c:v>
                </c:pt>
                <c:pt idx="2781">
                  <c:v>348405</c:v>
                </c:pt>
                <c:pt idx="2782">
                  <c:v>348383</c:v>
                </c:pt>
                <c:pt idx="2783">
                  <c:v>348372</c:v>
                </c:pt>
                <c:pt idx="2784">
                  <c:v>348370</c:v>
                </c:pt>
                <c:pt idx="2785">
                  <c:v>348351</c:v>
                </c:pt>
                <c:pt idx="2786">
                  <c:v>348334</c:v>
                </c:pt>
                <c:pt idx="2787">
                  <c:v>348302</c:v>
                </c:pt>
                <c:pt idx="2788">
                  <c:v>348290</c:v>
                </c:pt>
                <c:pt idx="2789">
                  <c:v>348267</c:v>
                </c:pt>
                <c:pt idx="2790">
                  <c:v>348260</c:v>
                </c:pt>
                <c:pt idx="2791">
                  <c:v>348258</c:v>
                </c:pt>
                <c:pt idx="2792">
                  <c:v>348229</c:v>
                </c:pt>
                <c:pt idx="2793">
                  <c:v>348222</c:v>
                </c:pt>
                <c:pt idx="2794">
                  <c:v>348220</c:v>
                </c:pt>
                <c:pt idx="2795">
                  <c:v>348201</c:v>
                </c:pt>
                <c:pt idx="2796">
                  <c:v>348174</c:v>
                </c:pt>
                <c:pt idx="2797">
                  <c:v>348146</c:v>
                </c:pt>
                <c:pt idx="2798">
                  <c:v>348126</c:v>
                </c:pt>
                <c:pt idx="2799">
                  <c:v>348100</c:v>
                </c:pt>
                <c:pt idx="2800">
                  <c:v>348090</c:v>
                </c:pt>
                <c:pt idx="2801">
                  <c:v>348083</c:v>
                </c:pt>
                <c:pt idx="2802">
                  <c:v>348081</c:v>
                </c:pt>
                <c:pt idx="2803">
                  <c:v>348076</c:v>
                </c:pt>
                <c:pt idx="2804">
                  <c:v>348065</c:v>
                </c:pt>
                <c:pt idx="2805">
                  <c:v>348064</c:v>
                </c:pt>
                <c:pt idx="2806">
                  <c:v>348060</c:v>
                </c:pt>
                <c:pt idx="2807">
                  <c:v>348052</c:v>
                </c:pt>
                <c:pt idx="2808">
                  <c:v>347953</c:v>
                </c:pt>
                <c:pt idx="2809">
                  <c:v>347911</c:v>
                </c:pt>
                <c:pt idx="2810">
                  <c:v>347906</c:v>
                </c:pt>
                <c:pt idx="2811">
                  <c:v>347864</c:v>
                </c:pt>
                <c:pt idx="2812">
                  <c:v>347860</c:v>
                </c:pt>
                <c:pt idx="2813">
                  <c:v>347842</c:v>
                </c:pt>
                <c:pt idx="2814">
                  <c:v>347841</c:v>
                </c:pt>
                <c:pt idx="2815">
                  <c:v>347822</c:v>
                </c:pt>
                <c:pt idx="2816">
                  <c:v>347784</c:v>
                </c:pt>
                <c:pt idx="2817">
                  <c:v>347783</c:v>
                </c:pt>
                <c:pt idx="2818">
                  <c:v>347768</c:v>
                </c:pt>
                <c:pt idx="2819">
                  <c:v>347758</c:v>
                </c:pt>
                <c:pt idx="2820">
                  <c:v>347750</c:v>
                </c:pt>
                <c:pt idx="2821">
                  <c:v>347744</c:v>
                </c:pt>
                <c:pt idx="2822">
                  <c:v>347735</c:v>
                </c:pt>
                <c:pt idx="2823">
                  <c:v>347730</c:v>
                </c:pt>
                <c:pt idx="2824">
                  <c:v>347727</c:v>
                </c:pt>
                <c:pt idx="2825">
                  <c:v>347726</c:v>
                </c:pt>
                <c:pt idx="2826">
                  <c:v>347701</c:v>
                </c:pt>
                <c:pt idx="2827">
                  <c:v>347646</c:v>
                </c:pt>
                <c:pt idx="2828">
                  <c:v>347645</c:v>
                </c:pt>
                <c:pt idx="2829">
                  <c:v>347643</c:v>
                </c:pt>
                <c:pt idx="2830">
                  <c:v>347638</c:v>
                </c:pt>
                <c:pt idx="2831">
                  <c:v>347599</c:v>
                </c:pt>
                <c:pt idx="2832">
                  <c:v>347598</c:v>
                </c:pt>
                <c:pt idx="2833">
                  <c:v>347594</c:v>
                </c:pt>
                <c:pt idx="2834">
                  <c:v>347589</c:v>
                </c:pt>
                <c:pt idx="2835">
                  <c:v>347588</c:v>
                </c:pt>
                <c:pt idx="2836">
                  <c:v>347587</c:v>
                </c:pt>
                <c:pt idx="2837">
                  <c:v>347574</c:v>
                </c:pt>
                <c:pt idx="2838">
                  <c:v>347567</c:v>
                </c:pt>
                <c:pt idx="2839">
                  <c:v>347549</c:v>
                </c:pt>
                <c:pt idx="2840">
                  <c:v>347534</c:v>
                </c:pt>
                <c:pt idx="2841">
                  <c:v>347530</c:v>
                </c:pt>
                <c:pt idx="2842">
                  <c:v>347500</c:v>
                </c:pt>
                <c:pt idx="2843">
                  <c:v>347494</c:v>
                </c:pt>
                <c:pt idx="2844">
                  <c:v>347489</c:v>
                </c:pt>
                <c:pt idx="2845">
                  <c:v>347469</c:v>
                </c:pt>
                <c:pt idx="2846">
                  <c:v>347467</c:v>
                </c:pt>
                <c:pt idx="2847">
                  <c:v>347459</c:v>
                </c:pt>
                <c:pt idx="2848">
                  <c:v>347433</c:v>
                </c:pt>
                <c:pt idx="2849">
                  <c:v>347407</c:v>
                </c:pt>
                <c:pt idx="2850">
                  <c:v>347379</c:v>
                </c:pt>
                <c:pt idx="2851">
                  <c:v>347375</c:v>
                </c:pt>
                <c:pt idx="2852">
                  <c:v>347338</c:v>
                </c:pt>
                <c:pt idx="2853">
                  <c:v>347318</c:v>
                </c:pt>
                <c:pt idx="2854">
                  <c:v>347273</c:v>
                </c:pt>
                <c:pt idx="2855">
                  <c:v>347236</c:v>
                </c:pt>
                <c:pt idx="2856">
                  <c:v>347231</c:v>
                </c:pt>
                <c:pt idx="2857">
                  <c:v>347227</c:v>
                </c:pt>
                <c:pt idx="2858">
                  <c:v>347226</c:v>
                </c:pt>
                <c:pt idx="2859">
                  <c:v>347173</c:v>
                </c:pt>
                <c:pt idx="2860">
                  <c:v>347136</c:v>
                </c:pt>
                <c:pt idx="2861">
                  <c:v>347130</c:v>
                </c:pt>
                <c:pt idx="2862">
                  <c:v>347120</c:v>
                </c:pt>
                <c:pt idx="2863">
                  <c:v>347089</c:v>
                </c:pt>
                <c:pt idx="2864">
                  <c:v>347080</c:v>
                </c:pt>
                <c:pt idx="2865">
                  <c:v>347055</c:v>
                </c:pt>
                <c:pt idx="2866">
                  <c:v>347054</c:v>
                </c:pt>
                <c:pt idx="2867">
                  <c:v>347033</c:v>
                </c:pt>
                <c:pt idx="2868">
                  <c:v>347029</c:v>
                </c:pt>
                <c:pt idx="2869">
                  <c:v>347004</c:v>
                </c:pt>
                <c:pt idx="2870">
                  <c:v>347003</c:v>
                </c:pt>
                <c:pt idx="2871">
                  <c:v>346993</c:v>
                </c:pt>
                <c:pt idx="2872">
                  <c:v>346990</c:v>
                </c:pt>
                <c:pt idx="2873">
                  <c:v>346988</c:v>
                </c:pt>
                <c:pt idx="2874">
                  <c:v>346975</c:v>
                </c:pt>
                <c:pt idx="2875">
                  <c:v>346975</c:v>
                </c:pt>
                <c:pt idx="2876">
                  <c:v>346967</c:v>
                </c:pt>
                <c:pt idx="2877">
                  <c:v>346963</c:v>
                </c:pt>
                <c:pt idx="2878">
                  <c:v>346946</c:v>
                </c:pt>
                <c:pt idx="2879">
                  <c:v>346924</c:v>
                </c:pt>
                <c:pt idx="2880">
                  <c:v>346909</c:v>
                </c:pt>
                <c:pt idx="2881">
                  <c:v>346893</c:v>
                </c:pt>
                <c:pt idx="2882">
                  <c:v>346891</c:v>
                </c:pt>
                <c:pt idx="2883">
                  <c:v>346876</c:v>
                </c:pt>
                <c:pt idx="2884">
                  <c:v>346874</c:v>
                </c:pt>
                <c:pt idx="2885">
                  <c:v>346874</c:v>
                </c:pt>
                <c:pt idx="2886">
                  <c:v>346873</c:v>
                </c:pt>
                <c:pt idx="2887">
                  <c:v>346870</c:v>
                </c:pt>
                <c:pt idx="2888">
                  <c:v>346863</c:v>
                </c:pt>
                <c:pt idx="2889">
                  <c:v>346863</c:v>
                </c:pt>
                <c:pt idx="2890">
                  <c:v>346860</c:v>
                </c:pt>
                <c:pt idx="2891">
                  <c:v>346856</c:v>
                </c:pt>
                <c:pt idx="2892">
                  <c:v>346855</c:v>
                </c:pt>
                <c:pt idx="2893">
                  <c:v>346801</c:v>
                </c:pt>
                <c:pt idx="2894">
                  <c:v>346787</c:v>
                </c:pt>
                <c:pt idx="2895">
                  <c:v>346779</c:v>
                </c:pt>
                <c:pt idx="2896">
                  <c:v>346762</c:v>
                </c:pt>
                <c:pt idx="2897">
                  <c:v>346686</c:v>
                </c:pt>
                <c:pt idx="2898">
                  <c:v>346633</c:v>
                </c:pt>
                <c:pt idx="2899">
                  <c:v>346626</c:v>
                </c:pt>
                <c:pt idx="2900">
                  <c:v>346606</c:v>
                </c:pt>
                <c:pt idx="2901">
                  <c:v>346594</c:v>
                </c:pt>
                <c:pt idx="2902">
                  <c:v>346591</c:v>
                </c:pt>
                <c:pt idx="2903">
                  <c:v>346591</c:v>
                </c:pt>
                <c:pt idx="2904">
                  <c:v>346581</c:v>
                </c:pt>
                <c:pt idx="2905">
                  <c:v>346579</c:v>
                </c:pt>
                <c:pt idx="2906">
                  <c:v>346578</c:v>
                </c:pt>
                <c:pt idx="2907">
                  <c:v>346573</c:v>
                </c:pt>
                <c:pt idx="2908">
                  <c:v>346565</c:v>
                </c:pt>
                <c:pt idx="2909">
                  <c:v>346564</c:v>
                </c:pt>
                <c:pt idx="2910">
                  <c:v>346561</c:v>
                </c:pt>
                <c:pt idx="2911">
                  <c:v>346532</c:v>
                </c:pt>
                <c:pt idx="2912">
                  <c:v>346518</c:v>
                </c:pt>
                <c:pt idx="2913">
                  <c:v>346517</c:v>
                </c:pt>
                <c:pt idx="2914">
                  <c:v>346484</c:v>
                </c:pt>
                <c:pt idx="2915">
                  <c:v>346482</c:v>
                </c:pt>
                <c:pt idx="2916">
                  <c:v>346465</c:v>
                </c:pt>
                <c:pt idx="2917">
                  <c:v>346449</c:v>
                </c:pt>
                <c:pt idx="2918">
                  <c:v>346444</c:v>
                </c:pt>
                <c:pt idx="2919">
                  <c:v>346443</c:v>
                </c:pt>
                <c:pt idx="2920">
                  <c:v>346409</c:v>
                </c:pt>
                <c:pt idx="2921">
                  <c:v>346400</c:v>
                </c:pt>
                <c:pt idx="2922">
                  <c:v>346392</c:v>
                </c:pt>
                <c:pt idx="2923">
                  <c:v>346363</c:v>
                </c:pt>
                <c:pt idx="2924">
                  <c:v>346353</c:v>
                </c:pt>
                <c:pt idx="2925">
                  <c:v>346342</c:v>
                </c:pt>
                <c:pt idx="2926">
                  <c:v>346327</c:v>
                </c:pt>
                <c:pt idx="2927">
                  <c:v>346325</c:v>
                </c:pt>
                <c:pt idx="2928">
                  <c:v>346312</c:v>
                </c:pt>
                <c:pt idx="2929">
                  <c:v>346297</c:v>
                </c:pt>
                <c:pt idx="2930">
                  <c:v>346295</c:v>
                </c:pt>
                <c:pt idx="2931">
                  <c:v>346284</c:v>
                </c:pt>
                <c:pt idx="2932">
                  <c:v>346275</c:v>
                </c:pt>
                <c:pt idx="2933">
                  <c:v>346274</c:v>
                </c:pt>
                <c:pt idx="2934">
                  <c:v>346266</c:v>
                </c:pt>
                <c:pt idx="2935">
                  <c:v>346259</c:v>
                </c:pt>
                <c:pt idx="2936">
                  <c:v>346254</c:v>
                </c:pt>
                <c:pt idx="2937">
                  <c:v>346233</c:v>
                </c:pt>
                <c:pt idx="2938">
                  <c:v>346201</c:v>
                </c:pt>
                <c:pt idx="2939">
                  <c:v>346187</c:v>
                </c:pt>
                <c:pt idx="2940">
                  <c:v>346186</c:v>
                </c:pt>
                <c:pt idx="2941">
                  <c:v>346171</c:v>
                </c:pt>
                <c:pt idx="2942">
                  <c:v>346159</c:v>
                </c:pt>
                <c:pt idx="2943">
                  <c:v>346140</c:v>
                </c:pt>
                <c:pt idx="2944">
                  <c:v>346135</c:v>
                </c:pt>
                <c:pt idx="2945">
                  <c:v>346118</c:v>
                </c:pt>
                <c:pt idx="2946">
                  <c:v>346101</c:v>
                </c:pt>
                <c:pt idx="2947">
                  <c:v>346083</c:v>
                </c:pt>
                <c:pt idx="2948">
                  <c:v>346079</c:v>
                </c:pt>
                <c:pt idx="2949">
                  <c:v>346063</c:v>
                </c:pt>
                <c:pt idx="2950">
                  <c:v>346063</c:v>
                </c:pt>
                <c:pt idx="2951">
                  <c:v>346042</c:v>
                </c:pt>
                <c:pt idx="2952">
                  <c:v>346035</c:v>
                </c:pt>
                <c:pt idx="2953">
                  <c:v>346031</c:v>
                </c:pt>
                <c:pt idx="2954">
                  <c:v>346031</c:v>
                </c:pt>
                <c:pt idx="2955">
                  <c:v>346025</c:v>
                </c:pt>
                <c:pt idx="2956">
                  <c:v>345993</c:v>
                </c:pt>
                <c:pt idx="2957">
                  <c:v>345968</c:v>
                </c:pt>
                <c:pt idx="2958">
                  <c:v>345966</c:v>
                </c:pt>
                <c:pt idx="2959">
                  <c:v>345950</c:v>
                </c:pt>
                <c:pt idx="2960">
                  <c:v>345949</c:v>
                </c:pt>
                <c:pt idx="2961">
                  <c:v>345889</c:v>
                </c:pt>
                <c:pt idx="2962">
                  <c:v>345884</c:v>
                </c:pt>
                <c:pt idx="2963">
                  <c:v>345828</c:v>
                </c:pt>
                <c:pt idx="2964">
                  <c:v>345828</c:v>
                </c:pt>
                <c:pt idx="2965">
                  <c:v>345825</c:v>
                </c:pt>
                <c:pt idx="2966">
                  <c:v>345825</c:v>
                </c:pt>
                <c:pt idx="2967">
                  <c:v>345801</c:v>
                </c:pt>
                <c:pt idx="2968">
                  <c:v>345773</c:v>
                </c:pt>
                <c:pt idx="2969">
                  <c:v>345757</c:v>
                </c:pt>
                <c:pt idx="2970">
                  <c:v>345746</c:v>
                </c:pt>
                <c:pt idx="2971">
                  <c:v>345737</c:v>
                </c:pt>
                <c:pt idx="2972">
                  <c:v>345734</c:v>
                </c:pt>
                <c:pt idx="2973">
                  <c:v>345729</c:v>
                </c:pt>
                <c:pt idx="2974">
                  <c:v>345725</c:v>
                </c:pt>
                <c:pt idx="2975">
                  <c:v>345714</c:v>
                </c:pt>
                <c:pt idx="2976">
                  <c:v>345693</c:v>
                </c:pt>
                <c:pt idx="2977">
                  <c:v>345670</c:v>
                </c:pt>
                <c:pt idx="2978">
                  <c:v>345641</c:v>
                </c:pt>
                <c:pt idx="2979">
                  <c:v>345611</c:v>
                </c:pt>
                <c:pt idx="2980">
                  <c:v>345601</c:v>
                </c:pt>
                <c:pt idx="2981">
                  <c:v>345597</c:v>
                </c:pt>
                <c:pt idx="2982">
                  <c:v>345595</c:v>
                </c:pt>
                <c:pt idx="2983">
                  <c:v>345581</c:v>
                </c:pt>
                <c:pt idx="2984">
                  <c:v>345558</c:v>
                </c:pt>
                <c:pt idx="2985">
                  <c:v>345557</c:v>
                </c:pt>
                <c:pt idx="2986">
                  <c:v>345526</c:v>
                </c:pt>
                <c:pt idx="2987">
                  <c:v>345522</c:v>
                </c:pt>
                <c:pt idx="2988">
                  <c:v>345486</c:v>
                </c:pt>
                <c:pt idx="2989">
                  <c:v>345477</c:v>
                </c:pt>
                <c:pt idx="2990">
                  <c:v>345466</c:v>
                </c:pt>
                <c:pt idx="2991">
                  <c:v>345457</c:v>
                </c:pt>
                <c:pt idx="2992">
                  <c:v>345453</c:v>
                </c:pt>
                <c:pt idx="2993">
                  <c:v>345433</c:v>
                </c:pt>
                <c:pt idx="2994">
                  <c:v>345424</c:v>
                </c:pt>
                <c:pt idx="2995">
                  <c:v>345412</c:v>
                </c:pt>
                <c:pt idx="2996">
                  <c:v>345405</c:v>
                </c:pt>
                <c:pt idx="2997">
                  <c:v>345398</c:v>
                </c:pt>
                <c:pt idx="2998">
                  <c:v>345396</c:v>
                </c:pt>
                <c:pt idx="2999">
                  <c:v>345379</c:v>
                </c:pt>
                <c:pt idx="3000">
                  <c:v>345372</c:v>
                </c:pt>
                <c:pt idx="3001">
                  <c:v>345370</c:v>
                </c:pt>
                <c:pt idx="3002">
                  <c:v>345361</c:v>
                </c:pt>
                <c:pt idx="3003">
                  <c:v>345359</c:v>
                </c:pt>
                <c:pt idx="3004">
                  <c:v>345356</c:v>
                </c:pt>
                <c:pt idx="3005">
                  <c:v>345352</c:v>
                </c:pt>
                <c:pt idx="3006">
                  <c:v>345347</c:v>
                </c:pt>
                <c:pt idx="3007">
                  <c:v>345343</c:v>
                </c:pt>
                <c:pt idx="3008">
                  <c:v>345305</c:v>
                </c:pt>
                <c:pt idx="3009">
                  <c:v>345292</c:v>
                </c:pt>
                <c:pt idx="3010">
                  <c:v>345292</c:v>
                </c:pt>
                <c:pt idx="3011">
                  <c:v>345284</c:v>
                </c:pt>
                <c:pt idx="3012">
                  <c:v>345283</c:v>
                </c:pt>
                <c:pt idx="3013">
                  <c:v>345281</c:v>
                </c:pt>
                <c:pt idx="3014">
                  <c:v>345275</c:v>
                </c:pt>
                <c:pt idx="3015">
                  <c:v>345254</c:v>
                </c:pt>
                <c:pt idx="3016">
                  <c:v>345187</c:v>
                </c:pt>
                <c:pt idx="3017">
                  <c:v>345182</c:v>
                </c:pt>
                <c:pt idx="3018">
                  <c:v>345172</c:v>
                </c:pt>
                <c:pt idx="3019">
                  <c:v>345155</c:v>
                </c:pt>
                <c:pt idx="3020">
                  <c:v>345154</c:v>
                </c:pt>
                <c:pt idx="3021">
                  <c:v>345154</c:v>
                </c:pt>
                <c:pt idx="3022">
                  <c:v>345151</c:v>
                </c:pt>
                <c:pt idx="3023">
                  <c:v>345133</c:v>
                </c:pt>
                <c:pt idx="3024">
                  <c:v>345100</c:v>
                </c:pt>
                <c:pt idx="3025">
                  <c:v>345092</c:v>
                </c:pt>
                <c:pt idx="3026">
                  <c:v>345086</c:v>
                </c:pt>
                <c:pt idx="3027">
                  <c:v>345082</c:v>
                </c:pt>
                <c:pt idx="3028">
                  <c:v>345058</c:v>
                </c:pt>
                <c:pt idx="3029">
                  <c:v>345012</c:v>
                </c:pt>
                <c:pt idx="3030">
                  <c:v>344997</c:v>
                </c:pt>
                <c:pt idx="3031">
                  <c:v>344983</c:v>
                </c:pt>
                <c:pt idx="3032">
                  <c:v>344983</c:v>
                </c:pt>
                <c:pt idx="3033">
                  <c:v>344977</c:v>
                </c:pt>
                <c:pt idx="3034">
                  <c:v>344960</c:v>
                </c:pt>
                <c:pt idx="3035">
                  <c:v>344950</c:v>
                </c:pt>
                <c:pt idx="3036">
                  <c:v>344946</c:v>
                </c:pt>
                <c:pt idx="3037">
                  <c:v>344903</c:v>
                </c:pt>
                <c:pt idx="3038">
                  <c:v>344902</c:v>
                </c:pt>
                <c:pt idx="3039">
                  <c:v>344900</c:v>
                </c:pt>
                <c:pt idx="3040">
                  <c:v>344897</c:v>
                </c:pt>
                <c:pt idx="3041">
                  <c:v>344888</c:v>
                </c:pt>
                <c:pt idx="3042">
                  <c:v>344881</c:v>
                </c:pt>
                <c:pt idx="3043">
                  <c:v>344880</c:v>
                </c:pt>
                <c:pt idx="3044">
                  <c:v>344870</c:v>
                </c:pt>
                <c:pt idx="3045">
                  <c:v>344843</c:v>
                </c:pt>
                <c:pt idx="3046">
                  <c:v>344812</c:v>
                </c:pt>
                <c:pt idx="3047">
                  <c:v>344804</c:v>
                </c:pt>
                <c:pt idx="3048">
                  <c:v>344793</c:v>
                </c:pt>
                <c:pt idx="3049">
                  <c:v>344771</c:v>
                </c:pt>
                <c:pt idx="3050">
                  <c:v>344754</c:v>
                </c:pt>
                <c:pt idx="3051">
                  <c:v>344733</c:v>
                </c:pt>
                <c:pt idx="3052">
                  <c:v>344723</c:v>
                </c:pt>
                <c:pt idx="3053">
                  <c:v>344708</c:v>
                </c:pt>
                <c:pt idx="3054">
                  <c:v>344701</c:v>
                </c:pt>
                <c:pt idx="3055">
                  <c:v>344687</c:v>
                </c:pt>
                <c:pt idx="3056">
                  <c:v>344659</c:v>
                </c:pt>
                <c:pt idx="3057">
                  <c:v>344645</c:v>
                </c:pt>
                <c:pt idx="3058">
                  <c:v>344635</c:v>
                </c:pt>
                <c:pt idx="3059">
                  <c:v>344597</c:v>
                </c:pt>
                <c:pt idx="3060">
                  <c:v>344562</c:v>
                </c:pt>
                <c:pt idx="3061">
                  <c:v>344525</c:v>
                </c:pt>
                <c:pt idx="3062">
                  <c:v>344523</c:v>
                </c:pt>
                <c:pt idx="3063">
                  <c:v>344494</c:v>
                </c:pt>
                <c:pt idx="3064">
                  <c:v>344483</c:v>
                </c:pt>
                <c:pt idx="3065">
                  <c:v>344477</c:v>
                </c:pt>
                <c:pt idx="3066">
                  <c:v>344472</c:v>
                </c:pt>
                <c:pt idx="3067">
                  <c:v>344470</c:v>
                </c:pt>
                <c:pt idx="3068">
                  <c:v>344467</c:v>
                </c:pt>
                <c:pt idx="3069">
                  <c:v>344448</c:v>
                </c:pt>
                <c:pt idx="3070">
                  <c:v>344390</c:v>
                </c:pt>
                <c:pt idx="3071">
                  <c:v>344374</c:v>
                </c:pt>
                <c:pt idx="3072">
                  <c:v>344374</c:v>
                </c:pt>
                <c:pt idx="3073">
                  <c:v>344373</c:v>
                </c:pt>
                <c:pt idx="3074">
                  <c:v>344363</c:v>
                </c:pt>
                <c:pt idx="3075">
                  <c:v>344328</c:v>
                </c:pt>
                <c:pt idx="3076">
                  <c:v>344321</c:v>
                </c:pt>
                <c:pt idx="3077">
                  <c:v>344310</c:v>
                </c:pt>
                <c:pt idx="3078">
                  <c:v>344281</c:v>
                </c:pt>
                <c:pt idx="3079">
                  <c:v>344268</c:v>
                </c:pt>
                <c:pt idx="3080">
                  <c:v>344257</c:v>
                </c:pt>
                <c:pt idx="3081">
                  <c:v>344231</c:v>
                </c:pt>
                <c:pt idx="3082">
                  <c:v>344224</c:v>
                </c:pt>
                <c:pt idx="3083">
                  <c:v>344220</c:v>
                </c:pt>
                <c:pt idx="3084">
                  <c:v>344215</c:v>
                </c:pt>
                <c:pt idx="3085">
                  <c:v>344212</c:v>
                </c:pt>
                <c:pt idx="3086">
                  <c:v>344209</c:v>
                </c:pt>
                <c:pt idx="3087">
                  <c:v>344197</c:v>
                </c:pt>
                <c:pt idx="3088">
                  <c:v>344182</c:v>
                </c:pt>
                <c:pt idx="3089">
                  <c:v>344148</c:v>
                </c:pt>
                <c:pt idx="3090">
                  <c:v>344136</c:v>
                </c:pt>
                <c:pt idx="3091">
                  <c:v>344132</c:v>
                </c:pt>
                <c:pt idx="3092">
                  <c:v>344131</c:v>
                </c:pt>
                <c:pt idx="3093">
                  <c:v>344128</c:v>
                </c:pt>
                <c:pt idx="3094">
                  <c:v>344127</c:v>
                </c:pt>
                <c:pt idx="3095">
                  <c:v>344117</c:v>
                </c:pt>
                <c:pt idx="3096">
                  <c:v>344108</c:v>
                </c:pt>
                <c:pt idx="3097">
                  <c:v>344064</c:v>
                </c:pt>
                <c:pt idx="3098">
                  <c:v>344060</c:v>
                </c:pt>
                <c:pt idx="3099">
                  <c:v>344054</c:v>
                </c:pt>
                <c:pt idx="3100">
                  <c:v>344050</c:v>
                </c:pt>
                <c:pt idx="3101">
                  <c:v>344029</c:v>
                </c:pt>
                <c:pt idx="3102">
                  <c:v>344003</c:v>
                </c:pt>
                <c:pt idx="3103">
                  <c:v>343995</c:v>
                </c:pt>
                <c:pt idx="3104">
                  <c:v>343973</c:v>
                </c:pt>
                <c:pt idx="3105">
                  <c:v>343961</c:v>
                </c:pt>
                <c:pt idx="3106">
                  <c:v>343956</c:v>
                </c:pt>
                <c:pt idx="3107">
                  <c:v>343949</c:v>
                </c:pt>
                <c:pt idx="3108">
                  <c:v>343948</c:v>
                </c:pt>
                <c:pt idx="3109">
                  <c:v>343946</c:v>
                </c:pt>
                <c:pt idx="3110">
                  <c:v>343937</c:v>
                </c:pt>
                <c:pt idx="3111">
                  <c:v>343914</c:v>
                </c:pt>
                <c:pt idx="3112">
                  <c:v>343869</c:v>
                </c:pt>
                <c:pt idx="3113">
                  <c:v>343856</c:v>
                </c:pt>
                <c:pt idx="3114">
                  <c:v>343828</c:v>
                </c:pt>
                <c:pt idx="3115">
                  <c:v>343813</c:v>
                </c:pt>
                <c:pt idx="3116">
                  <c:v>343813</c:v>
                </c:pt>
                <c:pt idx="3117">
                  <c:v>343805</c:v>
                </c:pt>
                <c:pt idx="3118">
                  <c:v>343803</c:v>
                </c:pt>
                <c:pt idx="3119">
                  <c:v>343789</c:v>
                </c:pt>
                <c:pt idx="3120">
                  <c:v>343777</c:v>
                </c:pt>
                <c:pt idx="3121">
                  <c:v>343771</c:v>
                </c:pt>
                <c:pt idx="3122">
                  <c:v>343771</c:v>
                </c:pt>
                <c:pt idx="3123">
                  <c:v>343752</c:v>
                </c:pt>
                <c:pt idx="3124">
                  <c:v>343736</c:v>
                </c:pt>
                <c:pt idx="3125">
                  <c:v>343736</c:v>
                </c:pt>
                <c:pt idx="3126">
                  <c:v>343721</c:v>
                </c:pt>
                <c:pt idx="3127">
                  <c:v>343712</c:v>
                </c:pt>
                <c:pt idx="3128">
                  <c:v>343698</c:v>
                </c:pt>
                <c:pt idx="3129">
                  <c:v>343697</c:v>
                </c:pt>
                <c:pt idx="3130">
                  <c:v>343695</c:v>
                </c:pt>
                <c:pt idx="3131">
                  <c:v>343694</c:v>
                </c:pt>
                <c:pt idx="3132">
                  <c:v>343686</c:v>
                </c:pt>
                <c:pt idx="3133">
                  <c:v>343646</c:v>
                </c:pt>
                <c:pt idx="3134">
                  <c:v>343633</c:v>
                </c:pt>
                <c:pt idx="3135">
                  <c:v>343625</c:v>
                </c:pt>
                <c:pt idx="3136">
                  <c:v>343590</c:v>
                </c:pt>
                <c:pt idx="3137">
                  <c:v>343580</c:v>
                </c:pt>
                <c:pt idx="3138">
                  <c:v>343572</c:v>
                </c:pt>
                <c:pt idx="3139">
                  <c:v>343558</c:v>
                </c:pt>
                <c:pt idx="3140">
                  <c:v>343550</c:v>
                </c:pt>
                <c:pt idx="3141">
                  <c:v>343544</c:v>
                </c:pt>
                <c:pt idx="3142">
                  <c:v>343523</c:v>
                </c:pt>
                <c:pt idx="3143">
                  <c:v>343476</c:v>
                </c:pt>
                <c:pt idx="3144">
                  <c:v>343472</c:v>
                </c:pt>
                <c:pt idx="3145">
                  <c:v>343470</c:v>
                </c:pt>
                <c:pt idx="3146">
                  <c:v>343460</c:v>
                </c:pt>
                <c:pt idx="3147">
                  <c:v>343456</c:v>
                </c:pt>
                <c:pt idx="3148">
                  <c:v>343429</c:v>
                </c:pt>
                <c:pt idx="3149">
                  <c:v>343427</c:v>
                </c:pt>
                <c:pt idx="3150">
                  <c:v>343408</c:v>
                </c:pt>
                <c:pt idx="3151">
                  <c:v>343400</c:v>
                </c:pt>
                <c:pt idx="3152">
                  <c:v>343390</c:v>
                </c:pt>
                <c:pt idx="3153">
                  <c:v>343387</c:v>
                </c:pt>
                <c:pt idx="3154">
                  <c:v>343376</c:v>
                </c:pt>
                <c:pt idx="3155">
                  <c:v>343364</c:v>
                </c:pt>
                <c:pt idx="3156">
                  <c:v>343353</c:v>
                </c:pt>
                <c:pt idx="3157">
                  <c:v>343341</c:v>
                </c:pt>
                <c:pt idx="3158">
                  <c:v>343339</c:v>
                </c:pt>
                <c:pt idx="3159">
                  <c:v>343336</c:v>
                </c:pt>
                <c:pt idx="3160">
                  <c:v>343333</c:v>
                </c:pt>
                <c:pt idx="3161">
                  <c:v>343332</c:v>
                </c:pt>
                <c:pt idx="3162">
                  <c:v>343312</c:v>
                </c:pt>
                <c:pt idx="3163">
                  <c:v>343295</c:v>
                </c:pt>
                <c:pt idx="3164">
                  <c:v>343293</c:v>
                </c:pt>
                <c:pt idx="3165">
                  <c:v>343279</c:v>
                </c:pt>
                <c:pt idx="3166">
                  <c:v>343278</c:v>
                </c:pt>
                <c:pt idx="3167">
                  <c:v>343273</c:v>
                </c:pt>
                <c:pt idx="3168">
                  <c:v>343259</c:v>
                </c:pt>
                <c:pt idx="3169">
                  <c:v>343252</c:v>
                </c:pt>
                <c:pt idx="3170">
                  <c:v>343243</c:v>
                </c:pt>
                <c:pt idx="3171">
                  <c:v>343234</c:v>
                </c:pt>
                <c:pt idx="3172">
                  <c:v>343213</c:v>
                </c:pt>
                <c:pt idx="3173">
                  <c:v>343195</c:v>
                </c:pt>
                <c:pt idx="3174">
                  <c:v>343187</c:v>
                </c:pt>
                <c:pt idx="3175">
                  <c:v>343178</c:v>
                </c:pt>
                <c:pt idx="3176">
                  <c:v>343166</c:v>
                </c:pt>
                <c:pt idx="3177">
                  <c:v>343148</c:v>
                </c:pt>
                <c:pt idx="3178">
                  <c:v>343141</c:v>
                </c:pt>
                <c:pt idx="3179">
                  <c:v>343124</c:v>
                </c:pt>
                <c:pt idx="3180">
                  <c:v>343123</c:v>
                </c:pt>
                <c:pt idx="3181">
                  <c:v>343092</c:v>
                </c:pt>
                <c:pt idx="3182">
                  <c:v>343085</c:v>
                </c:pt>
                <c:pt idx="3183">
                  <c:v>343057</c:v>
                </c:pt>
                <c:pt idx="3184">
                  <c:v>343045</c:v>
                </c:pt>
                <c:pt idx="3185">
                  <c:v>343044</c:v>
                </c:pt>
                <c:pt idx="3186">
                  <c:v>343040</c:v>
                </c:pt>
                <c:pt idx="3187">
                  <c:v>343040</c:v>
                </c:pt>
                <c:pt idx="3188">
                  <c:v>343036</c:v>
                </c:pt>
                <c:pt idx="3189">
                  <c:v>343035</c:v>
                </c:pt>
                <c:pt idx="3190">
                  <c:v>343024</c:v>
                </c:pt>
                <c:pt idx="3191">
                  <c:v>343003</c:v>
                </c:pt>
                <c:pt idx="3192">
                  <c:v>343002</c:v>
                </c:pt>
                <c:pt idx="3193">
                  <c:v>342997</c:v>
                </c:pt>
                <c:pt idx="3194">
                  <c:v>342982</c:v>
                </c:pt>
                <c:pt idx="3195">
                  <c:v>342959</c:v>
                </c:pt>
                <c:pt idx="3196">
                  <c:v>342943</c:v>
                </c:pt>
                <c:pt idx="3197">
                  <c:v>342927</c:v>
                </c:pt>
                <c:pt idx="3198">
                  <c:v>342916</c:v>
                </c:pt>
                <c:pt idx="3199">
                  <c:v>342904</c:v>
                </c:pt>
                <c:pt idx="3200">
                  <c:v>342900</c:v>
                </c:pt>
                <c:pt idx="3201">
                  <c:v>342870</c:v>
                </c:pt>
                <c:pt idx="3202">
                  <c:v>342859</c:v>
                </c:pt>
                <c:pt idx="3203">
                  <c:v>342850</c:v>
                </c:pt>
                <c:pt idx="3204">
                  <c:v>342849</c:v>
                </c:pt>
                <c:pt idx="3205">
                  <c:v>342844</c:v>
                </c:pt>
                <c:pt idx="3206">
                  <c:v>342836</c:v>
                </c:pt>
                <c:pt idx="3207">
                  <c:v>342834</c:v>
                </c:pt>
                <c:pt idx="3208">
                  <c:v>342814</c:v>
                </c:pt>
                <c:pt idx="3209">
                  <c:v>342793</c:v>
                </c:pt>
                <c:pt idx="3210">
                  <c:v>342792</c:v>
                </c:pt>
                <c:pt idx="3211">
                  <c:v>342782</c:v>
                </c:pt>
                <c:pt idx="3212">
                  <c:v>342763</c:v>
                </c:pt>
                <c:pt idx="3213">
                  <c:v>342760</c:v>
                </c:pt>
                <c:pt idx="3214">
                  <c:v>342753</c:v>
                </c:pt>
                <c:pt idx="3215">
                  <c:v>342742</c:v>
                </c:pt>
                <c:pt idx="3216">
                  <c:v>342734</c:v>
                </c:pt>
                <c:pt idx="3217">
                  <c:v>342731</c:v>
                </c:pt>
                <c:pt idx="3218">
                  <c:v>342729</c:v>
                </c:pt>
                <c:pt idx="3219">
                  <c:v>342729</c:v>
                </c:pt>
                <c:pt idx="3220">
                  <c:v>342726</c:v>
                </c:pt>
                <c:pt idx="3221">
                  <c:v>342718</c:v>
                </c:pt>
                <c:pt idx="3222">
                  <c:v>342694</c:v>
                </c:pt>
                <c:pt idx="3223">
                  <c:v>342688</c:v>
                </c:pt>
                <c:pt idx="3224">
                  <c:v>342675</c:v>
                </c:pt>
                <c:pt idx="3225">
                  <c:v>342656</c:v>
                </c:pt>
                <c:pt idx="3226">
                  <c:v>342649</c:v>
                </c:pt>
                <c:pt idx="3227">
                  <c:v>342644</c:v>
                </c:pt>
                <c:pt idx="3228">
                  <c:v>342635</c:v>
                </c:pt>
                <c:pt idx="3229">
                  <c:v>342615</c:v>
                </c:pt>
                <c:pt idx="3230">
                  <c:v>342594</c:v>
                </c:pt>
                <c:pt idx="3231">
                  <c:v>342532</c:v>
                </c:pt>
                <c:pt idx="3232">
                  <c:v>342491</c:v>
                </c:pt>
                <c:pt idx="3233">
                  <c:v>342491</c:v>
                </c:pt>
                <c:pt idx="3234">
                  <c:v>342481</c:v>
                </c:pt>
                <c:pt idx="3235">
                  <c:v>342443</c:v>
                </c:pt>
                <c:pt idx="3236">
                  <c:v>342427</c:v>
                </c:pt>
                <c:pt idx="3237">
                  <c:v>342426</c:v>
                </c:pt>
                <c:pt idx="3238">
                  <c:v>342408</c:v>
                </c:pt>
                <c:pt idx="3239">
                  <c:v>342403</c:v>
                </c:pt>
                <c:pt idx="3240">
                  <c:v>342399</c:v>
                </c:pt>
                <c:pt idx="3241">
                  <c:v>342396</c:v>
                </c:pt>
                <c:pt idx="3242">
                  <c:v>342394</c:v>
                </c:pt>
                <c:pt idx="3243">
                  <c:v>342390</c:v>
                </c:pt>
                <c:pt idx="3244">
                  <c:v>342377</c:v>
                </c:pt>
                <c:pt idx="3245">
                  <c:v>342356</c:v>
                </c:pt>
                <c:pt idx="3246">
                  <c:v>342351</c:v>
                </c:pt>
                <c:pt idx="3247">
                  <c:v>342351</c:v>
                </c:pt>
                <c:pt idx="3248">
                  <c:v>342349</c:v>
                </c:pt>
                <c:pt idx="3249">
                  <c:v>342341</c:v>
                </c:pt>
                <c:pt idx="3250">
                  <c:v>342330</c:v>
                </c:pt>
                <c:pt idx="3251">
                  <c:v>342328</c:v>
                </c:pt>
                <c:pt idx="3252">
                  <c:v>342325</c:v>
                </c:pt>
                <c:pt idx="3253">
                  <c:v>342325</c:v>
                </c:pt>
                <c:pt idx="3254">
                  <c:v>342305</c:v>
                </c:pt>
                <c:pt idx="3255">
                  <c:v>342302</c:v>
                </c:pt>
                <c:pt idx="3256">
                  <c:v>342293</c:v>
                </c:pt>
                <c:pt idx="3257">
                  <c:v>342291</c:v>
                </c:pt>
                <c:pt idx="3258">
                  <c:v>342285</c:v>
                </c:pt>
                <c:pt idx="3259">
                  <c:v>342265</c:v>
                </c:pt>
                <c:pt idx="3260">
                  <c:v>342263</c:v>
                </c:pt>
                <c:pt idx="3261">
                  <c:v>342260</c:v>
                </c:pt>
                <c:pt idx="3262">
                  <c:v>342244</c:v>
                </c:pt>
                <c:pt idx="3263">
                  <c:v>342242</c:v>
                </c:pt>
                <c:pt idx="3264">
                  <c:v>342227</c:v>
                </c:pt>
                <c:pt idx="3265">
                  <c:v>342209</c:v>
                </c:pt>
                <c:pt idx="3266">
                  <c:v>342207</c:v>
                </c:pt>
                <c:pt idx="3267">
                  <c:v>342203</c:v>
                </c:pt>
                <c:pt idx="3268">
                  <c:v>342188</c:v>
                </c:pt>
                <c:pt idx="3269">
                  <c:v>342180</c:v>
                </c:pt>
                <c:pt idx="3270">
                  <c:v>342179</c:v>
                </c:pt>
                <c:pt idx="3271">
                  <c:v>342153</c:v>
                </c:pt>
                <c:pt idx="3272">
                  <c:v>342153</c:v>
                </c:pt>
                <c:pt idx="3273">
                  <c:v>342136</c:v>
                </c:pt>
                <c:pt idx="3274">
                  <c:v>342132</c:v>
                </c:pt>
                <c:pt idx="3275">
                  <c:v>342131</c:v>
                </c:pt>
                <c:pt idx="3276">
                  <c:v>342130</c:v>
                </c:pt>
                <c:pt idx="3277">
                  <c:v>342127</c:v>
                </c:pt>
                <c:pt idx="3278">
                  <c:v>342103</c:v>
                </c:pt>
                <c:pt idx="3279">
                  <c:v>342094</c:v>
                </c:pt>
                <c:pt idx="3280">
                  <c:v>342064</c:v>
                </c:pt>
                <c:pt idx="3281">
                  <c:v>342060</c:v>
                </c:pt>
                <c:pt idx="3282">
                  <c:v>342054</c:v>
                </c:pt>
                <c:pt idx="3283">
                  <c:v>342025</c:v>
                </c:pt>
                <c:pt idx="3284">
                  <c:v>342024</c:v>
                </c:pt>
                <c:pt idx="3285">
                  <c:v>342021</c:v>
                </c:pt>
                <c:pt idx="3286">
                  <c:v>342011</c:v>
                </c:pt>
                <c:pt idx="3287">
                  <c:v>341980</c:v>
                </c:pt>
                <c:pt idx="3288">
                  <c:v>341973</c:v>
                </c:pt>
                <c:pt idx="3289">
                  <c:v>341946</c:v>
                </c:pt>
                <c:pt idx="3290">
                  <c:v>341932</c:v>
                </c:pt>
                <c:pt idx="3291">
                  <c:v>341931</c:v>
                </c:pt>
                <c:pt idx="3292">
                  <c:v>341919</c:v>
                </c:pt>
                <c:pt idx="3293">
                  <c:v>341901</c:v>
                </c:pt>
                <c:pt idx="3294">
                  <c:v>341868</c:v>
                </c:pt>
                <c:pt idx="3295">
                  <c:v>341860</c:v>
                </c:pt>
                <c:pt idx="3296">
                  <c:v>341845</c:v>
                </c:pt>
                <c:pt idx="3297">
                  <c:v>341834</c:v>
                </c:pt>
                <c:pt idx="3298">
                  <c:v>341828</c:v>
                </c:pt>
                <c:pt idx="3299">
                  <c:v>341826</c:v>
                </c:pt>
                <c:pt idx="3300">
                  <c:v>341813</c:v>
                </c:pt>
                <c:pt idx="3301">
                  <c:v>341804</c:v>
                </c:pt>
                <c:pt idx="3302">
                  <c:v>341802</c:v>
                </c:pt>
                <c:pt idx="3303">
                  <c:v>341799</c:v>
                </c:pt>
                <c:pt idx="3304">
                  <c:v>341790</c:v>
                </c:pt>
                <c:pt idx="3305">
                  <c:v>341763</c:v>
                </c:pt>
                <c:pt idx="3306">
                  <c:v>341742</c:v>
                </c:pt>
                <c:pt idx="3307">
                  <c:v>341736</c:v>
                </c:pt>
                <c:pt idx="3308">
                  <c:v>341679</c:v>
                </c:pt>
                <c:pt idx="3309">
                  <c:v>341665</c:v>
                </c:pt>
                <c:pt idx="3310">
                  <c:v>341662</c:v>
                </c:pt>
                <c:pt idx="3311">
                  <c:v>341653</c:v>
                </c:pt>
                <c:pt idx="3312">
                  <c:v>341646</c:v>
                </c:pt>
                <c:pt idx="3313">
                  <c:v>341632</c:v>
                </c:pt>
                <c:pt idx="3314">
                  <c:v>341617</c:v>
                </c:pt>
                <c:pt idx="3315">
                  <c:v>341617</c:v>
                </c:pt>
                <c:pt idx="3316">
                  <c:v>341551</c:v>
                </c:pt>
                <c:pt idx="3317">
                  <c:v>341550</c:v>
                </c:pt>
                <c:pt idx="3318">
                  <c:v>341528</c:v>
                </c:pt>
                <c:pt idx="3319">
                  <c:v>341510</c:v>
                </c:pt>
                <c:pt idx="3320">
                  <c:v>341501</c:v>
                </c:pt>
                <c:pt idx="3321">
                  <c:v>341499</c:v>
                </c:pt>
                <c:pt idx="3322">
                  <c:v>341496</c:v>
                </c:pt>
                <c:pt idx="3323">
                  <c:v>341472</c:v>
                </c:pt>
                <c:pt idx="3324">
                  <c:v>341457</c:v>
                </c:pt>
                <c:pt idx="3325">
                  <c:v>341454</c:v>
                </c:pt>
                <c:pt idx="3326">
                  <c:v>341432</c:v>
                </c:pt>
                <c:pt idx="3327">
                  <c:v>341424</c:v>
                </c:pt>
                <c:pt idx="3328">
                  <c:v>341417</c:v>
                </c:pt>
                <c:pt idx="3329">
                  <c:v>341390</c:v>
                </c:pt>
                <c:pt idx="3330">
                  <c:v>341389</c:v>
                </c:pt>
                <c:pt idx="3331">
                  <c:v>341388</c:v>
                </c:pt>
                <c:pt idx="3332">
                  <c:v>341360</c:v>
                </c:pt>
                <c:pt idx="3333">
                  <c:v>341322</c:v>
                </c:pt>
                <c:pt idx="3334">
                  <c:v>341316</c:v>
                </c:pt>
                <c:pt idx="3335">
                  <c:v>341311</c:v>
                </c:pt>
                <c:pt idx="3336">
                  <c:v>341310</c:v>
                </c:pt>
                <c:pt idx="3337">
                  <c:v>341290</c:v>
                </c:pt>
                <c:pt idx="3338">
                  <c:v>341254</c:v>
                </c:pt>
                <c:pt idx="3339">
                  <c:v>341232</c:v>
                </c:pt>
                <c:pt idx="3340">
                  <c:v>341231</c:v>
                </c:pt>
                <c:pt idx="3341">
                  <c:v>341226</c:v>
                </c:pt>
                <c:pt idx="3342">
                  <c:v>341226</c:v>
                </c:pt>
                <c:pt idx="3343">
                  <c:v>341224</c:v>
                </c:pt>
                <c:pt idx="3344">
                  <c:v>341218</c:v>
                </c:pt>
                <c:pt idx="3345">
                  <c:v>341204</c:v>
                </c:pt>
                <c:pt idx="3346">
                  <c:v>341200</c:v>
                </c:pt>
                <c:pt idx="3347">
                  <c:v>341182</c:v>
                </c:pt>
                <c:pt idx="3348">
                  <c:v>341180</c:v>
                </c:pt>
                <c:pt idx="3349">
                  <c:v>341174</c:v>
                </c:pt>
                <c:pt idx="3350">
                  <c:v>341151</c:v>
                </c:pt>
                <c:pt idx="3351">
                  <c:v>341142</c:v>
                </c:pt>
                <c:pt idx="3352">
                  <c:v>341114</c:v>
                </c:pt>
                <c:pt idx="3353">
                  <c:v>341097</c:v>
                </c:pt>
                <c:pt idx="3354">
                  <c:v>341083</c:v>
                </c:pt>
                <c:pt idx="3355">
                  <c:v>341079</c:v>
                </c:pt>
                <c:pt idx="3356">
                  <c:v>341078</c:v>
                </c:pt>
                <c:pt idx="3357">
                  <c:v>341063</c:v>
                </c:pt>
                <c:pt idx="3358">
                  <c:v>341061</c:v>
                </c:pt>
                <c:pt idx="3359">
                  <c:v>341055</c:v>
                </c:pt>
                <c:pt idx="3360">
                  <c:v>341049</c:v>
                </c:pt>
                <c:pt idx="3361">
                  <c:v>341038</c:v>
                </c:pt>
                <c:pt idx="3362">
                  <c:v>341035</c:v>
                </c:pt>
                <c:pt idx="3363">
                  <c:v>341021</c:v>
                </c:pt>
                <c:pt idx="3364">
                  <c:v>341017</c:v>
                </c:pt>
                <c:pt idx="3365">
                  <c:v>341012</c:v>
                </c:pt>
                <c:pt idx="3366">
                  <c:v>341009</c:v>
                </c:pt>
                <c:pt idx="3367">
                  <c:v>340983</c:v>
                </c:pt>
                <c:pt idx="3368">
                  <c:v>340972</c:v>
                </c:pt>
                <c:pt idx="3369">
                  <c:v>340958</c:v>
                </c:pt>
                <c:pt idx="3370">
                  <c:v>340956</c:v>
                </c:pt>
                <c:pt idx="3371">
                  <c:v>340945</c:v>
                </c:pt>
                <c:pt idx="3372">
                  <c:v>340939</c:v>
                </c:pt>
                <c:pt idx="3373">
                  <c:v>340938</c:v>
                </c:pt>
                <c:pt idx="3374">
                  <c:v>340922</c:v>
                </c:pt>
                <c:pt idx="3375">
                  <c:v>340914</c:v>
                </c:pt>
                <c:pt idx="3376">
                  <c:v>340914</c:v>
                </c:pt>
                <c:pt idx="3377">
                  <c:v>340892</c:v>
                </c:pt>
                <c:pt idx="3378">
                  <c:v>340856</c:v>
                </c:pt>
                <c:pt idx="3379">
                  <c:v>340814</c:v>
                </c:pt>
                <c:pt idx="3380">
                  <c:v>340809</c:v>
                </c:pt>
                <c:pt idx="3381">
                  <c:v>340800</c:v>
                </c:pt>
                <c:pt idx="3382">
                  <c:v>340784</c:v>
                </c:pt>
                <c:pt idx="3383">
                  <c:v>340783</c:v>
                </c:pt>
                <c:pt idx="3384">
                  <c:v>340780</c:v>
                </c:pt>
                <c:pt idx="3385">
                  <c:v>340776</c:v>
                </c:pt>
                <c:pt idx="3386">
                  <c:v>340767</c:v>
                </c:pt>
                <c:pt idx="3387">
                  <c:v>340759</c:v>
                </c:pt>
                <c:pt idx="3388">
                  <c:v>340750</c:v>
                </c:pt>
                <c:pt idx="3389">
                  <c:v>340739</c:v>
                </c:pt>
                <c:pt idx="3390">
                  <c:v>340704</c:v>
                </c:pt>
                <c:pt idx="3391">
                  <c:v>340701</c:v>
                </c:pt>
                <c:pt idx="3392">
                  <c:v>340691</c:v>
                </c:pt>
                <c:pt idx="3393">
                  <c:v>340639</c:v>
                </c:pt>
                <c:pt idx="3394">
                  <c:v>340633</c:v>
                </c:pt>
                <c:pt idx="3395">
                  <c:v>340587</c:v>
                </c:pt>
                <c:pt idx="3396">
                  <c:v>340587</c:v>
                </c:pt>
                <c:pt idx="3397">
                  <c:v>340587</c:v>
                </c:pt>
                <c:pt idx="3398">
                  <c:v>340574</c:v>
                </c:pt>
                <c:pt idx="3399">
                  <c:v>340569</c:v>
                </c:pt>
                <c:pt idx="3400">
                  <c:v>340551</c:v>
                </c:pt>
                <c:pt idx="3401">
                  <c:v>340530</c:v>
                </c:pt>
                <c:pt idx="3402">
                  <c:v>340530</c:v>
                </c:pt>
                <c:pt idx="3403">
                  <c:v>340507</c:v>
                </c:pt>
                <c:pt idx="3404">
                  <c:v>340471</c:v>
                </c:pt>
                <c:pt idx="3405">
                  <c:v>340454</c:v>
                </c:pt>
                <c:pt idx="3406">
                  <c:v>340416</c:v>
                </c:pt>
                <c:pt idx="3407">
                  <c:v>340367</c:v>
                </c:pt>
                <c:pt idx="3408">
                  <c:v>340350</c:v>
                </c:pt>
                <c:pt idx="3409">
                  <c:v>340325</c:v>
                </c:pt>
                <c:pt idx="3410">
                  <c:v>340310</c:v>
                </c:pt>
                <c:pt idx="3411">
                  <c:v>340292</c:v>
                </c:pt>
                <c:pt idx="3412">
                  <c:v>340286</c:v>
                </c:pt>
                <c:pt idx="3413">
                  <c:v>340283</c:v>
                </c:pt>
                <c:pt idx="3414">
                  <c:v>340264</c:v>
                </c:pt>
                <c:pt idx="3415">
                  <c:v>340237</c:v>
                </c:pt>
                <c:pt idx="3416">
                  <c:v>340209</c:v>
                </c:pt>
                <c:pt idx="3417">
                  <c:v>340205</c:v>
                </c:pt>
                <c:pt idx="3418">
                  <c:v>340181</c:v>
                </c:pt>
                <c:pt idx="3419">
                  <c:v>340172</c:v>
                </c:pt>
                <c:pt idx="3420">
                  <c:v>340164</c:v>
                </c:pt>
                <c:pt idx="3421">
                  <c:v>340156</c:v>
                </c:pt>
                <c:pt idx="3422">
                  <c:v>340154</c:v>
                </c:pt>
                <c:pt idx="3423">
                  <c:v>340152</c:v>
                </c:pt>
                <c:pt idx="3424">
                  <c:v>340148</c:v>
                </c:pt>
                <c:pt idx="3425">
                  <c:v>340127</c:v>
                </c:pt>
                <c:pt idx="3426">
                  <c:v>340115</c:v>
                </c:pt>
                <c:pt idx="3427">
                  <c:v>340082</c:v>
                </c:pt>
                <c:pt idx="3428">
                  <c:v>340071</c:v>
                </c:pt>
                <c:pt idx="3429">
                  <c:v>340070</c:v>
                </c:pt>
                <c:pt idx="3430">
                  <c:v>340059</c:v>
                </c:pt>
                <c:pt idx="3431">
                  <c:v>340037</c:v>
                </c:pt>
                <c:pt idx="3432">
                  <c:v>340026</c:v>
                </c:pt>
                <c:pt idx="3433">
                  <c:v>340014</c:v>
                </c:pt>
                <c:pt idx="3434">
                  <c:v>339982</c:v>
                </c:pt>
                <c:pt idx="3435">
                  <c:v>339948</c:v>
                </c:pt>
                <c:pt idx="3436">
                  <c:v>339941</c:v>
                </c:pt>
                <c:pt idx="3437">
                  <c:v>339890</c:v>
                </c:pt>
                <c:pt idx="3438">
                  <c:v>339884</c:v>
                </c:pt>
                <c:pt idx="3439">
                  <c:v>339880</c:v>
                </c:pt>
                <c:pt idx="3440">
                  <c:v>339878</c:v>
                </c:pt>
                <c:pt idx="3441">
                  <c:v>339869</c:v>
                </c:pt>
                <c:pt idx="3442">
                  <c:v>339864</c:v>
                </c:pt>
                <c:pt idx="3443">
                  <c:v>339863</c:v>
                </c:pt>
                <c:pt idx="3444">
                  <c:v>339860</c:v>
                </c:pt>
                <c:pt idx="3445">
                  <c:v>339859</c:v>
                </c:pt>
                <c:pt idx="3446">
                  <c:v>339843</c:v>
                </c:pt>
                <c:pt idx="3447">
                  <c:v>339826</c:v>
                </c:pt>
                <c:pt idx="3448">
                  <c:v>339788</c:v>
                </c:pt>
                <c:pt idx="3449">
                  <c:v>339771</c:v>
                </c:pt>
                <c:pt idx="3450">
                  <c:v>339749</c:v>
                </c:pt>
                <c:pt idx="3451">
                  <c:v>339745</c:v>
                </c:pt>
                <c:pt idx="3452">
                  <c:v>339737</c:v>
                </c:pt>
                <c:pt idx="3453">
                  <c:v>339732</c:v>
                </c:pt>
                <c:pt idx="3454">
                  <c:v>339724</c:v>
                </c:pt>
                <c:pt idx="3455">
                  <c:v>339702</c:v>
                </c:pt>
                <c:pt idx="3456">
                  <c:v>339684</c:v>
                </c:pt>
                <c:pt idx="3457">
                  <c:v>339682</c:v>
                </c:pt>
                <c:pt idx="3458">
                  <c:v>339675</c:v>
                </c:pt>
                <c:pt idx="3459">
                  <c:v>339667</c:v>
                </c:pt>
                <c:pt idx="3460">
                  <c:v>339657</c:v>
                </c:pt>
                <c:pt idx="3461">
                  <c:v>339653</c:v>
                </c:pt>
                <c:pt idx="3462">
                  <c:v>339628</c:v>
                </c:pt>
                <c:pt idx="3463">
                  <c:v>339581</c:v>
                </c:pt>
                <c:pt idx="3464">
                  <c:v>339576</c:v>
                </c:pt>
                <c:pt idx="3465">
                  <c:v>339569</c:v>
                </c:pt>
                <c:pt idx="3466">
                  <c:v>339568</c:v>
                </c:pt>
                <c:pt idx="3467">
                  <c:v>339561</c:v>
                </c:pt>
                <c:pt idx="3468">
                  <c:v>339555</c:v>
                </c:pt>
                <c:pt idx="3469">
                  <c:v>339545</c:v>
                </c:pt>
                <c:pt idx="3470">
                  <c:v>339544</c:v>
                </c:pt>
                <c:pt idx="3471">
                  <c:v>339543</c:v>
                </c:pt>
                <c:pt idx="3472">
                  <c:v>339541</c:v>
                </c:pt>
                <c:pt idx="3473">
                  <c:v>339525</c:v>
                </c:pt>
                <c:pt idx="3474">
                  <c:v>339522</c:v>
                </c:pt>
                <c:pt idx="3475">
                  <c:v>339498</c:v>
                </c:pt>
                <c:pt idx="3476">
                  <c:v>339493</c:v>
                </c:pt>
                <c:pt idx="3477">
                  <c:v>339490</c:v>
                </c:pt>
                <c:pt idx="3478">
                  <c:v>339487</c:v>
                </c:pt>
                <c:pt idx="3479">
                  <c:v>339482</c:v>
                </c:pt>
                <c:pt idx="3480">
                  <c:v>339480</c:v>
                </c:pt>
                <c:pt idx="3481">
                  <c:v>339479</c:v>
                </c:pt>
                <c:pt idx="3482">
                  <c:v>339473</c:v>
                </c:pt>
                <c:pt idx="3483">
                  <c:v>339467</c:v>
                </c:pt>
                <c:pt idx="3484">
                  <c:v>339464</c:v>
                </c:pt>
                <c:pt idx="3485">
                  <c:v>339441</c:v>
                </c:pt>
                <c:pt idx="3486">
                  <c:v>339410</c:v>
                </c:pt>
                <c:pt idx="3487">
                  <c:v>339401</c:v>
                </c:pt>
                <c:pt idx="3488">
                  <c:v>339391</c:v>
                </c:pt>
                <c:pt idx="3489">
                  <c:v>339384</c:v>
                </c:pt>
                <c:pt idx="3490">
                  <c:v>339381</c:v>
                </c:pt>
                <c:pt idx="3491">
                  <c:v>339379</c:v>
                </c:pt>
                <c:pt idx="3492">
                  <c:v>339371</c:v>
                </c:pt>
                <c:pt idx="3493">
                  <c:v>339352</c:v>
                </c:pt>
                <c:pt idx="3494">
                  <c:v>339334</c:v>
                </c:pt>
                <c:pt idx="3495">
                  <c:v>339326</c:v>
                </c:pt>
                <c:pt idx="3496">
                  <c:v>339321</c:v>
                </c:pt>
                <c:pt idx="3497">
                  <c:v>339289</c:v>
                </c:pt>
                <c:pt idx="3498">
                  <c:v>339286</c:v>
                </c:pt>
                <c:pt idx="3499">
                  <c:v>339282</c:v>
                </c:pt>
                <c:pt idx="3500">
                  <c:v>339278</c:v>
                </c:pt>
                <c:pt idx="3501">
                  <c:v>339274</c:v>
                </c:pt>
                <c:pt idx="3502">
                  <c:v>339265</c:v>
                </c:pt>
                <c:pt idx="3503">
                  <c:v>339261</c:v>
                </c:pt>
                <c:pt idx="3504">
                  <c:v>339235</c:v>
                </c:pt>
                <c:pt idx="3505">
                  <c:v>339225</c:v>
                </c:pt>
                <c:pt idx="3506">
                  <c:v>339218</c:v>
                </c:pt>
                <c:pt idx="3507">
                  <c:v>339168</c:v>
                </c:pt>
                <c:pt idx="3508">
                  <c:v>339137</c:v>
                </c:pt>
                <c:pt idx="3509">
                  <c:v>339131</c:v>
                </c:pt>
                <c:pt idx="3510">
                  <c:v>339129</c:v>
                </c:pt>
                <c:pt idx="3511">
                  <c:v>339114</c:v>
                </c:pt>
                <c:pt idx="3512">
                  <c:v>339064</c:v>
                </c:pt>
                <c:pt idx="3513">
                  <c:v>339041</c:v>
                </c:pt>
                <c:pt idx="3514">
                  <c:v>339030</c:v>
                </c:pt>
                <c:pt idx="3515">
                  <c:v>339018</c:v>
                </c:pt>
                <c:pt idx="3516">
                  <c:v>339006</c:v>
                </c:pt>
                <c:pt idx="3517">
                  <c:v>338973</c:v>
                </c:pt>
                <c:pt idx="3518">
                  <c:v>338969</c:v>
                </c:pt>
                <c:pt idx="3519">
                  <c:v>338949</c:v>
                </c:pt>
                <c:pt idx="3520">
                  <c:v>338944</c:v>
                </c:pt>
                <c:pt idx="3521">
                  <c:v>338927</c:v>
                </c:pt>
                <c:pt idx="3522">
                  <c:v>338916</c:v>
                </c:pt>
                <c:pt idx="3523">
                  <c:v>338898</c:v>
                </c:pt>
                <c:pt idx="3524">
                  <c:v>338884</c:v>
                </c:pt>
                <c:pt idx="3525">
                  <c:v>338875</c:v>
                </c:pt>
                <c:pt idx="3526">
                  <c:v>338855</c:v>
                </c:pt>
                <c:pt idx="3527">
                  <c:v>338846</c:v>
                </c:pt>
                <c:pt idx="3528">
                  <c:v>338837</c:v>
                </c:pt>
                <c:pt idx="3529">
                  <c:v>338830</c:v>
                </c:pt>
                <c:pt idx="3530">
                  <c:v>338820</c:v>
                </c:pt>
                <c:pt idx="3531">
                  <c:v>338815</c:v>
                </c:pt>
                <c:pt idx="3532">
                  <c:v>338806</c:v>
                </c:pt>
                <c:pt idx="3533">
                  <c:v>338797</c:v>
                </c:pt>
                <c:pt idx="3534">
                  <c:v>338770</c:v>
                </c:pt>
                <c:pt idx="3535">
                  <c:v>338769</c:v>
                </c:pt>
                <c:pt idx="3536">
                  <c:v>338748</c:v>
                </c:pt>
                <c:pt idx="3537">
                  <c:v>338731</c:v>
                </c:pt>
                <c:pt idx="3538">
                  <c:v>338723</c:v>
                </c:pt>
                <c:pt idx="3539">
                  <c:v>338718</c:v>
                </c:pt>
                <c:pt idx="3540">
                  <c:v>338714</c:v>
                </c:pt>
                <c:pt idx="3541">
                  <c:v>338699</c:v>
                </c:pt>
                <c:pt idx="3542">
                  <c:v>338689</c:v>
                </c:pt>
                <c:pt idx="3543">
                  <c:v>338679</c:v>
                </c:pt>
                <c:pt idx="3544">
                  <c:v>338673</c:v>
                </c:pt>
                <c:pt idx="3545">
                  <c:v>338669</c:v>
                </c:pt>
                <c:pt idx="3546">
                  <c:v>338645</c:v>
                </c:pt>
                <c:pt idx="3547">
                  <c:v>338639</c:v>
                </c:pt>
                <c:pt idx="3548">
                  <c:v>338636</c:v>
                </c:pt>
                <c:pt idx="3549">
                  <c:v>338632</c:v>
                </c:pt>
                <c:pt idx="3550">
                  <c:v>338630</c:v>
                </c:pt>
                <c:pt idx="3551">
                  <c:v>338622</c:v>
                </c:pt>
                <c:pt idx="3552">
                  <c:v>338620</c:v>
                </c:pt>
                <c:pt idx="3553">
                  <c:v>338614</c:v>
                </c:pt>
                <c:pt idx="3554">
                  <c:v>338606</c:v>
                </c:pt>
                <c:pt idx="3555">
                  <c:v>338598</c:v>
                </c:pt>
                <c:pt idx="3556">
                  <c:v>338588</c:v>
                </c:pt>
                <c:pt idx="3557">
                  <c:v>338574</c:v>
                </c:pt>
                <c:pt idx="3558">
                  <c:v>338557</c:v>
                </c:pt>
                <c:pt idx="3559">
                  <c:v>338546</c:v>
                </c:pt>
                <c:pt idx="3560">
                  <c:v>338537</c:v>
                </c:pt>
                <c:pt idx="3561">
                  <c:v>338516</c:v>
                </c:pt>
                <c:pt idx="3562">
                  <c:v>338513</c:v>
                </c:pt>
                <c:pt idx="3563">
                  <c:v>338506</c:v>
                </c:pt>
                <c:pt idx="3564">
                  <c:v>338499</c:v>
                </c:pt>
                <c:pt idx="3565">
                  <c:v>338499</c:v>
                </c:pt>
                <c:pt idx="3566">
                  <c:v>338492</c:v>
                </c:pt>
                <c:pt idx="3567">
                  <c:v>338485</c:v>
                </c:pt>
                <c:pt idx="3568">
                  <c:v>338476</c:v>
                </c:pt>
                <c:pt idx="3569">
                  <c:v>338449</c:v>
                </c:pt>
                <c:pt idx="3570">
                  <c:v>338445</c:v>
                </c:pt>
                <c:pt idx="3571">
                  <c:v>338408</c:v>
                </c:pt>
                <c:pt idx="3572">
                  <c:v>338382</c:v>
                </c:pt>
                <c:pt idx="3573">
                  <c:v>338363</c:v>
                </c:pt>
                <c:pt idx="3574">
                  <c:v>338357</c:v>
                </c:pt>
                <c:pt idx="3575">
                  <c:v>338354</c:v>
                </c:pt>
                <c:pt idx="3576">
                  <c:v>338316</c:v>
                </c:pt>
                <c:pt idx="3577">
                  <c:v>338313</c:v>
                </c:pt>
                <c:pt idx="3578">
                  <c:v>338287</c:v>
                </c:pt>
                <c:pt idx="3579">
                  <c:v>338264</c:v>
                </c:pt>
                <c:pt idx="3580">
                  <c:v>338259</c:v>
                </c:pt>
                <c:pt idx="3581">
                  <c:v>338248</c:v>
                </c:pt>
                <c:pt idx="3582">
                  <c:v>338246</c:v>
                </c:pt>
                <c:pt idx="3583">
                  <c:v>338240</c:v>
                </c:pt>
                <c:pt idx="3584">
                  <c:v>338234</c:v>
                </c:pt>
                <c:pt idx="3585">
                  <c:v>338230</c:v>
                </c:pt>
                <c:pt idx="3586">
                  <c:v>338216</c:v>
                </c:pt>
                <c:pt idx="3587">
                  <c:v>338206</c:v>
                </c:pt>
                <c:pt idx="3588">
                  <c:v>338192</c:v>
                </c:pt>
                <c:pt idx="3589">
                  <c:v>338190</c:v>
                </c:pt>
                <c:pt idx="3590">
                  <c:v>338174</c:v>
                </c:pt>
                <c:pt idx="3591">
                  <c:v>338137</c:v>
                </c:pt>
                <c:pt idx="3592">
                  <c:v>338137</c:v>
                </c:pt>
                <c:pt idx="3593">
                  <c:v>338117</c:v>
                </c:pt>
                <c:pt idx="3594">
                  <c:v>338096</c:v>
                </c:pt>
                <c:pt idx="3595">
                  <c:v>338091</c:v>
                </c:pt>
                <c:pt idx="3596">
                  <c:v>338052</c:v>
                </c:pt>
                <c:pt idx="3597">
                  <c:v>338051</c:v>
                </c:pt>
                <c:pt idx="3598">
                  <c:v>338050</c:v>
                </c:pt>
                <c:pt idx="3599">
                  <c:v>338048</c:v>
                </c:pt>
                <c:pt idx="3600">
                  <c:v>338041</c:v>
                </c:pt>
                <c:pt idx="3601">
                  <c:v>338040</c:v>
                </c:pt>
                <c:pt idx="3602">
                  <c:v>338032</c:v>
                </c:pt>
                <c:pt idx="3603">
                  <c:v>338010</c:v>
                </c:pt>
                <c:pt idx="3604">
                  <c:v>338005</c:v>
                </c:pt>
                <c:pt idx="3605">
                  <c:v>338001</c:v>
                </c:pt>
                <c:pt idx="3606">
                  <c:v>337986</c:v>
                </c:pt>
                <c:pt idx="3607">
                  <c:v>337978</c:v>
                </c:pt>
                <c:pt idx="3608">
                  <c:v>337969</c:v>
                </c:pt>
                <c:pt idx="3609">
                  <c:v>337965</c:v>
                </c:pt>
                <c:pt idx="3610">
                  <c:v>337942</c:v>
                </c:pt>
                <c:pt idx="3611">
                  <c:v>337937</c:v>
                </c:pt>
                <c:pt idx="3612">
                  <c:v>337936</c:v>
                </c:pt>
                <c:pt idx="3613">
                  <c:v>337923</c:v>
                </c:pt>
                <c:pt idx="3614">
                  <c:v>337915</c:v>
                </c:pt>
                <c:pt idx="3615">
                  <c:v>337909</c:v>
                </c:pt>
                <c:pt idx="3616">
                  <c:v>337909</c:v>
                </c:pt>
                <c:pt idx="3617">
                  <c:v>337824</c:v>
                </c:pt>
                <c:pt idx="3618">
                  <c:v>337822</c:v>
                </c:pt>
                <c:pt idx="3619">
                  <c:v>337797</c:v>
                </c:pt>
                <c:pt idx="3620">
                  <c:v>337779</c:v>
                </c:pt>
                <c:pt idx="3621">
                  <c:v>337761</c:v>
                </c:pt>
                <c:pt idx="3622">
                  <c:v>337753</c:v>
                </c:pt>
                <c:pt idx="3623">
                  <c:v>337698</c:v>
                </c:pt>
                <c:pt idx="3624">
                  <c:v>337683</c:v>
                </c:pt>
                <c:pt idx="3625">
                  <c:v>337680</c:v>
                </c:pt>
                <c:pt idx="3626">
                  <c:v>337651</c:v>
                </c:pt>
                <c:pt idx="3627">
                  <c:v>337647</c:v>
                </c:pt>
                <c:pt idx="3628">
                  <c:v>337645</c:v>
                </c:pt>
                <c:pt idx="3629">
                  <c:v>337608</c:v>
                </c:pt>
                <c:pt idx="3630">
                  <c:v>337582</c:v>
                </c:pt>
                <c:pt idx="3631">
                  <c:v>337541</c:v>
                </c:pt>
                <c:pt idx="3632">
                  <c:v>337541</c:v>
                </c:pt>
                <c:pt idx="3633">
                  <c:v>337539</c:v>
                </c:pt>
                <c:pt idx="3634">
                  <c:v>337503</c:v>
                </c:pt>
                <c:pt idx="3635">
                  <c:v>337502</c:v>
                </c:pt>
                <c:pt idx="3636">
                  <c:v>337497</c:v>
                </c:pt>
                <c:pt idx="3637">
                  <c:v>337496</c:v>
                </c:pt>
                <c:pt idx="3638">
                  <c:v>337473</c:v>
                </c:pt>
                <c:pt idx="3639">
                  <c:v>337451</c:v>
                </c:pt>
                <c:pt idx="3640">
                  <c:v>337442</c:v>
                </c:pt>
                <c:pt idx="3641">
                  <c:v>337434</c:v>
                </c:pt>
                <c:pt idx="3642">
                  <c:v>337422</c:v>
                </c:pt>
                <c:pt idx="3643">
                  <c:v>337357</c:v>
                </c:pt>
                <c:pt idx="3644">
                  <c:v>337344</c:v>
                </c:pt>
                <c:pt idx="3645">
                  <c:v>337333</c:v>
                </c:pt>
                <c:pt idx="3646">
                  <c:v>337319</c:v>
                </c:pt>
                <c:pt idx="3647">
                  <c:v>337267</c:v>
                </c:pt>
                <c:pt idx="3648">
                  <c:v>337256</c:v>
                </c:pt>
                <c:pt idx="3649">
                  <c:v>337248</c:v>
                </c:pt>
                <c:pt idx="3650">
                  <c:v>337234</c:v>
                </c:pt>
                <c:pt idx="3651">
                  <c:v>337232</c:v>
                </c:pt>
                <c:pt idx="3652">
                  <c:v>337224</c:v>
                </c:pt>
                <c:pt idx="3653">
                  <c:v>337220</c:v>
                </c:pt>
                <c:pt idx="3654">
                  <c:v>337215</c:v>
                </c:pt>
                <c:pt idx="3655">
                  <c:v>337205</c:v>
                </c:pt>
                <c:pt idx="3656">
                  <c:v>337201</c:v>
                </c:pt>
                <c:pt idx="3657">
                  <c:v>337197</c:v>
                </c:pt>
                <c:pt idx="3658">
                  <c:v>337192</c:v>
                </c:pt>
                <c:pt idx="3659">
                  <c:v>337177</c:v>
                </c:pt>
                <c:pt idx="3660">
                  <c:v>337160</c:v>
                </c:pt>
                <c:pt idx="3661">
                  <c:v>337158</c:v>
                </c:pt>
                <c:pt idx="3662">
                  <c:v>337156</c:v>
                </c:pt>
                <c:pt idx="3663">
                  <c:v>337143</c:v>
                </c:pt>
                <c:pt idx="3664">
                  <c:v>337139</c:v>
                </c:pt>
                <c:pt idx="3665">
                  <c:v>337121</c:v>
                </c:pt>
                <c:pt idx="3666">
                  <c:v>337089</c:v>
                </c:pt>
                <c:pt idx="3667">
                  <c:v>337086</c:v>
                </c:pt>
                <c:pt idx="3668">
                  <c:v>337058</c:v>
                </c:pt>
                <c:pt idx="3669">
                  <c:v>337049</c:v>
                </c:pt>
                <c:pt idx="3670">
                  <c:v>337040</c:v>
                </c:pt>
                <c:pt idx="3671">
                  <c:v>337034</c:v>
                </c:pt>
                <c:pt idx="3672">
                  <c:v>337014</c:v>
                </c:pt>
                <c:pt idx="3673">
                  <c:v>337013</c:v>
                </c:pt>
                <c:pt idx="3674">
                  <c:v>337007</c:v>
                </c:pt>
                <c:pt idx="3675">
                  <c:v>336990</c:v>
                </c:pt>
                <c:pt idx="3676">
                  <c:v>336984</c:v>
                </c:pt>
                <c:pt idx="3677">
                  <c:v>336981</c:v>
                </c:pt>
                <c:pt idx="3678">
                  <c:v>336971</c:v>
                </c:pt>
                <c:pt idx="3679">
                  <c:v>336951</c:v>
                </c:pt>
                <c:pt idx="3680">
                  <c:v>336947</c:v>
                </c:pt>
                <c:pt idx="3681">
                  <c:v>336911</c:v>
                </c:pt>
                <c:pt idx="3682">
                  <c:v>336869</c:v>
                </c:pt>
                <c:pt idx="3683">
                  <c:v>336843</c:v>
                </c:pt>
                <c:pt idx="3684">
                  <c:v>336841</c:v>
                </c:pt>
                <c:pt idx="3685">
                  <c:v>336828</c:v>
                </c:pt>
                <c:pt idx="3686">
                  <c:v>336780</c:v>
                </c:pt>
                <c:pt idx="3687">
                  <c:v>336763</c:v>
                </c:pt>
                <c:pt idx="3688">
                  <c:v>336761</c:v>
                </c:pt>
                <c:pt idx="3689">
                  <c:v>336754</c:v>
                </c:pt>
                <c:pt idx="3690">
                  <c:v>336750</c:v>
                </c:pt>
                <c:pt idx="3691">
                  <c:v>336749</c:v>
                </c:pt>
                <c:pt idx="3692">
                  <c:v>336734</c:v>
                </c:pt>
                <c:pt idx="3693">
                  <c:v>336708</c:v>
                </c:pt>
                <c:pt idx="3694">
                  <c:v>336685</c:v>
                </c:pt>
                <c:pt idx="3695">
                  <c:v>336684</c:v>
                </c:pt>
                <c:pt idx="3696">
                  <c:v>336659</c:v>
                </c:pt>
                <c:pt idx="3697">
                  <c:v>336659</c:v>
                </c:pt>
                <c:pt idx="3698">
                  <c:v>336639</c:v>
                </c:pt>
                <c:pt idx="3699">
                  <c:v>336631</c:v>
                </c:pt>
                <c:pt idx="3700">
                  <c:v>336617</c:v>
                </c:pt>
                <c:pt idx="3701">
                  <c:v>336612</c:v>
                </c:pt>
                <c:pt idx="3702">
                  <c:v>336594</c:v>
                </c:pt>
                <c:pt idx="3703">
                  <c:v>336587</c:v>
                </c:pt>
                <c:pt idx="3704">
                  <c:v>336576</c:v>
                </c:pt>
                <c:pt idx="3705">
                  <c:v>336573</c:v>
                </c:pt>
                <c:pt idx="3706">
                  <c:v>336555</c:v>
                </c:pt>
                <c:pt idx="3707">
                  <c:v>336550</c:v>
                </c:pt>
                <c:pt idx="3708">
                  <c:v>336532</c:v>
                </c:pt>
                <c:pt idx="3709">
                  <c:v>336527</c:v>
                </c:pt>
                <c:pt idx="3710">
                  <c:v>336505</c:v>
                </c:pt>
                <c:pt idx="3711">
                  <c:v>336493</c:v>
                </c:pt>
                <c:pt idx="3712">
                  <c:v>336482</c:v>
                </c:pt>
                <c:pt idx="3713">
                  <c:v>336458</c:v>
                </c:pt>
                <c:pt idx="3714">
                  <c:v>336448</c:v>
                </c:pt>
                <c:pt idx="3715">
                  <c:v>336440</c:v>
                </c:pt>
                <c:pt idx="3716">
                  <c:v>336439</c:v>
                </c:pt>
                <c:pt idx="3717">
                  <c:v>336438</c:v>
                </c:pt>
                <c:pt idx="3718">
                  <c:v>336436</c:v>
                </c:pt>
                <c:pt idx="3719">
                  <c:v>336425</c:v>
                </c:pt>
                <c:pt idx="3720">
                  <c:v>336425</c:v>
                </c:pt>
                <c:pt idx="3721">
                  <c:v>336424</c:v>
                </c:pt>
                <c:pt idx="3722">
                  <c:v>336410</c:v>
                </c:pt>
                <c:pt idx="3723">
                  <c:v>336406</c:v>
                </c:pt>
                <c:pt idx="3724">
                  <c:v>336403</c:v>
                </c:pt>
                <c:pt idx="3725">
                  <c:v>336398</c:v>
                </c:pt>
                <c:pt idx="3726">
                  <c:v>336390</c:v>
                </c:pt>
                <c:pt idx="3727">
                  <c:v>336341</c:v>
                </c:pt>
                <c:pt idx="3728">
                  <c:v>336333</c:v>
                </c:pt>
                <c:pt idx="3729">
                  <c:v>336329</c:v>
                </c:pt>
                <c:pt idx="3730">
                  <c:v>336321</c:v>
                </c:pt>
                <c:pt idx="3731">
                  <c:v>336297</c:v>
                </c:pt>
                <c:pt idx="3732">
                  <c:v>336294</c:v>
                </c:pt>
                <c:pt idx="3733">
                  <c:v>336281</c:v>
                </c:pt>
                <c:pt idx="3734">
                  <c:v>336259</c:v>
                </c:pt>
                <c:pt idx="3735">
                  <c:v>336252</c:v>
                </c:pt>
                <c:pt idx="3736">
                  <c:v>336230</c:v>
                </c:pt>
                <c:pt idx="3737">
                  <c:v>336209</c:v>
                </c:pt>
                <c:pt idx="3738">
                  <c:v>336197</c:v>
                </c:pt>
                <c:pt idx="3739">
                  <c:v>336191</c:v>
                </c:pt>
                <c:pt idx="3740">
                  <c:v>336185</c:v>
                </c:pt>
                <c:pt idx="3741">
                  <c:v>336184</c:v>
                </c:pt>
                <c:pt idx="3742">
                  <c:v>336182</c:v>
                </c:pt>
                <c:pt idx="3743">
                  <c:v>336167</c:v>
                </c:pt>
                <c:pt idx="3744">
                  <c:v>336142</c:v>
                </c:pt>
                <c:pt idx="3745">
                  <c:v>336120</c:v>
                </c:pt>
                <c:pt idx="3746">
                  <c:v>336112</c:v>
                </c:pt>
                <c:pt idx="3747">
                  <c:v>336109</c:v>
                </c:pt>
                <c:pt idx="3748">
                  <c:v>336102</c:v>
                </c:pt>
                <c:pt idx="3749">
                  <c:v>336090</c:v>
                </c:pt>
                <c:pt idx="3750">
                  <c:v>336089</c:v>
                </c:pt>
                <c:pt idx="3751">
                  <c:v>336089</c:v>
                </c:pt>
                <c:pt idx="3752">
                  <c:v>336081</c:v>
                </c:pt>
                <c:pt idx="3753">
                  <c:v>336077</c:v>
                </c:pt>
                <c:pt idx="3754">
                  <c:v>336041</c:v>
                </c:pt>
                <c:pt idx="3755">
                  <c:v>336035</c:v>
                </c:pt>
                <c:pt idx="3756">
                  <c:v>336033</c:v>
                </c:pt>
                <c:pt idx="3757">
                  <c:v>336024</c:v>
                </c:pt>
                <c:pt idx="3758">
                  <c:v>336018</c:v>
                </c:pt>
                <c:pt idx="3759">
                  <c:v>335995</c:v>
                </c:pt>
                <c:pt idx="3760">
                  <c:v>335995</c:v>
                </c:pt>
                <c:pt idx="3761">
                  <c:v>335976</c:v>
                </c:pt>
                <c:pt idx="3762">
                  <c:v>335959</c:v>
                </c:pt>
                <c:pt idx="3763">
                  <c:v>335959</c:v>
                </c:pt>
                <c:pt idx="3764">
                  <c:v>335957</c:v>
                </c:pt>
                <c:pt idx="3765">
                  <c:v>335943</c:v>
                </c:pt>
                <c:pt idx="3766">
                  <c:v>335933</c:v>
                </c:pt>
                <c:pt idx="3767">
                  <c:v>335927</c:v>
                </c:pt>
                <c:pt idx="3768">
                  <c:v>335917</c:v>
                </c:pt>
                <c:pt idx="3769">
                  <c:v>335884</c:v>
                </c:pt>
                <c:pt idx="3770">
                  <c:v>335883</c:v>
                </c:pt>
                <c:pt idx="3771">
                  <c:v>335854</c:v>
                </c:pt>
                <c:pt idx="3772">
                  <c:v>335839</c:v>
                </c:pt>
                <c:pt idx="3773">
                  <c:v>335838</c:v>
                </c:pt>
                <c:pt idx="3774">
                  <c:v>335792</c:v>
                </c:pt>
                <c:pt idx="3775">
                  <c:v>335789</c:v>
                </c:pt>
                <c:pt idx="3776">
                  <c:v>335784</c:v>
                </c:pt>
                <c:pt idx="3777">
                  <c:v>335780</c:v>
                </c:pt>
                <c:pt idx="3778">
                  <c:v>335733</c:v>
                </c:pt>
                <c:pt idx="3779">
                  <c:v>335733</c:v>
                </c:pt>
                <c:pt idx="3780">
                  <c:v>335728</c:v>
                </c:pt>
                <c:pt idx="3781">
                  <c:v>335727</c:v>
                </c:pt>
                <c:pt idx="3782">
                  <c:v>335723</c:v>
                </c:pt>
                <c:pt idx="3783">
                  <c:v>335710</c:v>
                </c:pt>
                <c:pt idx="3784">
                  <c:v>335701</c:v>
                </c:pt>
                <c:pt idx="3785">
                  <c:v>335698</c:v>
                </c:pt>
                <c:pt idx="3786">
                  <c:v>335681</c:v>
                </c:pt>
                <c:pt idx="3787">
                  <c:v>335670</c:v>
                </c:pt>
                <c:pt idx="3788">
                  <c:v>335667</c:v>
                </c:pt>
                <c:pt idx="3789">
                  <c:v>335649</c:v>
                </c:pt>
                <c:pt idx="3790">
                  <c:v>335637</c:v>
                </c:pt>
                <c:pt idx="3791">
                  <c:v>335633</c:v>
                </c:pt>
                <c:pt idx="3792">
                  <c:v>335615</c:v>
                </c:pt>
                <c:pt idx="3793">
                  <c:v>335614</c:v>
                </c:pt>
                <c:pt idx="3794">
                  <c:v>335609</c:v>
                </c:pt>
                <c:pt idx="3795">
                  <c:v>335598</c:v>
                </c:pt>
                <c:pt idx="3796">
                  <c:v>335583</c:v>
                </c:pt>
                <c:pt idx="3797">
                  <c:v>335580</c:v>
                </c:pt>
                <c:pt idx="3798">
                  <c:v>335573</c:v>
                </c:pt>
                <c:pt idx="3799">
                  <c:v>335558</c:v>
                </c:pt>
                <c:pt idx="3800">
                  <c:v>335556</c:v>
                </c:pt>
                <c:pt idx="3801">
                  <c:v>335539</c:v>
                </c:pt>
                <c:pt idx="3802">
                  <c:v>335529</c:v>
                </c:pt>
                <c:pt idx="3803">
                  <c:v>335496</c:v>
                </c:pt>
                <c:pt idx="3804">
                  <c:v>335489</c:v>
                </c:pt>
                <c:pt idx="3805">
                  <c:v>335488</c:v>
                </c:pt>
                <c:pt idx="3806">
                  <c:v>335475</c:v>
                </c:pt>
                <c:pt idx="3807">
                  <c:v>335469</c:v>
                </c:pt>
                <c:pt idx="3808">
                  <c:v>335467</c:v>
                </c:pt>
                <c:pt idx="3809">
                  <c:v>335440</c:v>
                </c:pt>
                <c:pt idx="3810">
                  <c:v>335438</c:v>
                </c:pt>
                <c:pt idx="3811">
                  <c:v>335405</c:v>
                </c:pt>
                <c:pt idx="3812">
                  <c:v>335395</c:v>
                </c:pt>
                <c:pt idx="3813">
                  <c:v>335392</c:v>
                </c:pt>
                <c:pt idx="3814">
                  <c:v>335386</c:v>
                </c:pt>
                <c:pt idx="3815">
                  <c:v>335353</c:v>
                </c:pt>
                <c:pt idx="3816">
                  <c:v>335343</c:v>
                </c:pt>
                <c:pt idx="3817">
                  <c:v>335330</c:v>
                </c:pt>
                <c:pt idx="3818">
                  <c:v>335326</c:v>
                </c:pt>
                <c:pt idx="3819">
                  <c:v>335277</c:v>
                </c:pt>
                <c:pt idx="3820">
                  <c:v>335257</c:v>
                </c:pt>
                <c:pt idx="3821">
                  <c:v>335252</c:v>
                </c:pt>
                <c:pt idx="3822">
                  <c:v>335221</c:v>
                </c:pt>
                <c:pt idx="3823">
                  <c:v>335205</c:v>
                </c:pt>
                <c:pt idx="3824">
                  <c:v>335194</c:v>
                </c:pt>
                <c:pt idx="3825">
                  <c:v>335183</c:v>
                </c:pt>
                <c:pt idx="3826">
                  <c:v>335181</c:v>
                </c:pt>
                <c:pt idx="3827">
                  <c:v>335161</c:v>
                </c:pt>
                <c:pt idx="3828">
                  <c:v>335147</c:v>
                </c:pt>
                <c:pt idx="3829">
                  <c:v>335146</c:v>
                </c:pt>
                <c:pt idx="3830">
                  <c:v>335137</c:v>
                </c:pt>
                <c:pt idx="3831">
                  <c:v>335136</c:v>
                </c:pt>
                <c:pt idx="3832">
                  <c:v>335131</c:v>
                </c:pt>
                <c:pt idx="3833">
                  <c:v>335102</c:v>
                </c:pt>
                <c:pt idx="3834">
                  <c:v>335086</c:v>
                </c:pt>
                <c:pt idx="3835">
                  <c:v>335061</c:v>
                </c:pt>
                <c:pt idx="3836">
                  <c:v>335041</c:v>
                </c:pt>
                <c:pt idx="3837">
                  <c:v>334995</c:v>
                </c:pt>
                <c:pt idx="3838">
                  <c:v>334980</c:v>
                </c:pt>
                <c:pt idx="3839">
                  <c:v>334973</c:v>
                </c:pt>
                <c:pt idx="3840">
                  <c:v>334940</c:v>
                </c:pt>
                <c:pt idx="3841">
                  <c:v>334935</c:v>
                </c:pt>
                <c:pt idx="3842">
                  <c:v>334915</c:v>
                </c:pt>
                <c:pt idx="3843">
                  <c:v>334914</c:v>
                </c:pt>
                <c:pt idx="3844">
                  <c:v>334897</c:v>
                </c:pt>
                <c:pt idx="3845">
                  <c:v>334883</c:v>
                </c:pt>
                <c:pt idx="3846">
                  <c:v>334876</c:v>
                </c:pt>
                <c:pt idx="3847">
                  <c:v>334853</c:v>
                </c:pt>
                <c:pt idx="3848">
                  <c:v>334852</c:v>
                </c:pt>
                <c:pt idx="3849">
                  <c:v>334851</c:v>
                </c:pt>
                <c:pt idx="3850">
                  <c:v>334840</c:v>
                </c:pt>
                <c:pt idx="3851">
                  <c:v>334839</c:v>
                </c:pt>
                <c:pt idx="3852">
                  <c:v>334839</c:v>
                </c:pt>
                <c:pt idx="3853">
                  <c:v>334828</c:v>
                </c:pt>
                <c:pt idx="3854">
                  <c:v>334808</c:v>
                </c:pt>
                <c:pt idx="3855">
                  <c:v>334796</c:v>
                </c:pt>
                <c:pt idx="3856">
                  <c:v>334780</c:v>
                </c:pt>
                <c:pt idx="3857">
                  <c:v>334776</c:v>
                </c:pt>
                <c:pt idx="3858">
                  <c:v>334773</c:v>
                </c:pt>
                <c:pt idx="3859">
                  <c:v>334771</c:v>
                </c:pt>
                <c:pt idx="3860">
                  <c:v>334763</c:v>
                </c:pt>
                <c:pt idx="3861">
                  <c:v>334763</c:v>
                </c:pt>
                <c:pt idx="3862">
                  <c:v>334756</c:v>
                </c:pt>
                <c:pt idx="3863">
                  <c:v>334719</c:v>
                </c:pt>
                <c:pt idx="3864">
                  <c:v>334714</c:v>
                </c:pt>
                <c:pt idx="3865">
                  <c:v>334708</c:v>
                </c:pt>
                <c:pt idx="3866">
                  <c:v>334701</c:v>
                </c:pt>
                <c:pt idx="3867">
                  <c:v>334680</c:v>
                </c:pt>
                <c:pt idx="3868">
                  <c:v>334669</c:v>
                </c:pt>
                <c:pt idx="3869">
                  <c:v>334660</c:v>
                </c:pt>
                <c:pt idx="3870">
                  <c:v>334638</c:v>
                </c:pt>
                <c:pt idx="3871">
                  <c:v>334621</c:v>
                </c:pt>
                <c:pt idx="3872">
                  <c:v>334611</c:v>
                </c:pt>
                <c:pt idx="3873">
                  <c:v>334606</c:v>
                </c:pt>
                <c:pt idx="3874">
                  <c:v>334525</c:v>
                </c:pt>
                <c:pt idx="3875">
                  <c:v>334504</c:v>
                </c:pt>
                <c:pt idx="3876">
                  <c:v>334451</c:v>
                </c:pt>
                <c:pt idx="3877">
                  <c:v>334438</c:v>
                </c:pt>
                <c:pt idx="3878">
                  <c:v>334430</c:v>
                </c:pt>
                <c:pt idx="3879">
                  <c:v>334419</c:v>
                </c:pt>
                <c:pt idx="3880">
                  <c:v>334403</c:v>
                </c:pt>
                <c:pt idx="3881">
                  <c:v>334393</c:v>
                </c:pt>
                <c:pt idx="3882">
                  <c:v>334377</c:v>
                </c:pt>
                <c:pt idx="3883">
                  <c:v>334376</c:v>
                </c:pt>
                <c:pt idx="3884">
                  <c:v>334367</c:v>
                </c:pt>
                <c:pt idx="3885">
                  <c:v>334314</c:v>
                </c:pt>
                <c:pt idx="3886">
                  <c:v>334308</c:v>
                </c:pt>
                <c:pt idx="3887">
                  <c:v>334308</c:v>
                </c:pt>
                <c:pt idx="3888">
                  <c:v>334308</c:v>
                </c:pt>
                <c:pt idx="3889">
                  <c:v>334293</c:v>
                </c:pt>
                <c:pt idx="3890">
                  <c:v>334289</c:v>
                </c:pt>
                <c:pt idx="3891">
                  <c:v>334285</c:v>
                </c:pt>
                <c:pt idx="3892">
                  <c:v>334278</c:v>
                </c:pt>
                <c:pt idx="3893">
                  <c:v>334278</c:v>
                </c:pt>
                <c:pt idx="3894">
                  <c:v>334276</c:v>
                </c:pt>
                <c:pt idx="3895">
                  <c:v>334248</c:v>
                </c:pt>
                <c:pt idx="3896">
                  <c:v>334239</c:v>
                </c:pt>
                <c:pt idx="3897">
                  <c:v>334204</c:v>
                </c:pt>
                <c:pt idx="3898">
                  <c:v>334195</c:v>
                </c:pt>
                <c:pt idx="3899">
                  <c:v>334188</c:v>
                </c:pt>
                <c:pt idx="3900">
                  <c:v>334176</c:v>
                </c:pt>
                <c:pt idx="3901">
                  <c:v>334167</c:v>
                </c:pt>
                <c:pt idx="3902">
                  <c:v>334152</c:v>
                </c:pt>
                <c:pt idx="3903">
                  <c:v>334145</c:v>
                </c:pt>
                <c:pt idx="3904">
                  <c:v>334128</c:v>
                </c:pt>
                <c:pt idx="3905">
                  <c:v>334128</c:v>
                </c:pt>
                <c:pt idx="3906">
                  <c:v>334123</c:v>
                </c:pt>
                <c:pt idx="3907">
                  <c:v>334119</c:v>
                </c:pt>
                <c:pt idx="3908">
                  <c:v>334099</c:v>
                </c:pt>
                <c:pt idx="3909">
                  <c:v>334087</c:v>
                </c:pt>
                <c:pt idx="3910">
                  <c:v>334071</c:v>
                </c:pt>
                <c:pt idx="3911">
                  <c:v>334071</c:v>
                </c:pt>
                <c:pt idx="3912">
                  <c:v>334059</c:v>
                </c:pt>
                <c:pt idx="3913">
                  <c:v>334031</c:v>
                </c:pt>
                <c:pt idx="3914">
                  <c:v>333989</c:v>
                </c:pt>
                <c:pt idx="3915">
                  <c:v>333955</c:v>
                </c:pt>
                <c:pt idx="3916">
                  <c:v>333952</c:v>
                </c:pt>
                <c:pt idx="3917">
                  <c:v>333948</c:v>
                </c:pt>
                <c:pt idx="3918">
                  <c:v>333903</c:v>
                </c:pt>
                <c:pt idx="3919">
                  <c:v>333890</c:v>
                </c:pt>
                <c:pt idx="3920">
                  <c:v>333888</c:v>
                </c:pt>
                <c:pt idx="3921">
                  <c:v>333880</c:v>
                </c:pt>
                <c:pt idx="3922">
                  <c:v>333872</c:v>
                </c:pt>
                <c:pt idx="3923">
                  <c:v>333863</c:v>
                </c:pt>
                <c:pt idx="3924">
                  <c:v>333845</c:v>
                </c:pt>
                <c:pt idx="3925">
                  <c:v>333837</c:v>
                </c:pt>
                <c:pt idx="3926">
                  <c:v>333833</c:v>
                </c:pt>
                <c:pt idx="3927">
                  <c:v>333829</c:v>
                </c:pt>
                <c:pt idx="3928">
                  <c:v>333825</c:v>
                </c:pt>
                <c:pt idx="3929">
                  <c:v>333814</c:v>
                </c:pt>
                <c:pt idx="3930">
                  <c:v>333810</c:v>
                </c:pt>
                <c:pt idx="3931">
                  <c:v>333807</c:v>
                </c:pt>
                <c:pt idx="3932">
                  <c:v>333796</c:v>
                </c:pt>
                <c:pt idx="3933">
                  <c:v>333774</c:v>
                </c:pt>
                <c:pt idx="3934">
                  <c:v>333738</c:v>
                </c:pt>
                <c:pt idx="3935">
                  <c:v>333737</c:v>
                </c:pt>
                <c:pt idx="3936">
                  <c:v>333713</c:v>
                </c:pt>
                <c:pt idx="3937">
                  <c:v>333709</c:v>
                </c:pt>
                <c:pt idx="3938">
                  <c:v>333704</c:v>
                </c:pt>
                <c:pt idx="3939">
                  <c:v>333701</c:v>
                </c:pt>
                <c:pt idx="3940">
                  <c:v>333701</c:v>
                </c:pt>
                <c:pt idx="3941">
                  <c:v>333690</c:v>
                </c:pt>
                <c:pt idx="3942">
                  <c:v>333686</c:v>
                </c:pt>
                <c:pt idx="3943">
                  <c:v>333683</c:v>
                </c:pt>
                <c:pt idx="3944">
                  <c:v>333672</c:v>
                </c:pt>
                <c:pt idx="3945">
                  <c:v>333671</c:v>
                </c:pt>
                <c:pt idx="3946">
                  <c:v>333652</c:v>
                </c:pt>
                <c:pt idx="3947">
                  <c:v>333644</c:v>
                </c:pt>
                <c:pt idx="3948">
                  <c:v>333643</c:v>
                </c:pt>
                <c:pt idx="3949">
                  <c:v>333633</c:v>
                </c:pt>
                <c:pt idx="3950">
                  <c:v>333629</c:v>
                </c:pt>
                <c:pt idx="3951">
                  <c:v>333619</c:v>
                </c:pt>
                <c:pt idx="3952">
                  <c:v>333575</c:v>
                </c:pt>
                <c:pt idx="3953">
                  <c:v>333573</c:v>
                </c:pt>
                <c:pt idx="3954">
                  <c:v>333522</c:v>
                </c:pt>
                <c:pt idx="3955">
                  <c:v>333509</c:v>
                </c:pt>
                <c:pt idx="3956">
                  <c:v>333499</c:v>
                </c:pt>
                <c:pt idx="3957">
                  <c:v>333492</c:v>
                </c:pt>
                <c:pt idx="3958">
                  <c:v>333486</c:v>
                </c:pt>
                <c:pt idx="3959">
                  <c:v>333476</c:v>
                </c:pt>
                <c:pt idx="3960">
                  <c:v>333474</c:v>
                </c:pt>
                <c:pt idx="3961">
                  <c:v>333467</c:v>
                </c:pt>
                <c:pt idx="3962">
                  <c:v>333466</c:v>
                </c:pt>
                <c:pt idx="3963">
                  <c:v>333466</c:v>
                </c:pt>
                <c:pt idx="3964">
                  <c:v>333460</c:v>
                </c:pt>
                <c:pt idx="3965">
                  <c:v>333426</c:v>
                </c:pt>
                <c:pt idx="3966">
                  <c:v>333420</c:v>
                </c:pt>
                <c:pt idx="3967">
                  <c:v>333411</c:v>
                </c:pt>
                <c:pt idx="3968">
                  <c:v>333376</c:v>
                </c:pt>
                <c:pt idx="3969">
                  <c:v>333341</c:v>
                </c:pt>
                <c:pt idx="3970">
                  <c:v>333312</c:v>
                </c:pt>
                <c:pt idx="3971">
                  <c:v>333304</c:v>
                </c:pt>
                <c:pt idx="3972">
                  <c:v>333296</c:v>
                </c:pt>
                <c:pt idx="3973">
                  <c:v>333294</c:v>
                </c:pt>
                <c:pt idx="3974">
                  <c:v>333285</c:v>
                </c:pt>
                <c:pt idx="3975">
                  <c:v>333261</c:v>
                </c:pt>
                <c:pt idx="3976">
                  <c:v>333259</c:v>
                </c:pt>
                <c:pt idx="3977">
                  <c:v>333247</c:v>
                </c:pt>
                <c:pt idx="3978">
                  <c:v>333246</c:v>
                </c:pt>
                <c:pt idx="3979">
                  <c:v>333236</c:v>
                </c:pt>
                <c:pt idx="3980">
                  <c:v>333205</c:v>
                </c:pt>
                <c:pt idx="3981">
                  <c:v>333175</c:v>
                </c:pt>
                <c:pt idx="3982">
                  <c:v>333170</c:v>
                </c:pt>
                <c:pt idx="3983">
                  <c:v>333164</c:v>
                </c:pt>
                <c:pt idx="3984">
                  <c:v>333150</c:v>
                </c:pt>
                <c:pt idx="3985">
                  <c:v>333148</c:v>
                </c:pt>
                <c:pt idx="3986">
                  <c:v>333131</c:v>
                </c:pt>
                <c:pt idx="3987">
                  <c:v>333110</c:v>
                </c:pt>
                <c:pt idx="3988">
                  <c:v>333110</c:v>
                </c:pt>
                <c:pt idx="3989">
                  <c:v>333093</c:v>
                </c:pt>
                <c:pt idx="3990">
                  <c:v>333088</c:v>
                </c:pt>
                <c:pt idx="3991">
                  <c:v>333082</c:v>
                </c:pt>
                <c:pt idx="3992">
                  <c:v>333068</c:v>
                </c:pt>
                <c:pt idx="3993">
                  <c:v>333050</c:v>
                </c:pt>
                <c:pt idx="3994">
                  <c:v>333042</c:v>
                </c:pt>
                <c:pt idx="3995">
                  <c:v>333038</c:v>
                </c:pt>
                <c:pt idx="3996">
                  <c:v>333027</c:v>
                </c:pt>
                <c:pt idx="3997">
                  <c:v>333017</c:v>
                </c:pt>
                <c:pt idx="3998">
                  <c:v>332991</c:v>
                </c:pt>
                <c:pt idx="3999">
                  <c:v>332988</c:v>
                </c:pt>
                <c:pt idx="4000">
                  <c:v>332981</c:v>
                </c:pt>
                <c:pt idx="4001">
                  <c:v>332975</c:v>
                </c:pt>
                <c:pt idx="4002">
                  <c:v>332946</c:v>
                </c:pt>
                <c:pt idx="4003">
                  <c:v>332940</c:v>
                </c:pt>
                <c:pt idx="4004">
                  <c:v>332901</c:v>
                </c:pt>
                <c:pt idx="4005">
                  <c:v>332887</c:v>
                </c:pt>
                <c:pt idx="4006">
                  <c:v>332883</c:v>
                </c:pt>
                <c:pt idx="4007">
                  <c:v>332879</c:v>
                </c:pt>
                <c:pt idx="4008">
                  <c:v>332873</c:v>
                </c:pt>
                <c:pt idx="4009">
                  <c:v>332872</c:v>
                </c:pt>
                <c:pt idx="4010">
                  <c:v>332866</c:v>
                </c:pt>
                <c:pt idx="4011">
                  <c:v>332858</c:v>
                </c:pt>
                <c:pt idx="4012">
                  <c:v>332829</c:v>
                </c:pt>
                <c:pt idx="4013">
                  <c:v>332825</c:v>
                </c:pt>
                <c:pt idx="4014">
                  <c:v>332824</c:v>
                </c:pt>
                <c:pt idx="4015">
                  <c:v>332822</c:v>
                </c:pt>
                <c:pt idx="4016">
                  <c:v>332817</c:v>
                </c:pt>
                <c:pt idx="4017">
                  <c:v>332813</c:v>
                </c:pt>
                <c:pt idx="4018">
                  <c:v>332803</c:v>
                </c:pt>
                <c:pt idx="4019">
                  <c:v>332798</c:v>
                </c:pt>
                <c:pt idx="4020">
                  <c:v>332784</c:v>
                </c:pt>
                <c:pt idx="4021">
                  <c:v>332772</c:v>
                </c:pt>
                <c:pt idx="4022">
                  <c:v>332770</c:v>
                </c:pt>
                <c:pt idx="4023">
                  <c:v>332764</c:v>
                </c:pt>
                <c:pt idx="4024">
                  <c:v>332754</c:v>
                </c:pt>
                <c:pt idx="4025">
                  <c:v>332746</c:v>
                </c:pt>
                <c:pt idx="4026">
                  <c:v>332744</c:v>
                </c:pt>
                <c:pt idx="4027">
                  <c:v>332741</c:v>
                </c:pt>
                <c:pt idx="4028">
                  <c:v>332726</c:v>
                </c:pt>
                <c:pt idx="4029">
                  <c:v>332698</c:v>
                </c:pt>
                <c:pt idx="4030">
                  <c:v>332692</c:v>
                </c:pt>
                <c:pt idx="4031">
                  <c:v>332673</c:v>
                </c:pt>
                <c:pt idx="4032">
                  <c:v>332656</c:v>
                </c:pt>
                <c:pt idx="4033">
                  <c:v>332561</c:v>
                </c:pt>
                <c:pt idx="4034">
                  <c:v>332557</c:v>
                </c:pt>
                <c:pt idx="4035">
                  <c:v>332555</c:v>
                </c:pt>
                <c:pt idx="4036">
                  <c:v>332551</c:v>
                </c:pt>
                <c:pt idx="4037">
                  <c:v>332541</c:v>
                </c:pt>
                <c:pt idx="4038">
                  <c:v>332519</c:v>
                </c:pt>
                <c:pt idx="4039">
                  <c:v>332514</c:v>
                </c:pt>
                <c:pt idx="4040">
                  <c:v>332502</c:v>
                </c:pt>
                <c:pt idx="4041">
                  <c:v>332493</c:v>
                </c:pt>
                <c:pt idx="4042">
                  <c:v>332493</c:v>
                </c:pt>
                <c:pt idx="4043">
                  <c:v>332489</c:v>
                </c:pt>
                <c:pt idx="4044">
                  <c:v>332484</c:v>
                </c:pt>
                <c:pt idx="4045">
                  <c:v>332482</c:v>
                </c:pt>
                <c:pt idx="4046">
                  <c:v>332473</c:v>
                </c:pt>
                <c:pt idx="4047">
                  <c:v>332454</c:v>
                </c:pt>
                <c:pt idx="4048">
                  <c:v>332434</c:v>
                </c:pt>
                <c:pt idx="4049">
                  <c:v>332432</c:v>
                </c:pt>
                <c:pt idx="4050">
                  <c:v>332430</c:v>
                </c:pt>
                <c:pt idx="4051">
                  <c:v>332415</c:v>
                </c:pt>
                <c:pt idx="4052">
                  <c:v>332414</c:v>
                </c:pt>
                <c:pt idx="4053">
                  <c:v>332399</c:v>
                </c:pt>
                <c:pt idx="4054">
                  <c:v>332383</c:v>
                </c:pt>
                <c:pt idx="4055">
                  <c:v>332377</c:v>
                </c:pt>
                <c:pt idx="4056">
                  <c:v>332372</c:v>
                </c:pt>
                <c:pt idx="4057">
                  <c:v>332357</c:v>
                </c:pt>
                <c:pt idx="4058">
                  <c:v>332336</c:v>
                </c:pt>
                <c:pt idx="4059">
                  <c:v>332297</c:v>
                </c:pt>
                <c:pt idx="4060">
                  <c:v>332280</c:v>
                </c:pt>
                <c:pt idx="4061">
                  <c:v>332273</c:v>
                </c:pt>
                <c:pt idx="4062">
                  <c:v>332265</c:v>
                </c:pt>
                <c:pt idx="4063">
                  <c:v>332245</c:v>
                </c:pt>
                <c:pt idx="4064">
                  <c:v>332216</c:v>
                </c:pt>
                <c:pt idx="4065">
                  <c:v>332208</c:v>
                </c:pt>
                <c:pt idx="4066">
                  <c:v>332157</c:v>
                </c:pt>
                <c:pt idx="4067">
                  <c:v>332145</c:v>
                </c:pt>
                <c:pt idx="4068">
                  <c:v>332134</c:v>
                </c:pt>
                <c:pt idx="4069">
                  <c:v>332130</c:v>
                </c:pt>
                <c:pt idx="4070">
                  <c:v>332129</c:v>
                </c:pt>
                <c:pt idx="4071">
                  <c:v>332095</c:v>
                </c:pt>
                <c:pt idx="4072">
                  <c:v>332091</c:v>
                </c:pt>
                <c:pt idx="4073">
                  <c:v>332080</c:v>
                </c:pt>
                <c:pt idx="4074">
                  <c:v>332073</c:v>
                </c:pt>
                <c:pt idx="4075">
                  <c:v>332062</c:v>
                </c:pt>
                <c:pt idx="4076">
                  <c:v>332050</c:v>
                </c:pt>
                <c:pt idx="4077">
                  <c:v>332048</c:v>
                </c:pt>
                <c:pt idx="4078">
                  <c:v>332047</c:v>
                </c:pt>
                <c:pt idx="4079">
                  <c:v>332045</c:v>
                </c:pt>
                <c:pt idx="4080">
                  <c:v>332025</c:v>
                </c:pt>
                <c:pt idx="4081">
                  <c:v>332020</c:v>
                </c:pt>
                <c:pt idx="4082">
                  <c:v>331998</c:v>
                </c:pt>
                <c:pt idx="4083">
                  <c:v>331994</c:v>
                </c:pt>
                <c:pt idx="4084">
                  <c:v>331976</c:v>
                </c:pt>
                <c:pt idx="4085">
                  <c:v>331960</c:v>
                </c:pt>
                <c:pt idx="4086">
                  <c:v>331956</c:v>
                </c:pt>
                <c:pt idx="4087">
                  <c:v>331956</c:v>
                </c:pt>
                <c:pt idx="4088">
                  <c:v>331931</c:v>
                </c:pt>
                <c:pt idx="4089">
                  <c:v>331883</c:v>
                </c:pt>
                <c:pt idx="4090">
                  <c:v>331867</c:v>
                </c:pt>
                <c:pt idx="4091">
                  <c:v>331856</c:v>
                </c:pt>
                <c:pt idx="4092">
                  <c:v>331843</c:v>
                </c:pt>
                <c:pt idx="4093">
                  <c:v>331840</c:v>
                </c:pt>
                <c:pt idx="4094">
                  <c:v>331828</c:v>
                </c:pt>
                <c:pt idx="4095">
                  <c:v>331824</c:v>
                </c:pt>
                <c:pt idx="4096">
                  <c:v>331810</c:v>
                </c:pt>
                <c:pt idx="4097">
                  <c:v>331807</c:v>
                </c:pt>
                <c:pt idx="4098">
                  <c:v>331790</c:v>
                </c:pt>
                <c:pt idx="4099">
                  <c:v>331784</c:v>
                </c:pt>
                <c:pt idx="4100">
                  <c:v>331764</c:v>
                </c:pt>
                <c:pt idx="4101">
                  <c:v>331741</c:v>
                </c:pt>
                <c:pt idx="4102">
                  <c:v>331735</c:v>
                </c:pt>
                <c:pt idx="4103">
                  <c:v>331731</c:v>
                </c:pt>
                <c:pt idx="4104">
                  <c:v>331729</c:v>
                </c:pt>
                <c:pt idx="4105">
                  <c:v>331716</c:v>
                </c:pt>
                <c:pt idx="4106">
                  <c:v>331713</c:v>
                </c:pt>
                <c:pt idx="4107">
                  <c:v>331710</c:v>
                </c:pt>
                <c:pt idx="4108">
                  <c:v>331701</c:v>
                </c:pt>
                <c:pt idx="4109">
                  <c:v>331670</c:v>
                </c:pt>
                <c:pt idx="4110">
                  <c:v>331662</c:v>
                </c:pt>
                <c:pt idx="4111">
                  <c:v>331652</c:v>
                </c:pt>
                <c:pt idx="4112">
                  <c:v>331632</c:v>
                </c:pt>
                <c:pt idx="4113">
                  <c:v>331628</c:v>
                </c:pt>
                <c:pt idx="4114">
                  <c:v>331613</c:v>
                </c:pt>
                <c:pt idx="4115">
                  <c:v>331610</c:v>
                </c:pt>
                <c:pt idx="4116">
                  <c:v>331599</c:v>
                </c:pt>
                <c:pt idx="4117">
                  <c:v>331592</c:v>
                </c:pt>
                <c:pt idx="4118">
                  <c:v>331552</c:v>
                </c:pt>
                <c:pt idx="4119">
                  <c:v>331512</c:v>
                </c:pt>
                <c:pt idx="4120">
                  <c:v>331507</c:v>
                </c:pt>
                <c:pt idx="4121">
                  <c:v>331507</c:v>
                </c:pt>
                <c:pt idx="4122">
                  <c:v>331487</c:v>
                </c:pt>
                <c:pt idx="4123">
                  <c:v>331481</c:v>
                </c:pt>
                <c:pt idx="4124">
                  <c:v>331470</c:v>
                </c:pt>
                <c:pt idx="4125">
                  <c:v>331464</c:v>
                </c:pt>
                <c:pt idx="4126">
                  <c:v>331446</c:v>
                </c:pt>
                <c:pt idx="4127">
                  <c:v>331440</c:v>
                </c:pt>
                <c:pt idx="4128">
                  <c:v>331439</c:v>
                </c:pt>
                <c:pt idx="4129">
                  <c:v>331430</c:v>
                </c:pt>
                <c:pt idx="4130">
                  <c:v>331428</c:v>
                </c:pt>
                <c:pt idx="4131">
                  <c:v>331421</c:v>
                </c:pt>
                <c:pt idx="4132">
                  <c:v>331391</c:v>
                </c:pt>
                <c:pt idx="4133">
                  <c:v>331375</c:v>
                </c:pt>
                <c:pt idx="4134">
                  <c:v>331361</c:v>
                </c:pt>
                <c:pt idx="4135">
                  <c:v>331359</c:v>
                </c:pt>
                <c:pt idx="4136">
                  <c:v>331352</c:v>
                </c:pt>
                <c:pt idx="4137">
                  <c:v>331351</c:v>
                </c:pt>
                <c:pt idx="4138">
                  <c:v>331337</c:v>
                </c:pt>
                <c:pt idx="4139">
                  <c:v>331334</c:v>
                </c:pt>
                <c:pt idx="4140">
                  <c:v>331334</c:v>
                </c:pt>
                <c:pt idx="4141">
                  <c:v>331330</c:v>
                </c:pt>
                <c:pt idx="4142">
                  <c:v>331329</c:v>
                </c:pt>
                <c:pt idx="4143">
                  <c:v>331329</c:v>
                </c:pt>
                <c:pt idx="4144">
                  <c:v>331319</c:v>
                </c:pt>
                <c:pt idx="4145">
                  <c:v>331300</c:v>
                </c:pt>
                <c:pt idx="4146">
                  <c:v>331299</c:v>
                </c:pt>
                <c:pt idx="4147">
                  <c:v>331289</c:v>
                </c:pt>
                <c:pt idx="4148">
                  <c:v>331288</c:v>
                </c:pt>
                <c:pt idx="4149">
                  <c:v>331282</c:v>
                </c:pt>
                <c:pt idx="4150">
                  <c:v>331276</c:v>
                </c:pt>
                <c:pt idx="4151">
                  <c:v>331264</c:v>
                </c:pt>
                <c:pt idx="4152">
                  <c:v>331237</c:v>
                </c:pt>
                <c:pt idx="4153">
                  <c:v>331210</c:v>
                </c:pt>
                <c:pt idx="4154">
                  <c:v>331208</c:v>
                </c:pt>
                <c:pt idx="4155">
                  <c:v>331186</c:v>
                </c:pt>
                <c:pt idx="4156">
                  <c:v>331174</c:v>
                </c:pt>
                <c:pt idx="4157">
                  <c:v>331172</c:v>
                </c:pt>
                <c:pt idx="4158">
                  <c:v>331171</c:v>
                </c:pt>
                <c:pt idx="4159">
                  <c:v>331165</c:v>
                </c:pt>
                <c:pt idx="4160">
                  <c:v>331155</c:v>
                </c:pt>
                <c:pt idx="4161">
                  <c:v>331152</c:v>
                </c:pt>
                <c:pt idx="4162">
                  <c:v>331146</c:v>
                </c:pt>
                <c:pt idx="4163">
                  <c:v>331129</c:v>
                </c:pt>
                <c:pt idx="4164">
                  <c:v>331115</c:v>
                </c:pt>
                <c:pt idx="4165">
                  <c:v>331106</c:v>
                </c:pt>
                <c:pt idx="4166">
                  <c:v>331086</c:v>
                </c:pt>
                <c:pt idx="4167">
                  <c:v>331085</c:v>
                </c:pt>
                <c:pt idx="4168">
                  <c:v>331060</c:v>
                </c:pt>
                <c:pt idx="4169">
                  <c:v>331058</c:v>
                </c:pt>
                <c:pt idx="4170">
                  <c:v>331057</c:v>
                </c:pt>
                <c:pt idx="4171">
                  <c:v>331042</c:v>
                </c:pt>
                <c:pt idx="4172">
                  <c:v>331036</c:v>
                </c:pt>
                <c:pt idx="4173">
                  <c:v>331032</c:v>
                </c:pt>
                <c:pt idx="4174">
                  <c:v>331029</c:v>
                </c:pt>
                <c:pt idx="4175">
                  <c:v>331026</c:v>
                </c:pt>
                <c:pt idx="4176">
                  <c:v>331017</c:v>
                </c:pt>
                <c:pt idx="4177">
                  <c:v>331014</c:v>
                </c:pt>
                <c:pt idx="4178">
                  <c:v>331004</c:v>
                </c:pt>
                <c:pt idx="4179">
                  <c:v>330986</c:v>
                </c:pt>
                <c:pt idx="4180">
                  <c:v>330969</c:v>
                </c:pt>
                <c:pt idx="4181">
                  <c:v>330949</c:v>
                </c:pt>
                <c:pt idx="4182">
                  <c:v>330924</c:v>
                </c:pt>
                <c:pt idx="4183">
                  <c:v>330920</c:v>
                </c:pt>
                <c:pt idx="4184">
                  <c:v>330909</c:v>
                </c:pt>
                <c:pt idx="4185">
                  <c:v>330904</c:v>
                </c:pt>
                <c:pt idx="4186">
                  <c:v>330902</c:v>
                </c:pt>
                <c:pt idx="4187">
                  <c:v>330876</c:v>
                </c:pt>
                <c:pt idx="4188">
                  <c:v>330875</c:v>
                </c:pt>
                <c:pt idx="4189">
                  <c:v>330868</c:v>
                </c:pt>
                <c:pt idx="4190">
                  <c:v>330828</c:v>
                </c:pt>
                <c:pt idx="4191">
                  <c:v>330772</c:v>
                </c:pt>
                <c:pt idx="4192">
                  <c:v>330764</c:v>
                </c:pt>
                <c:pt idx="4193">
                  <c:v>330738</c:v>
                </c:pt>
                <c:pt idx="4194">
                  <c:v>330738</c:v>
                </c:pt>
                <c:pt idx="4195">
                  <c:v>330735</c:v>
                </c:pt>
                <c:pt idx="4196">
                  <c:v>330731</c:v>
                </c:pt>
                <c:pt idx="4197">
                  <c:v>330728</c:v>
                </c:pt>
                <c:pt idx="4198">
                  <c:v>330701</c:v>
                </c:pt>
                <c:pt idx="4199">
                  <c:v>330689</c:v>
                </c:pt>
                <c:pt idx="4200">
                  <c:v>330681</c:v>
                </c:pt>
                <c:pt idx="4201">
                  <c:v>330680</c:v>
                </c:pt>
                <c:pt idx="4202">
                  <c:v>330678</c:v>
                </c:pt>
                <c:pt idx="4203">
                  <c:v>330673</c:v>
                </c:pt>
                <c:pt idx="4204">
                  <c:v>330665</c:v>
                </c:pt>
                <c:pt idx="4205">
                  <c:v>330664</c:v>
                </c:pt>
                <c:pt idx="4206">
                  <c:v>330659</c:v>
                </c:pt>
                <c:pt idx="4207">
                  <c:v>330640</c:v>
                </c:pt>
                <c:pt idx="4208">
                  <c:v>330626</c:v>
                </c:pt>
                <c:pt idx="4209">
                  <c:v>330616</c:v>
                </c:pt>
                <c:pt idx="4210">
                  <c:v>330609</c:v>
                </c:pt>
                <c:pt idx="4211">
                  <c:v>330603</c:v>
                </c:pt>
                <c:pt idx="4212">
                  <c:v>330598</c:v>
                </c:pt>
                <c:pt idx="4213">
                  <c:v>330575</c:v>
                </c:pt>
                <c:pt idx="4214">
                  <c:v>330574</c:v>
                </c:pt>
                <c:pt idx="4215">
                  <c:v>330570</c:v>
                </c:pt>
                <c:pt idx="4216">
                  <c:v>330568</c:v>
                </c:pt>
                <c:pt idx="4217">
                  <c:v>330564</c:v>
                </c:pt>
                <c:pt idx="4218">
                  <c:v>330552</c:v>
                </c:pt>
                <c:pt idx="4219">
                  <c:v>330550</c:v>
                </c:pt>
                <c:pt idx="4220">
                  <c:v>330526</c:v>
                </c:pt>
                <c:pt idx="4221">
                  <c:v>330510</c:v>
                </c:pt>
                <c:pt idx="4222">
                  <c:v>330472</c:v>
                </c:pt>
                <c:pt idx="4223">
                  <c:v>330469</c:v>
                </c:pt>
                <c:pt idx="4224">
                  <c:v>330436</c:v>
                </c:pt>
                <c:pt idx="4225">
                  <c:v>330435</c:v>
                </c:pt>
                <c:pt idx="4226">
                  <c:v>330416</c:v>
                </c:pt>
                <c:pt idx="4227">
                  <c:v>330416</c:v>
                </c:pt>
                <c:pt idx="4228">
                  <c:v>330410</c:v>
                </c:pt>
                <c:pt idx="4229">
                  <c:v>330371</c:v>
                </c:pt>
                <c:pt idx="4230">
                  <c:v>330360</c:v>
                </c:pt>
                <c:pt idx="4231">
                  <c:v>330359</c:v>
                </c:pt>
                <c:pt idx="4232">
                  <c:v>330338</c:v>
                </c:pt>
                <c:pt idx="4233">
                  <c:v>330332</c:v>
                </c:pt>
                <c:pt idx="4234">
                  <c:v>330316</c:v>
                </c:pt>
                <c:pt idx="4235">
                  <c:v>330316</c:v>
                </c:pt>
                <c:pt idx="4236">
                  <c:v>330304</c:v>
                </c:pt>
                <c:pt idx="4237">
                  <c:v>330287</c:v>
                </c:pt>
                <c:pt idx="4238">
                  <c:v>330284</c:v>
                </c:pt>
                <c:pt idx="4239">
                  <c:v>330283</c:v>
                </c:pt>
                <c:pt idx="4240">
                  <c:v>330282</c:v>
                </c:pt>
                <c:pt idx="4241">
                  <c:v>330274</c:v>
                </c:pt>
                <c:pt idx="4242">
                  <c:v>330245</c:v>
                </c:pt>
                <c:pt idx="4243">
                  <c:v>330240</c:v>
                </c:pt>
                <c:pt idx="4244">
                  <c:v>330228</c:v>
                </c:pt>
                <c:pt idx="4245">
                  <c:v>330224</c:v>
                </c:pt>
                <c:pt idx="4246">
                  <c:v>330223</c:v>
                </c:pt>
                <c:pt idx="4247">
                  <c:v>330217</c:v>
                </c:pt>
                <c:pt idx="4248">
                  <c:v>330217</c:v>
                </c:pt>
                <c:pt idx="4249">
                  <c:v>330188</c:v>
                </c:pt>
                <c:pt idx="4250">
                  <c:v>330183</c:v>
                </c:pt>
                <c:pt idx="4251">
                  <c:v>330167</c:v>
                </c:pt>
                <c:pt idx="4252">
                  <c:v>330157</c:v>
                </c:pt>
                <c:pt idx="4253">
                  <c:v>330157</c:v>
                </c:pt>
                <c:pt idx="4254">
                  <c:v>330143</c:v>
                </c:pt>
                <c:pt idx="4255">
                  <c:v>330141</c:v>
                </c:pt>
                <c:pt idx="4256">
                  <c:v>330127</c:v>
                </c:pt>
                <c:pt idx="4257">
                  <c:v>330108</c:v>
                </c:pt>
                <c:pt idx="4258">
                  <c:v>330073</c:v>
                </c:pt>
                <c:pt idx="4259">
                  <c:v>330071</c:v>
                </c:pt>
                <c:pt idx="4260">
                  <c:v>330058</c:v>
                </c:pt>
                <c:pt idx="4261">
                  <c:v>330031</c:v>
                </c:pt>
                <c:pt idx="4262">
                  <c:v>330026</c:v>
                </c:pt>
                <c:pt idx="4263">
                  <c:v>330017</c:v>
                </c:pt>
                <c:pt idx="4264">
                  <c:v>330012</c:v>
                </c:pt>
                <c:pt idx="4265">
                  <c:v>329998</c:v>
                </c:pt>
                <c:pt idx="4266">
                  <c:v>329959</c:v>
                </c:pt>
                <c:pt idx="4267">
                  <c:v>329946</c:v>
                </c:pt>
                <c:pt idx="4268">
                  <c:v>329944</c:v>
                </c:pt>
                <c:pt idx="4269">
                  <c:v>329929</c:v>
                </c:pt>
                <c:pt idx="4270">
                  <c:v>329924</c:v>
                </c:pt>
                <c:pt idx="4271">
                  <c:v>329922</c:v>
                </c:pt>
                <c:pt idx="4272">
                  <c:v>329919</c:v>
                </c:pt>
                <c:pt idx="4273">
                  <c:v>329917</c:v>
                </c:pt>
                <c:pt idx="4274">
                  <c:v>329914</c:v>
                </c:pt>
                <c:pt idx="4275">
                  <c:v>329903</c:v>
                </c:pt>
                <c:pt idx="4276">
                  <c:v>329902</c:v>
                </c:pt>
                <c:pt idx="4277">
                  <c:v>329900</c:v>
                </c:pt>
                <c:pt idx="4278">
                  <c:v>329897</c:v>
                </c:pt>
                <c:pt idx="4279">
                  <c:v>329886</c:v>
                </c:pt>
                <c:pt idx="4280">
                  <c:v>329883</c:v>
                </c:pt>
                <c:pt idx="4281">
                  <c:v>329879</c:v>
                </c:pt>
                <c:pt idx="4282">
                  <c:v>329877</c:v>
                </c:pt>
                <c:pt idx="4283">
                  <c:v>329866</c:v>
                </c:pt>
                <c:pt idx="4284">
                  <c:v>329842</c:v>
                </c:pt>
                <c:pt idx="4285">
                  <c:v>329840</c:v>
                </c:pt>
                <c:pt idx="4286">
                  <c:v>329830</c:v>
                </c:pt>
                <c:pt idx="4287">
                  <c:v>329821</c:v>
                </c:pt>
                <c:pt idx="4288">
                  <c:v>329819</c:v>
                </c:pt>
                <c:pt idx="4289">
                  <c:v>329819</c:v>
                </c:pt>
                <c:pt idx="4290">
                  <c:v>329816</c:v>
                </c:pt>
                <c:pt idx="4291">
                  <c:v>329816</c:v>
                </c:pt>
                <c:pt idx="4292">
                  <c:v>329810</c:v>
                </c:pt>
                <c:pt idx="4293">
                  <c:v>329809</c:v>
                </c:pt>
                <c:pt idx="4294">
                  <c:v>329798</c:v>
                </c:pt>
                <c:pt idx="4295">
                  <c:v>329797</c:v>
                </c:pt>
                <c:pt idx="4296">
                  <c:v>329794</c:v>
                </c:pt>
                <c:pt idx="4297">
                  <c:v>329736</c:v>
                </c:pt>
                <c:pt idx="4298">
                  <c:v>329724</c:v>
                </c:pt>
                <c:pt idx="4299">
                  <c:v>329721</c:v>
                </c:pt>
                <c:pt idx="4300">
                  <c:v>329714</c:v>
                </c:pt>
                <c:pt idx="4301">
                  <c:v>329702</c:v>
                </c:pt>
                <c:pt idx="4302">
                  <c:v>329695</c:v>
                </c:pt>
                <c:pt idx="4303">
                  <c:v>329688</c:v>
                </c:pt>
                <c:pt idx="4304">
                  <c:v>329642</c:v>
                </c:pt>
                <c:pt idx="4305">
                  <c:v>329641</c:v>
                </c:pt>
                <c:pt idx="4306">
                  <c:v>329624</c:v>
                </c:pt>
                <c:pt idx="4307">
                  <c:v>329605</c:v>
                </c:pt>
                <c:pt idx="4308">
                  <c:v>329592</c:v>
                </c:pt>
                <c:pt idx="4309">
                  <c:v>329578</c:v>
                </c:pt>
                <c:pt idx="4310">
                  <c:v>329563</c:v>
                </c:pt>
                <c:pt idx="4311">
                  <c:v>329558</c:v>
                </c:pt>
                <c:pt idx="4312">
                  <c:v>329546</c:v>
                </c:pt>
                <c:pt idx="4313">
                  <c:v>329539</c:v>
                </c:pt>
                <c:pt idx="4314">
                  <c:v>329519</c:v>
                </c:pt>
                <c:pt idx="4315">
                  <c:v>329509</c:v>
                </c:pt>
                <c:pt idx="4316">
                  <c:v>329494</c:v>
                </c:pt>
                <c:pt idx="4317">
                  <c:v>329464</c:v>
                </c:pt>
                <c:pt idx="4318">
                  <c:v>329443</c:v>
                </c:pt>
                <c:pt idx="4319">
                  <c:v>329437</c:v>
                </c:pt>
                <c:pt idx="4320">
                  <c:v>329415</c:v>
                </c:pt>
                <c:pt idx="4321">
                  <c:v>329411</c:v>
                </c:pt>
                <c:pt idx="4322">
                  <c:v>329377</c:v>
                </c:pt>
                <c:pt idx="4323">
                  <c:v>329369</c:v>
                </c:pt>
                <c:pt idx="4324">
                  <c:v>329368</c:v>
                </c:pt>
                <c:pt idx="4325">
                  <c:v>329360</c:v>
                </c:pt>
                <c:pt idx="4326">
                  <c:v>329359</c:v>
                </c:pt>
                <c:pt idx="4327">
                  <c:v>329330</c:v>
                </c:pt>
                <c:pt idx="4328">
                  <c:v>329323</c:v>
                </c:pt>
                <c:pt idx="4329">
                  <c:v>329314</c:v>
                </c:pt>
                <c:pt idx="4330">
                  <c:v>329278</c:v>
                </c:pt>
                <c:pt idx="4331">
                  <c:v>329267</c:v>
                </c:pt>
                <c:pt idx="4332">
                  <c:v>329255</c:v>
                </c:pt>
                <c:pt idx="4333">
                  <c:v>329222</c:v>
                </c:pt>
                <c:pt idx="4334">
                  <c:v>329197</c:v>
                </c:pt>
                <c:pt idx="4335">
                  <c:v>329192</c:v>
                </c:pt>
                <c:pt idx="4336">
                  <c:v>329167</c:v>
                </c:pt>
                <c:pt idx="4337">
                  <c:v>329167</c:v>
                </c:pt>
                <c:pt idx="4338">
                  <c:v>329166</c:v>
                </c:pt>
                <c:pt idx="4339">
                  <c:v>329159</c:v>
                </c:pt>
                <c:pt idx="4340">
                  <c:v>329136</c:v>
                </c:pt>
                <c:pt idx="4341">
                  <c:v>329117</c:v>
                </c:pt>
                <c:pt idx="4342">
                  <c:v>329111</c:v>
                </c:pt>
                <c:pt idx="4343">
                  <c:v>329070</c:v>
                </c:pt>
                <c:pt idx="4344">
                  <c:v>329064</c:v>
                </c:pt>
                <c:pt idx="4345">
                  <c:v>329052</c:v>
                </c:pt>
                <c:pt idx="4346">
                  <c:v>329046</c:v>
                </c:pt>
                <c:pt idx="4347">
                  <c:v>329019</c:v>
                </c:pt>
                <c:pt idx="4348">
                  <c:v>328976</c:v>
                </c:pt>
                <c:pt idx="4349">
                  <c:v>328950</c:v>
                </c:pt>
                <c:pt idx="4350">
                  <c:v>328918</c:v>
                </c:pt>
                <c:pt idx="4351">
                  <c:v>328907</c:v>
                </c:pt>
                <c:pt idx="4352">
                  <c:v>328896</c:v>
                </c:pt>
                <c:pt idx="4353">
                  <c:v>328896</c:v>
                </c:pt>
                <c:pt idx="4354">
                  <c:v>328877</c:v>
                </c:pt>
                <c:pt idx="4355">
                  <c:v>328870</c:v>
                </c:pt>
                <c:pt idx="4356">
                  <c:v>328860</c:v>
                </c:pt>
                <c:pt idx="4357">
                  <c:v>328845</c:v>
                </c:pt>
                <c:pt idx="4358">
                  <c:v>328837</c:v>
                </c:pt>
                <c:pt idx="4359">
                  <c:v>328836</c:v>
                </c:pt>
                <c:pt idx="4360">
                  <c:v>328833</c:v>
                </c:pt>
                <c:pt idx="4361">
                  <c:v>328829</c:v>
                </c:pt>
                <c:pt idx="4362">
                  <c:v>328822</c:v>
                </c:pt>
                <c:pt idx="4363">
                  <c:v>328820</c:v>
                </c:pt>
                <c:pt idx="4364">
                  <c:v>328816</c:v>
                </c:pt>
                <c:pt idx="4365">
                  <c:v>328816</c:v>
                </c:pt>
                <c:pt idx="4366">
                  <c:v>328813</c:v>
                </c:pt>
                <c:pt idx="4367">
                  <c:v>328809</c:v>
                </c:pt>
                <c:pt idx="4368">
                  <c:v>328806</c:v>
                </c:pt>
                <c:pt idx="4369">
                  <c:v>328786</c:v>
                </c:pt>
                <c:pt idx="4370">
                  <c:v>328763</c:v>
                </c:pt>
                <c:pt idx="4371">
                  <c:v>328760</c:v>
                </c:pt>
                <c:pt idx="4372">
                  <c:v>328746</c:v>
                </c:pt>
                <c:pt idx="4373">
                  <c:v>328728</c:v>
                </c:pt>
                <c:pt idx="4374">
                  <c:v>328682</c:v>
                </c:pt>
                <c:pt idx="4375">
                  <c:v>328678</c:v>
                </c:pt>
                <c:pt idx="4376">
                  <c:v>328677</c:v>
                </c:pt>
                <c:pt idx="4377">
                  <c:v>328675</c:v>
                </c:pt>
                <c:pt idx="4378">
                  <c:v>328669</c:v>
                </c:pt>
                <c:pt idx="4379">
                  <c:v>328619</c:v>
                </c:pt>
                <c:pt idx="4380">
                  <c:v>328601</c:v>
                </c:pt>
                <c:pt idx="4381">
                  <c:v>328599</c:v>
                </c:pt>
                <c:pt idx="4382">
                  <c:v>328582</c:v>
                </c:pt>
                <c:pt idx="4383">
                  <c:v>328565</c:v>
                </c:pt>
                <c:pt idx="4384">
                  <c:v>328563</c:v>
                </c:pt>
                <c:pt idx="4385">
                  <c:v>328559</c:v>
                </c:pt>
                <c:pt idx="4386">
                  <c:v>328555</c:v>
                </c:pt>
                <c:pt idx="4387">
                  <c:v>328547</c:v>
                </c:pt>
                <c:pt idx="4388">
                  <c:v>328545</c:v>
                </c:pt>
                <c:pt idx="4389">
                  <c:v>328527</c:v>
                </c:pt>
                <c:pt idx="4390">
                  <c:v>328518</c:v>
                </c:pt>
                <c:pt idx="4391">
                  <c:v>328508</c:v>
                </c:pt>
                <c:pt idx="4392">
                  <c:v>328481</c:v>
                </c:pt>
                <c:pt idx="4393">
                  <c:v>328476</c:v>
                </c:pt>
                <c:pt idx="4394">
                  <c:v>328472</c:v>
                </c:pt>
                <c:pt idx="4395">
                  <c:v>328461</c:v>
                </c:pt>
                <c:pt idx="4396">
                  <c:v>328458</c:v>
                </c:pt>
                <c:pt idx="4397">
                  <c:v>328398</c:v>
                </c:pt>
                <c:pt idx="4398">
                  <c:v>328390</c:v>
                </c:pt>
                <c:pt idx="4399">
                  <c:v>328353</c:v>
                </c:pt>
                <c:pt idx="4400">
                  <c:v>328307</c:v>
                </c:pt>
                <c:pt idx="4401">
                  <c:v>328276</c:v>
                </c:pt>
                <c:pt idx="4402">
                  <c:v>328253</c:v>
                </c:pt>
                <c:pt idx="4403">
                  <c:v>328245</c:v>
                </c:pt>
                <c:pt idx="4404">
                  <c:v>328237</c:v>
                </c:pt>
                <c:pt idx="4405">
                  <c:v>328230</c:v>
                </c:pt>
                <c:pt idx="4406">
                  <c:v>328221</c:v>
                </c:pt>
                <c:pt idx="4407">
                  <c:v>328187</c:v>
                </c:pt>
                <c:pt idx="4408">
                  <c:v>328187</c:v>
                </c:pt>
                <c:pt idx="4409">
                  <c:v>328183</c:v>
                </c:pt>
                <c:pt idx="4410">
                  <c:v>328179</c:v>
                </c:pt>
                <c:pt idx="4411">
                  <c:v>328175</c:v>
                </c:pt>
                <c:pt idx="4412">
                  <c:v>328122</c:v>
                </c:pt>
                <c:pt idx="4413">
                  <c:v>328110</c:v>
                </c:pt>
                <c:pt idx="4414">
                  <c:v>328105</c:v>
                </c:pt>
                <c:pt idx="4415">
                  <c:v>328090</c:v>
                </c:pt>
                <c:pt idx="4416">
                  <c:v>328089</c:v>
                </c:pt>
                <c:pt idx="4417">
                  <c:v>328079</c:v>
                </c:pt>
                <c:pt idx="4418">
                  <c:v>328077</c:v>
                </c:pt>
                <c:pt idx="4419">
                  <c:v>328042</c:v>
                </c:pt>
                <c:pt idx="4420">
                  <c:v>328040</c:v>
                </c:pt>
                <c:pt idx="4421">
                  <c:v>328039</c:v>
                </c:pt>
                <c:pt idx="4422">
                  <c:v>328034</c:v>
                </c:pt>
                <c:pt idx="4423">
                  <c:v>328008</c:v>
                </c:pt>
                <c:pt idx="4424">
                  <c:v>328004</c:v>
                </c:pt>
                <c:pt idx="4425">
                  <c:v>327998</c:v>
                </c:pt>
                <c:pt idx="4426">
                  <c:v>327962</c:v>
                </c:pt>
                <c:pt idx="4427">
                  <c:v>327953</c:v>
                </c:pt>
                <c:pt idx="4428">
                  <c:v>327953</c:v>
                </c:pt>
                <c:pt idx="4429">
                  <c:v>327952</c:v>
                </c:pt>
                <c:pt idx="4430">
                  <c:v>327945</c:v>
                </c:pt>
                <c:pt idx="4431">
                  <c:v>327945</c:v>
                </c:pt>
                <c:pt idx="4432">
                  <c:v>327944</c:v>
                </c:pt>
                <c:pt idx="4433">
                  <c:v>327943</c:v>
                </c:pt>
                <c:pt idx="4434">
                  <c:v>327940</c:v>
                </c:pt>
                <c:pt idx="4435">
                  <c:v>327938</c:v>
                </c:pt>
                <c:pt idx="4436">
                  <c:v>327934</c:v>
                </c:pt>
                <c:pt idx="4437">
                  <c:v>327931</c:v>
                </c:pt>
                <c:pt idx="4438">
                  <c:v>327897</c:v>
                </c:pt>
                <c:pt idx="4439">
                  <c:v>327881</c:v>
                </c:pt>
                <c:pt idx="4440">
                  <c:v>327856</c:v>
                </c:pt>
                <c:pt idx="4441">
                  <c:v>327846</c:v>
                </c:pt>
                <c:pt idx="4442">
                  <c:v>327786</c:v>
                </c:pt>
                <c:pt idx="4443">
                  <c:v>327784</c:v>
                </c:pt>
                <c:pt idx="4444">
                  <c:v>327782</c:v>
                </c:pt>
                <c:pt idx="4445">
                  <c:v>327767</c:v>
                </c:pt>
                <c:pt idx="4446">
                  <c:v>327759</c:v>
                </c:pt>
                <c:pt idx="4447">
                  <c:v>327751</c:v>
                </c:pt>
                <c:pt idx="4448">
                  <c:v>327728</c:v>
                </c:pt>
                <c:pt idx="4449">
                  <c:v>327721</c:v>
                </c:pt>
                <c:pt idx="4450">
                  <c:v>327702</c:v>
                </c:pt>
                <c:pt idx="4451">
                  <c:v>327690</c:v>
                </c:pt>
                <c:pt idx="4452">
                  <c:v>327671</c:v>
                </c:pt>
                <c:pt idx="4453">
                  <c:v>327664</c:v>
                </c:pt>
                <c:pt idx="4454">
                  <c:v>327662</c:v>
                </c:pt>
                <c:pt idx="4455">
                  <c:v>327658</c:v>
                </c:pt>
                <c:pt idx="4456">
                  <c:v>327650</c:v>
                </c:pt>
                <c:pt idx="4457">
                  <c:v>327640</c:v>
                </c:pt>
                <c:pt idx="4458">
                  <c:v>327631</c:v>
                </c:pt>
                <c:pt idx="4459">
                  <c:v>327628</c:v>
                </c:pt>
                <c:pt idx="4460">
                  <c:v>327617</c:v>
                </c:pt>
                <c:pt idx="4461">
                  <c:v>327609</c:v>
                </c:pt>
                <c:pt idx="4462">
                  <c:v>327596</c:v>
                </c:pt>
                <c:pt idx="4463">
                  <c:v>327590</c:v>
                </c:pt>
                <c:pt idx="4464">
                  <c:v>327589</c:v>
                </c:pt>
                <c:pt idx="4465">
                  <c:v>327577</c:v>
                </c:pt>
                <c:pt idx="4466">
                  <c:v>327566</c:v>
                </c:pt>
                <c:pt idx="4467">
                  <c:v>327549</c:v>
                </c:pt>
                <c:pt idx="4468">
                  <c:v>327547</c:v>
                </c:pt>
                <c:pt idx="4469">
                  <c:v>327540</c:v>
                </c:pt>
                <c:pt idx="4470">
                  <c:v>327536</c:v>
                </c:pt>
                <c:pt idx="4471">
                  <c:v>327525</c:v>
                </c:pt>
                <c:pt idx="4472">
                  <c:v>327515</c:v>
                </c:pt>
                <c:pt idx="4473">
                  <c:v>327444</c:v>
                </c:pt>
                <c:pt idx="4474">
                  <c:v>327443</c:v>
                </c:pt>
                <c:pt idx="4475">
                  <c:v>327435</c:v>
                </c:pt>
                <c:pt idx="4476">
                  <c:v>327434</c:v>
                </c:pt>
                <c:pt idx="4477">
                  <c:v>327432</c:v>
                </c:pt>
                <c:pt idx="4478">
                  <c:v>327427</c:v>
                </c:pt>
                <c:pt idx="4479">
                  <c:v>327420</c:v>
                </c:pt>
                <c:pt idx="4480">
                  <c:v>327400</c:v>
                </c:pt>
                <c:pt idx="4481">
                  <c:v>327389</c:v>
                </c:pt>
                <c:pt idx="4482">
                  <c:v>327362</c:v>
                </c:pt>
                <c:pt idx="4483">
                  <c:v>327360</c:v>
                </c:pt>
                <c:pt idx="4484">
                  <c:v>327353</c:v>
                </c:pt>
                <c:pt idx="4485">
                  <c:v>327329</c:v>
                </c:pt>
                <c:pt idx="4486">
                  <c:v>327299</c:v>
                </c:pt>
                <c:pt idx="4487">
                  <c:v>327293</c:v>
                </c:pt>
                <c:pt idx="4488">
                  <c:v>327285</c:v>
                </c:pt>
                <c:pt idx="4489">
                  <c:v>327276</c:v>
                </c:pt>
                <c:pt idx="4490">
                  <c:v>327252</c:v>
                </c:pt>
                <c:pt idx="4491">
                  <c:v>327239</c:v>
                </c:pt>
                <c:pt idx="4492">
                  <c:v>327229</c:v>
                </c:pt>
                <c:pt idx="4493">
                  <c:v>327228</c:v>
                </c:pt>
                <c:pt idx="4494">
                  <c:v>327222</c:v>
                </c:pt>
                <c:pt idx="4495">
                  <c:v>327213</c:v>
                </c:pt>
                <c:pt idx="4496">
                  <c:v>327205</c:v>
                </c:pt>
                <c:pt idx="4497">
                  <c:v>327184</c:v>
                </c:pt>
                <c:pt idx="4498">
                  <c:v>327171</c:v>
                </c:pt>
                <c:pt idx="4499">
                  <c:v>327160</c:v>
                </c:pt>
                <c:pt idx="4500">
                  <c:v>327157</c:v>
                </c:pt>
                <c:pt idx="4501">
                  <c:v>327150</c:v>
                </c:pt>
                <c:pt idx="4502">
                  <c:v>327134</c:v>
                </c:pt>
                <c:pt idx="4503">
                  <c:v>327131</c:v>
                </c:pt>
                <c:pt idx="4504">
                  <c:v>327130</c:v>
                </c:pt>
                <c:pt idx="4505">
                  <c:v>327118</c:v>
                </c:pt>
                <c:pt idx="4506">
                  <c:v>327115</c:v>
                </c:pt>
                <c:pt idx="4507">
                  <c:v>327111</c:v>
                </c:pt>
                <c:pt idx="4508">
                  <c:v>327102</c:v>
                </c:pt>
                <c:pt idx="4509">
                  <c:v>327082</c:v>
                </c:pt>
                <c:pt idx="4510">
                  <c:v>327069</c:v>
                </c:pt>
                <c:pt idx="4511">
                  <c:v>327046</c:v>
                </c:pt>
                <c:pt idx="4512">
                  <c:v>327041</c:v>
                </c:pt>
                <c:pt idx="4513">
                  <c:v>327027</c:v>
                </c:pt>
                <c:pt idx="4514">
                  <c:v>327014</c:v>
                </c:pt>
                <c:pt idx="4515">
                  <c:v>327005</c:v>
                </c:pt>
                <c:pt idx="4516">
                  <c:v>327003</c:v>
                </c:pt>
                <c:pt idx="4517">
                  <c:v>326997</c:v>
                </c:pt>
                <c:pt idx="4518">
                  <c:v>326994</c:v>
                </c:pt>
                <c:pt idx="4519">
                  <c:v>326984</c:v>
                </c:pt>
                <c:pt idx="4520">
                  <c:v>326983</c:v>
                </c:pt>
                <c:pt idx="4521">
                  <c:v>326974</c:v>
                </c:pt>
                <c:pt idx="4522">
                  <c:v>326970</c:v>
                </c:pt>
                <c:pt idx="4523">
                  <c:v>326970</c:v>
                </c:pt>
                <c:pt idx="4524">
                  <c:v>326950</c:v>
                </c:pt>
                <c:pt idx="4525">
                  <c:v>326917</c:v>
                </c:pt>
                <c:pt idx="4526">
                  <c:v>326904</c:v>
                </c:pt>
                <c:pt idx="4527">
                  <c:v>326895</c:v>
                </c:pt>
                <c:pt idx="4528">
                  <c:v>326891</c:v>
                </c:pt>
                <c:pt idx="4529">
                  <c:v>326884</c:v>
                </c:pt>
                <c:pt idx="4530">
                  <c:v>326874</c:v>
                </c:pt>
                <c:pt idx="4531">
                  <c:v>326874</c:v>
                </c:pt>
                <c:pt idx="4532">
                  <c:v>326850</c:v>
                </c:pt>
                <c:pt idx="4533">
                  <c:v>326844</c:v>
                </c:pt>
                <c:pt idx="4534">
                  <c:v>326834</c:v>
                </c:pt>
                <c:pt idx="4535">
                  <c:v>326818</c:v>
                </c:pt>
                <c:pt idx="4536">
                  <c:v>326811</c:v>
                </c:pt>
                <c:pt idx="4537">
                  <c:v>326799</c:v>
                </c:pt>
                <c:pt idx="4538">
                  <c:v>326787</c:v>
                </c:pt>
                <c:pt idx="4539">
                  <c:v>326782</c:v>
                </c:pt>
                <c:pt idx="4540">
                  <c:v>326781</c:v>
                </c:pt>
                <c:pt idx="4541">
                  <c:v>326734</c:v>
                </c:pt>
                <c:pt idx="4542">
                  <c:v>326700</c:v>
                </c:pt>
                <c:pt idx="4543">
                  <c:v>326694</c:v>
                </c:pt>
                <c:pt idx="4544">
                  <c:v>326689</c:v>
                </c:pt>
                <c:pt idx="4545">
                  <c:v>326673</c:v>
                </c:pt>
                <c:pt idx="4546">
                  <c:v>326623</c:v>
                </c:pt>
                <c:pt idx="4547">
                  <c:v>326616</c:v>
                </c:pt>
                <c:pt idx="4548">
                  <c:v>326613</c:v>
                </c:pt>
                <c:pt idx="4549">
                  <c:v>326603</c:v>
                </c:pt>
                <c:pt idx="4550">
                  <c:v>326586</c:v>
                </c:pt>
                <c:pt idx="4551">
                  <c:v>326578</c:v>
                </c:pt>
                <c:pt idx="4552">
                  <c:v>326576</c:v>
                </c:pt>
                <c:pt idx="4553">
                  <c:v>326575</c:v>
                </c:pt>
                <c:pt idx="4554">
                  <c:v>326570</c:v>
                </c:pt>
                <c:pt idx="4555">
                  <c:v>326561</c:v>
                </c:pt>
                <c:pt idx="4556">
                  <c:v>326553</c:v>
                </c:pt>
                <c:pt idx="4557">
                  <c:v>326551</c:v>
                </c:pt>
                <c:pt idx="4558">
                  <c:v>326533</c:v>
                </c:pt>
                <c:pt idx="4559">
                  <c:v>326518</c:v>
                </c:pt>
                <c:pt idx="4560">
                  <c:v>326509</c:v>
                </c:pt>
                <c:pt idx="4561">
                  <c:v>326494</c:v>
                </c:pt>
                <c:pt idx="4562">
                  <c:v>326489</c:v>
                </c:pt>
                <c:pt idx="4563">
                  <c:v>326482</c:v>
                </c:pt>
                <c:pt idx="4564">
                  <c:v>326475</c:v>
                </c:pt>
                <c:pt idx="4565">
                  <c:v>326464</c:v>
                </c:pt>
                <c:pt idx="4566">
                  <c:v>326464</c:v>
                </c:pt>
                <c:pt idx="4567">
                  <c:v>326459</c:v>
                </c:pt>
                <c:pt idx="4568">
                  <c:v>326455</c:v>
                </c:pt>
                <c:pt idx="4569">
                  <c:v>326449</c:v>
                </c:pt>
                <c:pt idx="4570">
                  <c:v>326425</c:v>
                </c:pt>
                <c:pt idx="4571">
                  <c:v>326413</c:v>
                </c:pt>
                <c:pt idx="4572">
                  <c:v>326404</c:v>
                </c:pt>
                <c:pt idx="4573">
                  <c:v>326390</c:v>
                </c:pt>
                <c:pt idx="4574">
                  <c:v>326365</c:v>
                </c:pt>
                <c:pt idx="4575">
                  <c:v>326355</c:v>
                </c:pt>
                <c:pt idx="4576">
                  <c:v>326348</c:v>
                </c:pt>
                <c:pt idx="4577">
                  <c:v>326342</c:v>
                </c:pt>
                <c:pt idx="4578">
                  <c:v>326332</c:v>
                </c:pt>
                <c:pt idx="4579">
                  <c:v>326331</c:v>
                </c:pt>
                <c:pt idx="4580">
                  <c:v>326291</c:v>
                </c:pt>
                <c:pt idx="4581">
                  <c:v>326286</c:v>
                </c:pt>
                <c:pt idx="4582">
                  <c:v>326276</c:v>
                </c:pt>
                <c:pt idx="4583">
                  <c:v>326272</c:v>
                </c:pt>
                <c:pt idx="4584">
                  <c:v>326266</c:v>
                </c:pt>
                <c:pt idx="4585">
                  <c:v>326253</c:v>
                </c:pt>
                <c:pt idx="4586">
                  <c:v>326241</c:v>
                </c:pt>
                <c:pt idx="4587">
                  <c:v>326235</c:v>
                </c:pt>
                <c:pt idx="4588">
                  <c:v>326232</c:v>
                </c:pt>
                <c:pt idx="4589">
                  <c:v>326231</c:v>
                </c:pt>
                <c:pt idx="4590">
                  <c:v>326209</c:v>
                </c:pt>
                <c:pt idx="4591">
                  <c:v>326203</c:v>
                </c:pt>
                <c:pt idx="4592">
                  <c:v>326199</c:v>
                </c:pt>
                <c:pt idx="4593">
                  <c:v>326185</c:v>
                </c:pt>
                <c:pt idx="4594">
                  <c:v>326167</c:v>
                </c:pt>
                <c:pt idx="4595">
                  <c:v>326155</c:v>
                </c:pt>
                <c:pt idx="4596">
                  <c:v>326146</c:v>
                </c:pt>
                <c:pt idx="4597">
                  <c:v>326123</c:v>
                </c:pt>
                <c:pt idx="4598">
                  <c:v>326122</c:v>
                </c:pt>
                <c:pt idx="4599">
                  <c:v>326114</c:v>
                </c:pt>
                <c:pt idx="4600">
                  <c:v>326100</c:v>
                </c:pt>
                <c:pt idx="4601">
                  <c:v>326096</c:v>
                </c:pt>
                <c:pt idx="4602">
                  <c:v>326086</c:v>
                </c:pt>
                <c:pt idx="4603">
                  <c:v>326083</c:v>
                </c:pt>
                <c:pt idx="4604">
                  <c:v>326080</c:v>
                </c:pt>
                <c:pt idx="4605">
                  <c:v>326058</c:v>
                </c:pt>
                <c:pt idx="4606">
                  <c:v>326055</c:v>
                </c:pt>
                <c:pt idx="4607">
                  <c:v>326042</c:v>
                </c:pt>
                <c:pt idx="4608">
                  <c:v>326041</c:v>
                </c:pt>
                <c:pt idx="4609">
                  <c:v>326021</c:v>
                </c:pt>
                <c:pt idx="4610">
                  <c:v>325987</c:v>
                </c:pt>
                <c:pt idx="4611">
                  <c:v>325972</c:v>
                </c:pt>
                <c:pt idx="4612">
                  <c:v>325971</c:v>
                </c:pt>
                <c:pt idx="4613">
                  <c:v>325936</c:v>
                </c:pt>
                <c:pt idx="4614">
                  <c:v>325930</c:v>
                </c:pt>
                <c:pt idx="4615">
                  <c:v>325926</c:v>
                </c:pt>
                <c:pt idx="4616">
                  <c:v>325924</c:v>
                </c:pt>
                <c:pt idx="4617">
                  <c:v>325903</c:v>
                </c:pt>
                <c:pt idx="4618">
                  <c:v>325897</c:v>
                </c:pt>
                <c:pt idx="4619">
                  <c:v>325880</c:v>
                </c:pt>
                <c:pt idx="4620">
                  <c:v>325863</c:v>
                </c:pt>
                <c:pt idx="4621">
                  <c:v>325855</c:v>
                </c:pt>
                <c:pt idx="4622">
                  <c:v>325849</c:v>
                </c:pt>
                <c:pt idx="4623">
                  <c:v>325798</c:v>
                </c:pt>
                <c:pt idx="4624">
                  <c:v>325794</c:v>
                </c:pt>
                <c:pt idx="4625">
                  <c:v>325781</c:v>
                </c:pt>
                <c:pt idx="4626">
                  <c:v>325757</c:v>
                </c:pt>
                <c:pt idx="4627">
                  <c:v>325746</c:v>
                </c:pt>
                <c:pt idx="4628">
                  <c:v>325737</c:v>
                </c:pt>
                <c:pt idx="4629">
                  <c:v>325700</c:v>
                </c:pt>
                <c:pt idx="4630">
                  <c:v>325687</c:v>
                </c:pt>
                <c:pt idx="4631">
                  <c:v>325680</c:v>
                </c:pt>
                <c:pt idx="4632">
                  <c:v>325672</c:v>
                </c:pt>
                <c:pt idx="4633">
                  <c:v>325655</c:v>
                </c:pt>
                <c:pt idx="4634">
                  <c:v>325653</c:v>
                </c:pt>
                <c:pt idx="4635">
                  <c:v>325608</c:v>
                </c:pt>
                <c:pt idx="4636">
                  <c:v>325607</c:v>
                </c:pt>
                <c:pt idx="4637">
                  <c:v>325600</c:v>
                </c:pt>
                <c:pt idx="4638">
                  <c:v>325574</c:v>
                </c:pt>
                <c:pt idx="4639">
                  <c:v>325572</c:v>
                </c:pt>
                <c:pt idx="4640">
                  <c:v>325522</c:v>
                </c:pt>
                <c:pt idx="4641">
                  <c:v>325518</c:v>
                </c:pt>
                <c:pt idx="4642">
                  <c:v>325506</c:v>
                </c:pt>
                <c:pt idx="4643">
                  <c:v>325482</c:v>
                </c:pt>
                <c:pt idx="4644">
                  <c:v>325476</c:v>
                </c:pt>
                <c:pt idx="4645">
                  <c:v>325474</c:v>
                </c:pt>
                <c:pt idx="4646">
                  <c:v>325470</c:v>
                </c:pt>
                <c:pt idx="4647">
                  <c:v>325457</c:v>
                </c:pt>
                <c:pt idx="4648">
                  <c:v>325449</c:v>
                </c:pt>
                <c:pt idx="4649">
                  <c:v>325444</c:v>
                </c:pt>
                <c:pt idx="4650">
                  <c:v>325442</c:v>
                </c:pt>
                <c:pt idx="4651">
                  <c:v>325441</c:v>
                </c:pt>
                <c:pt idx="4652">
                  <c:v>325438</c:v>
                </c:pt>
                <c:pt idx="4653">
                  <c:v>325433</c:v>
                </c:pt>
                <c:pt idx="4654">
                  <c:v>325428</c:v>
                </c:pt>
                <c:pt idx="4655">
                  <c:v>325394</c:v>
                </c:pt>
                <c:pt idx="4656">
                  <c:v>325373</c:v>
                </c:pt>
                <c:pt idx="4657">
                  <c:v>325359</c:v>
                </c:pt>
                <c:pt idx="4658">
                  <c:v>325355</c:v>
                </c:pt>
                <c:pt idx="4659">
                  <c:v>325348</c:v>
                </c:pt>
                <c:pt idx="4660">
                  <c:v>325344</c:v>
                </c:pt>
                <c:pt idx="4661">
                  <c:v>325340</c:v>
                </c:pt>
                <c:pt idx="4662">
                  <c:v>325320</c:v>
                </c:pt>
                <c:pt idx="4663">
                  <c:v>325310</c:v>
                </c:pt>
                <c:pt idx="4664">
                  <c:v>325310</c:v>
                </c:pt>
                <c:pt idx="4665">
                  <c:v>325293</c:v>
                </c:pt>
                <c:pt idx="4666">
                  <c:v>325286</c:v>
                </c:pt>
                <c:pt idx="4667">
                  <c:v>325277</c:v>
                </c:pt>
                <c:pt idx="4668">
                  <c:v>325277</c:v>
                </c:pt>
                <c:pt idx="4669">
                  <c:v>325243</c:v>
                </c:pt>
                <c:pt idx="4670">
                  <c:v>325240</c:v>
                </c:pt>
                <c:pt idx="4671">
                  <c:v>325233</c:v>
                </c:pt>
                <c:pt idx="4672">
                  <c:v>325215</c:v>
                </c:pt>
                <c:pt idx="4673">
                  <c:v>325178</c:v>
                </c:pt>
                <c:pt idx="4674">
                  <c:v>325156</c:v>
                </c:pt>
                <c:pt idx="4675">
                  <c:v>325150</c:v>
                </c:pt>
                <c:pt idx="4676">
                  <c:v>325122</c:v>
                </c:pt>
                <c:pt idx="4677">
                  <c:v>325116</c:v>
                </c:pt>
                <c:pt idx="4678">
                  <c:v>325105</c:v>
                </c:pt>
                <c:pt idx="4679">
                  <c:v>325079</c:v>
                </c:pt>
                <c:pt idx="4680">
                  <c:v>325079</c:v>
                </c:pt>
                <c:pt idx="4681">
                  <c:v>325065</c:v>
                </c:pt>
                <c:pt idx="4682">
                  <c:v>325057</c:v>
                </c:pt>
                <c:pt idx="4683">
                  <c:v>325052</c:v>
                </c:pt>
                <c:pt idx="4684">
                  <c:v>325031</c:v>
                </c:pt>
                <c:pt idx="4685">
                  <c:v>325030</c:v>
                </c:pt>
                <c:pt idx="4686">
                  <c:v>325017</c:v>
                </c:pt>
                <c:pt idx="4687">
                  <c:v>325013</c:v>
                </c:pt>
                <c:pt idx="4688">
                  <c:v>324989</c:v>
                </c:pt>
                <c:pt idx="4689">
                  <c:v>324985</c:v>
                </c:pt>
                <c:pt idx="4690">
                  <c:v>324956</c:v>
                </c:pt>
                <c:pt idx="4691">
                  <c:v>324931</c:v>
                </c:pt>
                <c:pt idx="4692">
                  <c:v>324902</c:v>
                </c:pt>
                <c:pt idx="4693">
                  <c:v>324898</c:v>
                </c:pt>
                <c:pt idx="4694">
                  <c:v>324891</c:v>
                </c:pt>
                <c:pt idx="4695">
                  <c:v>324865</c:v>
                </c:pt>
                <c:pt idx="4696">
                  <c:v>324850</c:v>
                </c:pt>
                <c:pt idx="4697">
                  <c:v>324846</c:v>
                </c:pt>
                <c:pt idx="4698">
                  <c:v>324846</c:v>
                </c:pt>
                <c:pt idx="4699">
                  <c:v>324825</c:v>
                </c:pt>
                <c:pt idx="4700">
                  <c:v>324816</c:v>
                </c:pt>
                <c:pt idx="4701">
                  <c:v>324800</c:v>
                </c:pt>
                <c:pt idx="4702">
                  <c:v>324783</c:v>
                </c:pt>
                <c:pt idx="4703">
                  <c:v>324779</c:v>
                </c:pt>
                <c:pt idx="4704">
                  <c:v>324778</c:v>
                </c:pt>
                <c:pt idx="4705">
                  <c:v>324757</c:v>
                </c:pt>
                <c:pt idx="4706">
                  <c:v>324756</c:v>
                </c:pt>
                <c:pt idx="4707">
                  <c:v>324754</c:v>
                </c:pt>
                <c:pt idx="4708">
                  <c:v>324745</c:v>
                </c:pt>
                <c:pt idx="4709">
                  <c:v>324731</c:v>
                </c:pt>
                <c:pt idx="4710">
                  <c:v>324698</c:v>
                </c:pt>
                <c:pt idx="4711">
                  <c:v>324690</c:v>
                </c:pt>
                <c:pt idx="4712">
                  <c:v>324681</c:v>
                </c:pt>
                <c:pt idx="4713">
                  <c:v>324623</c:v>
                </c:pt>
                <c:pt idx="4714">
                  <c:v>324622</c:v>
                </c:pt>
                <c:pt idx="4715">
                  <c:v>324615</c:v>
                </c:pt>
                <c:pt idx="4716">
                  <c:v>324614</c:v>
                </c:pt>
                <c:pt idx="4717">
                  <c:v>324538</c:v>
                </c:pt>
                <c:pt idx="4718">
                  <c:v>324534</c:v>
                </c:pt>
                <c:pt idx="4719">
                  <c:v>324534</c:v>
                </c:pt>
                <c:pt idx="4720">
                  <c:v>324517</c:v>
                </c:pt>
                <c:pt idx="4721">
                  <c:v>324516</c:v>
                </c:pt>
                <c:pt idx="4722">
                  <c:v>324502</c:v>
                </c:pt>
                <c:pt idx="4723">
                  <c:v>324499</c:v>
                </c:pt>
                <c:pt idx="4724">
                  <c:v>324498</c:v>
                </c:pt>
                <c:pt idx="4725">
                  <c:v>324471</c:v>
                </c:pt>
                <c:pt idx="4726">
                  <c:v>324464</c:v>
                </c:pt>
                <c:pt idx="4727">
                  <c:v>324449</c:v>
                </c:pt>
                <c:pt idx="4728">
                  <c:v>324440</c:v>
                </c:pt>
                <c:pt idx="4729">
                  <c:v>324426</c:v>
                </c:pt>
                <c:pt idx="4730">
                  <c:v>324419</c:v>
                </c:pt>
                <c:pt idx="4731">
                  <c:v>324417</c:v>
                </c:pt>
                <c:pt idx="4732">
                  <c:v>324401</c:v>
                </c:pt>
                <c:pt idx="4733">
                  <c:v>324396</c:v>
                </c:pt>
                <c:pt idx="4734">
                  <c:v>324371</c:v>
                </c:pt>
                <c:pt idx="4735">
                  <c:v>324368</c:v>
                </c:pt>
                <c:pt idx="4736">
                  <c:v>324357</c:v>
                </c:pt>
                <c:pt idx="4737">
                  <c:v>324353</c:v>
                </c:pt>
                <c:pt idx="4738">
                  <c:v>324339</c:v>
                </c:pt>
                <c:pt idx="4739">
                  <c:v>324326</c:v>
                </c:pt>
                <c:pt idx="4740">
                  <c:v>324321</c:v>
                </c:pt>
                <c:pt idx="4741">
                  <c:v>324316</c:v>
                </c:pt>
                <c:pt idx="4742">
                  <c:v>324314</c:v>
                </c:pt>
                <c:pt idx="4743">
                  <c:v>324297</c:v>
                </c:pt>
                <c:pt idx="4744">
                  <c:v>324287</c:v>
                </c:pt>
                <c:pt idx="4745">
                  <c:v>324274</c:v>
                </c:pt>
                <c:pt idx="4746">
                  <c:v>324265</c:v>
                </c:pt>
                <c:pt idx="4747">
                  <c:v>324252</c:v>
                </c:pt>
                <c:pt idx="4748">
                  <c:v>324213</c:v>
                </c:pt>
                <c:pt idx="4749">
                  <c:v>324200</c:v>
                </c:pt>
                <c:pt idx="4750">
                  <c:v>324192</c:v>
                </c:pt>
                <c:pt idx="4751">
                  <c:v>324183</c:v>
                </c:pt>
                <c:pt idx="4752">
                  <c:v>324168</c:v>
                </c:pt>
                <c:pt idx="4753">
                  <c:v>324162</c:v>
                </c:pt>
                <c:pt idx="4754">
                  <c:v>324127</c:v>
                </c:pt>
                <c:pt idx="4755">
                  <c:v>324117</c:v>
                </c:pt>
                <c:pt idx="4756">
                  <c:v>324112</c:v>
                </c:pt>
                <c:pt idx="4757">
                  <c:v>324112</c:v>
                </c:pt>
                <c:pt idx="4758">
                  <c:v>324108</c:v>
                </c:pt>
                <c:pt idx="4759">
                  <c:v>324104</c:v>
                </c:pt>
                <c:pt idx="4760">
                  <c:v>324084</c:v>
                </c:pt>
                <c:pt idx="4761">
                  <c:v>324082</c:v>
                </c:pt>
                <c:pt idx="4762">
                  <c:v>324065</c:v>
                </c:pt>
                <c:pt idx="4763">
                  <c:v>324056</c:v>
                </c:pt>
                <c:pt idx="4764">
                  <c:v>324055</c:v>
                </c:pt>
                <c:pt idx="4765">
                  <c:v>324053</c:v>
                </c:pt>
                <c:pt idx="4766">
                  <c:v>324039</c:v>
                </c:pt>
                <c:pt idx="4767">
                  <c:v>324038</c:v>
                </c:pt>
                <c:pt idx="4768">
                  <c:v>324038</c:v>
                </c:pt>
                <c:pt idx="4769">
                  <c:v>324034</c:v>
                </c:pt>
                <c:pt idx="4770">
                  <c:v>324034</c:v>
                </c:pt>
                <c:pt idx="4771">
                  <c:v>324030</c:v>
                </c:pt>
                <c:pt idx="4772">
                  <c:v>324030</c:v>
                </c:pt>
                <c:pt idx="4773">
                  <c:v>324020</c:v>
                </c:pt>
                <c:pt idx="4774">
                  <c:v>324011</c:v>
                </c:pt>
                <c:pt idx="4775">
                  <c:v>324011</c:v>
                </c:pt>
                <c:pt idx="4776">
                  <c:v>324010</c:v>
                </c:pt>
                <c:pt idx="4777">
                  <c:v>323988</c:v>
                </c:pt>
                <c:pt idx="4778">
                  <c:v>323968</c:v>
                </c:pt>
                <c:pt idx="4779">
                  <c:v>323962</c:v>
                </c:pt>
                <c:pt idx="4780">
                  <c:v>323960</c:v>
                </c:pt>
                <c:pt idx="4781">
                  <c:v>323954</c:v>
                </c:pt>
                <c:pt idx="4782">
                  <c:v>323949</c:v>
                </c:pt>
                <c:pt idx="4783">
                  <c:v>323934</c:v>
                </c:pt>
                <c:pt idx="4784">
                  <c:v>323932</c:v>
                </c:pt>
                <c:pt idx="4785">
                  <c:v>323931</c:v>
                </c:pt>
                <c:pt idx="4786">
                  <c:v>323925</c:v>
                </c:pt>
                <c:pt idx="4787">
                  <c:v>323924</c:v>
                </c:pt>
                <c:pt idx="4788">
                  <c:v>323911</c:v>
                </c:pt>
                <c:pt idx="4789">
                  <c:v>323891</c:v>
                </c:pt>
                <c:pt idx="4790">
                  <c:v>323874</c:v>
                </c:pt>
                <c:pt idx="4791">
                  <c:v>323871</c:v>
                </c:pt>
                <c:pt idx="4792">
                  <c:v>323870</c:v>
                </c:pt>
                <c:pt idx="4793">
                  <c:v>323840</c:v>
                </c:pt>
                <c:pt idx="4794">
                  <c:v>323813</c:v>
                </c:pt>
                <c:pt idx="4795">
                  <c:v>323805</c:v>
                </c:pt>
                <c:pt idx="4796">
                  <c:v>323779</c:v>
                </c:pt>
                <c:pt idx="4797">
                  <c:v>323756</c:v>
                </c:pt>
                <c:pt idx="4798">
                  <c:v>323743</c:v>
                </c:pt>
                <c:pt idx="4799">
                  <c:v>323741</c:v>
                </c:pt>
                <c:pt idx="4800">
                  <c:v>323731</c:v>
                </c:pt>
                <c:pt idx="4801">
                  <c:v>323718</c:v>
                </c:pt>
                <c:pt idx="4802">
                  <c:v>323702</c:v>
                </c:pt>
                <c:pt idx="4803">
                  <c:v>323698</c:v>
                </c:pt>
                <c:pt idx="4804">
                  <c:v>323678</c:v>
                </c:pt>
                <c:pt idx="4805">
                  <c:v>323675</c:v>
                </c:pt>
                <c:pt idx="4806">
                  <c:v>323667</c:v>
                </c:pt>
                <c:pt idx="4807">
                  <c:v>323667</c:v>
                </c:pt>
                <c:pt idx="4808">
                  <c:v>323654</c:v>
                </c:pt>
                <c:pt idx="4809">
                  <c:v>323654</c:v>
                </c:pt>
                <c:pt idx="4810">
                  <c:v>323654</c:v>
                </c:pt>
                <c:pt idx="4811">
                  <c:v>323629</c:v>
                </c:pt>
                <c:pt idx="4812">
                  <c:v>323607</c:v>
                </c:pt>
                <c:pt idx="4813">
                  <c:v>323607</c:v>
                </c:pt>
                <c:pt idx="4814">
                  <c:v>323601</c:v>
                </c:pt>
                <c:pt idx="4815">
                  <c:v>323588</c:v>
                </c:pt>
                <c:pt idx="4816">
                  <c:v>323575</c:v>
                </c:pt>
                <c:pt idx="4817">
                  <c:v>323572</c:v>
                </c:pt>
                <c:pt idx="4818">
                  <c:v>323568</c:v>
                </c:pt>
                <c:pt idx="4819">
                  <c:v>323552</c:v>
                </c:pt>
                <c:pt idx="4820">
                  <c:v>323546</c:v>
                </c:pt>
                <c:pt idx="4821">
                  <c:v>323496</c:v>
                </c:pt>
                <c:pt idx="4822">
                  <c:v>323491</c:v>
                </c:pt>
                <c:pt idx="4823">
                  <c:v>323490</c:v>
                </c:pt>
                <c:pt idx="4824">
                  <c:v>323485</c:v>
                </c:pt>
                <c:pt idx="4825">
                  <c:v>323483</c:v>
                </c:pt>
                <c:pt idx="4826">
                  <c:v>323479</c:v>
                </c:pt>
                <c:pt idx="4827">
                  <c:v>323476</c:v>
                </c:pt>
                <c:pt idx="4828">
                  <c:v>323455</c:v>
                </c:pt>
                <c:pt idx="4829">
                  <c:v>323446</c:v>
                </c:pt>
                <c:pt idx="4830">
                  <c:v>323445</c:v>
                </c:pt>
                <c:pt idx="4831">
                  <c:v>323440</c:v>
                </c:pt>
                <c:pt idx="4832">
                  <c:v>323439</c:v>
                </c:pt>
                <c:pt idx="4833">
                  <c:v>323434</c:v>
                </c:pt>
                <c:pt idx="4834">
                  <c:v>323430</c:v>
                </c:pt>
                <c:pt idx="4835">
                  <c:v>323427</c:v>
                </c:pt>
                <c:pt idx="4836">
                  <c:v>323419</c:v>
                </c:pt>
                <c:pt idx="4837">
                  <c:v>323413</c:v>
                </c:pt>
                <c:pt idx="4838">
                  <c:v>323396</c:v>
                </c:pt>
                <c:pt idx="4839">
                  <c:v>323392</c:v>
                </c:pt>
                <c:pt idx="4840">
                  <c:v>323386</c:v>
                </c:pt>
                <c:pt idx="4841">
                  <c:v>323379</c:v>
                </c:pt>
                <c:pt idx="4842">
                  <c:v>323373</c:v>
                </c:pt>
                <c:pt idx="4843">
                  <c:v>323351</c:v>
                </c:pt>
                <c:pt idx="4844">
                  <c:v>323327</c:v>
                </c:pt>
                <c:pt idx="4845">
                  <c:v>323321</c:v>
                </c:pt>
                <c:pt idx="4846">
                  <c:v>323321</c:v>
                </c:pt>
                <c:pt idx="4847">
                  <c:v>323319</c:v>
                </c:pt>
                <c:pt idx="4848">
                  <c:v>323313</c:v>
                </c:pt>
                <c:pt idx="4849">
                  <c:v>323310</c:v>
                </c:pt>
                <c:pt idx="4850">
                  <c:v>323256</c:v>
                </c:pt>
                <c:pt idx="4851">
                  <c:v>323251</c:v>
                </c:pt>
                <c:pt idx="4852">
                  <c:v>323246</c:v>
                </c:pt>
                <c:pt idx="4853">
                  <c:v>323233</c:v>
                </c:pt>
                <c:pt idx="4854">
                  <c:v>323222</c:v>
                </c:pt>
                <c:pt idx="4855">
                  <c:v>323191</c:v>
                </c:pt>
                <c:pt idx="4856">
                  <c:v>323188</c:v>
                </c:pt>
                <c:pt idx="4857">
                  <c:v>323167</c:v>
                </c:pt>
                <c:pt idx="4858">
                  <c:v>323164</c:v>
                </c:pt>
                <c:pt idx="4859">
                  <c:v>323133</c:v>
                </c:pt>
                <c:pt idx="4860">
                  <c:v>323119</c:v>
                </c:pt>
                <c:pt idx="4861">
                  <c:v>323114</c:v>
                </c:pt>
                <c:pt idx="4862">
                  <c:v>323109</c:v>
                </c:pt>
                <c:pt idx="4863">
                  <c:v>323106</c:v>
                </c:pt>
                <c:pt idx="4864">
                  <c:v>323100</c:v>
                </c:pt>
                <c:pt idx="4865">
                  <c:v>323091</c:v>
                </c:pt>
                <c:pt idx="4866">
                  <c:v>323083</c:v>
                </c:pt>
                <c:pt idx="4867">
                  <c:v>323081</c:v>
                </c:pt>
                <c:pt idx="4868">
                  <c:v>323071</c:v>
                </c:pt>
                <c:pt idx="4869">
                  <c:v>323069</c:v>
                </c:pt>
                <c:pt idx="4870">
                  <c:v>323068</c:v>
                </c:pt>
                <c:pt idx="4871">
                  <c:v>323039</c:v>
                </c:pt>
                <c:pt idx="4872">
                  <c:v>323025</c:v>
                </c:pt>
                <c:pt idx="4873">
                  <c:v>323021</c:v>
                </c:pt>
                <c:pt idx="4874">
                  <c:v>323006</c:v>
                </c:pt>
                <c:pt idx="4875">
                  <c:v>323002</c:v>
                </c:pt>
                <c:pt idx="4876">
                  <c:v>323002</c:v>
                </c:pt>
                <c:pt idx="4877">
                  <c:v>323000</c:v>
                </c:pt>
                <c:pt idx="4878">
                  <c:v>323000</c:v>
                </c:pt>
                <c:pt idx="4879">
                  <c:v>322995</c:v>
                </c:pt>
                <c:pt idx="4880">
                  <c:v>322971</c:v>
                </c:pt>
                <c:pt idx="4881">
                  <c:v>322951</c:v>
                </c:pt>
                <c:pt idx="4882">
                  <c:v>322940</c:v>
                </c:pt>
                <c:pt idx="4883">
                  <c:v>322930</c:v>
                </c:pt>
                <c:pt idx="4884">
                  <c:v>322915</c:v>
                </c:pt>
                <c:pt idx="4885">
                  <c:v>322909</c:v>
                </c:pt>
                <c:pt idx="4886">
                  <c:v>322899</c:v>
                </c:pt>
                <c:pt idx="4887">
                  <c:v>322892</c:v>
                </c:pt>
                <c:pt idx="4888">
                  <c:v>322876</c:v>
                </c:pt>
                <c:pt idx="4889">
                  <c:v>322844</c:v>
                </c:pt>
                <c:pt idx="4890">
                  <c:v>322837</c:v>
                </c:pt>
                <c:pt idx="4891">
                  <c:v>322809</c:v>
                </c:pt>
                <c:pt idx="4892">
                  <c:v>322806</c:v>
                </c:pt>
                <c:pt idx="4893">
                  <c:v>322788</c:v>
                </c:pt>
                <c:pt idx="4894">
                  <c:v>322777</c:v>
                </c:pt>
                <c:pt idx="4895">
                  <c:v>322776</c:v>
                </c:pt>
                <c:pt idx="4896">
                  <c:v>322772</c:v>
                </c:pt>
                <c:pt idx="4897">
                  <c:v>322767</c:v>
                </c:pt>
                <c:pt idx="4898">
                  <c:v>322763</c:v>
                </c:pt>
                <c:pt idx="4899">
                  <c:v>322731</c:v>
                </c:pt>
                <c:pt idx="4900">
                  <c:v>322720</c:v>
                </c:pt>
                <c:pt idx="4901">
                  <c:v>322714</c:v>
                </c:pt>
                <c:pt idx="4902">
                  <c:v>322708</c:v>
                </c:pt>
                <c:pt idx="4903">
                  <c:v>322708</c:v>
                </c:pt>
                <c:pt idx="4904">
                  <c:v>322706</c:v>
                </c:pt>
                <c:pt idx="4905">
                  <c:v>322699</c:v>
                </c:pt>
                <c:pt idx="4906">
                  <c:v>322690</c:v>
                </c:pt>
                <c:pt idx="4907">
                  <c:v>322686</c:v>
                </c:pt>
                <c:pt idx="4908">
                  <c:v>322684</c:v>
                </c:pt>
                <c:pt idx="4909">
                  <c:v>322655</c:v>
                </c:pt>
                <c:pt idx="4910">
                  <c:v>322610</c:v>
                </c:pt>
                <c:pt idx="4911">
                  <c:v>322598</c:v>
                </c:pt>
                <c:pt idx="4912">
                  <c:v>322595</c:v>
                </c:pt>
                <c:pt idx="4913">
                  <c:v>322588</c:v>
                </c:pt>
                <c:pt idx="4914">
                  <c:v>322587</c:v>
                </c:pt>
                <c:pt idx="4915">
                  <c:v>322582</c:v>
                </c:pt>
                <c:pt idx="4916">
                  <c:v>322570</c:v>
                </c:pt>
                <c:pt idx="4917">
                  <c:v>322568</c:v>
                </c:pt>
                <c:pt idx="4918">
                  <c:v>322546</c:v>
                </c:pt>
                <c:pt idx="4919">
                  <c:v>322543</c:v>
                </c:pt>
                <c:pt idx="4920">
                  <c:v>322525</c:v>
                </c:pt>
                <c:pt idx="4921">
                  <c:v>322512</c:v>
                </c:pt>
                <c:pt idx="4922">
                  <c:v>322502</c:v>
                </c:pt>
                <c:pt idx="4923">
                  <c:v>322431</c:v>
                </c:pt>
                <c:pt idx="4924">
                  <c:v>322423</c:v>
                </c:pt>
                <c:pt idx="4925">
                  <c:v>322398</c:v>
                </c:pt>
                <c:pt idx="4926">
                  <c:v>322376</c:v>
                </c:pt>
                <c:pt idx="4927">
                  <c:v>322373</c:v>
                </c:pt>
                <c:pt idx="4928">
                  <c:v>322369</c:v>
                </c:pt>
                <c:pt idx="4929">
                  <c:v>322354</c:v>
                </c:pt>
                <c:pt idx="4930">
                  <c:v>322331</c:v>
                </c:pt>
                <c:pt idx="4931">
                  <c:v>322327</c:v>
                </c:pt>
                <c:pt idx="4932">
                  <c:v>322320</c:v>
                </c:pt>
                <c:pt idx="4933">
                  <c:v>322313</c:v>
                </c:pt>
                <c:pt idx="4934">
                  <c:v>322299</c:v>
                </c:pt>
                <c:pt idx="4935">
                  <c:v>322287</c:v>
                </c:pt>
                <c:pt idx="4936">
                  <c:v>322283</c:v>
                </c:pt>
                <c:pt idx="4937">
                  <c:v>322244</c:v>
                </c:pt>
                <c:pt idx="4938">
                  <c:v>322242</c:v>
                </c:pt>
                <c:pt idx="4939">
                  <c:v>322229</c:v>
                </c:pt>
                <c:pt idx="4940">
                  <c:v>322221</c:v>
                </c:pt>
                <c:pt idx="4941">
                  <c:v>322162</c:v>
                </c:pt>
                <c:pt idx="4942">
                  <c:v>322143</c:v>
                </c:pt>
                <c:pt idx="4943">
                  <c:v>322129</c:v>
                </c:pt>
                <c:pt idx="4944">
                  <c:v>322124</c:v>
                </c:pt>
                <c:pt idx="4945">
                  <c:v>322118</c:v>
                </c:pt>
                <c:pt idx="4946">
                  <c:v>322105</c:v>
                </c:pt>
                <c:pt idx="4947">
                  <c:v>322081</c:v>
                </c:pt>
                <c:pt idx="4948">
                  <c:v>322036</c:v>
                </c:pt>
                <c:pt idx="4949">
                  <c:v>322018</c:v>
                </c:pt>
                <c:pt idx="4950">
                  <c:v>322012</c:v>
                </c:pt>
                <c:pt idx="4951">
                  <c:v>321994</c:v>
                </c:pt>
                <c:pt idx="4952">
                  <c:v>321992</c:v>
                </c:pt>
                <c:pt idx="4953">
                  <c:v>321989</c:v>
                </c:pt>
                <c:pt idx="4954">
                  <c:v>321936</c:v>
                </c:pt>
                <c:pt idx="4955">
                  <c:v>321912</c:v>
                </c:pt>
                <c:pt idx="4956">
                  <c:v>321911</c:v>
                </c:pt>
                <c:pt idx="4957">
                  <c:v>321906</c:v>
                </c:pt>
                <c:pt idx="4958">
                  <c:v>321898</c:v>
                </c:pt>
                <c:pt idx="4959">
                  <c:v>321879</c:v>
                </c:pt>
                <c:pt idx="4960">
                  <c:v>321862</c:v>
                </c:pt>
                <c:pt idx="4961">
                  <c:v>321830</c:v>
                </c:pt>
                <c:pt idx="4962">
                  <c:v>321811</c:v>
                </c:pt>
                <c:pt idx="4963">
                  <c:v>321809</c:v>
                </c:pt>
                <c:pt idx="4964">
                  <c:v>321796</c:v>
                </c:pt>
                <c:pt idx="4965">
                  <c:v>321725</c:v>
                </c:pt>
                <c:pt idx="4966">
                  <c:v>321715</c:v>
                </c:pt>
                <c:pt idx="4967">
                  <c:v>321696</c:v>
                </c:pt>
                <c:pt idx="4968">
                  <c:v>321693</c:v>
                </c:pt>
                <c:pt idx="4969">
                  <c:v>321692</c:v>
                </c:pt>
                <c:pt idx="4970">
                  <c:v>321683</c:v>
                </c:pt>
                <c:pt idx="4971">
                  <c:v>321674</c:v>
                </c:pt>
                <c:pt idx="4972">
                  <c:v>321674</c:v>
                </c:pt>
                <c:pt idx="4973">
                  <c:v>321673</c:v>
                </c:pt>
                <c:pt idx="4974">
                  <c:v>321669</c:v>
                </c:pt>
                <c:pt idx="4975">
                  <c:v>321633</c:v>
                </c:pt>
                <c:pt idx="4976">
                  <c:v>321615</c:v>
                </c:pt>
                <c:pt idx="4977">
                  <c:v>321599</c:v>
                </c:pt>
                <c:pt idx="4978">
                  <c:v>321521</c:v>
                </c:pt>
                <c:pt idx="4979">
                  <c:v>321520</c:v>
                </c:pt>
                <c:pt idx="4980">
                  <c:v>321511</c:v>
                </c:pt>
                <c:pt idx="4981">
                  <c:v>321472</c:v>
                </c:pt>
                <c:pt idx="4982">
                  <c:v>321471</c:v>
                </c:pt>
                <c:pt idx="4983">
                  <c:v>321466</c:v>
                </c:pt>
                <c:pt idx="4984">
                  <c:v>321449</c:v>
                </c:pt>
                <c:pt idx="4985">
                  <c:v>321422</c:v>
                </c:pt>
                <c:pt idx="4986">
                  <c:v>321380</c:v>
                </c:pt>
                <c:pt idx="4987">
                  <c:v>321377</c:v>
                </c:pt>
                <c:pt idx="4988">
                  <c:v>321374</c:v>
                </c:pt>
                <c:pt idx="4989">
                  <c:v>321350</c:v>
                </c:pt>
                <c:pt idx="4990">
                  <c:v>321336</c:v>
                </c:pt>
                <c:pt idx="4991">
                  <c:v>321331</c:v>
                </c:pt>
                <c:pt idx="4992">
                  <c:v>321312</c:v>
                </c:pt>
                <c:pt idx="4993">
                  <c:v>321302</c:v>
                </c:pt>
                <c:pt idx="4994">
                  <c:v>321299</c:v>
                </c:pt>
                <c:pt idx="4995">
                  <c:v>321299</c:v>
                </c:pt>
                <c:pt idx="4996">
                  <c:v>321288</c:v>
                </c:pt>
                <c:pt idx="4997">
                  <c:v>321285</c:v>
                </c:pt>
                <c:pt idx="4998">
                  <c:v>321275</c:v>
                </c:pt>
                <c:pt idx="4999">
                  <c:v>321267</c:v>
                </c:pt>
                <c:pt idx="5000">
                  <c:v>321264</c:v>
                </c:pt>
                <c:pt idx="5001">
                  <c:v>321259</c:v>
                </c:pt>
                <c:pt idx="5002">
                  <c:v>321251</c:v>
                </c:pt>
                <c:pt idx="5003">
                  <c:v>321234</c:v>
                </c:pt>
                <c:pt idx="5004">
                  <c:v>321233</c:v>
                </c:pt>
                <c:pt idx="5005">
                  <c:v>321225</c:v>
                </c:pt>
                <c:pt idx="5006">
                  <c:v>321223</c:v>
                </c:pt>
                <c:pt idx="5007">
                  <c:v>321206</c:v>
                </c:pt>
                <c:pt idx="5008">
                  <c:v>321204</c:v>
                </c:pt>
                <c:pt idx="5009">
                  <c:v>321193</c:v>
                </c:pt>
                <c:pt idx="5010">
                  <c:v>321192</c:v>
                </c:pt>
                <c:pt idx="5011">
                  <c:v>321180</c:v>
                </c:pt>
                <c:pt idx="5012">
                  <c:v>321179</c:v>
                </c:pt>
                <c:pt idx="5013">
                  <c:v>321158</c:v>
                </c:pt>
                <c:pt idx="5014">
                  <c:v>321154</c:v>
                </c:pt>
                <c:pt idx="5015">
                  <c:v>321147</c:v>
                </c:pt>
                <c:pt idx="5016">
                  <c:v>321130</c:v>
                </c:pt>
                <c:pt idx="5017">
                  <c:v>321122</c:v>
                </c:pt>
                <c:pt idx="5018">
                  <c:v>321122</c:v>
                </c:pt>
                <c:pt idx="5019">
                  <c:v>321074</c:v>
                </c:pt>
                <c:pt idx="5020">
                  <c:v>321073</c:v>
                </c:pt>
                <c:pt idx="5021">
                  <c:v>321069</c:v>
                </c:pt>
                <c:pt idx="5022">
                  <c:v>321056</c:v>
                </c:pt>
                <c:pt idx="5023">
                  <c:v>321031</c:v>
                </c:pt>
                <c:pt idx="5024">
                  <c:v>321018</c:v>
                </c:pt>
                <c:pt idx="5025">
                  <c:v>320984</c:v>
                </c:pt>
                <c:pt idx="5026">
                  <c:v>320982</c:v>
                </c:pt>
                <c:pt idx="5027">
                  <c:v>320980</c:v>
                </c:pt>
                <c:pt idx="5028">
                  <c:v>320976</c:v>
                </c:pt>
                <c:pt idx="5029">
                  <c:v>320974</c:v>
                </c:pt>
                <c:pt idx="5030">
                  <c:v>320973</c:v>
                </c:pt>
                <c:pt idx="5031">
                  <c:v>320969</c:v>
                </c:pt>
                <c:pt idx="5032">
                  <c:v>320959</c:v>
                </c:pt>
                <c:pt idx="5033">
                  <c:v>320943</c:v>
                </c:pt>
                <c:pt idx="5034">
                  <c:v>320943</c:v>
                </c:pt>
                <c:pt idx="5035">
                  <c:v>320933</c:v>
                </c:pt>
                <c:pt idx="5036">
                  <c:v>320929</c:v>
                </c:pt>
                <c:pt idx="5037">
                  <c:v>320918</c:v>
                </c:pt>
                <c:pt idx="5038">
                  <c:v>320915</c:v>
                </c:pt>
                <c:pt idx="5039">
                  <c:v>320903</c:v>
                </c:pt>
                <c:pt idx="5040">
                  <c:v>320891</c:v>
                </c:pt>
                <c:pt idx="5041">
                  <c:v>320887</c:v>
                </c:pt>
                <c:pt idx="5042">
                  <c:v>320882</c:v>
                </c:pt>
                <c:pt idx="5043">
                  <c:v>320881</c:v>
                </c:pt>
                <c:pt idx="5044">
                  <c:v>320866</c:v>
                </c:pt>
                <c:pt idx="5045">
                  <c:v>320821</c:v>
                </c:pt>
                <c:pt idx="5046">
                  <c:v>320810</c:v>
                </c:pt>
                <c:pt idx="5047">
                  <c:v>320777</c:v>
                </c:pt>
                <c:pt idx="5048">
                  <c:v>320773</c:v>
                </c:pt>
                <c:pt idx="5049">
                  <c:v>320741</c:v>
                </c:pt>
                <c:pt idx="5050">
                  <c:v>320726</c:v>
                </c:pt>
                <c:pt idx="5051">
                  <c:v>320696</c:v>
                </c:pt>
                <c:pt idx="5052">
                  <c:v>320682</c:v>
                </c:pt>
                <c:pt idx="5053">
                  <c:v>320681</c:v>
                </c:pt>
                <c:pt idx="5054">
                  <c:v>320668</c:v>
                </c:pt>
                <c:pt idx="5055">
                  <c:v>320649</c:v>
                </c:pt>
                <c:pt idx="5056">
                  <c:v>320648</c:v>
                </c:pt>
                <c:pt idx="5057">
                  <c:v>320628</c:v>
                </c:pt>
                <c:pt idx="5058">
                  <c:v>320588</c:v>
                </c:pt>
                <c:pt idx="5059">
                  <c:v>320558</c:v>
                </c:pt>
                <c:pt idx="5060">
                  <c:v>320558</c:v>
                </c:pt>
                <c:pt idx="5061">
                  <c:v>320556</c:v>
                </c:pt>
                <c:pt idx="5062">
                  <c:v>320550</c:v>
                </c:pt>
                <c:pt idx="5063">
                  <c:v>320550</c:v>
                </c:pt>
                <c:pt idx="5064">
                  <c:v>320549</c:v>
                </c:pt>
                <c:pt idx="5065">
                  <c:v>320545</c:v>
                </c:pt>
                <c:pt idx="5066">
                  <c:v>320533</c:v>
                </c:pt>
                <c:pt idx="5067">
                  <c:v>320523</c:v>
                </c:pt>
                <c:pt idx="5068">
                  <c:v>320506</c:v>
                </c:pt>
                <c:pt idx="5069">
                  <c:v>320496</c:v>
                </c:pt>
                <c:pt idx="5070">
                  <c:v>320481</c:v>
                </c:pt>
                <c:pt idx="5071">
                  <c:v>320446</c:v>
                </c:pt>
                <c:pt idx="5072">
                  <c:v>320427</c:v>
                </c:pt>
                <c:pt idx="5073">
                  <c:v>320415</c:v>
                </c:pt>
                <c:pt idx="5074">
                  <c:v>320412</c:v>
                </c:pt>
                <c:pt idx="5075">
                  <c:v>320402</c:v>
                </c:pt>
                <c:pt idx="5076">
                  <c:v>320381</c:v>
                </c:pt>
                <c:pt idx="5077">
                  <c:v>320369</c:v>
                </c:pt>
                <c:pt idx="5078">
                  <c:v>320342</c:v>
                </c:pt>
                <c:pt idx="5079">
                  <c:v>320336</c:v>
                </c:pt>
                <c:pt idx="5080">
                  <c:v>320310</c:v>
                </c:pt>
                <c:pt idx="5081">
                  <c:v>320300</c:v>
                </c:pt>
                <c:pt idx="5082">
                  <c:v>320275</c:v>
                </c:pt>
                <c:pt idx="5083">
                  <c:v>320260</c:v>
                </c:pt>
                <c:pt idx="5084">
                  <c:v>320256</c:v>
                </c:pt>
                <c:pt idx="5085">
                  <c:v>320250</c:v>
                </c:pt>
                <c:pt idx="5086">
                  <c:v>320237</c:v>
                </c:pt>
                <c:pt idx="5087">
                  <c:v>320237</c:v>
                </c:pt>
                <c:pt idx="5088">
                  <c:v>320213</c:v>
                </c:pt>
                <c:pt idx="5089">
                  <c:v>320172</c:v>
                </c:pt>
                <c:pt idx="5090">
                  <c:v>320172</c:v>
                </c:pt>
                <c:pt idx="5091">
                  <c:v>320158</c:v>
                </c:pt>
                <c:pt idx="5092">
                  <c:v>320153</c:v>
                </c:pt>
                <c:pt idx="5093">
                  <c:v>320138</c:v>
                </c:pt>
                <c:pt idx="5094">
                  <c:v>320135</c:v>
                </c:pt>
                <c:pt idx="5095">
                  <c:v>320120</c:v>
                </c:pt>
                <c:pt idx="5096">
                  <c:v>320108</c:v>
                </c:pt>
                <c:pt idx="5097">
                  <c:v>320102</c:v>
                </c:pt>
                <c:pt idx="5098">
                  <c:v>320102</c:v>
                </c:pt>
                <c:pt idx="5099">
                  <c:v>320087</c:v>
                </c:pt>
                <c:pt idx="5100">
                  <c:v>320066</c:v>
                </c:pt>
                <c:pt idx="5101">
                  <c:v>320051</c:v>
                </c:pt>
                <c:pt idx="5102">
                  <c:v>320048</c:v>
                </c:pt>
                <c:pt idx="5103">
                  <c:v>320029</c:v>
                </c:pt>
                <c:pt idx="5104">
                  <c:v>320025</c:v>
                </c:pt>
                <c:pt idx="5105">
                  <c:v>320018</c:v>
                </c:pt>
                <c:pt idx="5106">
                  <c:v>320002</c:v>
                </c:pt>
                <c:pt idx="5107">
                  <c:v>319994</c:v>
                </c:pt>
                <c:pt idx="5108">
                  <c:v>319990</c:v>
                </c:pt>
                <c:pt idx="5109">
                  <c:v>319986</c:v>
                </c:pt>
                <c:pt idx="5110">
                  <c:v>319940</c:v>
                </c:pt>
                <c:pt idx="5111">
                  <c:v>319937</c:v>
                </c:pt>
                <c:pt idx="5112">
                  <c:v>319936</c:v>
                </c:pt>
                <c:pt idx="5113">
                  <c:v>319923</c:v>
                </c:pt>
                <c:pt idx="5114">
                  <c:v>319920</c:v>
                </c:pt>
                <c:pt idx="5115">
                  <c:v>319918</c:v>
                </c:pt>
                <c:pt idx="5116">
                  <c:v>319904</c:v>
                </c:pt>
                <c:pt idx="5117">
                  <c:v>319888</c:v>
                </c:pt>
                <c:pt idx="5118">
                  <c:v>319864</c:v>
                </c:pt>
                <c:pt idx="5119">
                  <c:v>319860</c:v>
                </c:pt>
                <c:pt idx="5120">
                  <c:v>319855</c:v>
                </c:pt>
                <c:pt idx="5121">
                  <c:v>319853</c:v>
                </c:pt>
                <c:pt idx="5122">
                  <c:v>319834</c:v>
                </c:pt>
                <c:pt idx="5123">
                  <c:v>319834</c:v>
                </c:pt>
                <c:pt idx="5124">
                  <c:v>319825</c:v>
                </c:pt>
                <c:pt idx="5125">
                  <c:v>319809</c:v>
                </c:pt>
                <c:pt idx="5126">
                  <c:v>319805</c:v>
                </c:pt>
                <c:pt idx="5127">
                  <c:v>319805</c:v>
                </c:pt>
                <c:pt idx="5128">
                  <c:v>319804</c:v>
                </c:pt>
                <c:pt idx="5129">
                  <c:v>319799</c:v>
                </c:pt>
                <c:pt idx="5130">
                  <c:v>319796</c:v>
                </c:pt>
                <c:pt idx="5131">
                  <c:v>319790</c:v>
                </c:pt>
                <c:pt idx="5132">
                  <c:v>319785</c:v>
                </c:pt>
                <c:pt idx="5133">
                  <c:v>319742</c:v>
                </c:pt>
                <c:pt idx="5134">
                  <c:v>319725</c:v>
                </c:pt>
                <c:pt idx="5135">
                  <c:v>319718</c:v>
                </c:pt>
                <c:pt idx="5136">
                  <c:v>319712</c:v>
                </c:pt>
                <c:pt idx="5137">
                  <c:v>319702</c:v>
                </c:pt>
                <c:pt idx="5138">
                  <c:v>319696</c:v>
                </c:pt>
                <c:pt idx="5139">
                  <c:v>319674</c:v>
                </c:pt>
                <c:pt idx="5140">
                  <c:v>319669</c:v>
                </c:pt>
                <c:pt idx="5141">
                  <c:v>319651</c:v>
                </c:pt>
                <c:pt idx="5142">
                  <c:v>319629</c:v>
                </c:pt>
                <c:pt idx="5143">
                  <c:v>319622</c:v>
                </c:pt>
                <c:pt idx="5144">
                  <c:v>319615</c:v>
                </c:pt>
                <c:pt idx="5145">
                  <c:v>319604</c:v>
                </c:pt>
                <c:pt idx="5146">
                  <c:v>319585</c:v>
                </c:pt>
                <c:pt idx="5147">
                  <c:v>319584</c:v>
                </c:pt>
                <c:pt idx="5148">
                  <c:v>319577</c:v>
                </c:pt>
                <c:pt idx="5149">
                  <c:v>319545</c:v>
                </c:pt>
                <c:pt idx="5150">
                  <c:v>319545</c:v>
                </c:pt>
                <c:pt idx="5151">
                  <c:v>319512</c:v>
                </c:pt>
                <c:pt idx="5152">
                  <c:v>319509</c:v>
                </c:pt>
                <c:pt idx="5153">
                  <c:v>319504</c:v>
                </c:pt>
                <c:pt idx="5154">
                  <c:v>319495</c:v>
                </c:pt>
                <c:pt idx="5155">
                  <c:v>319491</c:v>
                </c:pt>
                <c:pt idx="5156">
                  <c:v>319478</c:v>
                </c:pt>
                <c:pt idx="5157">
                  <c:v>319466</c:v>
                </c:pt>
                <c:pt idx="5158">
                  <c:v>319460</c:v>
                </c:pt>
                <c:pt idx="5159">
                  <c:v>319442</c:v>
                </c:pt>
                <c:pt idx="5160">
                  <c:v>319402</c:v>
                </c:pt>
                <c:pt idx="5161">
                  <c:v>319400</c:v>
                </c:pt>
                <c:pt idx="5162">
                  <c:v>319386</c:v>
                </c:pt>
                <c:pt idx="5163">
                  <c:v>319368</c:v>
                </c:pt>
                <c:pt idx="5164">
                  <c:v>319358</c:v>
                </c:pt>
                <c:pt idx="5165">
                  <c:v>319340</c:v>
                </c:pt>
                <c:pt idx="5166">
                  <c:v>319329</c:v>
                </c:pt>
                <c:pt idx="5167">
                  <c:v>319325</c:v>
                </c:pt>
                <c:pt idx="5168">
                  <c:v>319325</c:v>
                </c:pt>
                <c:pt idx="5169">
                  <c:v>319320</c:v>
                </c:pt>
                <c:pt idx="5170">
                  <c:v>319310</c:v>
                </c:pt>
                <c:pt idx="5171">
                  <c:v>319291</c:v>
                </c:pt>
                <c:pt idx="5172">
                  <c:v>319275</c:v>
                </c:pt>
                <c:pt idx="5173">
                  <c:v>319263</c:v>
                </c:pt>
                <c:pt idx="5174">
                  <c:v>319261</c:v>
                </c:pt>
                <c:pt idx="5175">
                  <c:v>319253</c:v>
                </c:pt>
                <c:pt idx="5176">
                  <c:v>319242</c:v>
                </c:pt>
                <c:pt idx="5177">
                  <c:v>319228</c:v>
                </c:pt>
                <c:pt idx="5178">
                  <c:v>319225</c:v>
                </c:pt>
                <c:pt idx="5179">
                  <c:v>319213</c:v>
                </c:pt>
                <c:pt idx="5180">
                  <c:v>319197</c:v>
                </c:pt>
                <c:pt idx="5181">
                  <c:v>319170</c:v>
                </c:pt>
                <c:pt idx="5182">
                  <c:v>319161</c:v>
                </c:pt>
                <c:pt idx="5183">
                  <c:v>319134</c:v>
                </c:pt>
                <c:pt idx="5184">
                  <c:v>319128</c:v>
                </c:pt>
                <c:pt idx="5185">
                  <c:v>319122</c:v>
                </c:pt>
                <c:pt idx="5186">
                  <c:v>319120</c:v>
                </c:pt>
                <c:pt idx="5187">
                  <c:v>319108</c:v>
                </c:pt>
                <c:pt idx="5188">
                  <c:v>319102</c:v>
                </c:pt>
                <c:pt idx="5189">
                  <c:v>319095</c:v>
                </c:pt>
                <c:pt idx="5190">
                  <c:v>319066</c:v>
                </c:pt>
                <c:pt idx="5191">
                  <c:v>319065</c:v>
                </c:pt>
                <c:pt idx="5192">
                  <c:v>319057</c:v>
                </c:pt>
                <c:pt idx="5193">
                  <c:v>319051</c:v>
                </c:pt>
                <c:pt idx="5194">
                  <c:v>318994</c:v>
                </c:pt>
                <c:pt idx="5195">
                  <c:v>318973</c:v>
                </c:pt>
                <c:pt idx="5196">
                  <c:v>318958</c:v>
                </c:pt>
                <c:pt idx="5197">
                  <c:v>318948</c:v>
                </c:pt>
                <c:pt idx="5198">
                  <c:v>318936</c:v>
                </c:pt>
                <c:pt idx="5199">
                  <c:v>318928</c:v>
                </c:pt>
                <c:pt idx="5200">
                  <c:v>318882</c:v>
                </c:pt>
                <c:pt idx="5201">
                  <c:v>318877</c:v>
                </c:pt>
                <c:pt idx="5202">
                  <c:v>318877</c:v>
                </c:pt>
                <c:pt idx="5203">
                  <c:v>318872</c:v>
                </c:pt>
                <c:pt idx="5204">
                  <c:v>318870</c:v>
                </c:pt>
                <c:pt idx="5205">
                  <c:v>318864</c:v>
                </c:pt>
                <c:pt idx="5206">
                  <c:v>318862</c:v>
                </c:pt>
                <c:pt idx="5207">
                  <c:v>318848</c:v>
                </c:pt>
                <c:pt idx="5208">
                  <c:v>318838</c:v>
                </c:pt>
                <c:pt idx="5209">
                  <c:v>318829</c:v>
                </c:pt>
                <c:pt idx="5210">
                  <c:v>318818</c:v>
                </c:pt>
                <c:pt idx="5211">
                  <c:v>318806</c:v>
                </c:pt>
                <c:pt idx="5212">
                  <c:v>318802</c:v>
                </c:pt>
                <c:pt idx="5213">
                  <c:v>318763</c:v>
                </c:pt>
                <c:pt idx="5214">
                  <c:v>318733</c:v>
                </c:pt>
                <c:pt idx="5215">
                  <c:v>318726</c:v>
                </c:pt>
                <c:pt idx="5216">
                  <c:v>318724</c:v>
                </c:pt>
                <c:pt idx="5217">
                  <c:v>318721</c:v>
                </c:pt>
                <c:pt idx="5218">
                  <c:v>318680</c:v>
                </c:pt>
                <c:pt idx="5219">
                  <c:v>318679</c:v>
                </c:pt>
                <c:pt idx="5220">
                  <c:v>318673</c:v>
                </c:pt>
                <c:pt idx="5221">
                  <c:v>318665</c:v>
                </c:pt>
                <c:pt idx="5222">
                  <c:v>318650</c:v>
                </c:pt>
                <c:pt idx="5223">
                  <c:v>318636</c:v>
                </c:pt>
                <c:pt idx="5224">
                  <c:v>318626</c:v>
                </c:pt>
                <c:pt idx="5225">
                  <c:v>318625</c:v>
                </c:pt>
                <c:pt idx="5226">
                  <c:v>318618</c:v>
                </c:pt>
                <c:pt idx="5227">
                  <c:v>318612</c:v>
                </c:pt>
                <c:pt idx="5228">
                  <c:v>318608</c:v>
                </c:pt>
                <c:pt idx="5229">
                  <c:v>318598</c:v>
                </c:pt>
                <c:pt idx="5230">
                  <c:v>318594</c:v>
                </c:pt>
                <c:pt idx="5231">
                  <c:v>318570</c:v>
                </c:pt>
                <c:pt idx="5232">
                  <c:v>318566</c:v>
                </c:pt>
                <c:pt idx="5233">
                  <c:v>318543</c:v>
                </c:pt>
                <c:pt idx="5234">
                  <c:v>318538</c:v>
                </c:pt>
                <c:pt idx="5235">
                  <c:v>318532</c:v>
                </c:pt>
                <c:pt idx="5236">
                  <c:v>318525</c:v>
                </c:pt>
                <c:pt idx="5237">
                  <c:v>318525</c:v>
                </c:pt>
                <c:pt idx="5238">
                  <c:v>318511</c:v>
                </c:pt>
                <c:pt idx="5239">
                  <c:v>318493</c:v>
                </c:pt>
                <c:pt idx="5240">
                  <c:v>318487</c:v>
                </c:pt>
                <c:pt idx="5241">
                  <c:v>318484</c:v>
                </c:pt>
                <c:pt idx="5242">
                  <c:v>318470</c:v>
                </c:pt>
                <c:pt idx="5243">
                  <c:v>318470</c:v>
                </c:pt>
                <c:pt idx="5244">
                  <c:v>318467</c:v>
                </c:pt>
                <c:pt idx="5245">
                  <c:v>318446</c:v>
                </c:pt>
                <c:pt idx="5246">
                  <c:v>318429</c:v>
                </c:pt>
                <c:pt idx="5247">
                  <c:v>318424</c:v>
                </c:pt>
                <c:pt idx="5248">
                  <c:v>318403</c:v>
                </c:pt>
                <c:pt idx="5249">
                  <c:v>318384</c:v>
                </c:pt>
                <c:pt idx="5250">
                  <c:v>318372</c:v>
                </c:pt>
                <c:pt idx="5251">
                  <c:v>318369</c:v>
                </c:pt>
                <c:pt idx="5252">
                  <c:v>318367</c:v>
                </c:pt>
                <c:pt idx="5253">
                  <c:v>318345</c:v>
                </c:pt>
                <c:pt idx="5254">
                  <c:v>318332</c:v>
                </c:pt>
                <c:pt idx="5255">
                  <c:v>318329</c:v>
                </c:pt>
                <c:pt idx="5256">
                  <c:v>318316</c:v>
                </c:pt>
                <c:pt idx="5257">
                  <c:v>318313</c:v>
                </c:pt>
                <c:pt idx="5258">
                  <c:v>318300</c:v>
                </c:pt>
                <c:pt idx="5259">
                  <c:v>318264</c:v>
                </c:pt>
                <c:pt idx="5260">
                  <c:v>318260</c:v>
                </c:pt>
                <c:pt idx="5261">
                  <c:v>318259</c:v>
                </c:pt>
                <c:pt idx="5262">
                  <c:v>318259</c:v>
                </c:pt>
                <c:pt idx="5263">
                  <c:v>318252</c:v>
                </c:pt>
                <c:pt idx="5264">
                  <c:v>318249</c:v>
                </c:pt>
                <c:pt idx="5265">
                  <c:v>318239</c:v>
                </c:pt>
                <c:pt idx="5266">
                  <c:v>318200</c:v>
                </c:pt>
                <c:pt idx="5267">
                  <c:v>318180</c:v>
                </c:pt>
                <c:pt idx="5268">
                  <c:v>318159</c:v>
                </c:pt>
                <c:pt idx="5269">
                  <c:v>318154</c:v>
                </c:pt>
                <c:pt idx="5270">
                  <c:v>318142</c:v>
                </c:pt>
                <c:pt idx="5271">
                  <c:v>318129</c:v>
                </c:pt>
                <c:pt idx="5272">
                  <c:v>318128</c:v>
                </c:pt>
                <c:pt idx="5273">
                  <c:v>318108</c:v>
                </c:pt>
                <c:pt idx="5274">
                  <c:v>318102</c:v>
                </c:pt>
                <c:pt idx="5275">
                  <c:v>318100</c:v>
                </c:pt>
                <c:pt idx="5276">
                  <c:v>318100</c:v>
                </c:pt>
                <c:pt idx="5277">
                  <c:v>318093</c:v>
                </c:pt>
                <c:pt idx="5278">
                  <c:v>318078</c:v>
                </c:pt>
                <c:pt idx="5279">
                  <c:v>318072</c:v>
                </c:pt>
                <c:pt idx="5280">
                  <c:v>318072</c:v>
                </c:pt>
                <c:pt idx="5281">
                  <c:v>318068</c:v>
                </c:pt>
                <c:pt idx="5282">
                  <c:v>318050</c:v>
                </c:pt>
                <c:pt idx="5283">
                  <c:v>318042</c:v>
                </c:pt>
                <c:pt idx="5284">
                  <c:v>318037</c:v>
                </c:pt>
                <c:pt idx="5285">
                  <c:v>318030</c:v>
                </c:pt>
                <c:pt idx="5286">
                  <c:v>318024</c:v>
                </c:pt>
                <c:pt idx="5287">
                  <c:v>318024</c:v>
                </c:pt>
                <c:pt idx="5288">
                  <c:v>318019</c:v>
                </c:pt>
                <c:pt idx="5289">
                  <c:v>318016</c:v>
                </c:pt>
                <c:pt idx="5290">
                  <c:v>318004</c:v>
                </c:pt>
                <c:pt idx="5291">
                  <c:v>317991</c:v>
                </c:pt>
                <c:pt idx="5292">
                  <c:v>317962</c:v>
                </c:pt>
                <c:pt idx="5293">
                  <c:v>317939</c:v>
                </c:pt>
                <c:pt idx="5294">
                  <c:v>317930</c:v>
                </c:pt>
                <c:pt idx="5295">
                  <c:v>317914</c:v>
                </c:pt>
                <c:pt idx="5296">
                  <c:v>317911</c:v>
                </c:pt>
                <c:pt idx="5297">
                  <c:v>317902</c:v>
                </c:pt>
                <c:pt idx="5298">
                  <c:v>317883</c:v>
                </c:pt>
                <c:pt idx="5299">
                  <c:v>317871</c:v>
                </c:pt>
                <c:pt idx="5300">
                  <c:v>317857</c:v>
                </c:pt>
                <c:pt idx="5301">
                  <c:v>317851</c:v>
                </c:pt>
                <c:pt idx="5302">
                  <c:v>317849</c:v>
                </c:pt>
                <c:pt idx="5303">
                  <c:v>317846</c:v>
                </c:pt>
                <c:pt idx="5304">
                  <c:v>317836</c:v>
                </c:pt>
                <c:pt idx="5305">
                  <c:v>317833</c:v>
                </c:pt>
                <c:pt idx="5306">
                  <c:v>317827</c:v>
                </c:pt>
                <c:pt idx="5307">
                  <c:v>317817</c:v>
                </c:pt>
                <c:pt idx="5308">
                  <c:v>317811</c:v>
                </c:pt>
                <c:pt idx="5309">
                  <c:v>317765</c:v>
                </c:pt>
                <c:pt idx="5310">
                  <c:v>317764</c:v>
                </c:pt>
                <c:pt idx="5311">
                  <c:v>317761</c:v>
                </c:pt>
                <c:pt idx="5312">
                  <c:v>317739</c:v>
                </c:pt>
                <c:pt idx="5313">
                  <c:v>317736</c:v>
                </c:pt>
                <c:pt idx="5314">
                  <c:v>317731</c:v>
                </c:pt>
                <c:pt idx="5315">
                  <c:v>317730</c:v>
                </c:pt>
                <c:pt idx="5316">
                  <c:v>317729</c:v>
                </c:pt>
                <c:pt idx="5317">
                  <c:v>317721</c:v>
                </c:pt>
                <c:pt idx="5318">
                  <c:v>317708</c:v>
                </c:pt>
                <c:pt idx="5319">
                  <c:v>317705</c:v>
                </c:pt>
                <c:pt idx="5320">
                  <c:v>317705</c:v>
                </c:pt>
                <c:pt idx="5321">
                  <c:v>317695</c:v>
                </c:pt>
                <c:pt idx="5322">
                  <c:v>317679</c:v>
                </c:pt>
                <c:pt idx="5323">
                  <c:v>317674</c:v>
                </c:pt>
                <c:pt idx="5324">
                  <c:v>317634</c:v>
                </c:pt>
                <c:pt idx="5325">
                  <c:v>317628</c:v>
                </c:pt>
                <c:pt idx="5326">
                  <c:v>317627</c:v>
                </c:pt>
                <c:pt idx="5327">
                  <c:v>317624</c:v>
                </c:pt>
                <c:pt idx="5328">
                  <c:v>317620</c:v>
                </c:pt>
                <c:pt idx="5329">
                  <c:v>317602</c:v>
                </c:pt>
                <c:pt idx="5330">
                  <c:v>317602</c:v>
                </c:pt>
                <c:pt idx="5331">
                  <c:v>317590</c:v>
                </c:pt>
                <c:pt idx="5332">
                  <c:v>317573</c:v>
                </c:pt>
                <c:pt idx="5333">
                  <c:v>317548</c:v>
                </c:pt>
                <c:pt idx="5334">
                  <c:v>317526</c:v>
                </c:pt>
                <c:pt idx="5335">
                  <c:v>317524</c:v>
                </c:pt>
                <c:pt idx="5336">
                  <c:v>317501</c:v>
                </c:pt>
                <c:pt idx="5337">
                  <c:v>317495</c:v>
                </c:pt>
                <c:pt idx="5338">
                  <c:v>317468</c:v>
                </c:pt>
                <c:pt idx="5339">
                  <c:v>317468</c:v>
                </c:pt>
                <c:pt idx="5340">
                  <c:v>317460</c:v>
                </c:pt>
                <c:pt idx="5341">
                  <c:v>317460</c:v>
                </c:pt>
                <c:pt idx="5342">
                  <c:v>317460</c:v>
                </c:pt>
                <c:pt idx="5343">
                  <c:v>317440</c:v>
                </c:pt>
                <c:pt idx="5344">
                  <c:v>317427</c:v>
                </c:pt>
                <c:pt idx="5345">
                  <c:v>317424</c:v>
                </c:pt>
                <c:pt idx="5346">
                  <c:v>317418</c:v>
                </c:pt>
                <c:pt idx="5347">
                  <c:v>317416</c:v>
                </c:pt>
                <c:pt idx="5348">
                  <c:v>317397</c:v>
                </c:pt>
                <c:pt idx="5349">
                  <c:v>317393</c:v>
                </c:pt>
                <c:pt idx="5350">
                  <c:v>317388</c:v>
                </c:pt>
                <c:pt idx="5351">
                  <c:v>317383</c:v>
                </c:pt>
                <c:pt idx="5352">
                  <c:v>317381</c:v>
                </c:pt>
                <c:pt idx="5353">
                  <c:v>317375</c:v>
                </c:pt>
                <c:pt idx="5354">
                  <c:v>317373</c:v>
                </c:pt>
                <c:pt idx="5355">
                  <c:v>317372</c:v>
                </c:pt>
                <c:pt idx="5356">
                  <c:v>317371</c:v>
                </c:pt>
                <c:pt idx="5357">
                  <c:v>317368</c:v>
                </c:pt>
                <c:pt idx="5358">
                  <c:v>317353</c:v>
                </c:pt>
                <c:pt idx="5359">
                  <c:v>317328</c:v>
                </c:pt>
                <c:pt idx="5360">
                  <c:v>317325</c:v>
                </c:pt>
                <c:pt idx="5361">
                  <c:v>317323</c:v>
                </c:pt>
                <c:pt idx="5362">
                  <c:v>317294</c:v>
                </c:pt>
                <c:pt idx="5363">
                  <c:v>317265</c:v>
                </c:pt>
                <c:pt idx="5364">
                  <c:v>317259</c:v>
                </c:pt>
                <c:pt idx="5365">
                  <c:v>317253</c:v>
                </c:pt>
                <c:pt idx="5366">
                  <c:v>317241</c:v>
                </c:pt>
                <c:pt idx="5367">
                  <c:v>317230</c:v>
                </c:pt>
                <c:pt idx="5368">
                  <c:v>317227</c:v>
                </c:pt>
                <c:pt idx="5369">
                  <c:v>317224</c:v>
                </c:pt>
                <c:pt idx="5370">
                  <c:v>317209</c:v>
                </c:pt>
                <c:pt idx="5371">
                  <c:v>317203</c:v>
                </c:pt>
                <c:pt idx="5372">
                  <c:v>317192</c:v>
                </c:pt>
                <c:pt idx="5373">
                  <c:v>317189</c:v>
                </c:pt>
                <c:pt idx="5374">
                  <c:v>317149</c:v>
                </c:pt>
                <c:pt idx="5375">
                  <c:v>317140</c:v>
                </c:pt>
                <c:pt idx="5376">
                  <c:v>317136</c:v>
                </c:pt>
                <c:pt idx="5377">
                  <c:v>317121</c:v>
                </c:pt>
                <c:pt idx="5378">
                  <c:v>317119</c:v>
                </c:pt>
                <c:pt idx="5379">
                  <c:v>317117</c:v>
                </c:pt>
                <c:pt idx="5380">
                  <c:v>317111</c:v>
                </c:pt>
                <c:pt idx="5381">
                  <c:v>317110</c:v>
                </c:pt>
                <c:pt idx="5382">
                  <c:v>317109</c:v>
                </c:pt>
                <c:pt idx="5383">
                  <c:v>317098</c:v>
                </c:pt>
                <c:pt idx="5384">
                  <c:v>317097</c:v>
                </c:pt>
                <c:pt idx="5385">
                  <c:v>317094</c:v>
                </c:pt>
                <c:pt idx="5386">
                  <c:v>317078</c:v>
                </c:pt>
                <c:pt idx="5387">
                  <c:v>317064</c:v>
                </c:pt>
                <c:pt idx="5388">
                  <c:v>317059</c:v>
                </c:pt>
                <c:pt idx="5389">
                  <c:v>317049</c:v>
                </c:pt>
                <c:pt idx="5390">
                  <c:v>317041</c:v>
                </c:pt>
                <c:pt idx="5391">
                  <c:v>317040</c:v>
                </c:pt>
                <c:pt idx="5392">
                  <c:v>317033</c:v>
                </c:pt>
                <c:pt idx="5393">
                  <c:v>317009</c:v>
                </c:pt>
                <c:pt idx="5394">
                  <c:v>317005</c:v>
                </c:pt>
                <c:pt idx="5395">
                  <c:v>316990</c:v>
                </c:pt>
                <c:pt idx="5396">
                  <c:v>316987</c:v>
                </c:pt>
                <c:pt idx="5397">
                  <c:v>316986</c:v>
                </c:pt>
                <c:pt idx="5398">
                  <c:v>316981</c:v>
                </c:pt>
                <c:pt idx="5399">
                  <c:v>316975</c:v>
                </c:pt>
                <c:pt idx="5400">
                  <c:v>316932</c:v>
                </c:pt>
                <c:pt idx="5401">
                  <c:v>316928</c:v>
                </c:pt>
                <c:pt idx="5402">
                  <c:v>316907</c:v>
                </c:pt>
                <c:pt idx="5403">
                  <c:v>316906</c:v>
                </c:pt>
                <c:pt idx="5404">
                  <c:v>316905</c:v>
                </c:pt>
                <c:pt idx="5405">
                  <c:v>316889</c:v>
                </c:pt>
                <c:pt idx="5406">
                  <c:v>316882</c:v>
                </c:pt>
                <c:pt idx="5407">
                  <c:v>316879</c:v>
                </c:pt>
                <c:pt idx="5408">
                  <c:v>316867</c:v>
                </c:pt>
                <c:pt idx="5409">
                  <c:v>316858</c:v>
                </c:pt>
                <c:pt idx="5410">
                  <c:v>316854</c:v>
                </c:pt>
                <c:pt idx="5411">
                  <c:v>316840</c:v>
                </c:pt>
                <c:pt idx="5412">
                  <c:v>316813</c:v>
                </c:pt>
                <c:pt idx="5413">
                  <c:v>316811</c:v>
                </c:pt>
                <c:pt idx="5414">
                  <c:v>316809</c:v>
                </c:pt>
                <c:pt idx="5415">
                  <c:v>316795</c:v>
                </c:pt>
                <c:pt idx="5416">
                  <c:v>316794</c:v>
                </c:pt>
                <c:pt idx="5417">
                  <c:v>316778</c:v>
                </c:pt>
                <c:pt idx="5418">
                  <c:v>316772</c:v>
                </c:pt>
                <c:pt idx="5419">
                  <c:v>316768</c:v>
                </c:pt>
                <c:pt idx="5420">
                  <c:v>316744</c:v>
                </c:pt>
                <c:pt idx="5421">
                  <c:v>316720</c:v>
                </c:pt>
                <c:pt idx="5422">
                  <c:v>316715</c:v>
                </c:pt>
                <c:pt idx="5423">
                  <c:v>316694</c:v>
                </c:pt>
                <c:pt idx="5424">
                  <c:v>316686</c:v>
                </c:pt>
                <c:pt idx="5425">
                  <c:v>316611</c:v>
                </c:pt>
                <c:pt idx="5426">
                  <c:v>316609</c:v>
                </c:pt>
                <c:pt idx="5427">
                  <c:v>316591</c:v>
                </c:pt>
                <c:pt idx="5428">
                  <c:v>316569</c:v>
                </c:pt>
                <c:pt idx="5429">
                  <c:v>316556</c:v>
                </c:pt>
                <c:pt idx="5430">
                  <c:v>316548</c:v>
                </c:pt>
                <c:pt idx="5431">
                  <c:v>316518</c:v>
                </c:pt>
                <c:pt idx="5432">
                  <c:v>316496</c:v>
                </c:pt>
                <c:pt idx="5433">
                  <c:v>316491</c:v>
                </c:pt>
                <c:pt idx="5434">
                  <c:v>316490</c:v>
                </c:pt>
                <c:pt idx="5435">
                  <c:v>316460</c:v>
                </c:pt>
                <c:pt idx="5436">
                  <c:v>316436</c:v>
                </c:pt>
                <c:pt idx="5437">
                  <c:v>316424</c:v>
                </c:pt>
                <c:pt idx="5438">
                  <c:v>316415</c:v>
                </c:pt>
                <c:pt idx="5439">
                  <c:v>316410</c:v>
                </c:pt>
                <c:pt idx="5440">
                  <c:v>316370</c:v>
                </c:pt>
                <c:pt idx="5441">
                  <c:v>316368</c:v>
                </c:pt>
                <c:pt idx="5442">
                  <c:v>316350</c:v>
                </c:pt>
                <c:pt idx="5443">
                  <c:v>316335</c:v>
                </c:pt>
                <c:pt idx="5444">
                  <c:v>316329</c:v>
                </c:pt>
                <c:pt idx="5445">
                  <c:v>316300</c:v>
                </c:pt>
                <c:pt idx="5446">
                  <c:v>316293</c:v>
                </c:pt>
                <c:pt idx="5447">
                  <c:v>316284</c:v>
                </c:pt>
                <c:pt idx="5448">
                  <c:v>316268</c:v>
                </c:pt>
                <c:pt idx="5449">
                  <c:v>316246</c:v>
                </c:pt>
                <c:pt idx="5450">
                  <c:v>316242</c:v>
                </c:pt>
                <c:pt idx="5451">
                  <c:v>316235</c:v>
                </c:pt>
                <c:pt idx="5452">
                  <c:v>316233</c:v>
                </c:pt>
                <c:pt idx="5453">
                  <c:v>316223</c:v>
                </c:pt>
                <c:pt idx="5454">
                  <c:v>316221</c:v>
                </c:pt>
                <c:pt idx="5455">
                  <c:v>316215</c:v>
                </c:pt>
                <c:pt idx="5456">
                  <c:v>316211</c:v>
                </c:pt>
                <c:pt idx="5457">
                  <c:v>316210</c:v>
                </c:pt>
                <c:pt idx="5458">
                  <c:v>316208</c:v>
                </c:pt>
                <c:pt idx="5459">
                  <c:v>316208</c:v>
                </c:pt>
                <c:pt idx="5460">
                  <c:v>316204</c:v>
                </c:pt>
                <c:pt idx="5461">
                  <c:v>316203</c:v>
                </c:pt>
                <c:pt idx="5462">
                  <c:v>316203</c:v>
                </c:pt>
                <c:pt idx="5463">
                  <c:v>316200</c:v>
                </c:pt>
                <c:pt idx="5464">
                  <c:v>316198</c:v>
                </c:pt>
                <c:pt idx="5465">
                  <c:v>316189</c:v>
                </c:pt>
                <c:pt idx="5466">
                  <c:v>316169</c:v>
                </c:pt>
                <c:pt idx="5467">
                  <c:v>316167</c:v>
                </c:pt>
                <c:pt idx="5468">
                  <c:v>316160</c:v>
                </c:pt>
                <c:pt idx="5469">
                  <c:v>316135</c:v>
                </c:pt>
                <c:pt idx="5470">
                  <c:v>316113</c:v>
                </c:pt>
                <c:pt idx="5471">
                  <c:v>316112</c:v>
                </c:pt>
                <c:pt idx="5472">
                  <c:v>316100</c:v>
                </c:pt>
                <c:pt idx="5473">
                  <c:v>316099</c:v>
                </c:pt>
                <c:pt idx="5474">
                  <c:v>316058</c:v>
                </c:pt>
                <c:pt idx="5475">
                  <c:v>316045</c:v>
                </c:pt>
                <c:pt idx="5476">
                  <c:v>316033</c:v>
                </c:pt>
                <c:pt idx="5477">
                  <c:v>316021</c:v>
                </c:pt>
                <c:pt idx="5478">
                  <c:v>315995</c:v>
                </c:pt>
                <c:pt idx="5479">
                  <c:v>315991</c:v>
                </c:pt>
                <c:pt idx="5480">
                  <c:v>315987</c:v>
                </c:pt>
                <c:pt idx="5481">
                  <c:v>315976</c:v>
                </c:pt>
                <c:pt idx="5482">
                  <c:v>315963</c:v>
                </c:pt>
                <c:pt idx="5483">
                  <c:v>315954</c:v>
                </c:pt>
                <c:pt idx="5484">
                  <c:v>315947</c:v>
                </c:pt>
                <c:pt idx="5485">
                  <c:v>315935</c:v>
                </c:pt>
                <c:pt idx="5486">
                  <c:v>315928</c:v>
                </c:pt>
                <c:pt idx="5487">
                  <c:v>315927</c:v>
                </c:pt>
                <c:pt idx="5488">
                  <c:v>315913</c:v>
                </c:pt>
                <c:pt idx="5489">
                  <c:v>315907</c:v>
                </c:pt>
                <c:pt idx="5490">
                  <c:v>315897</c:v>
                </c:pt>
                <c:pt idx="5491">
                  <c:v>315893</c:v>
                </c:pt>
                <c:pt idx="5492">
                  <c:v>315873</c:v>
                </c:pt>
                <c:pt idx="5493">
                  <c:v>315864</c:v>
                </c:pt>
                <c:pt idx="5494">
                  <c:v>315849</c:v>
                </c:pt>
                <c:pt idx="5495">
                  <c:v>315838</c:v>
                </c:pt>
                <c:pt idx="5496">
                  <c:v>315835</c:v>
                </c:pt>
                <c:pt idx="5497">
                  <c:v>315832</c:v>
                </c:pt>
                <c:pt idx="5498">
                  <c:v>315808</c:v>
                </c:pt>
                <c:pt idx="5499">
                  <c:v>315808</c:v>
                </c:pt>
                <c:pt idx="5500">
                  <c:v>315802</c:v>
                </c:pt>
                <c:pt idx="5501">
                  <c:v>315800</c:v>
                </c:pt>
                <c:pt idx="5502">
                  <c:v>315793</c:v>
                </c:pt>
                <c:pt idx="5503">
                  <c:v>315782</c:v>
                </c:pt>
                <c:pt idx="5504">
                  <c:v>315773</c:v>
                </c:pt>
                <c:pt idx="5505">
                  <c:v>315758</c:v>
                </c:pt>
                <c:pt idx="5506">
                  <c:v>315748</c:v>
                </c:pt>
                <c:pt idx="5507">
                  <c:v>315731</c:v>
                </c:pt>
                <c:pt idx="5508">
                  <c:v>315727</c:v>
                </c:pt>
                <c:pt idx="5509">
                  <c:v>315719</c:v>
                </c:pt>
                <c:pt idx="5510">
                  <c:v>315719</c:v>
                </c:pt>
                <c:pt idx="5511">
                  <c:v>315714</c:v>
                </c:pt>
                <c:pt idx="5512">
                  <c:v>315713</c:v>
                </c:pt>
                <c:pt idx="5513">
                  <c:v>315685</c:v>
                </c:pt>
                <c:pt idx="5514">
                  <c:v>315678</c:v>
                </c:pt>
                <c:pt idx="5515">
                  <c:v>315656</c:v>
                </c:pt>
                <c:pt idx="5516">
                  <c:v>315648</c:v>
                </c:pt>
                <c:pt idx="5517">
                  <c:v>315628</c:v>
                </c:pt>
                <c:pt idx="5518">
                  <c:v>315570</c:v>
                </c:pt>
                <c:pt idx="5519">
                  <c:v>315570</c:v>
                </c:pt>
                <c:pt idx="5520">
                  <c:v>315565</c:v>
                </c:pt>
                <c:pt idx="5521">
                  <c:v>315540</c:v>
                </c:pt>
                <c:pt idx="5522">
                  <c:v>315517</c:v>
                </c:pt>
                <c:pt idx="5523">
                  <c:v>315506</c:v>
                </c:pt>
                <c:pt idx="5524">
                  <c:v>315500</c:v>
                </c:pt>
                <c:pt idx="5525">
                  <c:v>315499</c:v>
                </c:pt>
                <c:pt idx="5526">
                  <c:v>315468</c:v>
                </c:pt>
                <c:pt idx="5527">
                  <c:v>315460</c:v>
                </c:pt>
                <c:pt idx="5528">
                  <c:v>315432</c:v>
                </c:pt>
                <c:pt idx="5529">
                  <c:v>315407</c:v>
                </c:pt>
                <c:pt idx="5530">
                  <c:v>315405</c:v>
                </c:pt>
                <c:pt idx="5531">
                  <c:v>315403</c:v>
                </c:pt>
                <c:pt idx="5532">
                  <c:v>315402</c:v>
                </c:pt>
                <c:pt idx="5533">
                  <c:v>315402</c:v>
                </c:pt>
                <c:pt idx="5534">
                  <c:v>315372</c:v>
                </c:pt>
                <c:pt idx="5535">
                  <c:v>315347</c:v>
                </c:pt>
                <c:pt idx="5536">
                  <c:v>315344</c:v>
                </c:pt>
                <c:pt idx="5537">
                  <c:v>315344</c:v>
                </c:pt>
                <c:pt idx="5538">
                  <c:v>315298</c:v>
                </c:pt>
                <c:pt idx="5539">
                  <c:v>315291</c:v>
                </c:pt>
                <c:pt idx="5540">
                  <c:v>315253</c:v>
                </c:pt>
                <c:pt idx="5541">
                  <c:v>315223</c:v>
                </c:pt>
                <c:pt idx="5542">
                  <c:v>315205</c:v>
                </c:pt>
                <c:pt idx="5543">
                  <c:v>315196</c:v>
                </c:pt>
                <c:pt idx="5544">
                  <c:v>315194</c:v>
                </c:pt>
                <c:pt idx="5545">
                  <c:v>315189</c:v>
                </c:pt>
                <c:pt idx="5546">
                  <c:v>315184</c:v>
                </c:pt>
                <c:pt idx="5547">
                  <c:v>315156</c:v>
                </c:pt>
                <c:pt idx="5548">
                  <c:v>315107</c:v>
                </c:pt>
                <c:pt idx="5549">
                  <c:v>315088</c:v>
                </c:pt>
                <c:pt idx="5550">
                  <c:v>315072</c:v>
                </c:pt>
                <c:pt idx="5551">
                  <c:v>315041</c:v>
                </c:pt>
                <c:pt idx="5552">
                  <c:v>315033</c:v>
                </c:pt>
                <c:pt idx="5553">
                  <c:v>315026</c:v>
                </c:pt>
                <c:pt idx="5554">
                  <c:v>315018</c:v>
                </c:pt>
                <c:pt idx="5555">
                  <c:v>314996</c:v>
                </c:pt>
                <c:pt idx="5556">
                  <c:v>314978</c:v>
                </c:pt>
                <c:pt idx="5557">
                  <c:v>314971</c:v>
                </c:pt>
                <c:pt idx="5558">
                  <c:v>314964</c:v>
                </c:pt>
                <c:pt idx="5559">
                  <c:v>314956</c:v>
                </c:pt>
                <c:pt idx="5560">
                  <c:v>314953</c:v>
                </c:pt>
                <c:pt idx="5561">
                  <c:v>314894</c:v>
                </c:pt>
                <c:pt idx="5562">
                  <c:v>314881</c:v>
                </c:pt>
                <c:pt idx="5563">
                  <c:v>314871</c:v>
                </c:pt>
                <c:pt idx="5564">
                  <c:v>314867</c:v>
                </c:pt>
                <c:pt idx="5565">
                  <c:v>314846</c:v>
                </c:pt>
                <c:pt idx="5566">
                  <c:v>314844</c:v>
                </c:pt>
                <c:pt idx="5567">
                  <c:v>314832</c:v>
                </c:pt>
                <c:pt idx="5568">
                  <c:v>314832</c:v>
                </c:pt>
                <c:pt idx="5569">
                  <c:v>314810</c:v>
                </c:pt>
                <c:pt idx="5570">
                  <c:v>314808</c:v>
                </c:pt>
                <c:pt idx="5571">
                  <c:v>314800</c:v>
                </c:pt>
                <c:pt idx="5572">
                  <c:v>314798</c:v>
                </c:pt>
                <c:pt idx="5573">
                  <c:v>314791</c:v>
                </c:pt>
                <c:pt idx="5574">
                  <c:v>314785</c:v>
                </c:pt>
                <c:pt idx="5575">
                  <c:v>314777</c:v>
                </c:pt>
                <c:pt idx="5576">
                  <c:v>314774</c:v>
                </c:pt>
                <c:pt idx="5577">
                  <c:v>314756</c:v>
                </c:pt>
                <c:pt idx="5578">
                  <c:v>314745</c:v>
                </c:pt>
                <c:pt idx="5579">
                  <c:v>314740</c:v>
                </c:pt>
                <c:pt idx="5580">
                  <c:v>314730</c:v>
                </c:pt>
                <c:pt idx="5581">
                  <c:v>314725</c:v>
                </c:pt>
                <c:pt idx="5582">
                  <c:v>314712</c:v>
                </c:pt>
                <c:pt idx="5583">
                  <c:v>314701</c:v>
                </c:pt>
                <c:pt idx="5584">
                  <c:v>314699</c:v>
                </c:pt>
                <c:pt idx="5585">
                  <c:v>314673</c:v>
                </c:pt>
                <c:pt idx="5586">
                  <c:v>314643</c:v>
                </c:pt>
                <c:pt idx="5587">
                  <c:v>314639</c:v>
                </c:pt>
                <c:pt idx="5588">
                  <c:v>314634</c:v>
                </c:pt>
                <c:pt idx="5589">
                  <c:v>314625</c:v>
                </c:pt>
                <c:pt idx="5590">
                  <c:v>314603</c:v>
                </c:pt>
                <c:pt idx="5591">
                  <c:v>314593</c:v>
                </c:pt>
                <c:pt idx="5592">
                  <c:v>314583</c:v>
                </c:pt>
                <c:pt idx="5593">
                  <c:v>314578</c:v>
                </c:pt>
                <c:pt idx="5594">
                  <c:v>314574</c:v>
                </c:pt>
                <c:pt idx="5595">
                  <c:v>314568</c:v>
                </c:pt>
                <c:pt idx="5596">
                  <c:v>314558</c:v>
                </c:pt>
                <c:pt idx="5597">
                  <c:v>314522</c:v>
                </c:pt>
                <c:pt idx="5598">
                  <c:v>314516</c:v>
                </c:pt>
                <c:pt idx="5599">
                  <c:v>314508</c:v>
                </c:pt>
                <c:pt idx="5600">
                  <c:v>314498</c:v>
                </c:pt>
                <c:pt idx="5601">
                  <c:v>314470</c:v>
                </c:pt>
                <c:pt idx="5602">
                  <c:v>314462</c:v>
                </c:pt>
                <c:pt idx="5603">
                  <c:v>314442</c:v>
                </c:pt>
                <c:pt idx="5604">
                  <c:v>314430</c:v>
                </c:pt>
                <c:pt idx="5605">
                  <c:v>314425</c:v>
                </c:pt>
                <c:pt idx="5606">
                  <c:v>314415</c:v>
                </c:pt>
                <c:pt idx="5607">
                  <c:v>314413</c:v>
                </c:pt>
                <c:pt idx="5608">
                  <c:v>314373</c:v>
                </c:pt>
                <c:pt idx="5609">
                  <c:v>314335</c:v>
                </c:pt>
                <c:pt idx="5610">
                  <c:v>314331</c:v>
                </c:pt>
                <c:pt idx="5611">
                  <c:v>314319</c:v>
                </c:pt>
                <c:pt idx="5612">
                  <c:v>314318</c:v>
                </c:pt>
                <c:pt idx="5613">
                  <c:v>314303</c:v>
                </c:pt>
                <c:pt idx="5614">
                  <c:v>314292</c:v>
                </c:pt>
                <c:pt idx="5615">
                  <c:v>314275</c:v>
                </c:pt>
                <c:pt idx="5616">
                  <c:v>314273</c:v>
                </c:pt>
                <c:pt idx="5617">
                  <c:v>314271</c:v>
                </c:pt>
                <c:pt idx="5618">
                  <c:v>314250</c:v>
                </c:pt>
                <c:pt idx="5619">
                  <c:v>314239</c:v>
                </c:pt>
                <c:pt idx="5620">
                  <c:v>314239</c:v>
                </c:pt>
                <c:pt idx="5621">
                  <c:v>314239</c:v>
                </c:pt>
                <c:pt idx="5622">
                  <c:v>314235</c:v>
                </c:pt>
                <c:pt idx="5623">
                  <c:v>314225</c:v>
                </c:pt>
                <c:pt idx="5624">
                  <c:v>314217</c:v>
                </c:pt>
                <c:pt idx="5625">
                  <c:v>314211</c:v>
                </c:pt>
                <c:pt idx="5626">
                  <c:v>314191</c:v>
                </c:pt>
                <c:pt idx="5627">
                  <c:v>314191</c:v>
                </c:pt>
                <c:pt idx="5628">
                  <c:v>314182</c:v>
                </c:pt>
                <c:pt idx="5629">
                  <c:v>314176</c:v>
                </c:pt>
                <c:pt idx="5630">
                  <c:v>314130</c:v>
                </c:pt>
                <c:pt idx="5631">
                  <c:v>314121</c:v>
                </c:pt>
                <c:pt idx="5632">
                  <c:v>314118</c:v>
                </c:pt>
                <c:pt idx="5633">
                  <c:v>314111</c:v>
                </c:pt>
                <c:pt idx="5634">
                  <c:v>314091</c:v>
                </c:pt>
                <c:pt idx="5635">
                  <c:v>314068</c:v>
                </c:pt>
                <c:pt idx="5636">
                  <c:v>314061</c:v>
                </c:pt>
                <c:pt idx="5637">
                  <c:v>314057</c:v>
                </c:pt>
                <c:pt idx="5638">
                  <c:v>314044</c:v>
                </c:pt>
                <c:pt idx="5639">
                  <c:v>314039</c:v>
                </c:pt>
                <c:pt idx="5640">
                  <c:v>314024</c:v>
                </c:pt>
                <c:pt idx="5641">
                  <c:v>314014</c:v>
                </c:pt>
                <c:pt idx="5642">
                  <c:v>314002</c:v>
                </c:pt>
                <c:pt idx="5643">
                  <c:v>313989</c:v>
                </c:pt>
                <c:pt idx="5644">
                  <c:v>313987</c:v>
                </c:pt>
                <c:pt idx="5645">
                  <c:v>313974</c:v>
                </c:pt>
                <c:pt idx="5646">
                  <c:v>313952</c:v>
                </c:pt>
                <c:pt idx="5647">
                  <c:v>313949</c:v>
                </c:pt>
                <c:pt idx="5648">
                  <c:v>313944</c:v>
                </c:pt>
                <c:pt idx="5649">
                  <c:v>313943</c:v>
                </c:pt>
                <c:pt idx="5650">
                  <c:v>313937</c:v>
                </c:pt>
                <c:pt idx="5651">
                  <c:v>313935</c:v>
                </c:pt>
                <c:pt idx="5652">
                  <c:v>313914</c:v>
                </c:pt>
                <c:pt idx="5653">
                  <c:v>313912</c:v>
                </c:pt>
                <c:pt idx="5654">
                  <c:v>313903</c:v>
                </c:pt>
                <c:pt idx="5655">
                  <c:v>313885</c:v>
                </c:pt>
                <c:pt idx="5656">
                  <c:v>313869</c:v>
                </c:pt>
                <c:pt idx="5657">
                  <c:v>313857</c:v>
                </c:pt>
                <c:pt idx="5658">
                  <c:v>313829</c:v>
                </c:pt>
                <c:pt idx="5659">
                  <c:v>313819</c:v>
                </c:pt>
                <c:pt idx="5660">
                  <c:v>313815</c:v>
                </c:pt>
                <c:pt idx="5661">
                  <c:v>313812</c:v>
                </c:pt>
                <c:pt idx="5662">
                  <c:v>313802</c:v>
                </c:pt>
                <c:pt idx="5663">
                  <c:v>313791</c:v>
                </c:pt>
                <c:pt idx="5664">
                  <c:v>313761</c:v>
                </c:pt>
                <c:pt idx="5665">
                  <c:v>313757</c:v>
                </c:pt>
                <c:pt idx="5666">
                  <c:v>313756</c:v>
                </c:pt>
                <c:pt idx="5667">
                  <c:v>313682</c:v>
                </c:pt>
                <c:pt idx="5668">
                  <c:v>313677</c:v>
                </c:pt>
                <c:pt idx="5669">
                  <c:v>313676</c:v>
                </c:pt>
                <c:pt idx="5670">
                  <c:v>313672</c:v>
                </c:pt>
                <c:pt idx="5671">
                  <c:v>313649</c:v>
                </c:pt>
                <c:pt idx="5672">
                  <c:v>313644</c:v>
                </c:pt>
                <c:pt idx="5673">
                  <c:v>313640</c:v>
                </c:pt>
                <c:pt idx="5674">
                  <c:v>313636</c:v>
                </c:pt>
                <c:pt idx="5675">
                  <c:v>313630</c:v>
                </c:pt>
                <c:pt idx="5676">
                  <c:v>313625</c:v>
                </c:pt>
                <c:pt idx="5677">
                  <c:v>313622</c:v>
                </c:pt>
                <c:pt idx="5678">
                  <c:v>313598</c:v>
                </c:pt>
                <c:pt idx="5679">
                  <c:v>313582</c:v>
                </c:pt>
                <c:pt idx="5680">
                  <c:v>313565</c:v>
                </c:pt>
                <c:pt idx="5681">
                  <c:v>313553</c:v>
                </c:pt>
                <c:pt idx="5682">
                  <c:v>313552</c:v>
                </c:pt>
                <c:pt idx="5683">
                  <c:v>313539</c:v>
                </c:pt>
                <c:pt idx="5684">
                  <c:v>313536</c:v>
                </c:pt>
                <c:pt idx="5685">
                  <c:v>313530</c:v>
                </c:pt>
                <c:pt idx="5686">
                  <c:v>313528</c:v>
                </c:pt>
                <c:pt idx="5687">
                  <c:v>313526</c:v>
                </c:pt>
                <c:pt idx="5688">
                  <c:v>313511</c:v>
                </c:pt>
                <c:pt idx="5689">
                  <c:v>313507</c:v>
                </c:pt>
                <c:pt idx="5690">
                  <c:v>313501</c:v>
                </c:pt>
                <c:pt idx="5691">
                  <c:v>313495</c:v>
                </c:pt>
                <c:pt idx="5692">
                  <c:v>313491</c:v>
                </c:pt>
                <c:pt idx="5693">
                  <c:v>313488</c:v>
                </c:pt>
                <c:pt idx="5694">
                  <c:v>313488</c:v>
                </c:pt>
                <c:pt idx="5695">
                  <c:v>313487</c:v>
                </c:pt>
                <c:pt idx="5696">
                  <c:v>313483</c:v>
                </c:pt>
                <c:pt idx="5697">
                  <c:v>313434</c:v>
                </c:pt>
                <c:pt idx="5698">
                  <c:v>313429</c:v>
                </c:pt>
                <c:pt idx="5699">
                  <c:v>313381</c:v>
                </c:pt>
                <c:pt idx="5700">
                  <c:v>313353</c:v>
                </c:pt>
                <c:pt idx="5701">
                  <c:v>313350</c:v>
                </c:pt>
                <c:pt idx="5702">
                  <c:v>313330</c:v>
                </c:pt>
                <c:pt idx="5703">
                  <c:v>313289</c:v>
                </c:pt>
                <c:pt idx="5704">
                  <c:v>313276</c:v>
                </c:pt>
                <c:pt idx="5705">
                  <c:v>313246</c:v>
                </c:pt>
                <c:pt idx="5706">
                  <c:v>313245</c:v>
                </c:pt>
                <c:pt idx="5707">
                  <c:v>313244</c:v>
                </c:pt>
                <c:pt idx="5708">
                  <c:v>313243</c:v>
                </c:pt>
                <c:pt idx="5709">
                  <c:v>313218</c:v>
                </c:pt>
                <c:pt idx="5710">
                  <c:v>313194</c:v>
                </c:pt>
                <c:pt idx="5711">
                  <c:v>313192</c:v>
                </c:pt>
                <c:pt idx="5712">
                  <c:v>313188</c:v>
                </c:pt>
                <c:pt idx="5713">
                  <c:v>313160</c:v>
                </c:pt>
                <c:pt idx="5714">
                  <c:v>313153</c:v>
                </c:pt>
                <c:pt idx="5715">
                  <c:v>313150</c:v>
                </c:pt>
                <c:pt idx="5716">
                  <c:v>313150</c:v>
                </c:pt>
                <c:pt idx="5717">
                  <c:v>313124</c:v>
                </c:pt>
                <c:pt idx="5718">
                  <c:v>313119</c:v>
                </c:pt>
                <c:pt idx="5719">
                  <c:v>313071</c:v>
                </c:pt>
                <c:pt idx="5720">
                  <c:v>313066</c:v>
                </c:pt>
                <c:pt idx="5721">
                  <c:v>313066</c:v>
                </c:pt>
                <c:pt idx="5722">
                  <c:v>313052</c:v>
                </c:pt>
                <c:pt idx="5723">
                  <c:v>313046</c:v>
                </c:pt>
                <c:pt idx="5724">
                  <c:v>313031</c:v>
                </c:pt>
                <c:pt idx="5725">
                  <c:v>313021</c:v>
                </c:pt>
                <c:pt idx="5726">
                  <c:v>313021</c:v>
                </c:pt>
                <c:pt idx="5727">
                  <c:v>313021</c:v>
                </c:pt>
                <c:pt idx="5728">
                  <c:v>313018</c:v>
                </c:pt>
                <c:pt idx="5729">
                  <c:v>313003</c:v>
                </c:pt>
                <c:pt idx="5730">
                  <c:v>312994</c:v>
                </c:pt>
                <c:pt idx="5731">
                  <c:v>312993</c:v>
                </c:pt>
                <c:pt idx="5732">
                  <c:v>312991</c:v>
                </c:pt>
                <c:pt idx="5733">
                  <c:v>312990</c:v>
                </c:pt>
                <c:pt idx="5734">
                  <c:v>312977</c:v>
                </c:pt>
                <c:pt idx="5735">
                  <c:v>312975</c:v>
                </c:pt>
                <c:pt idx="5736">
                  <c:v>312968</c:v>
                </c:pt>
                <c:pt idx="5737">
                  <c:v>312967</c:v>
                </c:pt>
                <c:pt idx="5738">
                  <c:v>312963</c:v>
                </c:pt>
                <c:pt idx="5739">
                  <c:v>312960</c:v>
                </c:pt>
                <c:pt idx="5740">
                  <c:v>312942</c:v>
                </c:pt>
                <c:pt idx="5741">
                  <c:v>312942</c:v>
                </c:pt>
                <c:pt idx="5742">
                  <c:v>312932</c:v>
                </c:pt>
                <c:pt idx="5743">
                  <c:v>312906</c:v>
                </c:pt>
                <c:pt idx="5744">
                  <c:v>312892</c:v>
                </c:pt>
                <c:pt idx="5745">
                  <c:v>312878</c:v>
                </c:pt>
                <c:pt idx="5746">
                  <c:v>312877</c:v>
                </c:pt>
                <c:pt idx="5747">
                  <c:v>312863</c:v>
                </c:pt>
                <c:pt idx="5748">
                  <c:v>312849</c:v>
                </c:pt>
                <c:pt idx="5749">
                  <c:v>312835</c:v>
                </c:pt>
                <c:pt idx="5750">
                  <c:v>312835</c:v>
                </c:pt>
                <c:pt idx="5751">
                  <c:v>312835</c:v>
                </c:pt>
                <c:pt idx="5752">
                  <c:v>312835</c:v>
                </c:pt>
                <c:pt idx="5753">
                  <c:v>312827</c:v>
                </c:pt>
                <c:pt idx="5754">
                  <c:v>312818</c:v>
                </c:pt>
                <c:pt idx="5755">
                  <c:v>312813</c:v>
                </c:pt>
                <c:pt idx="5756">
                  <c:v>312790</c:v>
                </c:pt>
                <c:pt idx="5757">
                  <c:v>312771</c:v>
                </c:pt>
                <c:pt idx="5758">
                  <c:v>312767</c:v>
                </c:pt>
                <c:pt idx="5759">
                  <c:v>312762</c:v>
                </c:pt>
                <c:pt idx="5760">
                  <c:v>312761</c:v>
                </c:pt>
                <c:pt idx="5761">
                  <c:v>312761</c:v>
                </c:pt>
                <c:pt idx="5762">
                  <c:v>312752</c:v>
                </c:pt>
                <c:pt idx="5763">
                  <c:v>312745</c:v>
                </c:pt>
                <c:pt idx="5764">
                  <c:v>312739</c:v>
                </c:pt>
                <c:pt idx="5765">
                  <c:v>312727</c:v>
                </c:pt>
                <c:pt idx="5766">
                  <c:v>312697</c:v>
                </c:pt>
                <c:pt idx="5767">
                  <c:v>312690</c:v>
                </c:pt>
                <c:pt idx="5768">
                  <c:v>312672</c:v>
                </c:pt>
                <c:pt idx="5769">
                  <c:v>312671</c:v>
                </c:pt>
                <c:pt idx="5770">
                  <c:v>312661</c:v>
                </c:pt>
                <c:pt idx="5771">
                  <c:v>312656</c:v>
                </c:pt>
                <c:pt idx="5772">
                  <c:v>312651</c:v>
                </c:pt>
                <c:pt idx="5773">
                  <c:v>312651</c:v>
                </c:pt>
                <c:pt idx="5774">
                  <c:v>312640</c:v>
                </c:pt>
                <c:pt idx="5775">
                  <c:v>312635</c:v>
                </c:pt>
                <c:pt idx="5776">
                  <c:v>312623</c:v>
                </c:pt>
                <c:pt idx="5777">
                  <c:v>312583</c:v>
                </c:pt>
                <c:pt idx="5778">
                  <c:v>312575</c:v>
                </c:pt>
                <c:pt idx="5779">
                  <c:v>312561</c:v>
                </c:pt>
                <c:pt idx="5780">
                  <c:v>312526</c:v>
                </c:pt>
                <c:pt idx="5781">
                  <c:v>312525</c:v>
                </c:pt>
                <c:pt idx="5782">
                  <c:v>312520</c:v>
                </c:pt>
                <c:pt idx="5783">
                  <c:v>312515</c:v>
                </c:pt>
                <c:pt idx="5784">
                  <c:v>312470</c:v>
                </c:pt>
                <c:pt idx="5785">
                  <c:v>312458</c:v>
                </c:pt>
                <c:pt idx="5786">
                  <c:v>312442</c:v>
                </c:pt>
                <c:pt idx="5787">
                  <c:v>312435</c:v>
                </c:pt>
                <c:pt idx="5788">
                  <c:v>312417</c:v>
                </c:pt>
                <c:pt idx="5789">
                  <c:v>312413</c:v>
                </c:pt>
                <c:pt idx="5790">
                  <c:v>312409</c:v>
                </c:pt>
                <c:pt idx="5791">
                  <c:v>312388</c:v>
                </c:pt>
                <c:pt idx="5792">
                  <c:v>312381</c:v>
                </c:pt>
                <c:pt idx="5793">
                  <c:v>312360</c:v>
                </c:pt>
                <c:pt idx="5794">
                  <c:v>312351</c:v>
                </c:pt>
                <c:pt idx="5795">
                  <c:v>312348</c:v>
                </c:pt>
                <c:pt idx="5796">
                  <c:v>312340</c:v>
                </c:pt>
                <c:pt idx="5797">
                  <c:v>312311</c:v>
                </c:pt>
                <c:pt idx="5798">
                  <c:v>312297</c:v>
                </c:pt>
                <c:pt idx="5799">
                  <c:v>312295</c:v>
                </c:pt>
                <c:pt idx="5800">
                  <c:v>312284</c:v>
                </c:pt>
                <c:pt idx="5801">
                  <c:v>312278</c:v>
                </c:pt>
                <c:pt idx="5802">
                  <c:v>312277</c:v>
                </c:pt>
                <c:pt idx="5803">
                  <c:v>312273</c:v>
                </c:pt>
                <c:pt idx="5804">
                  <c:v>312272</c:v>
                </c:pt>
                <c:pt idx="5805">
                  <c:v>312257</c:v>
                </c:pt>
                <c:pt idx="5806">
                  <c:v>312251</c:v>
                </c:pt>
                <c:pt idx="5807">
                  <c:v>312224</c:v>
                </c:pt>
                <c:pt idx="5808">
                  <c:v>312223</c:v>
                </c:pt>
                <c:pt idx="5809">
                  <c:v>312157</c:v>
                </c:pt>
                <c:pt idx="5810">
                  <c:v>312154</c:v>
                </c:pt>
                <c:pt idx="5811">
                  <c:v>312114</c:v>
                </c:pt>
                <c:pt idx="5812">
                  <c:v>312111</c:v>
                </c:pt>
                <c:pt idx="5813">
                  <c:v>312100</c:v>
                </c:pt>
                <c:pt idx="5814">
                  <c:v>312086</c:v>
                </c:pt>
                <c:pt idx="5815">
                  <c:v>312083</c:v>
                </c:pt>
                <c:pt idx="5816">
                  <c:v>312070</c:v>
                </c:pt>
                <c:pt idx="5817">
                  <c:v>312070</c:v>
                </c:pt>
                <c:pt idx="5818">
                  <c:v>312065</c:v>
                </c:pt>
                <c:pt idx="5819">
                  <c:v>312023</c:v>
                </c:pt>
                <c:pt idx="5820">
                  <c:v>312022</c:v>
                </c:pt>
                <c:pt idx="5821">
                  <c:v>312005</c:v>
                </c:pt>
                <c:pt idx="5822">
                  <c:v>311992</c:v>
                </c:pt>
                <c:pt idx="5823">
                  <c:v>311988</c:v>
                </c:pt>
                <c:pt idx="5824">
                  <c:v>311978</c:v>
                </c:pt>
                <c:pt idx="5825">
                  <c:v>311965</c:v>
                </c:pt>
                <c:pt idx="5826">
                  <c:v>311963</c:v>
                </c:pt>
                <c:pt idx="5827">
                  <c:v>311939</c:v>
                </c:pt>
                <c:pt idx="5828">
                  <c:v>311914</c:v>
                </c:pt>
                <c:pt idx="5829">
                  <c:v>311887</c:v>
                </c:pt>
                <c:pt idx="5830">
                  <c:v>311865</c:v>
                </c:pt>
                <c:pt idx="5831">
                  <c:v>311859</c:v>
                </c:pt>
                <c:pt idx="5832">
                  <c:v>311832</c:v>
                </c:pt>
                <c:pt idx="5833">
                  <c:v>311820</c:v>
                </c:pt>
                <c:pt idx="5834">
                  <c:v>311798</c:v>
                </c:pt>
                <c:pt idx="5835">
                  <c:v>311791</c:v>
                </c:pt>
                <c:pt idx="5836">
                  <c:v>311783</c:v>
                </c:pt>
                <c:pt idx="5837">
                  <c:v>311765</c:v>
                </c:pt>
                <c:pt idx="5838">
                  <c:v>311758</c:v>
                </c:pt>
                <c:pt idx="5839">
                  <c:v>311753</c:v>
                </c:pt>
                <c:pt idx="5840">
                  <c:v>311719</c:v>
                </c:pt>
                <c:pt idx="5841">
                  <c:v>311694</c:v>
                </c:pt>
                <c:pt idx="5842">
                  <c:v>311691</c:v>
                </c:pt>
                <c:pt idx="5843">
                  <c:v>311677</c:v>
                </c:pt>
                <c:pt idx="5844">
                  <c:v>311670</c:v>
                </c:pt>
                <c:pt idx="5845">
                  <c:v>311648</c:v>
                </c:pt>
                <c:pt idx="5846">
                  <c:v>311623</c:v>
                </c:pt>
                <c:pt idx="5847">
                  <c:v>311622</c:v>
                </c:pt>
                <c:pt idx="5848">
                  <c:v>311616</c:v>
                </c:pt>
                <c:pt idx="5849">
                  <c:v>311613</c:v>
                </c:pt>
                <c:pt idx="5850">
                  <c:v>311598</c:v>
                </c:pt>
                <c:pt idx="5851">
                  <c:v>311598</c:v>
                </c:pt>
                <c:pt idx="5852">
                  <c:v>311573</c:v>
                </c:pt>
                <c:pt idx="5853">
                  <c:v>311571</c:v>
                </c:pt>
                <c:pt idx="5854">
                  <c:v>311571</c:v>
                </c:pt>
                <c:pt idx="5855">
                  <c:v>311570</c:v>
                </c:pt>
                <c:pt idx="5856">
                  <c:v>311558</c:v>
                </c:pt>
                <c:pt idx="5857">
                  <c:v>311535</c:v>
                </c:pt>
                <c:pt idx="5858">
                  <c:v>311508</c:v>
                </c:pt>
                <c:pt idx="5859">
                  <c:v>311474</c:v>
                </c:pt>
                <c:pt idx="5860">
                  <c:v>311472</c:v>
                </c:pt>
                <c:pt idx="5861">
                  <c:v>311468</c:v>
                </c:pt>
                <c:pt idx="5862">
                  <c:v>311450</c:v>
                </c:pt>
                <c:pt idx="5863">
                  <c:v>311449</c:v>
                </c:pt>
                <c:pt idx="5864">
                  <c:v>311439</c:v>
                </c:pt>
                <c:pt idx="5865">
                  <c:v>311438</c:v>
                </c:pt>
                <c:pt idx="5866">
                  <c:v>311433</c:v>
                </c:pt>
                <c:pt idx="5867">
                  <c:v>311433</c:v>
                </c:pt>
                <c:pt idx="5868">
                  <c:v>311416</c:v>
                </c:pt>
                <c:pt idx="5869">
                  <c:v>311412</c:v>
                </c:pt>
                <c:pt idx="5870">
                  <c:v>311407</c:v>
                </c:pt>
                <c:pt idx="5871">
                  <c:v>311396</c:v>
                </c:pt>
                <c:pt idx="5872">
                  <c:v>311366</c:v>
                </c:pt>
                <c:pt idx="5873">
                  <c:v>311356</c:v>
                </c:pt>
                <c:pt idx="5874">
                  <c:v>311347</c:v>
                </c:pt>
                <c:pt idx="5875">
                  <c:v>311323</c:v>
                </c:pt>
                <c:pt idx="5876">
                  <c:v>311317</c:v>
                </c:pt>
                <c:pt idx="5877">
                  <c:v>311311</c:v>
                </c:pt>
                <c:pt idx="5878">
                  <c:v>311309</c:v>
                </c:pt>
                <c:pt idx="5879">
                  <c:v>311305</c:v>
                </c:pt>
                <c:pt idx="5880">
                  <c:v>311298</c:v>
                </c:pt>
                <c:pt idx="5881">
                  <c:v>311240</c:v>
                </c:pt>
                <c:pt idx="5882">
                  <c:v>311239</c:v>
                </c:pt>
                <c:pt idx="5883">
                  <c:v>311236</c:v>
                </c:pt>
                <c:pt idx="5884">
                  <c:v>311216</c:v>
                </c:pt>
                <c:pt idx="5885">
                  <c:v>311212</c:v>
                </c:pt>
                <c:pt idx="5886">
                  <c:v>311200</c:v>
                </c:pt>
                <c:pt idx="5887">
                  <c:v>311187</c:v>
                </c:pt>
                <c:pt idx="5888">
                  <c:v>311186</c:v>
                </c:pt>
                <c:pt idx="5889">
                  <c:v>311157</c:v>
                </c:pt>
                <c:pt idx="5890">
                  <c:v>311151</c:v>
                </c:pt>
                <c:pt idx="5891">
                  <c:v>311136</c:v>
                </c:pt>
                <c:pt idx="5892">
                  <c:v>311135</c:v>
                </c:pt>
                <c:pt idx="5893">
                  <c:v>311125</c:v>
                </c:pt>
                <c:pt idx="5894">
                  <c:v>311121</c:v>
                </c:pt>
                <c:pt idx="5895">
                  <c:v>311115</c:v>
                </c:pt>
                <c:pt idx="5896">
                  <c:v>311088</c:v>
                </c:pt>
                <c:pt idx="5897">
                  <c:v>311082</c:v>
                </c:pt>
                <c:pt idx="5898">
                  <c:v>311066</c:v>
                </c:pt>
                <c:pt idx="5899">
                  <c:v>311059</c:v>
                </c:pt>
                <c:pt idx="5900">
                  <c:v>311024</c:v>
                </c:pt>
                <c:pt idx="5901">
                  <c:v>311011</c:v>
                </c:pt>
                <c:pt idx="5902">
                  <c:v>310974</c:v>
                </c:pt>
                <c:pt idx="5903">
                  <c:v>310974</c:v>
                </c:pt>
                <c:pt idx="5904">
                  <c:v>310974</c:v>
                </c:pt>
                <c:pt idx="5905">
                  <c:v>310944</c:v>
                </c:pt>
                <c:pt idx="5906">
                  <c:v>310929</c:v>
                </c:pt>
                <c:pt idx="5907">
                  <c:v>310926</c:v>
                </c:pt>
                <c:pt idx="5908">
                  <c:v>310901</c:v>
                </c:pt>
                <c:pt idx="5909">
                  <c:v>310872</c:v>
                </c:pt>
                <c:pt idx="5910">
                  <c:v>310857</c:v>
                </c:pt>
                <c:pt idx="5911">
                  <c:v>310851</c:v>
                </c:pt>
                <c:pt idx="5912">
                  <c:v>310843</c:v>
                </c:pt>
                <c:pt idx="5913">
                  <c:v>310841</c:v>
                </c:pt>
                <c:pt idx="5914">
                  <c:v>310834</c:v>
                </c:pt>
                <c:pt idx="5915">
                  <c:v>310834</c:v>
                </c:pt>
                <c:pt idx="5916">
                  <c:v>310828</c:v>
                </c:pt>
                <c:pt idx="5917">
                  <c:v>310822</c:v>
                </c:pt>
                <c:pt idx="5918">
                  <c:v>310820</c:v>
                </c:pt>
                <c:pt idx="5919">
                  <c:v>310794</c:v>
                </c:pt>
                <c:pt idx="5920">
                  <c:v>310788</c:v>
                </c:pt>
                <c:pt idx="5921">
                  <c:v>310786</c:v>
                </c:pt>
                <c:pt idx="5922">
                  <c:v>310781</c:v>
                </c:pt>
                <c:pt idx="5923">
                  <c:v>310781</c:v>
                </c:pt>
                <c:pt idx="5924">
                  <c:v>310779</c:v>
                </c:pt>
                <c:pt idx="5925">
                  <c:v>310759</c:v>
                </c:pt>
                <c:pt idx="5926">
                  <c:v>310757</c:v>
                </c:pt>
                <c:pt idx="5927">
                  <c:v>310755</c:v>
                </c:pt>
                <c:pt idx="5928">
                  <c:v>310740</c:v>
                </c:pt>
                <c:pt idx="5929">
                  <c:v>310718</c:v>
                </c:pt>
                <c:pt idx="5930">
                  <c:v>310714</c:v>
                </c:pt>
                <c:pt idx="5931">
                  <c:v>310713</c:v>
                </c:pt>
                <c:pt idx="5932">
                  <c:v>310709</c:v>
                </c:pt>
                <c:pt idx="5933">
                  <c:v>310684</c:v>
                </c:pt>
                <c:pt idx="5934">
                  <c:v>310679</c:v>
                </c:pt>
                <c:pt idx="5935">
                  <c:v>310654</c:v>
                </c:pt>
                <c:pt idx="5936">
                  <c:v>310629</c:v>
                </c:pt>
                <c:pt idx="5937">
                  <c:v>310622</c:v>
                </c:pt>
                <c:pt idx="5938">
                  <c:v>310621</c:v>
                </c:pt>
                <c:pt idx="5939">
                  <c:v>310619</c:v>
                </c:pt>
                <c:pt idx="5940">
                  <c:v>310618</c:v>
                </c:pt>
                <c:pt idx="5941">
                  <c:v>310616</c:v>
                </c:pt>
                <c:pt idx="5942">
                  <c:v>310606</c:v>
                </c:pt>
                <c:pt idx="5943">
                  <c:v>310594</c:v>
                </c:pt>
                <c:pt idx="5944">
                  <c:v>310566</c:v>
                </c:pt>
                <c:pt idx="5945">
                  <c:v>310565</c:v>
                </c:pt>
                <c:pt idx="5946">
                  <c:v>310560</c:v>
                </c:pt>
                <c:pt idx="5947">
                  <c:v>310545</c:v>
                </c:pt>
                <c:pt idx="5948">
                  <c:v>310537</c:v>
                </c:pt>
                <c:pt idx="5949">
                  <c:v>310531</c:v>
                </c:pt>
                <c:pt idx="5950">
                  <c:v>310504</c:v>
                </c:pt>
                <c:pt idx="5951">
                  <c:v>310480</c:v>
                </c:pt>
                <c:pt idx="5952">
                  <c:v>310461</c:v>
                </c:pt>
                <c:pt idx="5953">
                  <c:v>310456</c:v>
                </c:pt>
                <c:pt idx="5954">
                  <c:v>310449</c:v>
                </c:pt>
                <c:pt idx="5955">
                  <c:v>310447</c:v>
                </c:pt>
                <c:pt idx="5956">
                  <c:v>310441</c:v>
                </c:pt>
                <c:pt idx="5957">
                  <c:v>310429</c:v>
                </c:pt>
                <c:pt idx="5958">
                  <c:v>310421</c:v>
                </c:pt>
                <c:pt idx="5959">
                  <c:v>310402</c:v>
                </c:pt>
                <c:pt idx="5960">
                  <c:v>310388</c:v>
                </c:pt>
                <c:pt idx="5961">
                  <c:v>310368</c:v>
                </c:pt>
                <c:pt idx="5962">
                  <c:v>310364</c:v>
                </c:pt>
                <c:pt idx="5963">
                  <c:v>310359</c:v>
                </c:pt>
                <c:pt idx="5964">
                  <c:v>310355</c:v>
                </c:pt>
                <c:pt idx="5965">
                  <c:v>310351</c:v>
                </c:pt>
                <c:pt idx="5966">
                  <c:v>310339</c:v>
                </c:pt>
                <c:pt idx="5967">
                  <c:v>310339</c:v>
                </c:pt>
                <c:pt idx="5968">
                  <c:v>310333</c:v>
                </c:pt>
                <c:pt idx="5969">
                  <c:v>310330</c:v>
                </c:pt>
                <c:pt idx="5970">
                  <c:v>310330</c:v>
                </c:pt>
                <c:pt idx="5971">
                  <c:v>310320</c:v>
                </c:pt>
                <c:pt idx="5972">
                  <c:v>310293</c:v>
                </c:pt>
                <c:pt idx="5973">
                  <c:v>310293</c:v>
                </c:pt>
                <c:pt idx="5974">
                  <c:v>310292</c:v>
                </c:pt>
                <c:pt idx="5975">
                  <c:v>310285</c:v>
                </c:pt>
                <c:pt idx="5976">
                  <c:v>310272</c:v>
                </c:pt>
                <c:pt idx="5977">
                  <c:v>310267</c:v>
                </c:pt>
                <c:pt idx="5978">
                  <c:v>310243</c:v>
                </c:pt>
                <c:pt idx="5979">
                  <c:v>310231</c:v>
                </c:pt>
                <c:pt idx="5980">
                  <c:v>310222</c:v>
                </c:pt>
                <c:pt idx="5981">
                  <c:v>310210</c:v>
                </c:pt>
                <c:pt idx="5982">
                  <c:v>310192</c:v>
                </c:pt>
                <c:pt idx="5983">
                  <c:v>310185</c:v>
                </c:pt>
                <c:pt idx="5984">
                  <c:v>310158</c:v>
                </c:pt>
                <c:pt idx="5985">
                  <c:v>310148</c:v>
                </c:pt>
                <c:pt idx="5986">
                  <c:v>310146</c:v>
                </c:pt>
                <c:pt idx="5987">
                  <c:v>310127</c:v>
                </c:pt>
                <c:pt idx="5988">
                  <c:v>310118</c:v>
                </c:pt>
                <c:pt idx="5989">
                  <c:v>310115</c:v>
                </c:pt>
                <c:pt idx="5990">
                  <c:v>310096</c:v>
                </c:pt>
                <c:pt idx="5991">
                  <c:v>310096</c:v>
                </c:pt>
                <c:pt idx="5992">
                  <c:v>310066</c:v>
                </c:pt>
                <c:pt idx="5993">
                  <c:v>310063</c:v>
                </c:pt>
                <c:pt idx="5994">
                  <c:v>310046</c:v>
                </c:pt>
                <c:pt idx="5995">
                  <c:v>310042</c:v>
                </c:pt>
                <c:pt idx="5996">
                  <c:v>310034</c:v>
                </c:pt>
                <c:pt idx="5997">
                  <c:v>309979</c:v>
                </c:pt>
                <c:pt idx="5998">
                  <c:v>309958</c:v>
                </c:pt>
                <c:pt idx="5999">
                  <c:v>309924</c:v>
                </c:pt>
                <c:pt idx="6000">
                  <c:v>309919</c:v>
                </c:pt>
                <c:pt idx="6001">
                  <c:v>309905</c:v>
                </c:pt>
                <c:pt idx="6002">
                  <c:v>309897</c:v>
                </c:pt>
                <c:pt idx="6003">
                  <c:v>309891</c:v>
                </c:pt>
                <c:pt idx="6004">
                  <c:v>309880</c:v>
                </c:pt>
                <c:pt idx="6005">
                  <c:v>309873</c:v>
                </c:pt>
                <c:pt idx="6006">
                  <c:v>309851</c:v>
                </c:pt>
                <c:pt idx="6007">
                  <c:v>309846</c:v>
                </c:pt>
                <c:pt idx="6008">
                  <c:v>309841</c:v>
                </c:pt>
                <c:pt idx="6009">
                  <c:v>309832</c:v>
                </c:pt>
                <c:pt idx="6010">
                  <c:v>309824</c:v>
                </c:pt>
                <c:pt idx="6011">
                  <c:v>309816</c:v>
                </c:pt>
                <c:pt idx="6012">
                  <c:v>309814</c:v>
                </c:pt>
                <c:pt idx="6013">
                  <c:v>309814</c:v>
                </c:pt>
                <c:pt idx="6014">
                  <c:v>309811</c:v>
                </c:pt>
                <c:pt idx="6015">
                  <c:v>309796</c:v>
                </c:pt>
                <c:pt idx="6016">
                  <c:v>309780</c:v>
                </c:pt>
                <c:pt idx="6017">
                  <c:v>309762</c:v>
                </c:pt>
                <c:pt idx="6018">
                  <c:v>309732</c:v>
                </c:pt>
                <c:pt idx="6019">
                  <c:v>309730</c:v>
                </c:pt>
                <c:pt idx="6020">
                  <c:v>309720</c:v>
                </c:pt>
                <c:pt idx="6021">
                  <c:v>309718</c:v>
                </c:pt>
                <c:pt idx="6022">
                  <c:v>309705</c:v>
                </c:pt>
                <c:pt idx="6023">
                  <c:v>309666</c:v>
                </c:pt>
                <c:pt idx="6024">
                  <c:v>309656</c:v>
                </c:pt>
                <c:pt idx="6025">
                  <c:v>309649</c:v>
                </c:pt>
                <c:pt idx="6026">
                  <c:v>309649</c:v>
                </c:pt>
                <c:pt idx="6027">
                  <c:v>309647</c:v>
                </c:pt>
                <c:pt idx="6028">
                  <c:v>309631</c:v>
                </c:pt>
                <c:pt idx="6029">
                  <c:v>309624</c:v>
                </c:pt>
                <c:pt idx="6030">
                  <c:v>309614</c:v>
                </c:pt>
                <c:pt idx="6031">
                  <c:v>309606</c:v>
                </c:pt>
                <c:pt idx="6032">
                  <c:v>309605</c:v>
                </c:pt>
                <c:pt idx="6033">
                  <c:v>309600</c:v>
                </c:pt>
                <c:pt idx="6034">
                  <c:v>309594</c:v>
                </c:pt>
                <c:pt idx="6035">
                  <c:v>309590</c:v>
                </c:pt>
                <c:pt idx="6036">
                  <c:v>309576</c:v>
                </c:pt>
                <c:pt idx="6037">
                  <c:v>309569</c:v>
                </c:pt>
                <c:pt idx="6038">
                  <c:v>309553</c:v>
                </c:pt>
                <c:pt idx="6039">
                  <c:v>309535</c:v>
                </c:pt>
                <c:pt idx="6040">
                  <c:v>309529</c:v>
                </c:pt>
                <c:pt idx="6041">
                  <c:v>309501</c:v>
                </c:pt>
                <c:pt idx="6042">
                  <c:v>309497</c:v>
                </c:pt>
                <c:pt idx="6043">
                  <c:v>309488</c:v>
                </c:pt>
                <c:pt idx="6044">
                  <c:v>309484</c:v>
                </c:pt>
                <c:pt idx="6045">
                  <c:v>309478</c:v>
                </c:pt>
                <c:pt idx="6046">
                  <c:v>309462</c:v>
                </c:pt>
                <c:pt idx="6047">
                  <c:v>309456</c:v>
                </c:pt>
                <c:pt idx="6048">
                  <c:v>309455</c:v>
                </c:pt>
                <c:pt idx="6049">
                  <c:v>309415</c:v>
                </c:pt>
                <c:pt idx="6050">
                  <c:v>309407</c:v>
                </c:pt>
                <c:pt idx="6051">
                  <c:v>309406</c:v>
                </c:pt>
                <c:pt idx="6052">
                  <c:v>309374</c:v>
                </c:pt>
                <c:pt idx="6053">
                  <c:v>309372</c:v>
                </c:pt>
                <c:pt idx="6054">
                  <c:v>309366</c:v>
                </c:pt>
                <c:pt idx="6055">
                  <c:v>309333</c:v>
                </c:pt>
                <c:pt idx="6056">
                  <c:v>309325</c:v>
                </c:pt>
                <c:pt idx="6057">
                  <c:v>309298</c:v>
                </c:pt>
                <c:pt idx="6058">
                  <c:v>309283</c:v>
                </c:pt>
                <c:pt idx="6059">
                  <c:v>309282</c:v>
                </c:pt>
                <c:pt idx="6060">
                  <c:v>309269</c:v>
                </c:pt>
                <c:pt idx="6061">
                  <c:v>309262</c:v>
                </c:pt>
                <c:pt idx="6062">
                  <c:v>309257</c:v>
                </c:pt>
                <c:pt idx="6063">
                  <c:v>309255</c:v>
                </c:pt>
                <c:pt idx="6064">
                  <c:v>309238</c:v>
                </c:pt>
                <c:pt idx="6065">
                  <c:v>309233</c:v>
                </c:pt>
                <c:pt idx="6066">
                  <c:v>309209</c:v>
                </c:pt>
                <c:pt idx="6067">
                  <c:v>309203</c:v>
                </c:pt>
                <c:pt idx="6068">
                  <c:v>309199</c:v>
                </c:pt>
                <c:pt idx="6069">
                  <c:v>309152</c:v>
                </c:pt>
                <c:pt idx="6070">
                  <c:v>309152</c:v>
                </c:pt>
                <c:pt idx="6071">
                  <c:v>309151</c:v>
                </c:pt>
                <c:pt idx="6072">
                  <c:v>309147</c:v>
                </c:pt>
                <c:pt idx="6073">
                  <c:v>309138</c:v>
                </c:pt>
                <c:pt idx="6074">
                  <c:v>309123</c:v>
                </c:pt>
                <c:pt idx="6075">
                  <c:v>309121</c:v>
                </c:pt>
                <c:pt idx="6076">
                  <c:v>309117</c:v>
                </c:pt>
                <c:pt idx="6077">
                  <c:v>309101</c:v>
                </c:pt>
                <c:pt idx="6078">
                  <c:v>309085</c:v>
                </c:pt>
                <c:pt idx="6079">
                  <c:v>309062</c:v>
                </c:pt>
                <c:pt idx="6080">
                  <c:v>309050</c:v>
                </c:pt>
                <c:pt idx="6081">
                  <c:v>309049</c:v>
                </c:pt>
                <c:pt idx="6082">
                  <c:v>309045</c:v>
                </c:pt>
                <c:pt idx="6083">
                  <c:v>309001</c:v>
                </c:pt>
                <c:pt idx="6084">
                  <c:v>309000</c:v>
                </c:pt>
                <c:pt idx="6085">
                  <c:v>308993</c:v>
                </c:pt>
                <c:pt idx="6086">
                  <c:v>308991</c:v>
                </c:pt>
                <c:pt idx="6087">
                  <c:v>308976</c:v>
                </c:pt>
                <c:pt idx="6088">
                  <c:v>308972</c:v>
                </c:pt>
                <c:pt idx="6089">
                  <c:v>308967</c:v>
                </c:pt>
                <c:pt idx="6090">
                  <c:v>308964</c:v>
                </c:pt>
                <c:pt idx="6091">
                  <c:v>308959</c:v>
                </c:pt>
                <c:pt idx="6092">
                  <c:v>308951</c:v>
                </c:pt>
                <c:pt idx="6093">
                  <c:v>308919</c:v>
                </c:pt>
                <c:pt idx="6094">
                  <c:v>308895</c:v>
                </c:pt>
                <c:pt idx="6095">
                  <c:v>308880</c:v>
                </c:pt>
                <c:pt idx="6096">
                  <c:v>308879</c:v>
                </c:pt>
                <c:pt idx="6097">
                  <c:v>308877</c:v>
                </c:pt>
                <c:pt idx="6098">
                  <c:v>308867</c:v>
                </c:pt>
                <c:pt idx="6099">
                  <c:v>308855</c:v>
                </c:pt>
                <c:pt idx="6100">
                  <c:v>308853</c:v>
                </c:pt>
                <c:pt idx="6101">
                  <c:v>308844</c:v>
                </c:pt>
                <c:pt idx="6102">
                  <c:v>308843</c:v>
                </c:pt>
                <c:pt idx="6103">
                  <c:v>308840</c:v>
                </c:pt>
                <c:pt idx="6104">
                  <c:v>308836</c:v>
                </c:pt>
                <c:pt idx="6105">
                  <c:v>308834</c:v>
                </c:pt>
                <c:pt idx="6106">
                  <c:v>308808</c:v>
                </c:pt>
                <c:pt idx="6107">
                  <c:v>308782</c:v>
                </c:pt>
                <c:pt idx="6108">
                  <c:v>308753</c:v>
                </c:pt>
                <c:pt idx="6109">
                  <c:v>308743</c:v>
                </c:pt>
                <c:pt idx="6110">
                  <c:v>308734</c:v>
                </c:pt>
                <c:pt idx="6111">
                  <c:v>308701</c:v>
                </c:pt>
                <c:pt idx="6112">
                  <c:v>308692</c:v>
                </c:pt>
                <c:pt idx="6113">
                  <c:v>308689</c:v>
                </c:pt>
                <c:pt idx="6114">
                  <c:v>308685</c:v>
                </c:pt>
                <c:pt idx="6115">
                  <c:v>308672</c:v>
                </c:pt>
                <c:pt idx="6116">
                  <c:v>308664</c:v>
                </c:pt>
                <c:pt idx="6117">
                  <c:v>308652</c:v>
                </c:pt>
                <c:pt idx="6118">
                  <c:v>308636</c:v>
                </c:pt>
                <c:pt idx="6119">
                  <c:v>308630</c:v>
                </c:pt>
                <c:pt idx="6120">
                  <c:v>308619</c:v>
                </c:pt>
                <c:pt idx="6121">
                  <c:v>308618</c:v>
                </c:pt>
                <c:pt idx="6122">
                  <c:v>308607</c:v>
                </c:pt>
                <c:pt idx="6123">
                  <c:v>308605</c:v>
                </c:pt>
                <c:pt idx="6124">
                  <c:v>308602</c:v>
                </c:pt>
                <c:pt idx="6125">
                  <c:v>308602</c:v>
                </c:pt>
                <c:pt idx="6126">
                  <c:v>308585</c:v>
                </c:pt>
                <c:pt idx="6127">
                  <c:v>308571</c:v>
                </c:pt>
                <c:pt idx="6128">
                  <c:v>308553</c:v>
                </c:pt>
                <c:pt idx="6129">
                  <c:v>308552</c:v>
                </c:pt>
                <c:pt idx="6130">
                  <c:v>308529</c:v>
                </c:pt>
                <c:pt idx="6131">
                  <c:v>308524</c:v>
                </c:pt>
                <c:pt idx="6132">
                  <c:v>308521</c:v>
                </c:pt>
                <c:pt idx="6133">
                  <c:v>308475</c:v>
                </c:pt>
                <c:pt idx="6134">
                  <c:v>308461</c:v>
                </c:pt>
                <c:pt idx="6135">
                  <c:v>308456</c:v>
                </c:pt>
                <c:pt idx="6136">
                  <c:v>308434</c:v>
                </c:pt>
                <c:pt idx="6137">
                  <c:v>308399</c:v>
                </c:pt>
                <c:pt idx="6138">
                  <c:v>308383</c:v>
                </c:pt>
                <c:pt idx="6139">
                  <c:v>308342</c:v>
                </c:pt>
                <c:pt idx="6140">
                  <c:v>308313</c:v>
                </c:pt>
                <c:pt idx="6141">
                  <c:v>308275</c:v>
                </c:pt>
                <c:pt idx="6142">
                  <c:v>308253</c:v>
                </c:pt>
                <c:pt idx="6143">
                  <c:v>308232</c:v>
                </c:pt>
                <c:pt idx="6144">
                  <c:v>308231</c:v>
                </c:pt>
                <c:pt idx="6145">
                  <c:v>308221</c:v>
                </c:pt>
                <c:pt idx="6146">
                  <c:v>308204</c:v>
                </c:pt>
                <c:pt idx="6147">
                  <c:v>308192</c:v>
                </c:pt>
                <c:pt idx="6148">
                  <c:v>308190</c:v>
                </c:pt>
                <c:pt idx="6149">
                  <c:v>308189</c:v>
                </c:pt>
                <c:pt idx="6150">
                  <c:v>308188</c:v>
                </c:pt>
                <c:pt idx="6151">
                  <c:v>308182</c:v>
                </c:pt>
                <c:pt idx="6152">
                  <c:v>308139</c:v>
                </c:pt>
                <c:pt idx="6153">
                  <c:v>308126</c:v>
                </c:pt>
                <c:pt idx="6154">
                  <c:v>308125</c:v>
                </c:pt>
                <c:pt idx="6155">
                  <c:v>308081</c:v>
                </c:pt>
                <c:pt idx="6156">
                  <c:v>308073</c:v>
                </c:pt>
                <c:pt idx="6157">
                  <c:v>308068</c:v>
                </c:pt>
                <c:pt idx="6158">
                  <c:v>308062</c:v>
                </c:pt>
                <c:pt idx="6159">
                  <c:v>308036</c:v>
                </c:pt>
                <c:pt idx="6160">
                  <c:v>308013</c:v>
                </c:pt>
                <c:pt idx="6161">
                  <c:v>308002</c:v>
                </c:pt>
                <c:pt idx="6162">
                  <c:v>307995</c:v>
                </c:pt>
                <c:pt idx="6163">
                  <c:v>307992</c:v>
                </c:pt>
                <c:pt idx="6164">
                  <c:v>307980</c:v>
                </c:pt>
                <c:pt idx="6165">
                  <c:v>307977</c:v>
                </c:pt>
                <c:pt idx="6166">
                  <c:v>307976</c:v>
                </c:pt>
                <c:pt idx="6167">
                  <c:v>307969</c:v>
                </c:pt>
                <c:pt idx="6168">
                  <c:v>307967</c:v>
                </c:pt>
                <c:pt idx="6169">
                  <c:v>307956</c:v>
                </c:pt>
                <c:pt idx="6170">
                  <c:v>307951</c:v>
                </c:pt>
                <c:pt idx="6171">
                  <c:v>307944</c:v>
                </c:pt>
                <c:pt idx="6172">
                  <c:v>307940</c:v>
                </c:pt>
                <c:pt idx="6173">
                  <c:v>307939</c:v>
                </c:pt>
                <c:pt idx="6174">
                  <c:v>307939</c:v>
                </c:pt>
                <c:pt idx="6175">
                  <c:v>307939</c:v>
                </c:pt>
                <c:pt idx="6176">
                  <c:v>307936</c:v>
                </c:pt>
                <c:pt idx="6177">
                  <c:v>307931</c:v>
                </c:pt>
                <c:pt idx="6178">
                  <c:v>307919</c:v>
                </c:pt>
                <c:pt idx="6179">
                  <c:v>307908</c:v>
                </c:pt>
                <c:pt idx="6180">
                  <c:v>307906</c:v>
                </c:pt>
                <c:pt idx="6181">
                  <c:v>307886</c:v>
                </c:pt>
                <c:pt idx="6182">
                  <c:v>307880</c:v>
                </c:pt>
                <c:pt idx="6183">
                  <c:v>307876</c:v>
                </c:pt>
                <c:pt idx="6184">
                  <c:v>307841</c:v>
                </c:pt>
                <c:pt idx="6185">
                  <c:v>307840</c:v>
                </c:pt>
                <c:pt idx="6186">
                  <c:v>307811</c:v>
                </c:pt>
                <c:pt idx="6187">
                  <c:v>307808</c:v>
                </c:pt>
                <c:pt idx="6188">
                  <c:v>307757</c:v>
                </c:pt>
                <c:pt idx="6189">
                  <c:v>307755</c:v>
                </c:pt>
                <c:pt idx="6190">
                  <c:v>307744</c:v>
                </c:pt>
                <c:pt idx="6191">
                  <c:v>307722</c:v>
                </c:pt>
                <c:pt idx="6192">
                  <c:v>307698</c:v>
                </c:pt>
                <c:pt idx="6193">
                  <c:v>307690</c:v>
                </c:pt>
                <c:pt idx="6194">
                  <c:v>307678</c:v>
                </c:pt>
                <c:pt idx="6195">
                  <c:v>307671</c:v>
                </c:pt>
                <c:pt idx="6196">
                  <c:v>307663</c:v>
                </c:pt>
                <c:pt idx="6197">
                  <c:v>307647</c:v>
                </c:pt>
                <c:pt idx="6198">
                  <c:v>307633</c:v>
                </c:pt>
                <c:pt idx="6199">
                  <c:v>307632</c:v>
                </c:pt>
                <c:pt idx="6200">
                  <c:v>307629</c:v>
                </c:pt>
                <c:pt idx="6201">
                  <c:v>307621</c:v>
                </c:pt>
                <c:pt idx="6202">
                  <c:v>307592</c:v>
                </c:pt>
                <c:pt idx="6203">
                  <c:v>307571</c:v>
                </c:pt>
                <c:pt idx="6204">
                  <c:v>307565</c:v>
                </c:pt>
                <c:pt idx="6205">
                  <c:v>307551</c:v>
                </c:pt>
                <c:pt idx="6206">
                  <c:v>307550</c:v>
                </c:pt>
                <c:pt idx="6207">
                  <c:v>307540</c:v>
                </c:pt>
                <c:pt idx="6208">
                  <c:v>307527</c:v>
                </c:pt>
                <c:pt idx="6209">
                  <c:v>307524</c:v>
                </c:pt>
                <c:pt idx="6210">
                  <c:v>307522</c:v>
                </c:pt>
                <c:pt idx="6211">
                  <c:v>307519</c:v>
                </c:pt>
                <c:pt idx="6212">
                  <c:v>307492</c:v>
                </c:pt>
                <c:pt idx="6213">
                  <c:v>307487</c:v>
                </c:pt>
                <c:pt idx="6214">
                  <c:v>307481</c:v>
                </c:pt>
                <c:pt idx="6215">
                  <c:v>307476</c:v>
                </c:pt>
                <c:pt idx="6216">
                  <c:v>307457</c:v>
                </c:pt>
                <c:pt idx="6217">
                  <c:v>307454</c:v>
                </c:pt>
                <c:pt idx="6218">
                  <c:v>307453</c:v>
                </c:pt>
                <c:pt idx="6219">
                  <c:v>307428</c:v>
                </c:pt>
                <c:pt idx="6220">
                  <c:v>307426</c:v>
                </c:pt>
                <c:pt idx="6221">
                  <c:v>307403</c:v>
                </c:pt>
                <c:pt idx="6222">
                  <c:v>307376</c:v>
                </c:pt>
                <c:pt idx="6223">
                  <c:v>307338</c:v>
                </c:pt>
                <c:pt idx="6224">
                  <c:v>307336</c:v>
                </c:pt>
                <c:pt idx="6225">
                  <c:v>307327</c:v>
                </c:pt>
                <c:pt idx="6226">
                  <c:v>307322</c:v>
                </c:pt>
                <c:pt idx="6227">
                  <c:v>307297</c:v>
                </c:pt>
                <c:pt idx="6228">
                  <c:v>307293</c:v>
                </c:pt>
                <c:pt idx="6229">
                  <c:v>307278</c:v>
                </c:pt>
                <c:pt idx="6230">
                  <c:v>307267</c:v>
                </c:pt>
                <c:pt idx="6231">
                  <c:v>307256</c:v>
                </c:pt>
                <c:pt idx="6232">
                  <c:v>307202</c:v>
                </c:pt>
                <c:pt idx="6233">
                  <c:v>307199</c:v>
                </c:pt>
                <c:pt idx="6234">
                  <c:v>307195</c:v>
                </c:pt>
                <c:pt idx="6235">
                  <c:v>307191</c:v>
                </c:pt>
                <c:pt idx="6236">
                  <c:v>307188</c:v>
                </c:pt>
                <c:pt idx="6237">
                  <c:v>307186</c:v>
                </c:pt>
                <c:pt idx="6238">
                  <c:v>307117</c:v>
                </c:pt>
                <c:pt idx="6239">
                  <c:v>307109</c:v>
                </c:pt>
                <c:pt idx="6240">
                  <c:v>307095</c:v>
                </c:pt>
                <c:pt idx="6241">
                  <c:v>307091</c:v>
                </c:pt>
                <c:pt idx="6242">
                  <c:v>307069</c:v>
                </c:pt>
                <c:pt idx="6243">
                  <c:v>307062</c:v>
                </c:pt>
                <c:pt idx="6244">
                  <c:v>307049</c:v>
                </c:pt>
                <c:pt idx="6245">
                  <c:v>307033</c:v>
                </c:pt>
                <c:pt idx="6246">
                  <c:v>307020</c:v>
                </c:pt>
                <c:pt idx="6247">
                  <c:v>307008</c:v>
                </c:pt>
                <c:pt idx="6248">
                  <c:v>307005</c:v>
                </c:pt>
                <c:pt idx="6249">
                  <c:v>306995</c:v>
                </c:pt>
                <c:pt idx="6250">
                  <c:v>306977</c:v>
                </c:pt>
                <c:pt idx="6251">
                  <c:v>306977</c:v>
                </c:pt>
                <c:pt idx="6252">
                  <c:v>306974</c:v>
                </c:pt>
                <c:pt idx="6253">
                  <c:v>306973</c:v>
                </c:pt>
                <c:pt idx="6254">
                  <c:v>306938</c:v>
                </c:pt>
                <c:pt idx="6255">
                  <c:v>306937</c:v>
                </c:pt>
                <c:pt idx="6256">
                  <c:v>306936</c:v>
                </c:pt>
                <c:pt idx="6257">
                  <c:v>306928</c:v>
                </c:pt>
                <c:pt idx="6258">
                  <c:v>306925</c:v>
                </c:pt>
                <c:pt idx="6259">
                  <c:v>306921</c:v>
                </c:pt>
                <c:pt idx="6260">
                  <c:v>306919</c:v>
                </c:pt>
                <c:pt idx="6261">
                  <c:v>306906</c:v>
                </c:pt>
                <c:pt idx="6262">
                  <c:v>306896</c:v>
                </c:pt>
                <c:pt idx="6263">
                  <c:v>306884</c:v>
                </c:pt>
                <c:pt idx="6264">
                  <c:v>306853</c:v>
                </c:pt>
                <c:pt idx="6265">
                  <c:v>306846</c:v>
                </c:pt>
                <c:pt idx="6266">
                  <c:v>306827</c:v>
                </c:pt>
                <c:pt idx="6267">
                  <c:v>306813</c:v>
                </c:pt>
                <c:pt idx="6268">
                  <c:v>306803</c:v>
                </c:pt>
                <c:pt idx="6269">
                  <c:v>306802</c:v>
                </c:pt>
                <c:pt idx="6270">
                  <c:v>306796</c:v>
                </c:pt>
                <c:pt idx="6271">
                  <c:v>306794</c:v>
                </c:pt>
                <c:pt idx="6272">
                  <c:v>306790</c:v>
                </c:pt>
                <c:pt idx="6273">
                  <c:v>306786</c:v>
                </c:pt>
                <c:pt idx="6274">
                  <c:v>306786</c:v>
                </c:pt>
                <c:pt idx="6275">
                  <c:v>306761</c:v>
                </c:pt>
                <c:pt idx="6276">
                  <c:v>306736</c:v>
                </c:pt>
                <c:pt idx="6277">
                  <c:v>306733</c:v>
                </c:pt>
                <c:pt idx="6278">
                  <c:v>306723</c:v>
                </c:pt>
                <c:pt idx="6279">
                  <c:v>306716</c:v>
                </c:pt>
                <c:pt idx="6280">
                  <c:v>306707</c:v>
                </c:pt>
                <c:pt idx="6281">
                  <c:v>306697</c:v>
                </c:pt>
                <c:pt idx="6282">
                  <c:v>306682</c:v>
                </c:pt>
                <c:pt idx="6283">
                  <c:v>306671</c:v>
                </c:pt>
                <c:pt idx="6284">
                  <c:v>306649</c:v>
                </c:pt>
                <c:pt idx="6285">
                  <c:v>306639</c:v>
                </c:pt>
                <c:pt idx="6286">
                  <c:v>306638</c:v>
                </c:pt>
                <c:pt idx="6287">
                  <c:v>306613</c:v>
                </c:pt>
                <c:pt idx="6288">
                  <c:v>306608</c:v>
                </c:pt>
                <c:pt idx="6289">
                  <c:v>306591</c:v>
                </c:pt>
                <c:pt idx="6290">
                  <c:v>306575</c:v>
                </c:pt>
                <c:pt idx="6291">
                  <c:v>306574</c:v>
                </c:pt>
                <c:pt idx="6292">
                  <c:v>306574</c:v>
                </c:pt>
                <c:pt idx="6293">
                  <c:v>306574</c:v>
                </c:pt>
                <c:pt idx="6294">
                  <c:v>306569</c:v>
                </c:pt>
                <c:pt idx="6295">
                  <c:v>306568</c:v>
                </c:pt>
                <c:pt idx="6296">
                  <c:v>306567</c:v>
                </c:pt>
                <c:pt idx="6297">
                  <c:v>306558</c:v>
                </c:pt>
                <c:pt idx="6298">
                  <c:v>306557</c:v>
                </c:pt>
                <c:pt idx="6299">
                  <c:v>306525</c:v>
                </c:pt>
                <c:pt idx="6300">
                  <c:v>306524</c:v>
                </c:pt>
                <c:pt idx="6301">
                  <c:v>306515</c:v>
                </c:pt>
                <c:pt idx="6302">
                  <c:v>306506</c:v>
                </c:pt>
                <c:pt idx="6303">
                  <c:v>306478</c:v>
                </c:pt>
                <c:pt idx="6304">
                  <c:v>306478</c:v>
                </c:pt>
                <c:pt idx="6305">
                  <c:v>306439</c:v>
                </c:pt>
                <c:pt idx="6306">
                  <c:v>306398</c:v>
                </c:pt>
                <c:pt idx="6307">
                  <c:v>306394</c:v>
                </c:pt>
                <c:pt idx="6308">
                  <c:v>306390</c:v>
                </c:pt>
                <c:pt idx="6309">
                  <c:v>306379</c:v>
                </c:pt>
                <c:pt idx="6310">
                  <c:v>306369</c:v>
                </c:pt>
                <c:pt idx="6311">
                  <c:v>306368</c:v>
                </c:pt>
                <c:pt idx="6312">
                  <c:v>306367</c:v>
                </c:pt>
                <c:pt idx="6313">
                  <c:v>306354</c:v>
                </c:pt>
                <c:pt idx="6314">
                  <c:v>306342</c:v>
                </c:pt>
                <c:pt idx="6315">
                  <c:v>306330</c:v>
                </c:pt>
                <c:pt idx="6316">
                  <c:v>306306</c:v>
                </c:pt>
                <c:pt idx="6317">
                  <c:v>306301</c:v>
                </c:pt>
                <c:pt idx="6318">
                  <c:v>306277</c:v>
                </c:pt>
                <c:pt idx="6319">
                  <c:v>306258</c:v>
                </c:pt>
                <c:pt idx="6320">
                  <c:v>306255</c:v>
                </c:pt>
                <c:pt idx="6321">
                  <c:v>306254</c:v>
                </c:pt>
                <c:pt idx="6322">
                  <c:v>306253</c:v>
                </c:pt>
                <c:pt idx="6323">
                  <c:v>306245</c:v>
                </c:pt>
                <c:pt idx="6324">
                  <c:v>306245</c:v>
                </c:pt>
                <c:pt idx="6325">
                  <c:v>306243</c:v>
                </c:pt>
                <c:pt idx="6326">
                  <c:v>306239</c:v>
                </c:pt>
                <c:pt idx="6327">
                  <c:v>306229</c:v>
                </c:pt>
                <c:pt idx="6328">
                  <c:v>306223</c:v>
                </c:pt>
                <c:pt idx="6329">
                  <c:v>306204</c:v>
                </c:pt>
                <c:pt idx="6330">
                  <c:v>306202</c:v>
                </c:pt>
                <c:pt idx="6331">
                  <c:v>306185</c:v>
                </c:pt>
                <c:pt idx="6332">
                  <c:v>306179</c:v>
                </c:pt>
                <c:pt idx="6333">
                  <c:v>306151</c:v>
                </c:pt>
                <c:pt idx="6334">
                  <c:v>306128</c:v>
                </c:pt>
                <c:pt idx="6335">
                  <c:v>306106</c:v>
                </c:pt>
                <c:pt idx="6336">
                  <c:v>306105</c:v>
                </c:pt>
                <c:pt idx="6337">
                  <c:v>306096</c:v>
                </c:pt>
                <c:pt idx="6338">
                  <c:v>306093</c:v>
                </c:pt>
                <c:pt idx="6339">
                  <c:v>306075</c:v>
                </c:pt>
                <c:pt idx="6340">
                  <c:v>306057</c:v>
                </c:pt>
                <c:pt idx="6341">
                  <c:v>306032</c:v>
                </c:pt>
                <c:pt idx="6342">
                  <c:v>306023</c:v>
                </c:pt>
                <c:pt idx="6343">
                  <c:v>306007</c:v>
                </c:pt>
                <c:pt idx="6344">
                  <c:v>305994</c:v>
                </c:pt>
                <c:pt idx="6345">
                  <c:v>305987</c:v>
                </c:pt>
                <c:pt idx="6346">
                  <c:v>305976</c:v>
                </c:pt>
                <c:pt idx="6347">
                  <c:v>305975</c:v>
                </c:pt>
                <c:pt idx="6348">
                  <c:v>305961</c:v>
                </c:pt>
                <c:pt idx="6349">
                  <c:v>305958</c:v>
                </c:pt>
                <c:pt idx="6350">
                  <c:v>305938</c:v>
                </c:pt>
                <c:pt idx="6351">
                  <c:v>305938</c:v>
                </c:pt>
                <c:pt idx="6352">
                  <c:v>305930</c:v>
                </c:pt>
                <c:pt idx="6353">
                  <c:v>305922</c:v>
                </c:pt>
                <c:pt idx="6354">
                  <c:v>305910</c:v>
                </c:pt>
                <c:pt idx="6355">
                  <c:v>305887</c:v>
                </c:pt>
                <c:pt idx="6356">
                  <c:v>305880</c:v>
                </c:pt>
                <c:pt idx="6357">
                  <c:v>305863</c:v>
                </c:pt>
                <c:pt idx="6358">
                  <c:v>305836</c:v>
                </c:pt>
                <c:pt idx="6359">
                  <c:v>305832</c:v>
                </c:pt>
                <c:pt idx="6360">
                  <c:v>305830</c:v>
                </c:pt>
                <c:pt idx="6361">
                  <c:v>305829</c:v>
                </c:pt>
                <c:pt idx="6362">
                  <c:v>305823</c:v>
                </c:pt>
                <c:pt idx="6363">
                  <c:v>305802</c:v>
                </c:pt>
                <c:pt idx="6364">
                  <c:v>305798</c:v>
                </c:pt>
                <c:pt idx="6365">
                  <c:v>305798</c:v>
                </c:pt>
                <c:pt idx="6366">
                  <c:v>305797</c:v>
                </c:pt>
                <c:pt idx="6367">
                  <c:v>305789</c:v>
                </c:pt>
                <c:pt idx="6368">
                  <c:v>305789</c:v>
                </c:pt>
                <c:pt idx="6369">
                  <c:v>305772</c:v>
                </c:pt>
                <c:pt idx="6370">
                  <c:v>305761</c:v>
                </c:pt>
                <c:pt idx="6371">
                  <c:v>305693</c:v>
                </c:pt>
                <c:pt idx="6372">
                  <c:v>305663</c:v>
                </c:pt>
                <c:pt idx="6373">
                  <c:v>305652</c:v>
                </c:pt>
                <c:pt idx="6374">
                  <c:v>305641</c:v>
                </c:pt>
                <c:pt idx="6375">
                  <c:v>305635</c:v>
                </c:pt>
                <c:pt idx="6376">
                  <c:v>305630</c:v>
                </c:pt>
                <c:pt idx="6377">
                  <c:v>305627</c:v>
                </c:pt>
                <c:pt idx="6378">
                  <c:v>305625</c:v>
                </c:pt>
                <c:pt idx="6379">
                  <c:v>305613</c:v>
                </c:pt>
                <c:pt idx="6380">
                  <c:v>305613</c:v>
                </c:pt>
                <c:pt idx="6381">
                  <c:v>305564</c:v>
                </c:pt>
                <c:pt idx="6382">
                  <c:v>305561</c:v>
                </c:pt>
                <c:pt idx="6383">
                  <c:v>305557</c:v>
                </c:pt>
                <c:pt idx="6384">
                  <c:v>305486</c:v>
                </c:pt>
                <c:pt idx="6385">
                  <c:v>305484</c:v>
                </c:pt>
                <c:pt idx="6386">
                  <c:v>305479</c:v>
                </c:pt>
                <c:pt idx="6387">
                  <c:v>305467</c:v>
                </c:pt>
                <c:pt idx="6388">
                  <c:v>305456</c:v>
                </c:pt>
                <c:pt idx="6389">
                  <c:v>305456</c:v>
                </c:pt>
                <c:pt idx="6390">
                  <c:v>305438</c:v>
                </c:pt>
                <c:pt idx="6391">
                  <c:v>305432</c:v>
                </c:pt>
                <c:pt idx="6392">
                  <c:v>305427</c:v>
                </c:pt>
                <c:pt idx="6393">
                  <c:v>305420</c:v>
                </c:pt>
                <c:pt idx="6394">
                  <c:v>305417</c:v>
                </c:pt>
                <c:pt idx="6395">
                  <c:v>305382</c:v>
                </c:pt>
                <c:pt idx="6396">
                  <c:v>305372</c:v>
                </c:pt>
                <c:pt idx="6397">
                  <c:v>305370</c:v>
                </c:pt>
                <c:pt idx="6398">
                  <c:v>305369</c:v>
                </c:pt>
                <c:pt idx="6399">
                  <c:v>305364</c:v>
                </c:pt>
                <c:pt idx="6400">
                  <c:v>305344</c:v>
                </c:pt>
                <c:pt idx="6401">
                  <c:v>305330</c:v>
                </c:pt>
                <c:pt idx="6402">
                  <c:v>305324</c:v>
                </c:pt>
                <c:pt idx="6403">
                  <c:v>305317</c:v>
                </c:pt>
                <c:pt idx="6404">
                  <c:v>305293</c:v>
                </c:pt>
                <c:pt idx="6405">
                  <c:v>305288</c:v>
                </c:pt>
                <c:pt idx="6406">
                  <c:v>305281</c:v>
                </c:pt>
                <c:pt idx="6407">
                  <c:v>305278</c:v>
                </c:pt>
                <c:pt idx="6408">
                  <c:v>305270</c:v>
                </c:pt>
                <c:pt idx="6409">
                  <c:v>305266</c:v>
                </c:pt>
                <c:pt idx="6410">
                  <c:v>305238</c:v>
                </c:pt>
                <c:pt idx="6411">
                  <c:v>305224</c:v>
                </c:pt>
                <c:pt idx="6412">
                  <c:v>305169</c:v>
                </c:pt>
                <c:pt idx="6413">
                  <c:v>305149</c:v>
                </c:pt>
                <c:pt idx="6414">
                  <c:v>305149</c:v>
                </c:pt>
                <c:pt idx="6415">
                  <c:v>305136</c:v>
                </c:pt>
                <c:pt idx="6416">
                  <c:v>305129</c:v>
                </c:pt>
                <c:pt idx="6417">
                  <c:v>305128</c:v>
                </c:pt>
                <c:pt idx="6418">
                  <c:v>305105</c:v>
                </c:pt>
                <c:pt idx="6419">
                  <c:v>305081</c:v>
                </c:pt>
                <c:pt idx="6420">
                  <c:v>305081</c:v>
                </c:pt>
                <c:pt idx="6421">
                  <c:v>305079</c:v>
                </c:pt>
                <c:pt idx="6422">
                  <c:v>305067</c:v>
                </c:pt>
                <c:pt idx="6423">
                  <c:v>305065</c:v>
                </c:pt>
                <c:pt idx="6424">
                  <c:v>305063</c:v>
                </c:pt>
                <c:pt idx="6425">
                  <c:v>305051</c:v>
                </c:pt>
                <c:pt idx="6426">
                  <c:v>305046</c:v>
                </c:pt>
                <c:pt idx="6427">
                  <c:v>305017</c:v>
                </c:pt>
                <c:pt idx="6428">
                  <c:v>305004</c:v>
                </c:pt>
                <c:pt idx="6429">
                  <c:v>304996</c:v>
                </c:pt>
                <c:pt idx="6430">
                  <c:v>304961</c:v>
                </c:pt>
                <c:pt idx="6431">
                  <c:v>304953</c:v>
                </c:pt>
                <c:pt idx="6432">
                  <c:v>304940</c:v>
                </c:pt>
                <c:pt idx="6433">
                  <c:v>304930</c:v>
                </c:pt>
                <c:pt idx="6434">
                  <c:v>304929</c:v>
                </c:pt>
                <c:pt idx="6435">
                  <c:v>304922</c:v>
                </c:pt>
                <c:pt idx="6436">
                  <c:v>304875</c:v>
                </c:pt>
                <c:pt idx="6437">
                  <c:v>304866</c:v>
                </c:pt>
                <c:pt idx="6438">
                  <c:v>304862</c:v>
                </c:pt>
                <c:pt idx="6439">
                  <c:v>304857</c:v>
                </c:pt>
                <c:pt idx="6440">
                  <c:v>304856</c:v>
                </c:pt>
                <c:pt idx="6441">
                  <c:v>304801</c:v>
                </c:pt>
                <c:pt idx="6442">
                  <c:v>304792</c:v>
                </c:pt>
                <c:pt idx="6443">
                  <c:v>304774</c:v>
                </c:pt>
                <c:pt idx="6444">
                  <c:v>304757</c:v>
                </c:pt>
                <c:pt idx="6445">
                  <c:v>304750</c:v>
                </c:pt>
                <c:pt idx="6446">
                  <c:v>304735</c:v>
                </c:pt>
                <c:pt idx="6447">
                  <c:v>304730</c:v>
                </c:pt>
                <c:pt idx="6448">
                  <c:v>304721</c:v>
                </c:pt>
                <c:pt idx="6449">
                  <c:v>304718</c:v>
                </c:pt>
                <c:pt idx="6450">
                  <c:v>304695</c:v>
                </c:pt>
                <c:pt idx="6451">
                  <c:v>304683</c:v>
                </c:pt>
                <c:pt idx="6452">
                  <c:v>304671</c:v>
                </c:pt>
                <c:pt idx="6453">
                  <c:v>304665</c:v>
                </c:pt>
                <c:pt idx="6454">
                  <c:v>304647</c:v>
                </c:pt>
                <c:pt idx="6455">
                  <c:v>304638</c:v>
                </c:pt>
                <c:pt idx="6456">
                  <c:v>304630</c:v>
                </c:pt>
                <c:pt idx="6457">
                  <c:v>304624</c:v>
                </c:pt>
                <c:pt idx="6458">
                  <c:v>304600</c:v>
                </c:pt>
                <c:pt idx="6459">
                  <c:v>304586</c:v>
                </c:pt>
                <c:pt idx="6460">
                  <c:v>304564</c:v>
                </c:pt>
                <c:pt idx="6461">
                  <c:v>304564</c:v>
                </c:pt>
                <c:pt idx="6462">
                  <c:v>304552</c:v>
                </c:pt>
                <c:pt idx="6463">
                  <c:v>304535</c:v>
                </c:pt>
                <c:pt idx="6464">
                  <c:v>304512</c:v>
                </c:pt>
                <c:pt idx="6465">
                  <c:v>304502</c:v>
                </c:pt>
                <c:pt idx="6466">
                  <c:v>304490</c:v>
                </c:pt>
                <c:pt idx="6467">
                  <c:v>304476</c:v>
                </c:pt>
                <c:pt idx="6468">
                  <c:v>304475</c:v>
                </c:pt>
                <c:pt idx="6469">
                  <c:v>304465</c:v>
                </c:pt>
                <c:pt idx="6470">
                  <c:v>304434</c:v>
                </c:pt>
                <c:pt idx="6471">
                  <c:v>304429</c:v>
                </c:pt>
                <c:pt idx="6472">
                  <c:v>304429</c:v>
                </c:pt>
                <c:pt idx="6473">
                  <c:v>304416</c:v>
                </c:pt>
                <c:pt idx="6474">
                  <c:v>304392</c:v>
                </c:pt>
                <c:pt idx="6475">
                  <c:v>304374</c:v>
                </c:pt>
                <c:pt idx="6476">
                  <c:v>304372</c:v>
                </c:pt>
                <c:pt idx="6477">
                  <c:v>304356</c:v>
                </c:pt>
                <c:pt idx="6478">
                  <c:v>304351</c:v>
                </c:pt>
                <c:pt idx="6479">
                  <c:v>304346</c:v>
                </c:pt>
                <c:pt idx="6480">
                  <c:v>304344</c:v>
                </c:pt>
                <c:pt idx="6481">
                  <c:v>304342</c:v>
                </c:pt>
                <c:pt idx="6482">
                  <c:v>304339</c:v>
                </c:pt>
                <c:pt idx="6483">
                  <c:v>304337</c:v>
                </c:pt>
                <c:pt idx="6484">
                  <c:v>304337</c:v>
                </c:pt>
                <c:pt idx="6485">
                  <c:v>304253</c:v>
                </c:pt>
                <c:pt idx="6486">
                  <c:v>304247</c:v>
                </c:pt>
                <c:pt idx="6487">
                  <c:v>304245</c:v>
                </c:pt>
                <c:pt idx="6488">
                  <c:v>304239</c:v>
                </c:pt>
                <c:pt idx="6489">
                  <c:v>304233</c:v>
                </c:pt>
                <c:pt idx="6490">
                  <c:v>304226</c:v>
                </c:pt>
                <c:pt idx="6491">
                  <c:v>304222</c:v>
                </c:pt>
                <c:pt idx="6492">
                  <c:v>304218</c:v>
                </c:pt>
                <c:pt idx="6493">
                  <c:v>304211</c:v>
                </c:pt>
                <c:pt idx="6494">
                  <c:v>304204</c:v>
                </c:pt>
                <c:pt idx="6495">
                  <c:v>304199</c:v>
                </c:pt>
                <c:pt idx="6496">
                  <c:v>304194</c:v>
                </c:pt>
                <c:pt idx="6497">
                  <c:v>304163</c:v>
                </c:pt>
                <c:pt idx="6498">
                  <c:v>304150</c:v>
                </c:pt>
                <c:pt idx="6499">
                  <c:v>304137</c:v>
                </c:pt>
                <c:pt idx="6500">
                  <c:v>304117</c:v>
                </c:pt>
                <c:pt idx="6501">
                  <c:v>304115</c:v>
                </c:pt>
                <c:pt idx="6502">
                  <c:v>304094</c:v>
                </c:pt>
                <c:pt idx="6503">
                  <c:v>304072</c:v>
                </c:pt>
                <c:pt idx="6504">
                  <c:v>304069</c:v>
                </c:pt>
                <c:pt idx="6505">
                  <c:v>304061</c:v>
                </c:pt>
                <c:pt idx="6506">
                  <c:v>304048</c:v>
                </c:pt>
                <c:pt idx="6507">
                  <c:v>304046</c:v>
                </c:pt>
                <c:pt idx="6508">
                  <c:v>304029</c:v>
                </c:pt>
                <c:pt idx="6509">
                  <c:v>304029</c:v>
                </c:pt>
                <c:pt idx="6510">
                  <c:v>304020</c:v>
                </c:pt>
                <c:pt idx="6511">
                  <c:v>304017</c:v>
                </c:pt>
                <c:pt idx="6512">
                  <c:v>304014</c:v>
                </c:pt>
                <c:pt idx="6513">
                  <c:v>304012</c:v>
                </c:pt>
                <c:pt idx="6514">
                  <c:v>304011</c:v>
                </c:pt>
                <c:pt idx="6515">
                  <c:v>304005</c:v>
                </c:pt>
                <c:pt idx="6516">
                  <c:v>304002</c:v>
                </c:pt>
                <c:pt idx="6517">
                  <c:v>303950</c:v>
                </c:pt>
                <c:pt idx="6518">
                  <c:v>303941</c:v>
                </c:pt>
                <c:pt idx="6519">
                  <c:v>303940</c:v>
                </c:pt>
                <c:pt idx="6520">
                  <c:v>303923</c:v>
                </c:pt>
                <c:pt idx="6521">
                  <c:v>303918</c:v>
                </c:pt>
                <c:pt idx="6522">
                  <c:v>303917</c:v>
                </c:pt>
                <c:pt idx="6523">
                  <c:v>303916</c:v>
                </c:pt>
                <c:pt idx="6524">
                  <c:v>303909</c:v>
                </c:pt>
                <c:pt idx="6525">
                  <c:v>303906</c:v>
                </c:pt>
                <c:pt idx="6526">
                  <c:v>303901</c:v>
                </c:pt>
                <c:pt idx="6527">
                  <c:v>303882</c:v>
                </c:pt>
                <c:pt idx="6528">
                  <c:v>303869</c:v>
                </c:pt>
                <c:pt idx="6529">
                  <c:v>303869</c:v>
                </c:pt>
                <c:pt idx="6530">
                  <c:v>303851</c:v>
                </c:pt>
                <c:pt idx="6531">
                  <c:v>303820</c:v>
                </c:pt>
                <c:pt idx="6532">
                  <c:v>303816</c:v>
                </c:pt>
                <c:pt idx="6533">
                  <c:v>303761</c:v>
                </c:pt>
                <c:pt idx="6534">
                  <c:v>303748</c:v>
                </c:pt>
                <c:pt idx="6535">
                  <c:v>303747</c:v>
                </c:pt>
                <c:pt idx="6536">
                  <c:v>303727</c:v>
                </c:pt>
                <c:pt idx="6537">
                  <c:v>303723</c:v>
                </c:pt>
                <c:pt idx="6538">
                  <c:v>303712</c:v>
                </c:pt>
                <c:pt idx="6539">
                  <c:v>303706</c:v>
                </c:pt>
                <c:pt idx="6540">
                  <c:v>303706</c:v>
                </c:pt>
                <c:pt idx="6541">
                  <c:v>303687</c:v>
                </c:pt>
                <c:pt idx="6542">
                  <c:v>303672</c:v>
                </c:pt>
                <c:pt idx="6543">
                  <c:v>303663</c:v>
                </c:pt>
                <c:pt idx="6544">
                  <c:v>303648</c:v>
                </c:pt>
                <c:pt idx="6545">
                  <c:v>303634</c:v>
                </c:pt>
                <c:pt idx="6546">
                  <c:v>303628</c:v>
                </c:pt>
                <c:pt idx="6547">
                  <c:v>303617</c:v>
                </c:pt>
                <c:pt idx="6548">
                  <c:v>303602</c:v>
                </c:pt>
                <c:pt idx="6549">
                  <c:v>303597</c:v>
                </c:pt>
                <c:pt idx="6550">
                  <c:v>303582</c:v>
                </c:pt>
                <c:pt idx="6551">
                  <c:v>303574</c:v>
                </c:pt>
                <c:pt idx="6552">
                  <c:v>303564</c:v>
                </c:pt>
                <c:pt idx="6553">
                  <c:v>303561</c:v>
                </c:pt>
                <c:pt idx="6554">
                  <c:v>303556</c:v>
                </c:pt>
                <c:pt idx="6555">
                  <c:v>303542</c:v>
                </c:pt>
                <c:pt idx="6556">
                  <c:v>303528</c:v>
                </c:pt>
                <c:pt idx="6557">
                  <c:v>303524</c:v>
                </c:pt>
                <c:pt idx="6558">
                  <c:v>303524</c:v>
                </c:pt>
                <c:pt idx="6559">
                  <c:v>303523</c:v>
                </c:pt>
                <c:pt idx="6560">
                  <c:v>303513</c:v>
                </c:pt>
                <c:pt idx="6561">
                  <c:v>303495</c:v>
                </c:pt>
                <c:pt idx="6562">
                  <c:v>303490</c:v>
                </c:pt>
                <c:pt idx="6563">
                  <c:v>303483</c:v>
                </c:pt>
                <c:pt idx="6564">
                  <c:v>303474</c:v>
                </c:pt>
                <c:pt idx="6565">
                  <c:v>303474</c:v>
                </c:pt>
                <c:pt idx="6566">
                  <c:v>303413</c:v>
                </c:pt>
                <c:pt idx="6567">
                  <c:v>303380</c:v>
                </c:pt>
                <c:pt idx="6568">
                  <c:v>303359</c:v>
                </c:pt>
                <c:pt idx="6569">
                  <c:v>303350</c:v>
                </c:pt>
                <c:pt idx="6570">
                  <c:v>303349</c:v>
                </c:pt>
                <c:pt idx="6571">
                  <c:v>303347</c:v>
                </c:pt>
                <c:pt idx="6572">
                  <c:v>303342</c:v>
                </c:pt>
                <c:pt idx="6573">
                  <c:v>303324</c:v>
                </c:pt>
                <c:pt idx="6574">
                  <c:v>303307</c:v>
                </c:pt>
                <c:pt idx="6575">
                  <c:v>303306</c:v>
                </c:pt>
                <c:pt idx="6576">
                  <c:v>303297</c:v>
                </c:pt>
                <c:pt idx="6577">
                  <c:v>303295</c:v>
                </c:pt>
                <c:pt idx="6578">
                  <c:v>303267</c:v>
                </c:pt>
                <c:pt idx="6579">
                  <c:v>303261</c:v>
                </c:pt>
                <c:pt idx="6580">
                  <c:v>303253</c:v>
                </c:pt>
                <c:pt idx="6581">
                  <c:v>303249</c:v>
                </c:pt>
                <c:pt idx="6582">
                  <c:v>303239</c:v>
                </c:pt>
                <c:pt idx="6583">
                  <c:v>303223</c:v>
                </c:pt>
                <c:pt idx="6584">
                  <c:v>303194</c:v>
                </c:pt>
                <c:pt idx="6585">
                  <c:v>303190</c:v>
                </c:pt>
                <c:pt idx="6586">
                  <c:v>303177</c:v>
                </c:pt>
                <c:pt idx="6587">
                  <c:v>303176</c:v>
                </c:pt>
                <c:pt idx="6588">
                  <c:v>303142</c:v>
                </c:pt>
                <c:pt idx="6589">
                  <c:v>303141</c:v>
                </c:pt>
                <c:pt idx="6590">
                  <c:v>303135</c:v>
                </c:pt>
                <c:pt idx="6591">
                  <c:v>303128</c:v>
                </c:pt>
                <c:pt idx="6592">
                  <c:v>303125</c:v>
                </c:pt>
                <c:pt idx="6593">
                  <c:v>303108</c:v>
                </c:pt>
                <c:pt idx="6594">
                  <c:v>303094</c:v>
                </c:pt>
                <c:pt idx="6595">
                  <c:v>303081</c:v>
                </c:pt>
                <c:pt idx="6596">
                  <c:v>303070</c:v>
                </c:pt>
                <c:pt idx="6597">
                  <c:v>303059</c:v>
                </c:pt>
                <c:pt idx="6598">
                  <c:v>303032</c:v>
                </c:pt>
                <c:pt idx="6599">
                  <c:v>303020</c:v>
                </c:pt>
                <c:pt idx="6600">
                  <c:v>303008</c:v>
                </c:pt>
                <c:pt idx="6601">
                  <c:v>302999</c:v>
                </c:pt>
                <c:pt idx="6602">
                  <c:v>302972</c:v>
                </c:pt>
                <c:pt idx="6603">
                  <c:v>302962</c:v>
                </c:pt>
                <c:pt idx="6604">
                  <c:v>302961</c:v>
                </c:pt>
                <c:pt idx="6605">
                  <c:v>302957</c:v>
                </c:pt>
                <c:pt idx="6606">
                  <c:v>302949</c:v>
                </c:pt>
                <c:pt idx="6607">
                  <c:v>302924</c:v>
                </c:pt>
                <c:pt idx="6608">
                  <c:v>302899</c:v>
                </c:pt>
                <c:pt idx="6609">
                  <c:v>302895</c:v>
                </c:pt>
                <c:pt idx="6610">
                  <c:v>302893</c:v>
                </c:pt>
                <c:pt idx="6611">
                  <c:v>302864</c:v>
                </c:pt>
                <c:pt idx="6612">
                  <c:v>302856</c:v>
                </c:pt>
                <c:pt idx="6613">
                  <c:v>302818</c:v>
                </c:pt>
                <c:pt idx="6614">
                  <c:v>302813</c:v>
                </c:pt>
                <c:pt idx="6615">
                  <c:v>302808</c:v>
                </c:pt>
                <c:pt idx="6616">
                  <c:v>302802</c:v>
                </c:pt>
                <c:pt idx="6617">
                  <c:v>302784</c:v>
                </c:pt>
                <c:pt idx="6618">
                  <c:v>302764</c:v>
                </c:pt>
                <c:pt idx="6619">
                  <c:v>302757</c:v>
                </c:pt>
                <c:pt idx="6620">
                  <c:v>302737</c:v>
                </c:pt>
                <c:pt idx="6621">
                  <c:v>302735</c:v>
                </c:pt>
                <c:pt idx="6622">
                  <c:v>302718</c:v>
                </c:pt>
                <c:pt idx="6623">
                  <c:v>302711</c:v>
                </c:pt>
                <c:pt idx="6624">
                  <c:v>302703</c:v>
                </c:pt>
                <c:pt idx="6625">
                  <c:v>302677</c:v>
                </c:pt>
                <c:pt idx="6626">
                  <c:v>302667</c:v>
                </c:pt>
                <c:pt idx="6627">
                  <c:v>302651</c:v>
                </c:pt>
                <c:pt idx="6628">
                  <c:v>302644</c:v>
                </c:pt>
                <c:pt idx="6629">
                  <c:v>302644</c:v>
                </c:pt>
                <c:pt idx="6630">
                  <c:v>302630</c:v>
                </c:pt>
                <c:pt idx="6631">
                  <c:v>302618</c:v>
                </c:pt>
                <c:pt idx="6632">
                  <c:v>302607</c:v>
                </c:pt>
                <c:pt idx="6633">
                  <c:v>302592</c:v>
                </c:pt>
                <c:pt idx="6634">
                  <c:v>302590</c:v>
                </c:pt>
                <c:pt idx="6635">
                  <c:v>302582</c:v>
                </c:pt>
                <c:pt idx="6636">
                  <c:v>302552</c:v>
                </c:pt>
                <c:pt idx="6637">
                  <c:v>302551</c:v>
                </c:pt>
                <c:pt idx="6638">
                  <c:v>302528</c:v>
                </c:pt>
                <c:pt idx="6639">
                  <c:v>302526</c:v>
                </c:pt>
                <c:pt idx="6640">
                  <c:v>302510</c:v>
                </c:pt>
                <c:pt idx="6641">
                  <c:v>302495</c:v>
                </c:pt>
                <c:pt idx="6642">
                  <c:v>302486</c:v>
                </c:pt>
                <c:pt idx="6643">
                  <c:v>302484</c:v>
                </c:pt>
                <c:pt idx="6644">
                  <c:v>302479</c:v>
                </c:pt>
                <c:pt idx="6645">
                  <c:v>302476</c:v>
                </c:pt>
                <c:pt idx="6646">
                  <c:v>302474</c:v>
                </c:pt>
                <c:pt idx="6647">
                  <c:v>302467</c:v>
                </c:pt>
                <c:pt idx="6648">
                  <c:v>302438</c:v>
                </c:pt>
                <c:pt idx="6649">
                  <c:v>302410</c:v>
                </c:pt>
                <c:pt idx="6650">
                  <c:v>302406</c:v>
                </c:pt>
                <c:pt idx="6651">
                  <c:v>302379</c:v>
                </c:pt>
                <c:pt idx="6652">
                  <c:v>302364</c:v>
                </c:pt>
                <c:pt idx="6653">
                  <c:v>302362</c:v>
                </c:pt>
                <c:pt idx="6654">
                  <c:v>302361</c:v>
                </c:pt>
                <c:pt idx="6655">
                  <c:v>302355</c:v>
                </c:pt>
                <c:pt idx="6656">
                  <c:v>302303</c:v>
                </c:pt>
                <c:pt idx="6657">
                  <c:v>302303</c:v>
                </c:pt>
                <c:pt idx="6658">
                  <c:v>302299</c:v>
                </c:pt>
                <c:pt idx="6659">
                  <c:v>302294</c:v>
                </c:pt>
                <c:pt idx="6660">
                  <c:v>302287</c:v>
                </c:pt>
                <c:pt idx="6661">
                  <c:v>302286</c:v>
                </c:pt>
                <c:pt idx="6662">
                  <c:v>302273</c:v>
                </c:pt>
                <c:pt idx="6663">
                  <c:v>302271</c:v>
                </c:pt>
                <c:pt idx="6664">
                  <c:v>302269</c:v>
                </c:pt>
                <c:pt idx="6665">
                  <c:v>302262</c:v>
                </c:pt>
                <c:pt idx="6666">
                  <c:v>302260</c:v>
                </c:pt>
                <c:pt idx="6667">
                  <c:v>302198</c:v>
                </c:pt>
                <c:pt idx="6668">
                  <c:v>302190</c:v>
                </c:pt>
                <c:pt idx="6669">
                  <c:v>302187</c:v>
                </c:pt>
                <c:pt idx="6670">
                  <c:v>302185</c:v>
                </c:pt>
                <c:pt idx="6671">
                  <c:v>302178</c:v>
                </c:pt>
                <c:pt idx="6672">
                  <c:v>302147</c:v>
                </c:pt>
                <c:pt idx="6673">
                  <c:v>302141</c:v>
                </c:pt>
                <c:pt idx="6674">
                  <c:v>302120</c:v>
                </c:pt>
                <c:pt idx="6675">
                  <c:v>302091</c:v>
                </c:pt>
                <c:pt idx="6676">
                  <c:v>302089</c:v>
                </c:pt>
                <c:pt idx="6677">
                  <c:v>302075</c:v>
                </c:pt>
                <c:pt idx="6678">
                  <c:v>302062</c:v>
                </c:pt>
                <c:pt idx="6679">
                  <c:v>302062</c:v>
                </c:pt>
                <c:pt idx="6680">
                  <c:v>302043</c:v>
                </c:pt>
                <c:pt idx="6681">
                  <c:v>302030</c:v>
                </c:pt>
                <c:pt idx="6682">
                  <c:v>302020</c:v>
                </c:pt>
                <c:pt idx="6683">
                  <c:v>302007</c:v>
                </c:pt>
                <c:pt idx="6684">
                  <c:v>302003</c:v>
                </c:pt>
                <c:pt idx="6685">
                  <c:v>301991</c:v>
                </c:pt>
                <c:pt idx="6686">
                  <c:v>301954</c:v>
                </c:pt>
                <c:pt idx="6687">
                  <c:v>301938</c:v>
                </c:pt>
                <c:pt idx="6688">
                  <c:v>301910</c:v>
                </c:pt>
                <c:pt idx="6689">
                  <c:v>301893</c:v>
                </c:pt>
                <c:pt idx="6690">
                  <c:v>301886</c:v>
                </c:pt>
                <c:pt idx="6691">
                  <c:v>301880</c:v>
                </c:pt>
                <c:pt idx="6692">
                  <c:v>301879</c:v>
                </c:pt>
                <c:pt idx="6693">
                  <c:v>301869</c:v>
                </c:pt>
                <c:pt idx="6694">
                  <c:v>301845</c:v>
                </c:pt>
                <c:pt idx="6695">
                  <c:v>301837</c:v>
                </c:pt>
                <c:pt idx="6696">
                  <c:v>301820</c:v>
                </c:pt>
                <c:pt idx="6697">
                  <c:v>301817</c:v>
                </c:pt>
                <c:pt idx="6698">
                  <c:v>301810</c:v>
                </c:pt>
                <c:pt idx="6699">
                  <c:v>301802</c:v>
                </c:pt>
                <c:pt idx="6700">
                  <c:v>301795</c:v>
                </c:pt>
                <c:pt idx="6701">
                  <c:v>301792</c:v>
                </c:pt>
                <c:pt idx="6702">
                  <c:v>301787</c:v>
                </c:pt>
                <c:pt idx="6703">
                  <c:v>301782</c:v>
                </c:pt>
                <c:pt idx="6704">
                  <c:v>301780</c:v>
                </c:pt>
                <c:pt idx="6705">
                  <c:v>301771</c:v>
                </c:pt>
                <c:pt idx="6706">
                  <c:v>301760</c:v>
                </c:pt>
                <c:pt idx="6707">
                  <c:v>301743</c:v>
                </c:pt>
                <c:pt idx="6708">
                  <c:v>301728</c:v>
                </c:pt>
                <c:pt idx="6709">
                  <c:v>301721</c:v>
                </c:pt>
                <c:pt idx="6710">
                  <c:v>301692</c:v>
                </c:pt>
                <c:pt idx="6711">
                  <c:v>301687</c:v>
                </c:pt>
                <c:pt idx="6712">
                  <c:v>301678</c:v>
                </c:pt>
                <c:pt idx="6713">
                  <c:v>301619</c:v>
                </c:pt>
                <c:pt idx="6714">
                  <c:v>301616</c:v>
                </c:pt>
                <c:pt idx="6715">
                  <c:v>301616</c:v>
                </c:pt>
                <c:pt idx="6716">
                  <c:v>301603</c:v>
                </c:pt>
                <c:pt idx="6717">
                  <c:v>301586</c:v>
                </c:pt>
                <c:pt idx="6718">
                  <c:v>301560</c:v>
                </c:pt>
                <c:pt idx="6719">
                  <c:v>301559</c:v>
                </c:pt>
                <c:pt idx="6720">
                  <c:v>301511</c:v>
                </c:pt>
                <c:pt idx="6721">
                  <c:v>301509</c:v>
                </c:pt>
                <c:pt idx="6722">
                  <c:v>301496</c:v>
                </c:pt>
                <c:pt idx="6723">
                  <c:v>301494</c:v>
                </c:pt>
                <c:pt idx="6724">
                  <c:v>301478</c:v>
                </c:pt>
                <c:pt idx="6725">
                  <c:v>301467</c:v>
                </c:pt>
                <c:pt idx="6726">
                  <c:v>301466</c:v>
                </c:pt>
                <c:pt idx="6727">
                  <c:v>301455</c:v>
                </c:pt>
                <c:pt idx="6728">
                  <c:v>301453</c:v>
                </c:pt>
                <c:pt idx="6729">
                  <c:v>301453</c:v>
                </c:pt>
                <c:pt idx="6730">
                  <c:v>301439</c:v>
                </c:pt>
                <c:pt idx="6731">
                  <c:v>301439</c:v>
                </c:pt>
                <c:pt idx="6732">
                  <c:v>301433</c:v>
                </c:pt>
                <c:pt idx="6733">
                  <c:v>301431</c:v>
                </c:pt>
                <c:pt idx="6734">
                  <c:v>301418</c:v>
                </c:pt>
                <c:pt idx="6735">
                  <c:v>301415</c:v>
                </c:pt>
                <c:pt idx="6736">
                  <c:v>301411</c:v>
                </c:pt>
                <c:pt idx="6737">
                  <c:v>301397</c:v>
                </c:pt>
                <c:pt idx="6738">
                  <c:v>301394</c:v>
                </c:pt>
                <c:pt idx="6739">
                  <c:v>301392</c:v>
                </c:pt>
                <c:pt idx="6740">
                  <c:v>301386</c:v>
                </c:pt>
                <c:pt idx="6741">
                  <c:v>301384</c:v>
                </c:pt>
                <c:pt idx="6742">
                  <c:v>301370</c:v>
                </c:pt>
                <c:pt idx="6743">
                  <c:v>301368</c:v>
                </c:pt>
                <c:pt idx="6744">
                  <c:v>301357</c:v>
                </c:pt>
                <c:pt idx="6745">
                  <c:v>301353</c:v>
                </c:pt>
                <c:pt idx="6746">
                  <c:v>301332</c:v>
                </c:pt>
                <c:pt idx="6747">
                  <c:v>301327</c:v>
                </c:pt>
                <c:pt idx="6748">
                  <c:v>301327</c:v>
                </c:pt>
                <c:pt idx="6749">
                  <c:v>301315</c:v>
                </c:pt>
                <c:pt idx="6750">
                  <c:v>301314</c:v>
                </c:pt>
                <c:pt idx="6751">
                  <c:v>301308</c:v>
                </c:pt>
                <c:pt idx="6752">
                  <c:v>301307</c:v>
                </c:pt>
                <c:pt idx="6753">
                  <c:v>301304</c:v>
                </c:pt>
                <c:pt idx="6754">
                  <c:v>301290</c:v>
                </c:pt>
                <c:pt idx="6755">
                  <c:v>301290</c:v>
                </c:pt>
                <c:pt idx="6756">
                  <c:v>301270</c:v>
                </c:pt>
                <c:pt idx="6757">
                  <c:v>301263</c:v>
                </c:pt>
                <c:pt idx="6758">
                  <c:v>301259</c:v>
                </c:pt>
                <c:pt idx="6759">
                  <c:v>301246</c:v>
                </c:pt>
                <c:pt idx="6760">
                  <c:v>301237</c:v>
                </c:pt>
                <c:pt idx="6761">
                  <c:v>301228</c:v>
                </c:pt>
                <c:pt idx="6762">
                  <c:v>301215</c:v>
                </c:pt>
                <c:pt idx="6763">
                  <c:v>301205</c:v>
                </c:pt>
                <c:pt idx="6764">
                  <c:v>301188</c:v>
                </c:pt>
                <c:pt idx="6765">
                  <c:v>301174</c:v>
                </c:pt>
                <c:pt idx="6766">
                  <c:v>301171</c:v>
                </c:pt>
                <c:pt idx="6767">
                  <c:v>301156</c:v>
                </c:pt>
                <c:pt idx="6768">
                  <c:v>301141</c:v>
                </c:pt>
                <c:pt idx="6769">
                  <c:v>301140</c:v>
                </c:pt>
                <c:pt idx="6770">
                  <c:v>301138</c:v>
                </c:pt>
                <c:pt idx="6771">
                  <c:v>301136</c:v>
                </c:pt>
                <c:pt idx="6772">
                  <c:v>301084</c:v>
                </c:pt>
                <c:pt idx="6773">
                  <c:v>301083</c:v>
                </c:pt>
                <c:pt idx="6774">
                  <c:v>301056</c:v>
                </c:pt>
                <c:pt idx="6775">
                  <c:v>301045</c:v>
                </c:pt>
                <c:pt idx="6776">
                  <c:v>301040</c:v>
                </c:pt>
                <c:pt idx="6777">
                  <c:v>301021</c:v>
                </c:pt>
                <c:pt idx="6778">
                  <c:v>301012</c:v>
                </c:pt>
                <c:pt idx="6779">
                  <c:v>301009</c:v>
                </c:pt>
                <c:pt idx="6780">
                  <c:v>300990</c:v>
                </c:pt>
                <c:pt idx="6781">
                  <c:v>300990</c:v>
                </c:pt>
                <c:pt idx="6782">
                  <c:v>300963</c:v>
                </c:pt>
                <c:pt idx="6783">
                  <c:v>300920</c:v>
                </c:pt>
                <c:pt idx="6784">
                  <c:v>300855</c:v>
                </c:pt>
                <c:pt idx="6785">
                  <c:v>300832</c:v>
                </c:pt>
                <c:pt idx="6786">
                  <c:v>300805</c:v>
                </c:pt>
                <c:pt idx="6787">
                  <c:v>300795</c:v>
                </c:pt>
                <c:pt idx="6788">
                  <c:v>300764</c:v>
                </c:pt>
                <c:pt idx="6789">
                  <c:v>300762</c:v>
                </c:pt>
                <c:pt idx="6790">
                  <c:v>300730</c:v>
                </c:pt>
                <c:pt idx="6791">
                  <c:v>300726</c:v>
                </c:pt>
                <c:pt idx="6792">
                  <c:v>300709</c:v>
                </c:pt>
                <c:pt idx="6793">
                  <c:v>300706</c:v>
                </c:pt>
                <c:pt idx="6794">
                  <c:v>300701</c:v>
                </c:pt>
                <c:pt idx="6795">
                  <c:v>300699</c:v>
                </c:pt>
                <c:pt idx="6796">
                  <c:v>300698</c:v>
                </c:pt>
                <c:pt idx="6797">
                  <c:v>300687</c:v>
                </c:pt>
                <c:pt idx="6798">
                  <c:v>300684</c:v>
                </c:pt>
                <c:pt idx="6799">
                  <c:v>300654</c:v>
                </c:pt>
                <c:pt idx="6800">
                  <c:v>300626</c:v>
                </c:pt>
                <c:pt idx="6801">
                  <c:v>300625</c:v>
                </c:pt>
                <c:pt idx="6802">
                  <c:v>300606</c:v>
                </c:pt>
                <c:pt idx="6803">
                  <c:v>300587</c:v>
                </c:pt>
                <c:pt idx="6804">
                  <c:v>300560</c:v>
                </c:pt>
                <c:pt idx="6805">
                  <c:v>300545</c:v>
                </c:pt>
                <c:pt idx="6806">
                  <c:v>300541</c:v>
                </c:pt>
                <c:pt idx="6807">
                  <c:v>300537</c:v>
                </c:pt>
                <c:pt idx="6808">
                  <c:v>300526</c:v>
                </c:pt>
                <c:pt idx="6809">
                  <c:v>300524</c:v>
                </c:pt>
                <c:pt idx="6810">
                  <c:v>300524</c:v>
                </c:pt>
                <c:pt idx="6811">
                  <c:v>300524</c:v>
                </c:pt>
                <c:pt idx="6812">
                  <c:v>300509</c:v>
                </c:pt>
                <c:pt idx="6813">
                  <c:v>300507</c:v>
                </c:pt>
                <c:pt idx="6814">
                  <c:v>300506</c:v>
                </c:pt>
                <c:pt idx="6815">
                  <c:v>300499</c:v>
                </c:pt>
                <c:pt idx="6816">
                  <c:v>300493</c:v>
                </c:pt>
                <c:pt idx="6817">
                  <c:v>300490</c:v>
                </c:pt>
                <c:pt idx="6818">
                  <c:v>300487</c:v>
                </c:pt>
                <c:pt idx="6819">
                  <c:v>300482</c:v>
                </c:pt>
                <c:pt idx="6820">
                  <c:v>300462</c:v>
                </c:pt>
                <c:pt idx="6821">
                  <c:v>300455</c:v>
                </c:pt>
                <c:pt idx="6822">
                  <c:v>300441</c:v>
                </c:pt>
                <c:pt idx="6823">
                  <c:v>300431</c:v>
                </c:pt>
                <c:pt idx="6824">
                  <c:v>300401</c:v>
                </c:pt>
                <c:pt idx="6825">
                  <c:v>300345</c:v>
                </c:pt>
                <c:pt idx="6826">
                  <c:v>300321</c:v>
                </c:pt>
                <c:pt idx="6827">
                  <c:v>300290</c:v>
                </c:pt>
                <c:pt idx="6828">
                  <c:v>300267</c:v>
                </c:pt>
                <c:pt idx="6829">
                  <c:v>300175</c:v>
                </c:pt>
                <c:pt idx="6830">
                  <c:v>300158</c:v>
                </c:pt>
                <c:pt idx="6831">
                  <c:v>300154</c:v>
                </c:pt>
                <c:pt idx="6832">
                  <c:v>300137</c:v>
                </c:pt>
                <c:pt idx="6833">
                  <c:v>300135</c:v>
                </c:pt>
                <c:pt idx="6834">
                  <c:v>300129</c:v>
                </c:pt>
                <c:pt idx="6835">
                  <c:v>300109</c:v>
                </c:pt>
                <c:pt idx="6836">
                  <c:v>300108</c:v>
                </c:pt>
                <c:pt idx="6837">
                  <c:v>300105</c:v>
                </c:pt>
                <c:pt idx="6838">
                  <c:v>300103</c:v>
                </c:pt>
                <c:pt idx="6839">
                  <c:v>300096</c:v>
                </c:pt>
                <c:pt idx="6840">
                  <c:v>300092</c:v>
                </c:pt>
                <c:pt idx="6841">
                  <c:v>300091</c:v>
                </c:pt>
                <c:pt idx="6842">
                  <c:v>300076</c:v>
                </c:pt>
                <c:pt idx="6843">
                  <c:v>300074</c:v>
                </c:pt>
                <c:pt idx="6844">
                  <c:v>300069</c:v>
                </c:pt>
                <c:pt idx="6845">
                  <c:v>300063</c:v>
                </c:pt>
                <c:pt idx="6846">
                  <c:v>300063</c:v>
                </c:pt>
                <c:pt idx="6847">
                  <c:v>300034</c:v>
                </c:pt>
                <c:pt idx="6848">
                  <c:v>300027</c:v>
                </c:pt>
                <c:pt idx="6849">
                  <c:v>300015</c:v>
                </c:pt>
                <c:pt idx="6850">
                  <c:v>300013</c:v>
                </c:pt>
                <c:pt idx="6851">
                  <c:v>299998</c:v>
                </c:pt>
                <c:pt idx="6852">
                  <c:v>299998</c:v>
                </c:pt>
                <c:pt idx="6853">
                  <c:v>299997</c:v>
                </c:pt>
                <c:pt idx="6854">
                  <c:v>299912</c:v>
                </c:pt>
                <c:pt idx="6855">
                  <c:v>299907</c:v>
                </c:pt>
                <c:pt idx="6856">
                  <c:v>299896</c:v>
                </c:pt>
                <c:pt idx="6857">
                  <c:v>299880</c:v>
                </c:pt>
                <c:pt idx="6858">
                  <c:v>299876</c:v>
                </c:pt>
                <c:pt idx="6859">
                  <c:v>299860</c:v>
                </c:pt>
                <c:pt idx="6860">
                  <c:v>299858</c:v>
                </c:pt>
                <c:pt idx="6861">
                  <c:v>299857</c:v>
                </c:pt>
                <c:pt idx="6862">
                  <c:v>299815</c:v>
                </c:pt>
                <c:pt idx="6863">
                  <c:v>299807</c:v>
                </c:pt>
                <c:pt idx="6864">
                  <c:v>299805</c:v>
                </c:pt>
                <c:pt idx="6865">
                  <c:v>299805</c:v>
                </c:pt>
                <c:pt idx="6866">
                  <c:v>299802</c:v>
                </c:pt>
                <c:pt idx="6867">
                  <c:v>299782</c:v>
                </c:pt>
                <c:pt idx="6868">
                  <c:v>299771</c:v>
                </c:pt>
                <c:pt idx="6869">
                  <c:v>299755</c:v>
                </c:pt>
                <c:pt idx="6870">
                  <c:v>299749</c:v>
                </c:pt>
                <c:pt idx="6871">
                  <c:v>299744</c:v>
                </c:pt>
                <c:pt idx="6872">
                  <c:v>299738</c:v>
                </c:pt>
                <c:pt idx="6873">
                  <c:v>299725</c:v>
                </c:pt>
                <c:pt idx="6874">
                  <c:v>299725</c:v>
                </c:pt>
                <c:pt idx="6875">
                  <c:v>299716</c:v>
                </c:pt>
                <c:pt idx="6876">
                  <c:v>299709</c:v>
                </c:pt>
                <c:pt idx="6877">
                  <c:v>299702</c:v>
                </c:pt>
                <c:pt idx="6878">
                  <c:v>299660</c:v>
                </c:pt>
                <c:pt idx="6879">
                  <c:v>299658</c:v>
                </c:pt>
                <c:pt idx="6880">
                  <c:v>299611</c:v>
                </c:pt>
                <c:pt idx="6881">
                  <c:v>299610</c:v>
                </c:pt>
                <c:pt idx="6882">
                  <c:v>299543</c:v>
                </c:pt>
                <c:pt idx="6883">
                  <c:v>299502</c:v>
                </c:pt>
                <c:pt idx="6884">
                  <c:v>299498</c:v>
                </c:pt>
                <c:pt idx="6885">
                  <c:v>299493</c:v>
                </c:pt>
                <c:pt idx="6886">
                  <c:v>299490</c:v>
                </c:pt>
                <c:pt idx="6887">
                  <c:v>299462</c:v>
                </c:pt>
                <c:pt idx="6888">
                  <c:v>299439</c:v>
                </c:pt>
                <c:pt idx="6889">
                  <c:v>299436</c:v>
                </c:pt>
                <c:pt idx="6890">
                  <c:v>299436</c:v>
                </c:pt>
                <c:pt idx="6891">
                  <c:v>299407</c:v>
                </c:pt>
                <c:pt idx="6892">
                  <c:v>299401</c:v>
                </c:pt>
                <c:pt idx="6893">
                  <c:v>299399</c:v>
                </c:pt>
                <c:pt idx="6894">
                  <c:v>299399</c:v>
                </c:pt>
                <c:pt idx="6895">
                  <c:v>299393</c:v>
                </c:pt>
                <c:pt idx="6896">
                  <c:v>299378</c:v>
                </c:pt>
                <c:pt idx="6897">
                  <c:v>299322</c:v>
                </c:pt>
                <c:pt idx="6898">
                  <c:v>299321</c:v>
                </c:pt>
                <c:pt idx="6899">
                  <c:v>299297</c:v>
                </c:pt>
                <c:pt idx="6900">
                  <c:v>299289</c:v>
                </c:pt>
                <c:pt idx="6901">
                  <c:v>299282</c:v>
                </c:pt>
                <c:pt idx="6902">
                  <c:v>299280</c:v>
                </c:pt>
                <c:pt idx="6903">
                  <c:v>299269</c:v>
                </c:pt>
                <c:pt idx="6904">
                  <c:v>299259</c:v>
                </c:pt>
                <c:pt idx="6905">
                  <c:v>299252</c:v>
                </c:pt>
                <c:pt idx="6906">
                  <c:v>299251</c:v>
                </c:pt>
                <c:pt idx="6907">
                  <c:v>299235</c:v>
                </c:pt>
                <c:pt idx="6908">
                  <c:v>299227</c:v>
                </c:pt>
                <c:pt idx="6909">
                  <c:v>299224</c:v>
                </c:pt>
                <c:pt idx="6910">
                  <c:v>299211</c:v>
                </c:pt>
                <c:pt idx="6911">
                  <c:v>299198</c:v>
                </c:pt>
                <c:pt idx="6912">
                  <c:v>299182</c:v>
                </c:pt>
                <c:pt idx="6913">
                  <c:v>299175</c:v>
                </c:pt>
                <c:pt idx="6914">
                  <c:v>299167</c:v>
                </c:pt>
                <c:pt idx="6915">
                  <c:v>299163</c:v>
                </c:pt>
                <c:pt idx="6916">
                  <c:v>299126</c:v>
                </c:pt>
                <c:pt idx="6917">
                  <c:v>299125</c:v>
                </c:pt>
                <c:pt idx="6918">
                  <c:v>299094</c:v>
                </c:pt>
                <c:pt idx="6919">
                  <c:v>299087</c:v>
                </c:pt>
                <c:pt idx="6920">
                  <c:v>299072</c:v>
                </c:pt>
                <c:pt idx="6921">
                  <c:v>299059</c:v>
                </c:pt>
                <c:pt idx="6922">
                  <c:v>299047</c:v>
                </c:pt>
                <c:pt idx="6923">
                  <c:v>299033</c:v>
                </c:pt>
                <c:pt idx="6924">
                  <c:v>299022</c:v>
                </c:pt>
                <c:pt idx="6925">
                  <c:v>298999</c:v>
                </c:pt>
                <c:pt idx="6926">
                  <c:v>298978</c:v>
                </c:pt>
                <c:pt idx="6927">
                  <c:v>298961</c:v>
                </c:pt>
                <c:pt idx="6928">
                  <c:v>298961</c:v>
                </c:pt>
                <c:pt idx="6929">
                  <c:v>298957</c:v>
                </c:pt>
                <c:pt idx="6930">
                  <c:v>298941</c:v>
                </c:pt>
                <c:pt idx="6931">
                  <c:v>298915</c:v>
                </c:pt>
                <c:pt idx="6932">
                  <c:v>298908</c:v>
                </c:pt>
                <c:pt idx="6933">
                  <c:v>298901</c:v>
                </c:pt>
                <c:pt idx="6934">
                  <c:v>298889</c:v>
                </c:pt>
                <c:pt idx="6935">
                  <c:v>298859</c:v>
                </c:pt>
                <c:pt idx="6936">
                  <c:v>298842</c:v>
                </c:pt>
                <c:pt idx="6937">
                  <c:v>298841</c:v>
                </c:pt>
                <c:pt idx="6938">
                  <c:v>298835</c:v>
                </c:pt>
                <c:pt idx="6939">
                  <c:v>298833</c:v>
                </c:pt>
                <c:pt idx="6940">
                  <c:v>298823</c:v>
                </c:pt>
                <c:pt idx="6941">
                  <c:v>298822</c:v>
                </c:pt>
                <c:pt idx="6942">
                  <c:v>298819</c:v>
                </c:pt>
                <c:pt idx="6943">
                  <c:v>298804</c:v>
                </c:pt>
                <c:pt idx="6944">
                  <c:v>298791</c:v>
                </c:pt>
                <c:pt idx="6945">
                  <c:v>298787</c:v>
                </c:pt>
                <c:pt idx="6946">
                  <c:v>298781</c:v>
                </c:pt>
                <c:pt idx="6947">
                  <c:v>298776</c:v>
                </c:pt>
                <c:pt idx="6948">
                  <c:v>298744</c:v>
                </c:pt>
                <c:pt idx="6949">
                  <c:v>298695</c:v>
                </c:pt>
                <c:pt idx="6950">
                  <c:v>298679</c:v>
                </c:pt>
                <c:pt idx="6951">
                  <c:v>298668</c:v>
                </c:pt>
                <c:pt idx="6952">
                  <c:v>298658</c:v>
                </c:pt>
                <c:pt idx="6953">
                  <c:v>298655</c:v>
                </c:pt>
                <c:pt idx="6954">
                  <c:v>298625</c:v>
                </c:pt>
                <c:pt idx="6955">
                  <c:v>298612</c:v>
                </c:pt>
                <c:pt idx="6956">
                  <c:v>298607</c:v>
                </c:pt>
                <c:pt idx="6957">
                  <c:v>298577</c:v>
                </c:pt>
                <c:pt idx="6958">
                  <c:v>298569</c:v>
                </c:pt>
                <c:pt idx="6959">
                  <c:v>298564</c:v>
                </c:pt>
                <c:pt idx="6960">
                  <c:v>298555</c:v>
                </c:pt>
                <c:pt idx="6961">
                  <c:v>298551</c:v>
                </c:pt>
                <c:pt idx="6962">
                  <c:v>298550</c:v>
                </c:pt>
                <c:pt idx="6963">
                  <c:v>298531</c:v>
                </c:pt>
                <c:pt idx="6964">
                  <c:v>298512</c:v>
                </c:pt>
                <c:pt idx="6965">
                  <c:v>298509</c:v>
                </c:pt>
                <c:pt idx="6966">
                  <c:v>298508</c:v>
                </c:pt>
                <c:pt idx="6967">
                  <c:v>298507</c:v>
                </c:pt>
                <c:pt idx="6968">
                  <c:v>298506</c:v>
                </c:pt>
                <c:pt idx="6969">
                  <c:v>298501</c:v>
                </c:pt>
                <c:pt idx="6970">
                  <c:v>298497</c:v>
                </c:pt>
                <c:pt idx="6971">
                  <c:v>298484</c:v>
                </c:pt>
                <c:pt idx="6972">
                  <c:v>298474</c:v>
                </c:pt>
                <c:pt idx="6973">
                  <c:v>298467</c:v>
                </c:pt>
                <c:pt idx="6974">
                  <c:v>298458</c:v>
                </c:pt>
                <c:pt idx="6975">
                  <c:v>298446</c:v>
                </c:pt>
                <c:pt idx="6976">
                  <c:v>298446</c:v>
                </c:pt>
                <c:pt idx="6977">
                  <c:v>298439</c:v>
                </c:pt>
                <c:pt idx="6978">
                  <c:v>298437</c:v>
                </c:pt>
                <c:pt idx="6979">
                  <c:v>298422</c:v>
                </c:pt>
                <c:pt idx="6980">
                  <c:v>298416</c:v>
                </c:pt>
                <c:pt idx="6981">
                  <c:v>298411</c:v>
                </c:pt>
                <c:pt idx="6982">
                  <c:v>298402</c:v>
                </c:pt>
                <c:pt idx="6983">
                  <c:v>298376</c:v>
                </c:pt>
                <c:pt idx="6984">
                  <c:v>298368</c:v>
                </c:pt>
                <c:pt idx="6985">
                  <c:v>298358</c:v>
                </c:pt>
                <c:pt idx="6986">
                  <c:v>298354</c:v>
                </c:pt>
                <c:pt idx="6987">
                  <c:v>298334</c:v>
                </c:pt>
                <c:pt idx="6988">
                  <c:v>298311</c:v>
                </c:pt>
                <c:pt idx="6989">
                  <c:v>298304</c:v>
                </c:pt>
                <c:pt idx="6990">
                  <c:v>298297</c:v>
                </c:pt>
                <c:pt idx="6991">
                  <c:v>298296</c:v>
                </c:pt>
                <c:pt idx="6992">
                  <c:v>298288</c:v>
                </c:pt>
                <c:pt idx="6993">
                  <c:v>298283</c:v>
                </c:pt>
                <c:pt idx="6994">
                  <c:v>298270</c:v>
                </c:pt>
                <c:pt idx="6995">
                  <c:v>298269</c:v>
                </c:pt>
                <c:pt idx="6996">
                  <c:v>298264</c:v>
                </c:pt>
                <c:pt idx="6997">
                  <c:v>298230</c:v>
                </c:pt>
                <c:pt idx="6998">
                  <c:v>298226</c:v>
                </c:pt>
                <c:pt idx="6999">
                  <c:v>298212</c:v>
                </c:pt>
                <c:pt idx="7000">
                  <c:v>298211</c:v>
                </c:pt>
                <c:pt idx="7001">
                  <c:v>298207</c:v>
                </c:pt>
                <c:pt idx="7002">
                  <c:v>298202</c:v>
                </c:pt>
                <c:pt idx="7003">
                  <c:v>298179</c:v>
                </c:pt>
                <c:pt idx="7004">
                  <c:v>298173</c:v>
                </c:pt>
                <c:pt idx="7005">
                  <c:v>298170</c:v>
                </c:pt>
                <c:pt idx="7006">
                  <c:v>298123</c:v>
                </c:pt>
                <c:pt idx="7007">
                  <c:v>298078</c:v>
                </c:pt>
                <c:pt idx="7008">
                  <c:v>298074</c:v>
                </c:pt>
                <c:pt idx="7009">
                  <c:v>298068</c:v>
                </c:pt>
                <c:pt idx="7010">
                  <c:v>298061</c:v>
                </c:pt>
                <c:pt idx="7011">
                  <c:v>298042</c:v>
                </c:pt>
                <c:pt idx="7012">
                  <c:v>298038</c:v>
                </c:pt>
                <c:pt idx="7013">
                  <c:v>298001</c:v>
                </c:pt>
                <c:pt idx="7014">
                  <c:v>297993</c:v>
                </c:pt>
                <c:pt idx="7015">
                  <c:v>297990</c:v>
                </c:pt>
                <c:pt idx="7016">
                  <c:v>297967</c:v>
                </c:pt>
                <c:pt idx="7017">
                  <c:v>297965</c:v>
                </c:pt>
                <c:pt idx="7018">
                  <c:v>297962</c:v>
                </c:pt>
                <c:pt idx="7019">
                  <c:v>297958</c:v>
                </c:pt>
                <c:pt idx="7020">
                  <c:v>297926</c:v>
                </c:pt>
                <c:pt idx="7021">
                  <c:v>297918</c:v>
                </c:pt>
                <c:pt idx="7022">
                  <c:v>297899</c:v>
                </c:pt>
                <c:pt idx="7023">
                  <c:v>297898</c:v>
                </c:pt>
                <c:pt idx="7024">
                  <c:v>297889</c:v>
                </c:pt>
                <c:pt idx="7025">
                  <c:v>297864</c:v>
                </c:pt>
                <c:pt idx="7026">
                  <c:v>297861</c:v>
                </c:pt>
                <c:pt idx="7027">
                  <c:v>297835</c:v>
                </c:pt>
                <c:pt idx="7028">
                  <c:v>297809</c:v>
                </c:pt>
                <c:pt idx="7029">
                  <c:v>297786</c:v>
                </c:pt>
                <c:pt idx="7030">
                  <c:v>297773</c:v>
                </c:pt>
                <c:pt idx="7031">
                  <c:v>297755</c:v>
                </c:pt>
                <c:pt idx="7032">
                  <c:v>297697</c:v>
                </c:pt>
                <c:pt idx="7033">
                  <c:v>297692</c:v>
                </c:pt>
                <c:pt idx="7034">
                  <c:v>297683</c:v>
                </c:pt>
                <c:pt idx="7035">
                  <c:v>297681</c:v>
                </c:pt>
                <c:pt idx="7036">
                  <c:v>297671</c:v>
                </c:pt>
                <c:pt idx="7037">
                  <c:v>297660</c:v>
                </c:pt>
                <c:pt idx="7038">
                  <c:v>297646</c:v>
                </c:pt>
                <c:pt idx="7039">
                  <c:v>297639</c:v>
                </c:pt>
                <c:pt idx="7040">
                  <c:v>297621</c:v>
                </c:pt>
                <c:pt idx="7041">
                  <c:v>297610</c:v>
                </c:pt>
                <c:pt idx="7042">
                  <c:v>297601</c:v>
                </c:pt>
                <c:pt idx="7043">
                  <c:v>297599</c:v>
                </c:pt>
                <c:pt idx="7044">
                  <c:v>297561</c:v>
                </c:pt>
                <c:pt idx="7045">
                  <c:v>297548</c:v>
                </c:pt>
                <c:pt idx="7046">
                  <c:v>297538</c:v>
                </c:pt>
                <c:pt idx="7047">
                  <c:v>297538</c:v>
                </c:pt>
                <c:pt idx="7048">
                  <c:v>297531</c:v>
                </c:pt>
                <c:pt idx="7049">
                  <c:v>297529</c:v>
                </c:pt>
                <c:pt idx="7050">
                  <c:v>297497</c:v>
                </c:pt>
                <c:pt idx="7051">
                  <c:v>297493</c:v>
                </c:pt>
                <c:pt idx="7052">
                  <c:v>297483</c:v>
                </c:pt>
                <c:pt idx="7053">
                  <c:v>297478</c:v>
                </c:pt>
                <c:pt idx="7054">
                  <c:v>297464</c:v>
                </c:pt>
                <c:pt idx="7055">
                  <c:v>297461</c:v>
                </c:pt>
                <c:pt idx="7056">
                  <c:v>297454</c:v>
                </c:pt>
                <c:pt idx="7057">
                  <c:v>297444</c:v>
                </c:pt>
                <c:pt idx="7058">
                  <c:v>297418</c:v>
                </c:pt>
                <c:pt idx="7059">
                  <c:v>297407</c:v>
                </c:pt>
                <c:pt idx="7060">
                  <c:v>297399</c:v>
                </c:pt>
                <c:pt idx="7061">
                  <c:v>297390</c:v>
                </c:pt>
                <c:pt idx="7062">
                  <c:v>297386</c:v>
                </c:pt>
                <c:pt idx="7063">
                  <c:v>297367</c:v>
                </c:pt>
                <c:pt idx="7064">
                  <c:v>297367</c:v>
                </c:pt>
                <c:pt idx="7065">
                  <c:v>297346</c:v>
                </c:pt>
                <c:pt idx="7066">
                  <c:v>297338</c:v>
                </c:pt>
                <c:pt idx="7067">
                  <c:v>297324</c:v>
                </c:pt>
                <c:pt idx="7068">
                  <c:v>297315</c:v>
                </c:pt>
                <c:pt idx="7069">
                  <c:v>297305</c:v>
                </c:pt>
                <c:pt idx="7070">
                  <c:v>297299</c:v>
                </c:pt>
                <c:pt idx="7071">
                  <c:v>297298</c:v>
                </c:pt>
                <c:pt idx="7072">
                  <c:v>297295</c:v>
                </c:pt>
                <c:pt idx="7073">
                  <c:v>297293</c:v>
                </c:pt>
                <c:pt idx="7074">
                  <c:v>297277</c:v>
                </c:pt>
                <c:pt idx="7075">
                  <c:v>297250</c:v>
                </c:pt>
                <c:pt idx="7076">
                  <c:v>297227</c:v>
                </c:pt>
                <c:pt idx="7077">
                  <c:v>297226</c:v>
                </c:pt>
                <c:pt idx="7078">
                  <c:v>297216</c:v>
                </c:pt>
                <c:pt idx="7079">
                  <c:v>297190</c:v>
                </c:pt>
                <c:pt idx="7080">
                  <c:v>297180</c:v>
                </c:pt>
                <c:pt idx="7081">
                  <c:v>297179</c:v>
                </c:pt>
                <c:pt idx="7082">
                  <c:v>297176</c:v>
                </c:pt>
                <c:pt idx="7083">
                  <c:v>297175</c:v>
                </c:pt>
                <c:pt idx="7084">
                  <c:v>297166</c:v>
                </c:pt>
                <c:pt idx="7085">
                  <c:v>297161</c:v>
                </c:pt>
                <c:pt idx="7086">
                  <c:v>297146</c:v>
                </c:pt>
                <c:pt idx="7087">
                  <c:v>297141</c:v>
                </c:pt>
                <c:pt idx="7088">
                  <c:v>297132</c:v>
                </c:pt>
                <c:pt idx="7089">
                  <c:v>297131</c:v>
                </c:pt>
                <c:pt idx="7090">
                  <c:v>297124</c:v>
                </c:pt>
                <c:pt idx="7091">
                  <c:v>297114</c:v>
                </c:pt>
                <c:pt idx="7092">
                  <c:v>297096</c:v>
                </c:pt>
                <c:pt idx="7093">
                  <c:v>297085</c:v>
                </c:pt>
                <c:pt idx="7094">
                  <c:v>297079</c:v>
                </c:pt>
                <c:pt idx="7095">
                  <c:v>297077</c:v>
                </c:pt>
                <c:pt idx="7096">
                  <c:v>297046</c:v>
                </c:pt>
                <c:pt idx="7097">
                  <c:v>297028</c:v>
                </c:pt>
                <c:pt idx="7098">
                  <c:v>297013</c:v>
                </c:pt>
                <c:pt idx="7099">
                  <c:v>297010</c:v>
                </c:pt>
                <c:pt idx="7100">
                  <c:v>296984</c:v>
                </c:pt>
                <c:pt idx="7101">
                  <c:v>296971</c:v>
                </c:pt>
                <c:pt idx="7102">
                  <c:v>296958</c:v>
                </c:pt>
                <c:pt idx="7103">
                  <c:v>296936</c:v>
                </c:pt>
                <c:pt idx="7104">
                  <c:v>296899</c:v>
                </c:pt>
                <c:pt idx="7105">
                  <c:v>296891</c:v>
                </c:pt>
                <c:pt idx="7106">
                  <c:v>296890</c:v>
                </c:pt>
                <c:pt idx="7107">
                  <c:v>296887</c:v>
                </c:pt>
                <c:pt idx="7108">
                  <c:v>296855</c:v>
                </c:pt>
                <c:pt idx="7109">
                  <c:v>296810</c:v>
                </c:pt>
                <c:pt idx="7110">
                  <c:v>296805</c:v>
                </c:pt>
                <c:pt idx="7111">
                  <c:v>296804</c:v>
                </c:pt>
                <c:pt idx="7112">
                  <c:v>296803</c:v>
                </c:pt>
                <c:pt idx="7113">
                  <c:v>296797</c:v>
                </c:pt>
                <c:pt idx="7114">
                  <c:v>296789</c:v>
                </c:pt>
                <c:pt idx="7115">
                  <c:v>296785</c:v>
                </c:pt>
                <c:pt idx="7116">
                  <c:v>296763</c:v>
                </c:pt>
                <c:pt idx="7117">
                  <c:v>296760</c:v>
                </c:pt>
                <c:pt idx="7118">
                  <c:v>296736</c:v>
                </c:pt>
                <c:pt idx="7119">
                  <c:v>296717</c:v>
                </c:pt>
                <c:pt idx="7120">
                  <c:v>296703</c:v>
                </c:pt>
                <c:pt idx="7121">
                  <c:v>296690</c:v>
                </c:pt>
                <c:pt idx="7122">
                  <c:v>296684</c:v>
                </c:pt>
                <c:pt idx="7123">
                  <c:v>296679</c:v>
                </c:pt>
                <c:pt idx="7124">
                  <c:v>296679</c:v>
                </c:pt>
                <c:pt idx="7125">
                  <c:v>296668</c:v>
                </c:pt>
                <c:pt idx="7126">
                  <c:v>296648</c:v>
                </c:pt>
                <c:pt idx="7127">
                  <c:v>296622</c:v>
                </c:pt>
                <c:pt idx="7128">
                  <c:v>296550</c:v>
                </c:pt>
                <c:pt idx="7129">
                  <c:v>296540</c:v>
                </c:pt>
                <c:pt idx="7130">
                  <c:v>296531</c:v>
                </c:pt>
                <c:pt idx="7131">
                  <c:v>296524</c:v>
                </c:pt>
                <c:pt idx="7132">
                  <c:v>296455</c:v>
                </c:pt>
                <c:pt idx="7133">
                  <c:v>296452</c:v>
                </c:pt>
                <c:pt idx="7134">
                  <c:v>296450</c:v>
                </c:pt>
                <c:pt idx="7135">
                  <c:v>296426</c:v>
                </c:pt>
                <c:pt idx="7136">
                  <c:v>296417</c:v>
                </c:pt>
                <c:pt idx="7137">
                  <c:v>296401</c:v>
                </c:pt>
                <c:pt idx="7138">
                  <c:v>296395</c:v>
                </c:pt>
                <c:pt idx="7139">
                  <c:v>296391</c:v>
                </c:pt>
                <c:pt idx="7140">
                  <c:v>296387</c:v>
                </c:pt>
                <c:pt idx="7141">
                  <c:v>296373</c:v>
                </c:pt>
                <c:pt idx="7142">
                  <c:v>296368</c:v>
                </c:pt>
                <c:pt idx="7143">
                  <c:v>296358</c:v>
                </c:pt>
                <c:pt idx="7144">
                  <c:v>296349</c:v>
                </c:pt>
                <c:pt idx="7145">
                  <c:v>296340</c:v>
                </c:pt>
                <c:pt idx="7146">
                  <c:v>296339</c:v>
                </c:pt>
                <c:pt idx="7147">
                  <c:v>296312</c:v>
                </c:pt>
                <c:pt idx="7148">
                  <c:v>296309</c:v>
                </c:pt>
                <c:pt idx="7149">
                  <c:v>296299</c:v>
                </c:pt>
                <c:pt idx="7150">
                  <c:v>296286</c:v>
                </c:pt>
                <c:pt idx="7151">
                  <c:v>296280</c:v>
                </c:pt>
                <c:pt idx="7152">
                  <c:v>296279</c:v>
                </c:pt>
                <c:pt idx="7153">
                  <c:v>296249</c:v>
                </c:pt>
                <c:pt idx="7154">
                  <c:v>296245</c:v>
                </c:pt>
                <c:pt idx="7155">
                  <c:v>296235</c:v>
                </c:pt>
                <c:pt idx="7156">
                  <c:v>296235</c:v>
                </c:pt>
                <c:pt idx="7157">
                  <c:v>296223</c:v>
                </c:pt>
                <c:pt idx="7158">
                  <c:v>296188</c:v>
                </c:pt>
                <c:pt idx="7159">
                  <c:v>296183</c:v>
                </c:pt>
                <c:pt idx="7160">
                  <c:v>296168</c:v>
                </c:pt>
                <c:pt idx="7161">
                  <c:v>296162</c:v>
                </c:pt>
                <c:pt idx="7162">
                  <c:v>296161</c:v>
                </c:pt>
                <c:pt idx="7163">
                  <c:v>296152</c:v>
                </c:pt>
                <c:pt idx="7164">
                  <c:v>296131</c:v>
                </c:pt>
                <c:pt idx="7165">
                  <c:v>296127</c:v>
                </c:pt>
                <c:pt idx="7166">
                  <c:v>296113</c:v>
                </c:pt>
                <c:pt idx="7167">
                  <c:v>296087</c:v>
                </c:pt>
                <c:pt idx="7168">
                  <c:v>296085</c:v>
                </c:pt>
                <c:pt idx="7169">
                  <c:v>296082</c:v>
                </c:pt>
                <c:pt idx="7170">
                  <c:v>296074</c:v>
                </c:pt>
                <c:pt idx="7171">
                  <c:v>296040</c:v>
                </c:pt>
                <c:pt idx="7172">
                  <c:v>296021</c:v>
                </c:pt>
                <c:pt idx="7173">
                  <c:v>295997</c:v>
                </c:pt>
                <c:pt idx="7174">
                  <c:v>295992</c:v>
                </c:pt>
                <c:pt idx="7175">
                  <c:v>295988</c:v>
                </c:pt>
                <c:pt idx="7176">
                  <c:v>295980</c:v>
                </c:pt>
                <c:pt idx="7177">
                  <c:v>295956</c:v>
                </c:pt>
                <c:pt idx="7178">
                  <c:v>295937</c:v>
                </c:pt>
                <c:pt idx="7179">
                  <c:v>295933</c:v>
                </c:pt>
                <c:pt idx="7180">
                  <c:v>295933</c:v>
                </c:pt>
                <c:pt idx="7181">
                  <c:v>295931</c:v>
                </c:pt>
                <c:pt idx="7182">
                  <c:v>295930</c:v>
                </c:pt>
                <c:pt idx="7183">
                  <c:v>295926</c:v>
                </c:pt>
                <c:pt idx="7184">
                  <c:v>295909</c:v>
                </c:pt>
                <c:pt idx="7185">
                  <c:v>295898</c:v>
                </c:pt>
                <c:pt idx="7186">
                  <c:v>295898</c:v>
                </c:pt>
                <c:pt idx="7187">
                  <c:v>295885</c:v>
                </c:pt>
                <c:pt idx="7188">
                  <c:v>295881</c:v>
                </c:pt>
                <c:pt idx="7189">
                  <c:v>295873</c:v>
                </c:pt>
                <c:pt idx="7190">
                  <c:v>295871</c:v>
                </c:pt>
                <c:pt idx="7191">
                  <c:v>295871</c:v>
                </c:pt>
                <c:pt idx="7192">
                  <c:v>295862</c:v>
                </c:pt>
                <c:pt idx="7193">
                  <c:v>295858</c:v>
                </c:pt>
                <c:pt idx="7194">
                  <c:v>295855</c:v>
                </c:pt>
                <c:pt idx="7195">
                  <c:v>295852</c:v>
                </c:pt>
                <c:pt idx="7196">
                  <c:v>295835</c:v>
                </c:pt>
                <c:pt idx="7197">
                  <c:v>295835</c:v>
                </c:pt>
                <c:pt idx="7198">
                  <c:v>295832</c:v>
                </c:pt>
                <c:pt idx="7199">
                  <c:v>295818</c:v>
                </c:pt>
                <c:pt idx="7200">
                  <c:v>295807</c:v>
                </c:pt>
                <c:pt idx="7201">
                  <c:v>295792</c:v>
                </c:pt>
                <c:pt idx="7202">
                  <c:v>295787</c:v>
                </c:pt>
                <c:pt idx="7203">
                  <c:v>295763</c:v>
                </c:pt>
                <c:pt idx="7204">
                  <c:v>295753</c:v>
                </c:pt>
                <c:pt idx="7205">
                  <c:v>295745</c:v>
                </c:pt>
                <c:pt idx="7206">
                  <c:v>295736</c:v>
                </c:pt>
                <c:pt idx="7207">
                  <c:v>295693</c:v>
                </c:pt>
                <c:pt idx="7208">
                  <c:v>295688</c:v>
                </c:pt>
                <c:pt idx="7209">
                  <c:v>295686</c:v>
                </c:pt>
                <c:pt idx="7210">
                  <c:v>295670</c:v>
                </c:pt>
                <c:pt idx="7211">
                  <c:v>295667</c:v>
                </c:pt>
                <c:pt idx="7212">
                  <c:v>295667</c:v>
                </c:pt>
                <c:pt idx="7213">
                  <c:v>295664</c:v>
                </c:pt>
                <c:pt idx="7214">
                  <c:v>295640</c:v>
                </c:pt>
                <c:pt idx="7215">
                  <c:v>295629</c:v>
                </c:pt>
                <c:pt idx="7216">
                  <c:v>295622</c:v>
                </c:pt>
                <c:pt idx="7217">
                  <c:v>295616</c:v>
                </c:pt>
                <c:pt idx="7218">
                  <c:v>295610</c:v>
                </c:pt>
                <c:pt idx="7219">
                  <c:v>295595</c:v>
                </c:pt>
                <c:pt idx="7220">
                  <c:v>295591</c:v>
                </c:pt>
                <c:pt idx="7221">
                  <c:v>295578</c:v>
                </c:pt>
                <c:pt idx="7222">
                  <c:v>295570</c:v>
                </c:pt>
                <c:pt idx="7223">
                  <c:v>295528</c:v>
                </c:pt>
                <c:pt idx="7224">
                  <c:v>295526</c:v>
                </c:pt>
                <c:pt idx="7225">
                  <c:v>295511</c:v>
                </c:pt>
                <c:pt idx="7226">
                  <c:v>295511</c:v>
                </c:pt>
                <c:pt idx="7227">
                  <c:v>295504</c:v>
                </c:pt>
                <c:pt idx="7228">
                  <c:v>295494</c:v>
                </c:pt>
                <c:pt idx="7229">
                  <c:v>295465</c:v>
                </c:pt>
                <c:pt idx="7230">
                  <c:v>295410</c:v>
                </c:pt>
                <c:pt idx="7231">
                  <c:v>295373</c:v>
                </c:pt>
                <c:pt idx="7232">
                  <c:v>295367</c:v>
                </c:pt>
                <c:pt idx="7233">
                  <c:v>295363</c:v>
                </c:pt>
                <c:pt idx="7234">
                  <c:v>295354</c:v>
                </c:pt>
                <c:pt idx="7235">
                  <c:v>295347</c:v>
                </c:pt>
                <c:pt idx="7236">
                  <c:v>295346</c:v>
                </c:pt>
                <c:pt idx="7237">
                  <c:v>295329</c:v>
                </c:pt>
                <c:pt idx="7238">
                  <c:v>295284</c:v>
                </c:pt>
                <c:pt idx="7239">
                  <c:v>295273</c:v>
                </c:pt>
                <c:pt idx="7240">
                  <c:v>295251</c:v>
                </c:pt>
                <c:pt idx="7241">
                  <c:v>295242</c:v>
                </c:pt>
                <c:pt idx="7242">
                  <c:v>295233</c:v>
                </c:pt>
                <c:pt idx="7243">
                  <c:v>295232</c:v>
                </c:pt>
                <c:pt idx="7244">
                  <c:v>295222</c:v>
                </c:pt>
                <c:pt idx="7245">
                  <c:v>295202</c:v>
                </c:pt>
                <c:pt idx="7246">
                  <c:v>295201</c:v>
                </c:pt>
                <c:pt idx="7247">
                  <c:v>295183</c:v>
                </c:pt>
                <c:pt idx="7248">
                  <c:v>295182</c:v>
                </c:pt>
                <c:pt idx="7249">
                  <c:v>295175</c:v>
                </c:pt>
                <c:pt idx="7250">
                  <c:v>295158</c:v>
                </c:pt>
                <c:pt idx="7251">
                  <c:v>295140</c:v>
                </c:pt>
                <c:pt idx="7252">
                  <c:v>295139</c:v>
                </c:pt>
                <c:pt idx="7253">
                  <c:v>295097</c:v>
                </c:pt>
                <c:pt idx="7254">
                  <c:v>295073</c:v>
                </c:pt>
                <c:pt idx="7255">
                  <c:v>295051</c:v>
                </c:pt>
                <c:pt idx="7256">
                  <c:v>295048</c:v>
                </c:pt>
                <c:pt idx="7257">
                  <c:v>295015</c:v>
                </c:pt>
                <c:pt idx="7258">
                  <c:v>294989</c:v>
                </c:pt>
                <c:pt idx="7259">
                  <c:v>294914</c:v>
                </c:pt>
                <c:pt idx="7260">
                  <c:v>294913</c:v>
                </c:pt>
                <c:pt idx="7261">
                  <c:v>294900</c:v>
                </c:pt>
                <c:pt idx="7262">
                  <c:v>294888</c:v>
                </c:pt>
                <c:pt idx="7263">
                  <c:v>294881</c:v>
                </c:pt>
                <c:pt idx="7264">
                  <c:v>294873</c:v>
                </c:pt>
                <c:pt idx="7265">
                  <c:v>294869</c:v>
                </c:pt>
                <c:pt idx="7266">
                  <c:v>294842</c:v>
                </c:pt>
                <c:pt idx="7267">
                  <c:v>294838</c:v>
                </c:pt>
                <c:pt idx="7268">
                  <c:v>294834</c:v>
                </c:pt>
                <c:pt idx="7269">
                  <c:v>294829</c:v>
                </c:pt>
                <c:pt idx="7270">
                  <c:v>294813</c:v>
                </c:pt>
                <c:pt idx="7271">
                  <c:v>294805</c:v>
                </c:pt>
                <c:pt idx="7272">
                  <c:v>294783</c:v>
                </c:pt>
                <c:pt idx="7273">
                  <c:v>294771</c:v>
                </c:pt>
                <c:pt idx="7274">
                  <c:v>294769</c:v>
                </c:pt>
                <c:pt idx="7275">
                  <c:v>294768</c:v>
                </c:pt>
                <c:pt idx="7276">
                  <c:v>294768</c:v>
                </c:pt>
                <c:pt idx="7277">
                  <c:v>294765</c:v>
                </c:pt>
                <c:pt idx="7278">
                  <c:v>294764</c:v>
                </c:pt>
                <c:pt idx="7279">
                  <c:v>294725</c:v>
                </c:pt>
                <c:pt idx="7280">
                  <c:v>294724</c:v>
                </c:pt>
                <c:pt idx="7281">
                  <c:v>294699</c:v>
                </c:pt>
                <c:pt idx="7282">
                  <c:v>294697</c:v>
                </c:pt>
                <c:pt idx="7283">
                  <c:v>294696</c:v>
                </c:pt>
                <c:pt idx="7284">
                  <c:v>294692</c:v>
                </c:pt>
                <c:pt idx="7285">
                  <c:v>294683</c:v>
                </c:pt>
                <c:pt idx="7286">
                  <c:v>294657</c:v>
                </c:pt>
                <c:pt idx="7287">
                  <c:v>294648</c:v>
                </c:pt>
                <c:pt idx="7288">
                  <c:v>294634</c:v>
                </c:pt>
                <c:pt idx="7289">
                  <c:v>294623</c:v>
                </c:pt>
                <c:pt idx="7290">
                  <c:v>294622</c:v>
                </c:pt>
                <c:pt idx="7291">
                  <c:v>294619</c:v>
                </c:pt>
                <c:pt idx="7292">
                  <c:v>294614</c:v>
                </c:pt>
                <c:pt idx="7293">
                  <c:v>294610</c:v>
                </c:pt>
                <c:pt idx="7294">
                  <c:v>294607</c:v>
                </c:pt>
                <c:pt idx="7295">
                  <c:v>294600</c:v>
                </c:pt>
                <c:pt idx="7296">
                  <c:v>294590</c:v>
                </c:pt>
                <c:pt idx="7297">
                  <c:v>294584</c:v>
                </c:pt>
                <c:pt idx="7298">
                  <c:v>294579</c:v>
                </c:pt>
                <c:pt idx="7299">
                  <c:v>294574</c:v>
                </c:pt>
                <c:pt idx="7300">
                  <c:v>294572</c:v>
                </c:pt>
                <c:pt idx="7301">
                  <c:v>294570</c:v>
                </c:pt>
                <c:pt idx="7302">
                  <c:v>294566</c:v>
                </c:pt>
                <c:pt idx="7303">
                  <c:v>294553</c:v>
                </c:pt>
                <c:pt idx="7304">
                  <c:v>294551</c:v>
                </c:pt>
                <c:pt idx="7305">
                  <c:v>294549</c:v>
                </c:pt>
                <c:pt idx="7306">
                  <c:v>294542</c:v>
                </c:pt>
                <c:pt idx="7307">
                  <c:v>294531</c:v>
                </c:pt>
                <c:pt idx="7308">
                  <c:v>294531</c:v>
                </c:pt>
                <c:pt idx="7309">
                  <c:v>294524</c:v>
                </c:pt>
                <c:pt idx="7310">
                  <c:v>294522</c:v>
                </c:pt>
                <c:pt idx="7311">
                  <c:v>294519</c:v>
                </c:pt>
                <c:pt idx="7312">
                  <c:v>294519</c:v>
                </c:pt>
                <c:pt idx="7313">
                  <c:v>294499</c:v>
                </c:pt>
                <c:pt idx="7314">
                  <c:v>294495</c:v>
                </c:pt>
                <c:pt idx="7315">
                  <c:v>294493</c:v>
                </c:pt>
                <c:pt idx="7316">
                  <c:v>294470</c:v>
                </c:pt>
                <c:pt idx="7317">
                  <c:v>294463</c:v>
                </c:pt>
                <c:pt idx="7318">
                  <c:v>294462</c:v>
                </c:pt>
                <c:pt idx="7319">
                  <c:v>294457</c:v>
                </c:pt>
                <c:pt idx="7320">
                  <c:v>294452</c:v>
                </c:pt>
                <c:pt idx="7321">
                  <c:v>294447</c:v>
                </c:pt>
                <c:pt idx="7322">
                  <c:v>294444</c:v>
                </c:pt>
                <c:pt idx="7323">
                  <c:v>294435</c:v>
                </c:pt>
                <c:pt idx="7324">
                  <c:v>294418</c:v>
                </c:pt>
                <c:pt idx="7325">
                  <c:v>294410</c:v>
                </c:pt>
                <c:pt idx="7326">
                  <c:v>294383</c:v>
                </c:pt>
                <c:pt idx="7327">
                  <c:v>294383</c:v>
                </c:pt>
                <c:pt idx="7328">
                  <c:v>294371</c:v>
                </c:pt>
                <c:pt idx="7329">
                  <c:v>294352</c:v>
                </c:pt>
                <c:pt idx="7330">
                  <c:v>294335</c:v>
                </c:pt>
                <c:pt idx="7331">
                  <c:v>294309</c:v>
                </c:pt>
                <c:pt idx="7332">
                  <c:v>294289</c:v>
                </c:pt>
                <c:pt idx="7333">
                  <c:v>294287</c:v>
                </c:pt>
                <c:pt idx="7334">
                  <c:v>294275</c:v>
                </c:pt>
                <c:pt idx="7335">
                  <c:v>294258</c:v>
                </c:pt>
                <c:pt idx="7336">
                  <c:v>294256</c:v>
                </c:pt>
                <c:pt idx="7337">
                  <c:v>294243</c:v>
                </c:pt>
                <c:pt idx="7338">
                  <c:v>294232</c:v>
                </c:pt>
                <c:pt idx="7339">
                  <c:v>294199</c:v>
                </c:pt>
                <c:pt idx="7340">
                  <c:v>294192</c:v>
                </c:pt>
                <c:pt idx="7341">
                  <c:v>294182</c:v>
                </c:pt>
                <c:pt idx="7342">
                  <c:v>294177</c:v>
                </c:pt>
                <c:pt idx="7343">
                  <c:v>294171</c:v>
                </c:pt>
                <c:pt idx="7344">
                  <c:v>294163</c:v>
                </c:pt>
                <c:pt idx="7345">
                  <c:v>294160</c:v>
                </c:pt>
                <c:pt idx="7346">
                  <c:v>294148</c:v>
                </c:pt>
                <c:pt idx="7347">
                  <c:v>294137</c:v>
                </c:pt>
                <c:pt idx="7348">
                  <c:v>294081</c:v>
                </c:pt>
                <c:pt idx="7349">
                  <c:v>294081</c:v>
                </c:pt>
                <c:pt idx="7350">
                  <c:v>294068</c:v>
                </c:pt>
                <c:pt idx="7351">
                  <c:v>294047</c:v>
                </c:pt>
                <c:pt idx="7352">
                  <c:v>294043</c:v>
                </c:pt>
                <c:pt idx="7353">
                  <c:v>294035</c:v>
                </c:pt>
                <c:pt idx="7354">
                  <c:v>294032</c:v>
                </c:pt>
                <c:pt idx="7355">
                  <c:v>294022</c:v>
                </c:pt>
                <c:pt idx="7356">
                  <c:v>294011</c:v>
                </c:pt>
                <c:pt idx="7357">
                  <c:v>294010</c:v>
                </c:pt>
                <c:pt idx="7358">
                  <c:v>294005</c:v>
                </c:pt>
                <c:pt idx="7359">
                  <c:v>293996</c:v>
                </c:pt>
                <c:pt idx="7360">
                  <c:v>293992</c:v>
                </c:pt>
                <c:pt idx="7361">
                  <c:v>293987</c:v>
                </c:pt>
                <c:pt idx="7362">
                  <c:v>293982</c:v>
                </c:pt>
                <c:pt idx="7363">
                  <c:v>293964</c:v>
                </c:pt>
                <c:pt idx="7364">
                  <c:v>293957</c:v>
                </c:pt>
                <c:pt idx="7365">
                  <c:v>293947</c:v>
                </c:pt>
                <c:pt idx="7366">
                  <c:v>293944</c:v>
                </c:pt>
                <c:pt idx="7367">
                  <c:v>293934</c:v>
                </c:pt>
                <c:pt idx="7368">
                  <c:v>293933</c:v>
                </c:pt>
                <c:pt idx="7369">
                  <c:v>293929</c:v>
                </c:pt>
                <c:pt idx="7370">
                  <c:v>293926</c:v>
                </c:pt>
                <c:pt idx="7371">
                  <c:v>293924</c:v>
                </c:pt>
                <c:pt idx="7372">
                  <c:v>293918</c:v>
                </c:pt>
                <c:pt idx="7373">
                  <c:v>293909</c:v>
                </c:pt>
                <c:pt idx="7374">
                  <c:v>293889</c:v>
                </c:pt>
                <c:pt idx="7375">
                  <c:v>293885</c:v>
                </c:pt>
                <c:pt idx="7376">
                  <c:v>293883</c:v>
                </c:pt>
                <c:pt idx="7377">
                  <c:v>293880</c:v>
                </c:pt>
                <c:pt idx="7378">
                  <c:v>293879</c:v>
                </c:pt>
                <c:pt idx="7379">
                  <c:v>293873</c:v>
                </c:pt>
                <c:pt idx="7380">
                  <c:v>293869</c:v>
                </c:pt>
                <c:pt idx="7381">
                  <c:v>293856</c:v>
                </c:pt>
                <c:pt idx="7382">
                  <c:v>293818</c:v>
                </c:pt>
                <c:pt idx="7383">
                  <c:v>293817</c:v>
                </c:pt>
                <c:pt idx="7384">
                  <c:v>293767</c:v>
                </c:pt>
                <c:pt idx="7385">
                  <c:v>293755</c:v>
                </c:pt>
                <c:pt idx="7386">
                  <c:v>293750</c:v>
                </c:pt>
                <c:pt idx="7387">
                  <c:v>293747</c:v>
                </c:pt>
                <c:pt idx="7388">
                  <c:v>293740</c:v>
                </c:pt>
                <c:pt idx="7389">
                  <c:v>293737</c:v>
                </c:pt>
                <c:pt idx="7390">
                  <c:v>293734</c:v>
                </c:pt>
                <c:pt idx="7391">
                  <c:v>293732</c:v>
                </c:pt>
                <c:pt idx="7392">
                  <c:v>293727</c:v>
                </c:pt>
                <c:pt idx="7393">
                  <c:v>293717</c:v>
                </c:pt>
                <c:pt idx="7394">
                  <c:v>293716</c:v>
                </c:pt>
                <c:pt idx="7395">
                  <c:v>293644</c:v>
                </c:pt>
                <c:pt idx="7396">
                  <c:v>293624</c:v>
                </c:pt>
                <c:pt idx="7397">
                  <c:v>293616</c:v>
                </c:pt>
                <c:pt idx="7398">
                  <c:v>293615</c:v>
                </c:pt>
                <c:pt idx="7399">
                  <c:v>293613</c:v>
                </c:pt>
                <c:pt idx="7400">
                  <c:v>293602</c:v>
                </c:pt>
                <c:pt idx="7401">
                  <c:v>293601</c:v>
                </c:pt>
                <c:pt idx="7402">
                  <c:v>293597</c:v>
                </c:pt>
                <c:pt idx="7403">
                  <c:v>293589</c:v>
                </c:pt>
                <c:pt idx="7404">
                  <c:v>293568</c:v>
                </c:pt>
                <c:pt idx="7405">
                  <c:v>293566</c:v>
                </c:pt>
                <c:pt idx="7406">
                  <c:v>293549</c:v>
                </c:pt>
                <c:pt idx="7407">
                  <c:v>293533</c:v>
                </c:pt>
                <c:pt idx="7408">
                  <c:v>293533</c:v>
                </c:pt>
                <c:pt idx="7409">
                  <c:v>293532</c:v>
                </c:pt>
                <c:pt idx="7410">
                  <c:v>293529</c:v>
                </c:pt>
                <c:pt idx="7411">
                  <c:v>293508</c:v>
                </c:pt>
                <c:pt idx="7412">
                  <c:v>293500</c:v>
                </c:pt>
                <c:pt idx="7413">
                  <c:v>293492</c:v>
                </c:pt>
                <c:pt idx="7414">
                  <c:v>293488</c:v>
                </c:pt>
                <c:pt idx="7415">
                  <c:v>293476</c:v>
                </c:pt>
                <c:pt idx="7416">
                  <c:v>293468</c:v>
                </c:pt>
                <c:pt idx="7417">
                  <c:v>293456</c:v>
                </c:pt>
                <c:pt idx="7418">
                  <c:v>293433</c:v>
                </c:pt>
                <c:pt idx="7419">
                  <c:v>293430</c:v>
                </c:pt>
                <c:pt idx="7420">
                  <c:v>293410</c:v>
                </c:pt>
                <c:pt idx="7421">
                  <c:v>293390</c:v>
                </c:pt>
                <c:pt idx="7422">
                  <c:v>293380</c:v>
                </c:pt>
                <c:pt idx="7423">
                  <c:v>293355</c:v>
                </c:pt>
                <c:pt idx="7424">
                  <c:v>293348</c:v>
                </c:pt>
                <c:pt idx="7425">
                  <c:v>293336</c:v>
                </c:pt>
                <c:pt idx="7426">
                  <c:v>293310</c:v>
                </c:pt>
                <c:pt idx="7427">
                  <c:v>293304</c:v>
                </c:pt>
                <c:pt idx="7428">
                  <c:v>293303</c:v>
                </c:pt>
                <c:pt idx="7429">
                  <c:v>293286</c:v>
                </c:pt>
                <c:pt idx="7430">
                  <c:v>293262</c:v>
                </c:pt>
                <c:pt idx="7431">
                  <c:v>293247</c:v>
                </c:pt>
                <c:pt idx="7432">
                  <c:v>293213</c:v>
                </c:pt>
                <c:pt idx="7433">
                  <c:v>293209</c:v>
                </c:pt>
                <c:pt idx="7434">
                  <c:v>293200</c:v>
                </c:pt>
                <c:pt idx="7435">
                  <c:v>293186</c:v>
                </c:pt>
                <c:pt idx="7436">
                  <c:v>293183</c:v>
                </c:pt>
                <c:pt idx="7437">
                  <c:v>293149</c:v>
                </c:pt>
                <c:pt idx="7438">
                  <c:v>293134</c:v>
                </c:pt>
                <c:pt idx="7439">
                  <c:v>293132</c:v>
                </c:pt>
                <c:pt idx="7440">
                  <c:v>293091</c:v>
                </c:pt>
                <c:pt idx="7441">
                  <c:v>293064</c:v>
                </c:pt>
                <c:pt idx="7442">
                  <c:v>293052</c:v>
                </c:pt>
                <c:pt idx="7443">
                  <c:v>293047</c:v>
                </c:pt>
                <c:pt idx="7444">
                  <c:v>293037</c:v>
                </c:pt>
                <c:pt idx="7445">
                  <c:v>293023</c:v>
                </c:pt>
                <c:pt idx="7446">
                  <c:v>293019</c:v>
                </c:pt>
                <c:pt idx="7447">
                  <c:v>292999</c:v>
                </c:pt>
                <c:pt idx="7448">
                  <c:v>292982</c:v>
                </c:pt>
                <c:pt idx="7449">
                  <c:v>292975</c:v>
                </c:pt>
                <c:pt idx="7450">
                  <c:v>292972</c:v>
                </c:pt>
                <c:pt idx="7451">
                  <c:v>292946</c:v>
                </c:pt>
                <c:pt idx="7452">
                  <c:v>292912</c:v>
                </c:pt>
                <c:pt idx="7453">
                  <c:v>292901</c:v>
                </c:pt>
                <c:pt idx="7454">
                  <c:v>292897</c:v>
                </c:pt>
                <c:pt idx="7455">
                  <c:v>292897</c:v>
                </c:pt>
                <c:pt idx="7456">
                  <c:v>292884</c:v>
                </c:pt>
                <c:pt idx="7457">
                  <c:v>292883</c:v>
                </c:pt>
                <c:pt idx="7458">
                  <c:v>292883</c:v>
                </c:pt>
                <c:pt idx="7459">
                  <c:v>292849</c:v>
                </c:pt>
                <c:pt idx="7460">
                  <c:v>292847</c:v>
                </c:pt>
                <c:pt idx="7461">
                  <c:v>292826</c:v>
                </c:pt>
                <c:pt idx="7462">
                  <c:v>292826</c:v>
                </c:pt>
                <c:pt idx="7463">
                  <c:v>292823</c:v>
                </c:pt>
                <c:pt idx="7464">
                  <c:v>292797</c:v>
                </c:pt>
                <c:pt idx="7465">
                  <c:v>292795</c:v>
                </c:pt>
                <c:pt idx="7466">
                  <c:v>292795</c:v>
                </c:pt>
                <c:pt idx="7467">
                  <c:v>292781</c:v>
                </c:pt>
                <c:pt idx="7468">
                  <c:v>292773</c:v>
                </c:pt>
                <c:pt idx="7469">
                  <c:v>292768</c:v>
                </c:pt>
                <c:pt idx="7470">
                  <c:v>292763</c:v>
                </c:pt>
                <c:pt idx="7471">
                  <c:v>292740</c:v>
                </c:pt>
                <c:pt idx="7472">
                  <c:v>292732</c:v>
                </c:pt>
                <c:pt idx="7473">
                  <c:v>292726</c:v>
                </c:pt>
                <c:pt idx="7474">
                  <c:v>292726</c:v>
                </c:pt>
                <c:pt idx="7475">
                  <c:v>292713</c:v>
                </c:pt>
                <c:pt idx="7476">
                  <c:v>292682</c:v>
                </c:pt>
                <c:pt idx="7477">
                  <c:v>292675</c:v>
                </c:pt>
                <c:pt idx="7478">
                  <c:v>292670</c:v>
                </c:pt>
                <c:pt idx="7479">
                  <c:v>292660</c:v>
                </c:pt>
                <c:pt idx="7480">
                  <c:v>292639</c:v>
                </c:pt>
                <c:pt idx="7481">
                  <c:v>292582</c:v>
                </c:pt>
                <c:pt idx="7482">
                  <c:v>292559</c:v>
                </c:pt>
                <c:pt idx="7483">
                  <c:v>292546</c:v>
                </c:pt>
                <c:pt idx="7484">
                  <c:v>292541</c:v>
                </c:pt>
                <c:pt idx="7485">
                  <c:v>292518</c:v>
                </c:pt>
                <c:pt idx="7486">
                  <c:v>292482</c:v>
                </c:pt>
                <c:pt idx="7487">
                  <c:v>292469</c:v>
                </c:pt>
                <c:pt idx="7488">
                  <c:v>292426</c:v>
                </c:pt>
                <c:pt idx="7489">
                  <c:v>292397</c:v>
                </c:pt>
                <c:pt idx="7490">
                  <c:v>292367</c:v>
                </c:pt>
                <c:pt idx="7491">
                  <c:v>292364</c:v>
                </c:pt>
                <c:pt idx="7492">
                  <c:v>292354</c:v>
                </c:pt>
                <c:pt idx="7493">
                  <c:v>292311</c:v>
                </c:pt>
                <c:pt idx="7494">
                  <c:v>292291</c:v>
                </c:pt>
                <c:pt idx="7495">
                  <c:v>292212</c:v>
                </c:pt>
                <c:pt idx="7496">
                  <c:v>292201</c:v>
                </c:pt>
                <c:pt idx="7497">
                  <c:v>292198</c:v>
                </c:pt>
                <c:pt idx="7498">
                  <c:v>292196</c:v>
                </c:pt>
                <c:pt idx="7499">
                  <c:v>292177</c:v>
                </c:pt>
                <c:pt idx="7500">
                  <c:v>292173</c:v>
                </c:pt>
                <c:pt idx="7501">
                  <c:v>292163</c:v>
                </c:pt>
                <c:pt idx="7502">
                  <c:v>292142</c:v>
                </c:pt>
                <c:pt idx="7503">
                  <c:v>292067</c:v>
                </c:pt>
                <c:pt idx="7504">
                  <c:v>292059</c:v>
                </c:pt>
                <c:pt idx="7505">
                  <c:v>292051</c:v>
                </c:pt>
                <c:pt idx="7506">
                  <c:v>292051</c:v>
                </c:pt>
                <c:pt idx="7507">
                  <c:v>292015</c:v>
                </c:pt>
                <c:pt idx="7508">
                  <c:v>292002</c:v>
                </c:pt>
                <c:pt idx="7509">
                  <c:v>291987</c:v>
                </c:pt>
                <c:pt idx="7510">
                  <c:v>291986</c:v>
                </c:pt>
                <c:pt idx="7511">
                  <c:v>291979</c:v>
                </c:pt>
                <c:pt idx="7512">
                  <c:v>291966</c:v>
                </c:pt>
                <c:pt idx="7513">
                  <c:v>291966</c:v>
                </c:pt>
                <c:pt idx="7514">
                  <c:v>291918</c:v>
                </c:pt>
                <c:pt idx="7515">
                  <c:v>291913</c:v>
                </c:pt>
                <c:pt idx="7516">
                  <c:v>291900</c:v>
                </c:pt>
                <c:pt idx="7517">
                  <c:v>291896</c:v>
                </c:pt>
                <c:pt idx="7518">
                  <c:v>291889</c:v>
                </c:pt>
                <c:pt idx="7519">
                  <c:v>291856</c:v>
                </c:pt>
                <c:pt idx="7520">
                  <c:v>291854</c:v>
                </c:pt>
                <c:pt idx="7521">
                  <c:v>291844</c:v>
                </c:pt>
                <c:pt idx="7522">
                  <c:v>291841</c:v>
                </c:pt>
                <c:pt idx="7523">
                  <c:v>291818</c:v>
                </c:pt>
                <c:pt idx="7524">
                  <c:v>291787</c:v>
                </c:pt>
                <c:pt idx="7525">
                  <c:v>291780</c:v>
                </c:pt>
                <c:pt idx="7526">
                  <c:v>291756</c:v>
                </c:pt>
                <c:pt idx="7527">
                  <c:v>291755</c:v>
                </c:pt>
                <c:pt idx="7528">
                  <c:v>291729</c:v>
                </c:pt>
                <c:pt idx="7529">
                  <c:v>291720</c:v>
                </c:pt>
                <c:pt idx="7530">
                  <c:v>291714</c:v>
                </c:pt>
                <c:pt idx="7531">
                  <c:v>291703</c:v>
                </c:pt>
                <c:pt idx="7532">
                  <c:v>291694</c:v>
                </c:pt>
                <c:pt idx="7533">
                  <c:v>291682</c:v>
                </c:pt>
                <c:pt idx="7534">
                  <c:v>291674</c:v>
                </c:pt>
                <c:pt idx="7535">
                  <c:v>291658</c:v>
                </c:pt>
                <c:pt idx="7536">
                  <c:v>291652</c:v>
                </c:pt>
                <c:pt idx="7537">
                  <c:v>291652</c:v>
                </c:pt>
                <c:pt idx="7538">
                  <c:v>291645</c:v>
                </c:pt>
                <c:pt idx="7539">
                  <c:v>291639</c:v>
                </c:pt>
                <c:pt idx="7540">
                  <c:v>291638</c:v>
                </c:pt>
                <c:pt idx="7541">
                  <c:v>291615</c:v>
                </c:pt>
                <c:pt idx="7542">
                  <c:v>291614</c:v>
                </c:pt>
                <c:pt idx="7543">
                  <c:v>291611</c:v>
                </c:pt>
                <c:pt idx="7544">
                  <c:v>291597</c:v>
                </c:pt>
                <c:pt idx="7545">
                  <c:v>291580</c:v>
                </c:pt>
                <c:pt idx="7546">
                  <c:v>291557</c:v>
                </c:pt>
                <c:pt idx="7547">
                  <c:v>291544</c:v>
                </c:pt>
                <c:pt idx="7548">
                  <c:v>291531</c:v>
                </c:pt>
                <c:pt idx="7549">
                  <c:v>291530</c:v>
                </c:pt>
                <c:pt idx="7550">
                  <c:v>291518</c:v>
                </c:pt>
                <c:pt idx="7551">
                  <c:v>291502</c:v>
                </c:pt>
                <c:pt idx="7552">
                  <c:v>291501</c:v>
                </c:pt>
                <c:pt idx="7553">
                  <c:v>291490</c:v>
                </c:pt>
                <c:pt idx="7554">
                  <c:v>291479</c:v>
                </c:pt>
                <c:pt idx="7555">
                  <c:v>291453</c:v>
                </c:pt>
                <c:pt idx="7556">
                  <c:v>291441</c:v>
                </c:pt>
                <c:pt idx="7557">
                  <c:v>291407</c:v>
                </c:pt>
                <c:pt idx="7558">
                  <c:v>291403</c:v>
                </c:pt>
                <c:pt idx="7559">
                  <c:v>291390</c:v>
                </c:pt>
                <c:pt idx="7560">
                  <c:v>291369</c:v>
                </c:pt>
                <c:pt idx="7561">
                  <c:v>291348</c:v>
                </c:pt>
                <c:pt idx="7562">
                  <c:v>291338</c:v>
                </c:pt>
                <c:pt idx="7563">
                  <c:v>291336</c:v>
                </c:pt>
                <c:pt idx="7564">
                  <c:v>291330</c:v>
                </c:pt>
                <c:pt idx="7565">
                  <c:v>291321</c:v>
                </c:pt>
                <c:pt idx="7566">
                  <c:v>291309</c:v>
                </c:pt>
                <c:pt idx="7567">
                  <c:v>291298</c:v>
                </c:pt>
                <c:pt idx="7568">
                  <c:v>291296</c:v>
                </c:pt>
                <c:pt idx="7569">
                  <c:v>291282</c:v>
                </c:pt>
                <c:pt idx="7570">
                  <c:v>291280</c:v>
                </c:pt>
                <c:pt idx="7571">
                  <c:v>291276</c:v>
                </c:pt>
                <c:pt idx="7572">
                  <c:v>291261</c:v>
                </c:pt>
                <c:pt idx="7573">
                  <c:v>291245</c:v>
                </c:pt>
                <c:pt idx="7574">
                  <c:v>291235</c:v>
                </c:pt>
                <c:pt idx="7575">
                  <c:v>291224</c:v>
                </c:pt>
                <c:pt idx="7576">
                  <c:v>291215</c:v>
                </c:pt>
                <c:pt idx="7577">
                  <c:v>291215</c:v>
                </c:pt>
                <c:pt idx="7578">
                  <c:v>291207</c:v>
                </c:pt>
                <c:pt idx="7579">
                  <c:v>291202</c:v>
                </c:pt>
                <c:pt idx="7580">
                  <c:v>291199</c:v>
                </c:pt>
                <c:pt idx="7581">
                  <c:v>291188</c:v>
                </c:pt>
                <c:pt idx="7582">
                  <c:v>291187</c:v>
                </c:pt>
                <c:pt idx="7583">
                  <c:v>291184</c:v>
                </c:pt>
                <c:pt idx="7584">
                  <c:v>291184</c:v>
                </c:pt>
                <c:pt idx="7585">
                  <c:v>291178</c:v>
                </c:pt>
                <c:pt idx="7586">
                  <c:v>291173</c:v>
                </c:pt>
                <c:pt idx="7587">
                  <c:v>291168</c:v>
                </c:pt>
                <c:pt idx="7588">
                  <c:v>291163</c:v>
                </c:pt>
                <c:pt idx="7589">
                  <c:v>291160</c:v>
                </c:pt>
                <c:pt idx="7590">
                  <c:v>291155</c:v>
                </c:pt>
                <c:pt idx="7591">
                  <c:v>291151</c:v>
                </c:pt>
                <c:pt idx="7592">
                  <c:v>291132</c:v>
                </c:pt>
                <c:pt idx="7593">
                  <c:v>291094</c:v>
                </c:pt>
                <c:pt idx="7594">
                  <c:v>291093</c:v>
                </c:pt>
                <c:pt idx="7595">
                  <c:v>291080</c:v>
                </c:pt>
                <c:pt idx="7596">
                  <c:v>291071</c:v>
                </c:pt>
                <c:pt idx="7597">
                  <c:v>291054</c:v>
                </c:pt>
                <c:pt idx="7598">
                  <c:v>291037</c:v>
                </c:pt>
                <c:pt idx="7599">
                  <c:v>291030</c:v>
                </c:pt>
                <c:pt idx="7600">
                  <c:v>291013</c:v>
                </c:pt>
                <c:pt idx="7601">
                  <c:v>291011</c:v>
                </c:pt>
                <c:pt idx="7602">
                  <c:v>290960</c:v>
                </c:pt>
                <c:pt idx="7603">
                  <c:v>290935</c:v>
                </c:pt>
                <c:pt idx="7604">
                  <c:v>290935</c:v>
                </c:pt>
                <c:pt idx="7605">
                  <c:v>290917</c:v>
                </c:pt>
                <c:pt idx="7606">
                  <c:v>290899</c:v>
                </c:pt>
                <c:pt idx="7607">
                  <c:v>290888</c:v>
                </c:pt>
                <c:pt idx="7608">
                  <c:v>290888</c:v>
                </c:pt>
                <c:pt idx="7609">
                  <c:v>290876</c:v>
                </c:pt>
                <c:pt idx="7610">
                  <c:v>290867</c:v>
                </c:pt>
                <c:pt idx="7611">
                  <c:v>290852</c:v>
                </c:pt>
                <c:pt idx="7612">
                  <c:v>290851</c:v>
                </c:pt>
                <c:pt idx="7613">
                  <c:v>290811</c:v>
                </c:pt>
                <c:pt idx="7614">
                  <c:v>290779</c:v>
                </c:pt>
                <c:pt idx="7615">
                  <c:v>290778</c:v>
                </c:pt>
                <c:pt idx="7616">
                  <c:v>290778</c:v>
                </c:pt>
                <c:pt idx="7617">
                  <c:v>290773</c:v>
                </c:pt>
                <c:pt idx="7618">
                  <c:v>290764</c:v>
                </c:pt>
                <c:pt idx="7619">
                  <c:v>290752</c:v>
                </c:pt>
                <c:pt idx="7620">
                  <c:v>290746</c:v>
                </c:pt>
                <c:pt idx="7621">
                  <c:v>290725</c:v>
                </c:pt>
                <c:pt idx="7622">
                  <c:v>290710</c:v>
                </c:pt>
                <c:pt idx="7623">
                  <c:v>290704</c:v>
                </c:pt>
                <c:pt idx="7624">
                  <c:v>290704</c:v>
                </c:pt>
                <c:pt idx="7625">
                  <c:v>290700</c:v>
                </c:pt>
                <c:pt idx="7626">
                  <c:v>290662</c:v>
                </c:pt>
                <c:pt idx="7627">
                  <c:v>290660</c:v>
                </c:pt>
                <c:pt idx="7628">
                  <c:v>290659</c:v>
                </c:pt>
                <c:pt idx="7629">
                  <c:v>290641</c:v>
                </c:pt>
                <c:pt idx="7630">
                  <c:v>290577</c:v>
                </c:pt>
                <c:pt idx="7631">
                  <c:v>290574</c:v>
                </c:pt>
                <c:pt idx="7632">
                  <c:v>290568</c:v>
                </c:pt>
                <c:pt idx="7633">
                  <c:v>290565</c:v>
                </c:pt>
                <c:pt idx="7634">
                  <c:v>290563</c:v>
                </c:pt>
                <c:pt idx="7635">
                  <c:v>290550</c:v>
                </c:pt>
                <c:pt idx="7636">
                  <c:v>290542</c:v>
                </c:pt>
                <c:pt idx="7637">
                  <c:v>290537</c:v>
                </c:pt>
                <c:pt idx="7638">
                  <c:v>290530</c:v>
                </c:pt>
                <c:pt idx="7639">
                  <c:v>290529</c:v>
                </c:pt>
                <c:pt idx="7640">
                  <c:v>290521</c:v>
                </c:pt>
                <c:pt idx="7641">
                  <c:v>290497</c:v>
                </c:pt>
                <c:pt idx="7642">
                  <c:v>290487</c:v>
                </c:pt>
                <c:pt idx="7643">
                  <c:v>290486</c:v>
                </c:pt>
                <c:pt idx="7644">
                  <c:v>290481</c:v>
                </c:pt>
                <c:pt idx="7645">
                  <c:v>290448</c:v>
                </c:pt>
                <c:pt idx="7646">
                  <c:v>290448</c:v>
                </c:pt>
                <c:pt idx="7647">
                  <c:v>290446</c:v>
                </c:pt>
                <c:pt idx="7648">
                  <c:v>290427</c:v>
                </c:pt>
                <c:pt idx="7649">
                  <c:v>290408</c:v>
                </c:pt>
                <c:pt idx="7650">
                  <c:v>290406</c:v>
                </c:pt>
                <c:pt idx="7651">
                  <c:v>290400</c:v>
                </c:pt>
                <c:pt idx="7652">
                  <c:v>290369</c:v>
                </c:pt>
                <c:pt idx="7653">
                  <c:v>290367</c:v>
                </c:pt>
                <c:pt idx="7654">
                  <c:v>290357</c:v>
                </c:pt>
                <c:pt idx="7655">
                  <c:v>290330</c:v>
                </c:pt>
                <c:pt idx="7656">
                  <c:v>290320</c:v>
                </c:pt>
                <c:pt idx="7657">
                  <c:v>290316</c:v>
                </c:pt>
                <c:pt idx="7658">
                  <c:v>290283</c:v>
                </c:pt>
                <c:pt idx="7659">
                  <c:v>290279</c:v>
                </c:pt>
                <c:pt idx="7660">
                  <c:v>290256</c:v>
                </c:pt>
                <c:pt idx="7661">
                  <c:v>290242</c:v>
                </c:pt>
                <c:pt idx="7662">
                  <c:v>290241</c:v>
                </c:pt>
                <c:pt idx="7663">
                  <c:v>290236</c:v>
                </c:pt>
                <c:pt idx="7664">
                  <c:v>290235</c:v>
                </c:pt>
                <c:pt idx="7665">
                  <c:v>290234</c:v>
                </c:pt>
                <c:pt idx="7666">
                  <c:v>290219</c:v>
                </c:pt>
                <c:pt idx="7667">
                  <c:v>290218</c:v>
                </c:pt>
                <c:pt idx="7668">
                  <c:v>290204</c:v>
                </c:pt>
                <c:pt idx="7669">
                  <c:v>290193</c:v>
                </c:pt>
                <c:pt idx="7670">
                  <c:v>290136</c:v>
                </c:pt>
                <c:pt idx="7671">
                  <c:v>290135</c:v>
                </c:pt>
                <c:pt idx="7672">
                  <c:v>290110</c:v>
                </c:pt>
                <c:pt idx="7673">
                  <c:v>290094</c:v>
                </c:pt>
                <c:pt idx="7674">
                  <c:v>290006</c:v>
                </c:pt>
                <c:pt idx="7675">
                  <c:v>290002</c:v>
                </c:pt>
                <c:pt idx="7676">
                  <c:v>289978</c:v>
                </c:pt>
                <c:pt idx="7677">
                  <c:v>289949</c:v>
                </c:pt>
                <c:pt idx="7678">
                  <c:v>289945</c:v>
                </c:pt>
                <c:pt idx="7679">
                  <c:v>289929</c:v>
                </c:pt>
                <c:pt idx="7680">
                  <c:v>289916</c:v>
                </c:pt>
                <c:pt idx="7681">
                  <c:v>289908</c:v>
                </c:pt>
                <c:pt idx="7682">
                  <c:v>289907</c:v>
                </c:pt>
                <c:pt idx="7683">
                  <c:v>289889</c:v>
                </c:pt>
                <c:pt idx="7684">
                  <c:v>289869</c:v>
                </c:pt>
                <c:pt idx="7685">
                  <c:v>289866</c:v>
                </c:pt>
                <c:pt idx="7686">
                  <c:v>289856</c:v>
                </c:pt>
                <c:pt idx="7687">
                  <c:v>289837</c:v>
                </c:pt>
                <c:pt idx="7688">
                  <c:v>289833</c:v>
                </c:pt>
                <c:pt idx="7689">
                  <c:v>289829</c:v>
                </c:pt>
                <c:pt idx="7690">
                  <c:v>289816</c:v>
                </c:pt>
                <c:pt idx="7691">
                  <c:v>289788</c:v>
                </c:pt>
                <c:pt idx="7692">
                  <c:v>289766</c:v>
                </c:pt>
                <c:pt idx="7693">
                  <c:v>289762</c:v>
                </c:pt>
                <c:pt idx="7694">
                  <c:v>289760</c:v>
                </c:pt>
                <c:pt idx="7695">
                  <c:v>289759</c:v>
                </c:pt>
                <c:pt idx="7696">
                  <c:v>289754</c:v>
                </c:pt>
                <c:pt idx="7697">
                  <c:v>289747</c:v>
                </c:pt>
                <c:pt idx="7698">
                  <c:v>289738</c:v>
                </c:pt>
                <c:pt idx="7699">
                  <c:v>289734</c:v>
                </c:pt>
                <c:pt idx="7700">
                  <c:v>289727</c:v>
                </c:pt>
                <c:pt idx="7701">
                  <c:v>289709</c:v>
                </c:pt>
                <c:pt idx="7702">
                  <c:v>289703</c:v>
                </c:pt>
                <c:pt idx="7703">
                  <c:v>289681</c:v>
                </c:pt>
                <c:pt idx="7704">
                  <c:v>289672</c:v>
                </c:pt>
                <c:pt idx="7705">
                  <c:v>289664</c:v>
                </c:pt>
                <c:pt idx="7706">
                  <c:v>289654</c:v>
                </c:pt>
                <c:pt idx="7707">
                  <c:v>289648</c:v>
                </c:pt>
                <c:pt idx="7708">
                  <c:v>289637</c:v>
                </c:pt>
                <c:pt idx="7709">
                  <c:v>289637</c:v>
                </c:pt>
                <c:pt idx="7710">
                  <c:v>289625</c:v>
                </c:pt>
                <c:pt idx="7711">
                  <c:v>289607</c:v>
                </c:pt>
                <c:pt idx="7712">
                  <c:v>289603</c:v>
                </c:pt>
                <c:pt idx="7713">
                  <c:v>289598</c:v>
                </c:pt>
                <c:pt idx="7714">
                  <c:v>289553</c:v>
                </c:pt>
                <c:pt idx="7715">
                  <c:v>289550</c:v>
                </c:pt>
                <c:pt idx="7716">
                  <c:v>289541</c:v>
                </c:pt>
                <c:pt idx="7717">
                  <c:v>289524</c:v>
                </c:pt>
                <c:pt idx="7718">
                  <c:v>289522</c:v>
                </c:pt>
                <c:pt idx="7719">
                  <c:v>289517</c:v>
                </c:pt>
                <c:pt idx="7720">
                  <c:v>289508</c:v>
                </c:pt>
                <c:pt idx="7721">
                  <c:v>289482</c:v>
                </c:pt>
                <c:pt idx="7722">
                  <c:v>289473</c:v>
                </c:pt>
                <c:pt idx="7723">
                  <c:v>289463</c:v>
                </c:pt>
                <c:pt idx="7724">
                  <c:v>289448</c:v>
                </c:pt>
                <c:pt idx="7725">
                  <c:v>289437</c:v>
                </c:pt>
                <c:pt idx="7726">
                  <c:v>289434</c:v>
                </c:pt>
                <c:pt idx="7727">
                  <c:v>289434</c:v>
                </c:pt>
                <c:pt idx="7728">
                  <c:v>289426</c:v>
                </c:pt>
                <c:pt idx="7729">
                  <c:v>289423</c:v>
                </c:pt>
                <c:pt idx="7730">
                  <c:v>289403</c:v>
                </c:pt>
                <c:pt idx="7731">
                  <c:v>289397</c:v>
                </c:pt>
                <c:pt idx="7732">
                  <c:v>289351</c:v>
                </c:pt>
                <c:pt idx="7733">
                  <c:v>289347</c:v>
                </c:pt>
                <c:pt idx="7734">
                  <c:v>289323</c:v>
                </c:pt>
                <c:pt idx="7735">
                  <c:v>289309</c:v>
                </c:pt>
                <c:pt idx="7736">
                  <c:v>289304</c:v>
                </c:pt>
                <c:pt idx="7737">
                  <c:v>289302</c:v>
                </c:pt>
                <c:pt idx="7738">
                  <c:v>289301</c:v>
                </c:pt>
                <c:pt idx="7739">
                  <c:v>289264</c:v>
                </c:pt>
                <c:pt idx="7740">
                  <c:v>289262</c:v>
                </c:pt>
                <c:pt idx="7741">
                  <c:v>289260</c:v>
                </c:pt>
                <c:pt idx="7742">
                  <c:v>289260</c:v>
                </c:pt>
                <c:pt idx="7743">
                  <c:v>289254</c:v>
                </c:pt>
                <c:pt idx="7744">
                  <c:v>289235</c:v>
                </c:pt>
                <c:pt idx="7745">
                  <c:v>289182</c:v>
                </c:pt>
                <c:pt idx="7746">
                  <c:v>289173</c:v>
                </c:pt>
                <c:pt idx="7747">
                  <c:v>289171</c:v>
                </c:pt>
                <c:pt idx="7748">
                  <c:v>289144</c:v>
                </c:pt>
                <c:pt idx="7749">
                  <c:v>289100</c:v>
                </c:pt>
                <c:pt idx="7750">
                  <c:v>289092</c:v>
                </c:pt>
                <c:pt idx="7751">
                  <c:v>289067</c:v>
                </c:pt>
                <c:pt idx="7752">
                  <c:v>289021</c:v>
                </c:pt>
                <c:pt idx="7753">
                  <c:v>289010</c:v>
                </c:pt>
                <c:pt idx="7754">
                  <c:v>288990</c:v>
                </c:pt>
                <c:pt idx="7755">
                  <c:v>288986</c:v>
                </c:pt>
                <c:pt idx="7756">
                  <c:v>288977</c:v>
                </c:pt>
                <c:pt idx="7757">
                  <c:v>288971</c:v>
                </c:pt>
                <c:pt idx="7758">
                  <c:v>288938</c:v>
                </c:pt>
                <c:pt idx="7759">
                  <c:v>288902</c:v>
                </c:pt>
                <c:pt idx="7760">
                  <c:v>288872</c:v>
                </c:pt>
                <c:pt idx="7761">
                  <c:v>288867</c:v>
                </c:pt>
                <c:pt idx="7762">
                  <c:v>288859</c:v>
                </c:pt>
                <c:pt idx="7763">
                  <c:v>288850</c:v>
                </c:pt>
                <c:pt idx="7764">
                  <c:v>288848</c:v>
                </c:pt>
                <c:pt idx="7765">
                  <c:v>288824</c:v>
                </c:pt>
                <c:pt idx="7766">
                  <c:v>288822</c:v>
                </c:pt>
                <c:pt idx="7767">
                  <c:v>288812</c:v>
                </c:pt>
                <c:pt idx="7768">
                  <c:v>288809</c:v>
                </c:pt>
                <c:pt idx="7769">
                  <c:v>288807</c:v>
                </c:pt>
                <c:pt idx="7770">
                  <c:v>288801</c:v>
                </c:pt>
                <c:pt idx="7771">
                  <c:v>288787</c:v>
                </c:pt>
                <c:pt idx="7772">
                  <c:v>288785</c:v>
                </c:pt>
                <c:pt idx="7773">
                  <c:v>288766</c:v>
                </c:pt>
                <c:pt idx="7774">
                  <c:v>288758</c:v>
                </c:pt>
                <c:pt idx="7775">
                  <c:v>288744</c:v>
                </c:pt>
                <c:pt idx="7776">
                  <c:v>288734</c:v>
                </c:pt>
                <c:pt idx="7777">
                  <c:v>288722</c:v>
                </c:pt>
                <c:pt idx="7778">
                  <c:v>288717</c:v>
                </c:pt>
                <c:pt idx="7779">
                  <c:v>288696</c:v>
                </c:pt>
                <c:pt idx="7780">
                  <c:v>288694</c:v>
                </c:pt>
                <c:pt idx="7781">
                  <c:v>288684</c:v>
                </c:pt>
                <c:pt idx="7782">
                  <c:v>288682</c:v>
                </c:pt>
                <c:pt idx="7783">
                  <c:v>288674</c:v>
                </c:pt>
                <c:pt idx="7784">
                  <c:v>288663</c:v>
                </c:pt>
                <c:pt idx="7785">
                  <c:v>288663</c:v>
                </c:pt>
                <c:pt idx="7786">
                  <c:v>288656</c:v>
                </c:pt>
                <c:pt idx="7787">
                  <c:v>288655</c:v>
                </c:pt>
                <c:pt idx="7788">
                  <c:v>288651</c:v>
                </c:pt>
                <c:pt idx="7789">
                  <c:v>288650</c:v>
                </c:pt>
                <c:pt idx="7790">
                  <c:v>288648</c:v>
                </c:pt>
                <c:pt idx="7791">
                  <c:v>288644</c:v>
                </c:pt>
                <c:pt idx="7792">
                  <c:v>288621</c:v>
                </c:pt>
                <c:pt idx="7793">
                  <c:v>288619</c:v>
                </c:pt>
                <c:pt idx="7794">
                  <c:v>288613</c:v>
                </c:pt>
                <c:pt idx="7795">
                  <c:v>288606</c:v>
                </c:pt>
                <c:pt idx="7796">
                  <c:v>288605</c:v>
                </c:pt>
                <c:pt idx="7797">
                  <c:v>288585</c:v>
                </c:pt>
                <c:pt idx="7798">
                  <c:v>288568</c:v>
                </c:pt>
                <c:pt idx="7799">
                  <c:v>288552</c:v>
                </c:pt>
                <c:pt idx="7800">
                  <c:v>288548</c:v>
                </c:pt>
                <c:pt idx="7801">
                  <c:v>288543</c:v>
                </c:pt>
                <c:pt idx="7802">
                  <c:v>288525</c:v>
                </c:pt>
                <c:pt idx="7803">
                  <c:v>288510</c:v>
                </c:pt>
                <c:pt idx="7804">
                  <c:v>288500</c:v>
                </c:pt>
                <c:pt idx="7805">
                  <c:v>288482</c:v>
                </c:pt>
                <c:pt idx="7806">
                  <c:v>288462</c:v>
                </c:pt>
                <c:pt idx="7807">
                  <c:v>288453</c:v>
                </c:pt>
                <c:pt idx="7808">
                  <c:v>288453</c:v>
                </c:pt>
                <c:pt idx="7809">
                  <c:v>288451</c:v>
                </c:pt>
                <c:pt idx="7810">
                  <c:v>288445</c:v>
                </c:pt>
                <c:pt idx="7811">
                  <c:v>288441</c:v>
                </c:pt>
                <c:pt idx="7812">
                  <c:v>288435</c:v>
                </c:pt>
                <c:pt idx="7813">
                  <c:v>288435</c:v>
                </c:pt>
                <c:pt idx="7814">
                  <c:v>288433</c:v>
                </c:pt>
                <c:pt idx="7815">
                  <c:v>288428</c:v>
                </c:pt>
                <c:pt idx="7816">
                  <c:v>288421</c:v>
                </c:pt>
                <c:pt idx="7817">
                  <c:v>288397</c:v>
                </c:pt>
                <c:pt idx="7818">
                  <c:v>288391</c:v>
                </c:pt>
                <c:pt idx="7819">
                  <c:v>288379</c:v>
                </c:pt>
                <c:pt idx="7820">
                  <c:v>288374</c:v>
                </c:pt>
                <c:pt idx="7821">
                  <c:v>288373</c:v>
                </c:pt>
                <c:pt idx="7822">
                  <c:v>288317</c:v>
                </c:pt>
                <c:pt idx="7823">
                  <c:v>288303</c:v>
                </c:pt>
                <c:pt idx="7824">
                  <c:v>288296</c:v>
                </c:pt>
                <c:pt idx="7825">
                  <c:v>288294</c:v>
                </c:pt>
                <c:pt idx="7826">
                  <c:v>288257</c:v>
                </c:pt>
                <c:pt idx="7827">
                  <c:v>288252</c:v>
                </c:pt>
                <c:pt idx="7828">
                  <c:v>288244</c:v>
                </c:pt>
                <c:pt idx="7829">
                  <c:v>288230</c:v>
                </c:pt>
                <c:pt idx="7830">
                  <c:v>288227</c:v>
                </c:pt>
                <c:pt idx="7831">
                  <c:v>288218</c:v>
                </c:pt>
                <c:pt idx="7832">
                  <c:v>288142</c:v>
                </c:pt>
                <c:pt idx="7833">
                  <c:v>288120</c:v>
                </c:pt>
                <c:pt idx="7834">
                  <c:v>288114</c:v>
                </c:pt>
                <c:pt idx="7835">
                  <c:v>288107</c:v>
                </c:pt>
                <c:pt idx="7836">
                  <c:v>288091</c:v>
                </c:pt>
                <c:pt idx="7837">
                  <c:v>288075</c:v>
                </c:pt>
                <c:pt idx="7838">
                  <c:v>288066</c:v>
                </c:pt>
                <c:pt idx="7839">
                  <c:v>288065</c:v>
                </c:pt>
                <c:pt idx="7840">
                  <c:v>288060</c:v>
                </c:pt>
                <c:pt idx="7841">
                  <c:v>288043</c:v>
                </c:pt>
                <c:pt idx="7842">
                  <c:v>288033</c:v>
                </c:pt>
                <c:pt idx="7843">
                  <c:v>288032</c:v>
                </c:pt>
                <c:pt idx="7844">
                  <c:v>288025</c:v>
                </c:pt>
                <c:pt idx="7845">
                  <c:v>288002</c:v>
                </c:pt>
                <c:pt idx="7846">
                  <c:v>287990</c:v>
                </c:pt>
                <c:pt idx="7847">
                  <c:v>287954</c:v>
                </c:pt>
                <c:pt idx="7848">
                  <c:v>287937</c:v>
                </c:pt>
                <c:pt idx="7849">
                  <c:v>287882</c:v>
                </c:pt>
                <c:pt idx="7850">
                  <c:v>287847</c:v>
                </c:pt>
                <c:pt idx="7851">
                  <c:v>287832</c:v>
                </c:pt>
                <c:pt idx="7852">
                  <c:v>287825</c:v>
                </c:pt>
                <c:pt idx="7853">
                  <c:v>287822</c:v>
                </c:pt>
                <c:pt idx="7854">
                  <c:v>287804</c:v>
                </c:pt>
                <c:pt idx="7855">
                  <c:v>287797</c:v>
                </c:pt>
                <c:pt idx="7856">
                  <c:v>287788</c:v>
                </c:pt>
                <c:pt idx="7857">
                  <c:v>287782</c:v>
                </c:pt>
                <c:pt idx="7858">
                  <c:v>287779</c:v>
                </c:pt>
                <c:pt idx="7859">
                  <c:v>287731</c:v>
                </c:pt>
                <c:pt idx="7860">
                  <c:v>287730</c:v>
                </c:pt>
                <c:pt idx="7861">
                  <c:v>287719</c:v>
                </c:pt>
                <c:pt idx="7862">
                  <c:v>287716</c:v>
                </c:pt>
                <c:pt idx="7863">
                  <c:v>287700</c:v>
                </c:pt>
                <c:pt idx="7864">
                  <c:v>287700</c:v>
                </c:pt>
                <c:pt idx="7865">
                  <c:v>287683</c:v>
                </c:pt>
                <c:pt idx="7866">
                  <c:v>287655</c:v>
                </c:pt>
                <c:pt idx="7867">
                  <c:v>287653</c:v>
                </c:pt>
                <c:pt idx="7868">
                  <c:v>287653</c:v>
                </c:pt>
                <c:pt idx="7869">
                  <c:v>287642</c:v>
                </c:pt>
                <c:pt idx="7870">
                  <c:v>287623</c:v>
                </c:pt>
                <c:pt idx="7871">
                  <c:v>287613</c:v>
                </c:pt>
                <c:pt idx="7872">
                  <c:v>287603</c:v>
                </c:pt>
                <c:pt idx="7873">
                  <c:v>287596</c:v>
                </c:pt>
                <c:pt idx="7874">
                  <c:v>287574</c:v>
                </c:pt>
                <c:pt idx="7875">
                  <c:v>287572</c:v>
                </c:pt>
                <c:pt idx="7876">
                  <c:v>287551</c:v>
                </c:pt>
                <c:pt idx="7877">
                  <c:v>287549</c:v>
                </c:pt>
                <c:pt idx="7878">
                  <c:v>287546</c:v>
                </c:pt>
                <c:pt idx="7879">
                  <c:v>287543</c:v>
                </c:pt>
                <c:pt idx="7880">
                  <c:v>287526</c:v>
                </c:pt>
                <c:pt idx="7881">
                  <c:v>287514</c:v>
                </c:pt>
                <c:pt idx="7882">
                  <c:v>287506</c:v>
                </c:pt>
                <c:pt idx="7883">
                  <c:v>287503</c:v>
                </c:pt>
                <c:pt idx="7884">
                  <c:v>287497</c:v>
                </c:pt>
                <c:pt idx="7885">
                  <c:v>287457</c:v>
                </c:pt>
                <c:pt idx="7886">
                  <c:v>287457</c:v>
                </c:pt>
                <c:pt idx="7887">
                  <c:v>287429</c:v>
                </c:pt>
                <c:pt idx="7888">
                  <c:v>287411</c:v>
                </c:pt>
                <c:pt idx="7889">
                  <c:v>287408</c:v>
                </c:pt>
                <c:pt idx="7890">
                  <c:v>287389</c:v>
                </c:pt>
                <c:pt idx="7891">
                  <c:v>287377</c:v>
                </c:pt>
                <c:pt idx="7892">
                  <c:v>287376</c:v>
                </c:pt>
                <c:pt idx="7893">
                  <c:v>287362</c:v>
                </c:pt>
                <c:pt idx="7894">
                  <c:v>287340</c:v>
                </c:pt>
                <c:pt idx="7895">
                  <c:v>287327</c:v>
                </c:pt>
                <c:pt idx="7896">
                  <c:v>287300</c:v>
                </c:pt>
                <c:pt idx="7897">
                  <c:v>287288</c:v>
                </c:pt>
                <c:pt idx="7898">
                  <c:v>287270</c:v>
                </c:pt>
                <c:pt idx="7899">
                  <c:v>287241</c:v>
                </c:pt>
                <c:pt idx="7900">
                  <c:v>287236</c:v>
                </c:pt>
                <c:pt idx="7901">
                  <c:v>287214</c:v>
                </c:pt>
                <c:pt idx="7902">
                  <c:v>287199</c:v>
                </c:pt>
                <c:pt idx="7903">
                  <c:v>287189</c:v>
                </c:pt>
                <c:pt idx="7904">
                  <c:v>287178</c:v>
                </c:pt>
                <c:pt idx="7905">
                  <c:v>287160</c:v>
                </c:pt>
                <c:pt idx="7906">
                  <c:v>287148</c:v>
                </c:pt>
                <c:pt idx="7907">
                  <c:v>287145</c:v>
                </c:pt>
                <c:pt idx="7908">
                  <c:v>287116</c:v>
                </c:pt>
                <c:pt idx="7909">
                  <c:v>287115</c:v>
                </c:pt>
                <c:pt idx="7910">
                  <c:v>287108</c:v>
                </c:pt>
                <c:pt idx="7911">
                  <c:v>287106</c:v>
                </c:pt>
                <c:pt idx="7912">
                  <c:v>287103</c:v>
                </c:pt>
                <c:pt idx="7913">
                  <c:v>287101</c:v>
                </c:pt>
                <c:pt idx="7914">
                  <c:v>287096</c:v>
                </c:pt>
                <c:pt idx="7915">
                  <c:v>287055</c:v>
                </c:pt>
                <c:pt idx="7916">
                  <c:v>287053</c:v>
                </c:pt>
                <c:pt idx="7917">
                  <c:v>287047</c:v>
                </c:pt>
                <c:pt idx="7918">
                  <c:v>287041</c:v>
                </c:pt>
                <c:pt idx="7919">
                  <c:v>287034</c:v>
                </c:pt>
                <c:pt idx="7920">
                  <c:v>287025</c:v>
                </c:pt>
                <c:pt idx="7921">
                  <c:v>287024</c:v>
                </c:pt>
                <c:pt idx="7922">
                  <c:v>287015</c:v>
                </c:pt>
                <c:pt idx="7923">
                  <c:v>287002</c:v>
                </c:pt>
                <c:pt idx="7924">
                  <c:v>286995</c:v>
                </c:pt>
                <c:pt idx="7925">
                  <c:v>286976</c:v>
                </c:pt>
                <c:pt idx="7926">
                  <c:v>286967</c:v>
                </c:pt>
                <c:pt idx="7927">
                  <c:v>286944</c:v>
                </c:pt>
                <c:pt idx="7928">
                  <c:v>286942</c:v>
                </c:pt>
                <c:pt idx="7929">
                  <c:v>286923</c:v>
                </c:pt>
                <c:pt idx="7930">
                  <c:v>286904</c:v>
                </c:pt>
                <c:pt idx="7931">
                  <c:v>286873</c:v>
                </c:pt>
                <c:pt idx="7932">
                  <c:v>286860</c:v>
                </c:pt>
                <c:pt idx="7933">
                  <c:v>286831</c:v>
                </c:pt>
                <c:pt idx="7934">
                  <c:v>286825</c:v>
                </c:pt>
                <c:pt idx="7935">
                  <c:v>286810</c:v>
                </c:pt>
                <c:pt idx="7936">
                  <c:v>286810</c:v>
                </c:pt>
                <c:pt idx="7937">
                  <c:v>286794</c:v>
                </c:pt>
                <c:pt idx="7938">
                  <c:v>286787</c:v>
                </c:pt>
                <c:pt idx="7939">
                  <c:v>286771</c:v>
                </c:pt>
                <c:pt idx="7940">
                  <c:v>286759</c:v>
                </c:pt>
                <c:pt idx="7941">
                  <c:v>286754</c:v>
                </c:pt>
                <c:pt idx="7942">
                  <c:v>286747</c:v>
                </c:pt>
                <c:pt idx="7943">
                  <c:v>286743</c:v>
                </c:pt>
                <c:pt idx="7944">
                  <c:v>286733</c:v>
                </c:pt>
                <c:pt idx="7945">
                  <c:v>286732</c:v>
                </c:pt>
                <c:pt idx="7946">
                  <c:v>286714</c:v>
                </c:pt>
                <c:pt idx="7947">
                  <c:v>286695</c:v>
                </c:pt>
                <c:pt idx="7948">
                  <c:v>286695</c:v>
                </c:pt>
                <c:pt idx="7949">
                  <c:v>286694</c:v>
                </c:pt>
                <c:pt idx="7950">
                  <c:v>286650</c:v>
                </c:pt>
                <c:pt idx="7951">
                  <c:v>286641</c:v>
                </c:pt>
                <c:pt idx="7952">
                  <c:v>286614</c:v>
                </c:pt>
                <c:pt idx="7953">
                  <c:v>286601</c:v>
                </c:pt>
                <c:pt idx="7954">
                  <c:v>286593</c:v>
                </c:pt>
                <c:pt idx="7955">
                  <c:v>286569</c:v>
                </c:pt>
                <c:pt idx="7956">
                  <c:v>286568</c:v>
                </c:pt>
                <c:pt idx="7957">
                  <c:v>286568</c:v>
                </c:pt>
                <c:pt idx="7958">
                  <c:v>286547</c:v>
                </c:pt>
                <c:pt idx="7959">
                  <c:v>286542</c:v>
                </c:pt>
                <c:pt idx="7960">
                  <c:v>286517</c:v>
                </c:pt>
                <c:pt idx="7961">
                  <c:v>286510</c:v>
                </c:pt>
                <c:pt idx="7962">
                  <c:v>286508</c:v>
                </c:pt>
                <c:pt idx="7963">
                  <c:v>286483</c:v>
                </c:pt>
                <c:pt idx="7964">
                  <c:v>286463</c:v>
                </c:pt>
                <c:pt idx="7965">
                  <c:v>286435</c:v>
                </c:pt>
                <c:pt idx="7966">
                  <c:v>286423</c:v>
                </c:pt>
                <c:pt idx="7967">
                  <c:v>286405</c:v>
                </c:pt>
                <c:pt idx="7968">
                  <c:v>286390</c:v>
                </c:pt>
                <c:pt idx="7969">
                  <c:v>286389</c:v>
                </c:pt>
                <c:pt idx="7970">
                  <c:v>286384</c:v>
                </c:pt>
                <c:pt idx="7971">
                  <c:v>286376</c:v>
                </c:pt>
                <c:pt idx="7972">
                  <c:v>286347</c:v>
                </c:pt>
                <c:pt idx="7973">
                  <c:v>286296</c:v>
                </c:pt>
                <c:pt idx="7974">
                  <c:v>286293</c:v>
                </c:pt>
                <c:pt idx="7975">
                  <c:v>286273</c:v>
                </c:pt>
                <c:pt idx="7976">
                  <c:v>286262</c:v>
                </c:pt>
                <c:pt idx="7977">
                  <c:v>286258</c:v>
                </c:pt>
                <c:pt idx="7978">
                  <c:v>286255</c:v>
                </c:pt>
                <c:pt idx="7979">
                  <c:v>286243</c:v>
                </c:pt>
                <c:pt idx="7980">
                  <c:v>286235</c:v>
                </c:pt>
                <c:pt idx="7981">
                  <c:v>286219</c:v>
                </c:pt>
                <c:pt idx="7982">
                  <c:v>286217</c:v>
                </c:pt>
                <c:pt idx="7983">
                  <c:v>286198</c:v>
                </c:pt>
                <c:pt idx="7984">
                  <c:v>286192</c:v>
                </c:pt>
                <c:pt idx="7985">
                  <c:v>286148</c:v>
                </c:pt>
                <c:pt idx="7986">
                  <c:v>286127</c:v>
                </c:pt>
                <c:pt idx="7987">
                  <c:v>286112</c:v>
                </c:pt>
                <c:pt idx="7988">
                  <c:v>286107</c:v>
                </c:pt>
                <c:pt idx="7989">
                  <c:v>286086</c:v>
                </c:pt>
                <c:pt idx="7990">
                  <c:v>286052</c:v>
                </c:pt>
                <c:pt idx="7991">
                  <c:v>286047</c:v>
                </c:pt>
                <c:pt idx="7992">
                  <c:v>286046</c:v>
                </c:pt>
                <c:pt idx="7993">
                  <c:v>286033</c:v>
                </c:pt>
                <c:pt idx="7994">
                  <c:v>286028</c:v>
                </c:pt>
                <c:pt idx="7995">
                  <c:v>286007</c:v>
                </c:pt>
                <c:pt idx="7996">
                  <c:v>286002</c:v>
                </c:pt>
                <c:pt idx="7997">
                  <c:v>285999</c:v>
                </c:pt>
                <c:pt idx="7998">
                  <c:v>285998</c:v>
                </c:pt>
                <c:pt idx="7999">
                  <c:v>285996</c:v>
                </c:pt>
                <c:pt idx="8000">
                  <c:v>285960</c:v>
                </c:pt>
                <c:pt idx="8001">
                  <c:v>285946</c:v>
                </c:pt>
                <c:pt idx="8002">
                  <c:v>285939</c:v>
                </c:pt>
                <c:pt idx="8003">
                  <c:v>285935</c:v>
                </c:pt>
                <c:pt idx="8004">
                  <c:v>285935</c:v>
                </c:pt>
                <c:pt idx="8005">
                  <c:v>285916</c:v>
                </c:pt>
                <c:pt idx="8006">
                  <c:v>285892</c:v>
                </c:pt>
                <c:pt idx="8007">
                  <c:v>285891</c:v>
                </c:pt>
                <c:pt idx="8008">
                  <c:v>285862</c:v>
                </c:pt>
                <c:pt idx="8009">
                  <c:v>285852</c:v>
                </c:pt>
                <c:pt idx="8010">
                  <c:v>285835</c:v>
                </c:pt>
                <c:pt idx="8011">
                  <c:v>285833</c:v>
                </c:pt>
                <c:pt idx="8012">
                  <c:v>285827</c:v>
                </c:pt>
                <c:pt idx="8013">
                  <c:v>285824</c:v>
                </c:pt>
                <c:pt idx="8014">
                  <c:v>285810</c:v>
                </c:pt>
                <c:pt idx="8015">
                  <c:v>285778</c:v>
                </c:pt>
                <c:pt idx="8016">
                  <c:v>285764</c:v>
                </c:pt>
                <c:pt idx="8017">
                  <c:v>285761</c:v>
                </c:pt>
                <c:pt idx="8018">
                  <c:v>285761</c:v>
                </c:pt>
                <c:pt idx="8019">
                  <c:v>285759</c:v>
                </c:pt>
                <c:pt idx="8020">
                  <c:v>285756</c:v>
                </c:pt>
                <c:pt idx="8021">
                  <c:v>285753</c:v>
                </c:pt>
                <c:pt idx="8022">
                  <c:v>285728</c:v>
                </c:pt>
                <c:pt idx="8023">
                  <c:v>285717</c:v>
                </c:pt>
                <c:pt idx="8024">
                  <c:v>285713</c:v>
                </c:pt>
                <c:pt idx="8025">
                  <c:v>285671</c:v>
                </c:pt>
                <c:pt idx="8026">
                  <c:v>285670</c:v>
                </c:pt>
                <c:pt idx="8027">
                  <c:v>285664</c:v>
                </c:pt>
                <c:pt idx="8028">
                  <c:v>285658</c:v>
                </c:pt>
                <c:pt idx="8029">
                  <c:v>285651</c:v>
                </c:pt>
                <c:pt idx="8030">
                  <c:v>285650</c:v>
                </c:pt>
                <c:pt idx="8031">
                  <c:v>285625</c:v>
                </c:pt>
                <c:pt idx="8032">
                  <c:v>285618</c:v>
                </c:pt>
                <c:pt idx="8033">
                  <c:v>285581</c:v>
                </c:pt>
                <c:pt idx="8034">
                  <c:v>285580</c:v>
                </c:pt>
                <c:pt idx="8035">
                  <c:v>285569</c:v>
                </c:pt>
                <c:pt idx="8036">
                  <c:v>285568</c:v>
                </c:pt>
                <c:pt idx="8037">
                  <c:v>285563</c:v>
                </c:pt>
                <c:pt idx="8038">
                  <c:v>285557</c:v>
                </c:pt>
                <c:pt idx="8039">
                  <c:v>285536</c:v>
                </c:pt>
                <c:pt idx="8040">
                  <c:v>285536</c:v>
                </c:pt>
                <c:pt idx="8041">
                  <c:v>285525</c:v>
                </c:pt>
                <c:pt idx="8042">
                  <c:v>285523</c:v>
                </c:pt>
                <c:pt idx="8043">
                  <c:v>285480</c:v>
                </c:pt>
                <c:pt idx="8044">
                  <c:v>285476</c:v>
                </c:pt>
                <c:pt idx="8045">
                  <c:v>285471</c:v>
                </c:pt>
                <c:pt idx="8046">
                  <c:v>285471</c:v>
                </c:pt>
                <c:pt idx="8047">
                  <c:v>285454</c:v>
                </c:pt>
                <c:pt idx="8048">
                  <c:v>285453</c:v>
                </c:pt>
                <c:pt idx="8049">
                  <c:v>285444</c:v>
                </c:pt>
                <c:pt idx="8050">
                  <c:v>285443</c:v>
                </c:pt>
                <c:pt idx="8051">
                  <c:v>285430</c:v>
                </c:pt>
                <c:pt idx="8052">
                  <c:v>285422</c:v>
                </c:pt>
                <c:pt idx="8053">
                  <c:v>285407</c:v>
                </c:pt>
                <c:pt idx="8054">
                  <c:v>285394</c:v>
                </c:pt>
                <c:pt idx="8055">
                  <c:v>285389</c:v>
                </c:pt>
                <c:pt idx="8056">
                  <c:v>285377</c:v>
                </c:pt>
                <c:pt idx="8057">
                  <c:v>285369</c:v>
                </c:pt>
                <c:pt idx="8058">
                  <c:v>285351</c:v>
                </c:pt>
                <c:pt idx="8059">
                  <c:v>285342</c:v>
                </c:pt>
                <c:pt idx="8060">
                  <c:v>285338</c:v>
                </c:pt>
                <c:pt idx="8061">
                  <c:v>285321</c:v>
                </c:pt>
                <c:pt idx="8062">
                  <c:v>285308</c:v>
                </c:pt>
                <c:pt idx="8063">
                  <c:v>285296</c:v>
                </c:pt>
                <c:pt idx="8064">
                  <c:v>285273</c:v>
                </c:pt>
                <c:pt idx="8065">
                  <c:v>285255</c:v>
                </c:pt>
                <c:pt idx="8066">
                  <c:v>285253</c:v>
                </c:pt>
                <c:pt idx="8067">
                  <c:v>285238</c:v>
                </c:pt>
                <c:pt idx="8068">
                  <c:v>285204</c:v>
                </c:pt>
                <c:pt idx="8069">
                  <c:v>285171</c:v>
                </c:pt>
                <c:pt idx="8070">
                  <c:v>285164</c:v>
                </c:pt>
                <c:pt idx="8071">
                  <c:v>285163</c:v>
                </c:pt>
                <c:pt idx="8072">
                  <c:v>285161</c:v>
                </c:pt>
                <c:pt idx="8073">
                  <c:v>285154</c:v>
                </c:pt>
                <c:pt idx="8074">
                  <c:v>285138</c:v>
                </c:pt>
                <c:pt idx="8075">
                  <c:v>285120</c:v>
                </c:pt>
                <c:pt idx="8076">
                  <c:v>285090</c:v>
                </c:pt>
                <c:pt idx="8077">
                  <c:v>285084</c:v>
                </c:pt>
                <c:pt idx="8078">
                  <c:v>285073</c:v>
                </c:pt>
                <c:pt idx="8079">
                  <c:v>285046</c:v>
                </c:pt>
                <c:pt idx="8080">
                  <c:v>285046</c:v>
                </c:pt>
                <c:pt idx="8081">
                  <c:v>285019</c:v>
                </c:pt>
                <c:pt idx="8082">
                  <c:v>285016</c:v>
                </c:pt>
                <c:pt idx="8083">
                  <c:v>285016</c:v>
                </c:pt>
                <c:pt idx="8084">
                  <c:v>284993</c:v>
                </c:pt>
                <c:pt idx="8085">
                  <c:v>284977</c:v>
                </c:pt>
                <c:pt idx="8086">
                  <c:v>284970</c:v>
                </c:pt>
                <c:pt idx="8087">
                  <c:v>284940</c:v>
                </c:pt>
                <c:pt idx="8088">
                  <c:v>284924</c:v>
                </c:pt>
                <c:pt idx="8089">
                  <c:v>284904</c:v>
                </c:pt>
                <c:pt idx="8090">
                  <c:v>284845</c:v>
                </c:pt>
                <c:pt idx="8091">
                  <c:v>284823</c:v>
                </c:pt>
                <c:pt idx="8092">
                  <c:v>284820</c:v>
                </c:pt>
                <c:pt idx="8093">
                  <c:v>284812</c:v>
                </c:pt>
                <c:pt idx="8094">
                  <c:v>284801</c:v>
                </c:pt>
                <c:pt idx="8095">
                  <c:v>284786</c:v>
                </c:pt>
                <c:pt idx="8096">
                  <c:v>284785</c:v>
                </c:pt>
                <c:pt idx="8097">
                  <c:v>284777</c:v>
                </c:pt>
                <c:pt idx="8098">
                  <c:v>284760</c:v>
                </c:pt>
                <c:pt idx="8099">
                  <c:v>284754</c:v>
                </c:pt>
                <c:pt idx="8100">
                  <c:v>284754</c:v>
                </c:pt>
                <c:pt idx="8101">
                  <c:v>284748</c:v>
                </c:pt>
                <c:pt idx="8102">
                  <c:v>284745</c:v>
                </c:pt>
                <c:pt idx="8103">
                  <c:v>284730</c:v>
                </c:pt>
                <c:pt idx="8104">
                  <c:v>284721</c:v>
                </c:pt>
                <c:pt idx="8105">
                  <c:v>284679</c:v>
                </c:pt>
                <c:pt idx="8106">
                  <c:v>284667</c:v>
                </c:pt>
                <c:pt idx="8107">
                  <c:v>284619</c:v>
                </c:pt>
                <c:pt idx="8108">
                  <c:v>284611</c:v>
                </c:pt>
                <c:pt idx="8109">
                  <c:v>284610</c:v>
                </c:pt>
                <c:pt idx="8110">
                  <c:v>284593</c:v>
                </c:pt>
                <c:pt idx="8111">
                  <c:v>284582</c:v>
                </c:pt>
                <c:pt idx="8112">
                  <c:v>284576</c:v>
                </c:pt>
                <c:pt idx="8113">
                  <c:v>284569</c:v>
                </c:pt>
                <c:pt idx="8114">
                  <c:v>284549</c:v>
                </c:pt>
                <c:pt idx="8115">
                  <c:v>284516</c:v>
                </c:pt>
                <c:pt idx="8116">
                  <c:v>284505</c:v>
                </c:pt>
                <c:pt idx="8117">
                  <c:v>284495</c:v>
                </c:pt>
                <c:pt idx="8118">
                  <c:v>284487</c:v>
                </c:pt>
                <c:pt idx="8119">
                  <c:v>284474</c:v>
                </c:pt>
                <c:pt idx="8120">
                  <c:v>284465</c:v>
                </c:pt>
                <c:pt idx="8121">
                  <c:v>284462</c:v>
                </c:pt>
                <c:pt idx="8122">
                  <c:v>284457</c:v>
                </c:pt>
                <c:pt idx="8123">
                  <c:v>284447</c:v>
                </c:pt>
                <c:pt idx="8124">
                  <c:v>284436</c:v>
                </c:pt>
                <c:pt idx="8125">
                  <c:v>284408</c:v>
                </c:pt>
                <c:pt idx="8126">
                  <c:v>284401</c:v>
                </c:pt>
                <c:pt idx="8127">
                  <c:v>284400</c:v>
                </c:pt>
                <c:pt idx="8128">
                  <c:v>284383</c:v>
                </c:pt>
                <c:pt idx="8129">
                  <c:v>284373</c:v>
                </c:pt>
                <c:pt idx="8130">
                  <c:v>284337</c:v>
                </c:pt>
                <c:pt idx="8131">
                  <c:v>284331</c:v>
                </c:pt>
                <c:pt idx="8132">
                  <c:v>284327</c:v>
                </c:pt>
                <c:pt idx="8133">
                  <c:v>284322</c:v>
                </c:pt>
                <c:pt idx="8134">
                  <c:v>284306</c:v>
                </c:pt>
                <c:pt idx="8135">
                  <c:v>284291</c:v>
                </c:pt>
                <c:pt idx="8136">
                  <c:v>284266</c:v>
                </c:pt>
                <c:pt idx="8137">
                  <c:v>284258</c:v>
                </c:pt>
                <c:pt idx="8138">
                  <c:v>284235</c:v>
                </c:pt>
                <c:pt idx="8139">
                  <c:v>284193</c:v>
                </c:pt>
                <c:pt idx="8140">
                  <c:v>284191</c:v>
                </c:pt>
                <c:pt idx="8141">
                  <c:v>284191</c:v>
                </c:pt>
                <c:pt idx="8142">
                  <c:v>284172</c:v>
                </c:pt>
                <c:pt idx="8143">
                  <c:v>284165</c:v>
                </c:pt>
                <c:pt idx="8144">
                  <c:v>284138</c:v>
                </c:pt>
                <c:pt idx="8145">
                  <c:v>284136</c:v>
                </c:pt>
                <c:pt idx="8146">
                  <c:v>284128</c:v>
                </c:pt>
                <c:pt idx="8147">
                  <c:v>284123</c:v>
                </c:pt>
                <c:pt idx="8148">
                  <c:v>284118</c:v>
                </c:pt>
                <c:pt idx="8149">
                  <c:v>284116</c:v>
                </c:pt>
                <c:pt idx="8150">
                  <c:v>284111</c:v>
                </c:pt>
                <c:pt idx="8151">
                  <c:v>284110</c:v>
                </c:pt>
                <c:pt idx="8152">
                  <c:v>284091</c:v>
                </c:pt>
                <c:pt idx="8153">
                  <c:v>284075</c:v>
                </c:pt>
                <c:pt idx="8154">
                  <c:v>284058</c:v>
                </c:pt>
                <c:pt idx="8155">
                  <c:v>284056</c:v>
                </c:pt>
                <c:pt idx="8156">
                  <c:v>284021</c:v>
                </c:pt>
                <c:pt idx="8157">
                  <c:v>284007</c:v>
                </c:pt>
                <c:pt idx="8158">
                  <c:v>283993</c:v>
                </c:pt>
                <c:pt idx="8159">
                  <c:v>283992</c:v>
                </c:pt>
                <c:pt idx="8160">
                  <c:v>283986</c:v>
                </c:pt>
                <c:pt idx="8161">
                  <c:v>283956</c:v>
                </c:pt>
                <c:pt idx="8162">
                  <c:v>283940</c:v>
                </c:pt>
                <c:pt idx="8163">
                  <c:v>283905</c:v>
                </c:pt>
                <c:pt idx="8164">
                  <c:v>283905</c:v>
                </c:pt>
                <c:pt idx="8165">
                  <c:v>283898</c:v>
                </c:pt>
                <c:pt idx="8166">
                  <c:v>283885</c:v>
                </c:pt>
                <c:pt idx="8167">
                  <c:v>283879</c:v>
                </c:pt>
                <c:pt idx="8168">
                  <c:v>283879</c:v>
                </c:pt>
                <c:pt idx="8169">
                  <c:v>283875</c:v>
                </c:pt>
                <c:pt idx="8170">
                  <c:v>283855</c:v>
                </c:pt>
                <c:pt idx="8171">
                  <c:v>283844</c:v>
                </c:pt>
                <c:pt idx="8172">
                  <c:v>283825</c:v>
                </c:pt>
                <c:pt idx="8173">
                  <c:v>283825</c:v>
                </c:pt>
                <c:pt idx="8174">
                  <c:v>283820</c:v>
                </c:pt>
                <c:pt idx="8175">
                  <c:v>283818</c:v>
                </c:pt>
                <c:pt idx="8176">
                  <c:v>283818</c:v>
                </c:pt>
                <c:pt idx="8177">
                  <c:v>283803</c:v>
                </c:pt>
                <c:pt idx="8178">
                  <c:v>283802</c:v>
                </c:pt>
                <c:pt idx="8179">
                  <c:v>283784</c:v>
                </c:pt>
                <c:pt idx="8180">
                  <c:v>283775</c:v>
                </c:pt>
                <c:pt idx="8181">
                  <c:v>283773</c:v>
                </c:pt>
                <c:pt idx="8182">
                  <c:v>283756</c:v>
                </c:pt>
                <c:pt idx="8183">
                  <c:v>283712</c:v>
                </c:pt>
                <c:pt idx="8184">
                  <c:v>283693</c:v>
                </c:pt>
                <c:pt idx="8185">
                  <c:v>283686</c:v>
                </c:pt>
                <c:pt idx="8186">
                  <c:v>283668</c:v>
                </c:pt>
                <c:pt idx="8187">
                  <c:v>283661</c:v>
                </c:pt>
                <c:pt idx="8188">
                  <c:v>283636</c:v>
                </c:pt>
                <c:pt idx="8189">
                  <c:v>283601</c:v>
                </c:pt>
                <c:pt idx="8190">
                  <c:v>283570</c:v>
                </c:pt>
                <c:pt idx="8191">
                  <c:v>283568</c:v>
                </c:pt>
                <c:pt idx="8192">
                  <c:v>283505</c:v>
                </c:pt>
                <c:pt idx="8193">
                  <c:v>283497</c:v>
                </c:pt>
                <c:pt idx="8194">
                  <c:v>283478</c:v>
                </c:pt>
                <c:pt idx="8195">
                  <c:v>283470</c:v>
                </c:pt>
                <c:pt idx="8196">
                  <c:v>283427</c:v>
                </c:pt>
                <c:pt idx="8197">
                  <c:v>283422</c:v>
                </c:pt>
                <c:pt idx="8198">
                  <c:v>283413</c:v>
                </c:pt>
                <c:pt idx="8199">
                  <c:v>283407</c:v>
                </c:pt>
                <c:pt idx="8200">
                  <c:v>283369</c:v>
                </c:pt>
                <c:pt idx="8201">
                  <c:v>283361</c:v>
                </c:pt>
                <c:pt idx="8202">
                  <c:v>283361</c:v>
                </c:pt>
                <c:pt idx="8203">
                  <c:v>283351</c:v>
                </c:pt>
                <c:pt idx="8204">
                  <c:v>283337</c:v>
                </c:pt>
                <c:pt idx="8205">
                  <c:v>283335</c:v>
                </c:pt>
                <c:pt idx="8206">
                  <c:v>283334</c:v>
                </c:pt>
                <c:pt idx="8207">
                  <c:v>283322</c:v>
                </c:pt>
                <c:pt idx="8208">
                  <c:v>283319</c:v>
                </c:pt>
                <c:pt idx="8209">
                  <c:v>283283</c:v>
                </c:pt>
                <c:pt idx="8210">
                  <c:v>283269</c:v>
                </c:pt>
                <c:pt idx="8211">
                  <c:v>283266</c:v>
                </c:pt>
                <c:pt idx="8212">
                  <c:v>283213</c:v>
                </c:pt>
                <c:pt idx="8213">
                  <c:v>283204</c:v>
                </c:pt>
                <c:pt idx="8214">
                  <c:v>283198</c:v>
                </c:pt>
                <c:pt idx="8215">
                  <c:v>283196</c:v>
                </c:pt>
                <c:pt idx="8216">
                  <c:v>283178</c:v>
                </c:pt>
                <c:pt idx="8217">
                  <c:v>283168</c:v>
                </c:pt>
                <c:pt idx="8218">
                  <c:v>283163</c:v>
                </c:pt>
                <c:pt idx="8219">
                  <c:v>283122</c:v>
                </c:pt>
                <c:pt idx="8220">
                  <c:v>283113</c:v>
                </c:pt>
                <c:pt idx="8221">
                  <c:v>283111</c:v>
                </c:pt>
                <c:pt idx="8222">
                  <c:v>283092</c:v>
                </c:pt>
                <c:pt idx="8223">
                  <c:v>283078</c:v>
                </c:pt>
                <c:pt idx="8224">
                  <c:v>283067</c:v>
                </c:pt>
                <c:pt idx="8225">
                  <c:v>283061</c:v>
                </c:pt>
                <c:pt idx="8226">
                  <c:v>283013</c:v>
                </c:pt>
                <c:pt idx="8227">
                  <c:v>283008</c:v>
                </c:pt>
                <c:pt idx="8228">
                  <c:v>282997</c:v>
                </c:pt>
                <c:pt idx="8229">
                  <c:v>282986</c:v>
                </c:pt>
                <c:pt idx="8230">
                  <c:v>282923</c:v>
                </c:pt>
                <c:pt idx="8231">
                  <c:v>282923</c:v>
                </c:pt>
                <c:pt idx="8232">
                  <c:v>282912</c:v>
                </c:pt>
                <c:pt idx="8233">
                  <c:v>282853</c:v>
                </c:pt>
                <c:pt idx="8234">
                  <c:v>282843</c:v>
                </c:pt>
                <c:pt idx="8235">
                  <c:v>282843</c:v>
                </c:pt>
                <c:pt idx="8236">
                  <c:v>282798</c:v>
                </c:pt>
                <c:pt idx="8237">
                  <c:v>282782</c:v>
                </c:pt>
                <c:pt idx="8238">
                  <c:v>282776</c:v>
                </c:pt>
                <c:pt idx="8239">
                  <c:v>282775</c:v>
                </c:pt>
                <c:pt idx="8240">
                  <c:v>282770</c:v>
                </c:pt>
                <c:pt idx="8241">
                  <c:v>282768</c:v>
                </c:pt>
                <c:pt idx="8242">
                  <c:v>282756</c:v>
                </c:pt>
                <c:pt idx="8243">
                  <c:v>282752</c:v>
                </c:pt>
                <c:pt idx="8244">
                  <c:v>282687</c:v>
                </c:pt>
                <c:pt idx="8245">
                  <c:v>282680</c:v>
                </c:pt>
                <c:pt idx="8246">
                  <c:v>282662</c:v>
                </c:pt>
                <c:pt idx="8247">
                  <c:v>282654</c:v>
                </c:pt>
                <c:pt idx="8248">
                  <c:v>282653</c:v>
                </c:pt>
                <c:pt idx="8249">
                  <c:v>282638</c:v>
                </c:pt>
                <c:pt idx="8250">
                  <c:v>282637</c:v>
                </c:pt>
                <c:pt idx="8251">
                  <c:v>282624</c:v>
                </c:pt>
                <c:pt idx="8252">
                  <c:v>282623</c:v>
                </c:pt>
                <c:pt idx="8253">
                  <c:v>282620</c:v>
                </c:pt>
                <c:pt idx="8254">
                  <c:v>282602</c:v>
                </c:pt>
                <c:pt idx="8255">
                  <c:v>282591</c:v>
                </c:pt>
                <c:pt idx="8256">
                  <c:v>282572</c:v>
                </c:pt>
                <c:pt idx="8257">
                  <c:v>282544</c:v>
                </c:pt>
                <c:pt idx="8258">
                  <c:v>282533</c:v>
                </c:pt>
                <c:pt idx="8259">
                  <c:v>282510</c:v>
                </c:pt>
                <c:pt idx="8260">
                  <c:v>282502</c:v>
                </c:pt>
                <c:pt idx="8261">
                  <c:v>282500</c:v>
                </c:pt>
                <c:pt idx="8262">
                  <c:v>282498</c:v>
                </c:pt>
                <c:pt idx="8263">
                  <c:v>282491</c:v>
                </c:pt>
                <c:pt idx="8264">
                  <c:v>282443</c:v>
                </c:pt>
                <c:pt idx="8265">
                  <c:v>282417</c:v>
                </c:pt>
                <c:pt idx="8266">
                  <c:v>282385</c:v>
                </c:pt>
                <c:pt idx="8267">
                  <c:v>282360</c:v>
                </c:pt>
                <c:pt idx="8268">
                  <c:v>282359</c:v>
                </c:pt>
                <c:pt idx="8269">
                  <c:v>282344</c:v>
                </c:pt>
                <c:pt idx="8270">
                  <c:v>282335</c:v>
                </c:pt>
                <c:pt idx="8271">
                  <c:v>282322</c:v>
                </c:pt>
                <c:pt idx="8272">
                  <c:v>282314</c:v>
                </c:pt>
                <c:pt idx="8273">
                  <c:v>282308</c:v>
                </c:pt>
                <c:pt idx="8274">
                  <c:v>282303</c:v>
                </c:pt>
                <c:pt idx="8275">
                  <c:v>282299</c:v>
                </c:pt>
                <c:pt idx="8276">
                  <c:v>282293</c:v>
                </c:pt>
                <c:pt idx="8277">
                  <c:v>282293</c:v>
                </c:pt>
                <c:pt idx="8278">
                  <c:v>282286</c:v>
                </c:pt>
                <c:pt idx="8279">
                  <c:v>282280</c:v>
                </c:pt>
                <c:pt idx="8280">
                  <c:v>282267</c:v>
                </c:pt>
                <c:pt idx="8281">
                  <c:v>282261</c:v>
                </c:pt>
                <c:pt idx="8282">
                  <c:v>282258</c:v>
                </c:pt>
                <c:pt idx="8283">
                  <c:v>282257</c:v>
                </c:pt>
                <c:pt idx="8284">
                  <c:v>282251</c:v>
                </c:pt>
                <c:pt idx="8285">
                  <c:v>282241</c:v>
                </c:pt>
                <c:pt idx="8286">
                  <c:v>282225</c:v>
                </c:pt>
                <c:pt idx="8287">
                  <c:v>282218</c:v>
                </c:pt>
                <c:pt idx="8288">
                  <c:v>282196</c:v>
                </c:pt>
                <c:pt idx="8289">
                  <c:v>282179</c:v>
                </c:pt>
                <c:pt idx="8290">
                  <c:v>282146</c:v>
                </c:pt>
                <c:pt idx="8291">
                  <c:v>282113</c:v>
                </c:pt>
                <c:pt idx="8292">
                  <c:v>282106</c:v>
                </c:pt>
                <c:pt idx="8293">
                  <c:v>282078</c:v>
                </c:pt>
                <c:pt idx="8294">
                  <c:v>282024</c:v>
                </c:pt>
                <c:pt idx="8295">
                  <c:v>282014</c:v>
                </c:pt>
                <c:pt idx="8296">
                  <c:v>282011</c:v>
                </c:pt>
                <c:pt idx="8297">
                  <c:v>282008</c:v>
                </c:pt>
                <c:pt idx="8298">
                  <c:v>282008</c:v>
                </c:pt>
                <c:pt idx="8299">
                  <c:v>282000</c:v>
                </c:pt>
                <c:pt idx="8300">
                  <c:v>281984</c:v>
                </c:pt>
                <c:pt idx="8301">
                  <c:v>281976</c:v>
                </c:pt>
                <c:pt idx="8302">
                  <c:v>281974</c:v>
                </c:pt>
                <c:pt idx="8303">
                  <c:v>281942</c:v>
                </c:pt>
                <c:pt idx="8304">
                  <c:v>281937</c:v>
                </c:pt>
                <c:pt idx="8305">
                  <c:v>281896</c:v>
                </c:pt>
                <c:pt idx="8306">
                  <c:v>281882</c:v>
                </c:pt>
                <c:pt idx="8307">
                  <c:v>281871</c:v>
                </c:pt>
                <c:pt idx="8308">
                  <c:v>281836</c:v>
                </c:pt>
                <c:pt idx="8309">
                  <c:v>281807</c:v>
                </c:pt>
                <c:pt idx="8310">
                  <c:v>281804</c:v>
                </c:pt>
                <c:pt idx="8311">
                  <c:v>281801</c:v>
                </c:pt>
                <c:pt idx="8312">
                  <c:v>281790</c:v>
                </c:pt>
                <c:pt idx="8313">
                  <c:v>281758</c:v>
                </c:pt>
                <c:pt idx="8314">
                  <c:v>281737</c:v>
                </c:pt>
                <c:pt idx="8315">
                  <c:v>281734</c:v>
                </c:pt>
                <c:pt idx="8316">
                  <c:v>281726</c:v>
                </c:pt>
                <c:pt idx="8317">
                  <c:v>281724</c:v>
                </c:pt>
                <c:pt idx="8318">
                  <c:v>281721</c:v>
                </c:pt>
                <c:pt idx="8319">
                  <c:v>281711</c:v>
                </c:pt>
                <c:pt idx="8320">
                  <c:v>281675</c:v>
                </c:pt>
                <c:pt idx="8321">
                  <c:v>281645</c:v>
                </c:pt>
                <c:pt idx="8322">
                  <c:v>281640</c:v>
                </c:pt>
                <c:pt idx="8323">
                  <c:v>281636</c:v>
                </c:pt>
                <c:pt idx="8324">
                  <c:v>281632</c:v>
                </c:pt>
                <c:pt idx="8325">
                  <c:v>281622</c:v>
                </c:pt>
                <c:pt idx="8326">
                  <c:v>281616</c:v>
                </c:pt>
                <c:pt idx="8327">
                  <c:v>281603</c:v>
                </c:pt>
                <c:pt idx="8328">
                  <c:v>281598</c:v>
                </c:pt>
                <c:pt idx="8329">
                  <c:v>281590</c:v>
                </c:pt>
                <c:pt idx="8330">
                  <c:v>281563</c:v>
                </c:pt>
                <c:pt idx="8331">
                  <c:v>281560</c:v>
                </c:pt>
                <c:pt idx="8332">
                  <c:v>281551</c:v>
                </c:pt>
                <c:pt idx="8333">
                  <c:v>281548</c:v>
                </c:pt>
                <c:pt idx="8334">
                  <c:v>281518</c:v>
                </c:pt>
                <c:pt idx="8335">
                  <c:v>281516</c:v>
                </c:pt>
                <c:pt idx="8336">
                  <c:v>281513</c:v>
                </c:pt>
                <c:pt idx="8337">
                  <c:v>281446</c:v>
                </c:pt>
                <c:pt idx="8338">
                  <c:v>281443</c:v>
                </c:pt>
                <c:pt idx="8339">
                  <c:v>281439</c:v>
                </c:pt>
                <c:pt idx="8340">
                  <c:v>281435</c:v>
                </c:pt>
                <c:pt idx="8341">
                  <c:v>281404</c:v>
                </c:pt>
                <c:pt idx="8342">
                  <c:v>281384</c:v>
                </c:pt>
                <c:pt idx="8343">
                  <c:v>281380</c:v>
                </c:pt>
                <c:pt idx="8344">
                  <c:v>281338</c:v>
                </c:pt>
                <c:pt idx="8345">
                  <c:v>281330</c:v>
                </c:pt>
                <c:pt idx="8346">
                  <c:v>281316</c:v>
                </c:pt>
                <c:pt idx="8347">
                  <c:v>281279</c:v>
                </c:pt>
                <c:pt idx="8348">
                  <c:v>281272</c:v>
                </c:pt>
                <c:pt idx="8349">
                  <c:v>281268</c:v>
                </c:pt>
                <c:pt idx="8350">
                  <c:v>281252</c:v>
                </c:pt>
                <c:pt idx="8351">
                  <c:v>281250</c:v>
                </c:pt>
                <c:pt idx="8352">
                  <c:v>281223</c:v>
                </c:pt>
                <c:pt idx="8353">
                  <c:v>281223</c:v>
                </c:pt>
                <c:pt idx="8354">
                  <c:v>281206</c:v>
                </c:pt>
                <c:pt idx="8355">
                  <c:v>281203</c:v>
                </c:pt>
                <c:pt idx="8356">
                  <c:v>281198</c:v>
                </c:pt>
                <c:pt idx="8357">
                  <c:v>281172</c:v>
                </c:pt>
                <c:pt idx="8358">
                  <c:v>281150</c:v>
                </c:pt>
                <c:pt idx="8359">
                  <c:v>281149</c:v>
                </c:pt>
                <c:pt idx="8360">
                  <c:v>281130</c:v>
                </c:pt>
                <c:pt idx="8361">
                  <c:v>281120</c:v>
                </c:pt>
                <c:pt idx="8362">
                  <c:v>281106</c:v>
                </c:pt>
                <c:pt idx="8363">
                  <c:v>281091</c:v>
                </c:pt>
                <c:pt idx="8364">
                  <c:v>281087</c:v>
                </c:pt>
                <c:pt idx="8365">
                  <c:v>281083</c:v>
                </c:pt>
                <c:pt idx="8366">
                  <c:v>281077</c:v>
                </c:pt>
                <c:pt idx="8367">
                  <c:v>281062</c:v>
                </c:pt>
                <c:pt idx="8368">
                  <c:v>281055</c:v>
                </c:pt>
                <c:pt idx="8369">
                  <c:v>281054</c:v>
                </c:pt>
                <c:pt idx="8370">
                  <c:v>281038</c:v>
                </c:pt>
                <c:pt idx="8371">
                  <c:v>280963</c:v>
                </c:pt>
                <c:pt idx="8372">
                  <c:v>280958</c:v>
                </c:pt>
                <c:pt idx="8373">
                  <c:v>280934</c:v>
                </c:pt>
                <c:pt idx="8374">
                  <c:v>280915</c:v>
                </c:pt>
                <c:pt idx="8375">
                  <c:v>280904</c:v>
                </c:pt>
                <c:pt idx="8376">
                  <c:v>280880</c:v>
                </c:pt>
                <c:pt idx="8377">
                  <c:v>280875</c:v>
                </c:pt>
                <c:pt idx="8378">
                  <c:v>280865</c:v>
                </c:pt>
                <c:pt idx="8379">
                  <c:v>280831</c:v>
                </c:pt>
                <c:pt idx="8380">
                  <c:v>280804</c:v>
                </c:pt>
                <c:pt idx="8381">
                  <c:v>280802</c:v>
                </c:pt>
                <c:pt idx="8382">
                  <c:v>280773</c:v>
                </c:pt>
                <c:pt idx="8383">
                  <c:v>280757</c:v>
                </c:pt>
                <c:pt idx="8384">
                  <c:v>280751</c:v>
                </c:pt>
                <c:pt idx="8385">
                  <c:v>280730</c:v>
                </c:pt>
                <c:pt idx="8386">
                  <c:v>280724</c:v>
                </c:pt>
                <c:pt idx="8387">
                  <c:v>280713</c:v>
                </c:pt>
                <c:pt idx="8388">
                  <c:v>280672</c:v>
                </c:pt>
                <c:pt idx="8389">
                  <c:v>280669</c:v>
                </c:pt>
                <c:pt idx="8390">
                  <c:v>280648</c:v>
                </c:pt>
                <c:pt idx="8391">
                  <c:v>280633</c:v>
                </c:pt>
                <c:pt idx="8392">
                  <c:v>280630</c:v>
                </c:pt>
                <c:pt idx="8393">
                  <c:v>280612</c:v>
                </c:pt>
                <c:pt idx="8394">
                  <c:v>280607</c:v>
                </c:pt>
                <c:pt idx="8395">
                  <c:v>280602</c:v>
                </c:pt>
                <c:pt idx="8396">
                  <c:v>280591</c:v>
                </c:pt>
                <c:pt idx="8397">
                  <c:v>280554</c:v>
                </c:pt>
                <c:pt idx="8398">
                  <c:v>280550</c:v>
                </c:pt>
                <c:pt idx="8399">
                  <c:v>280547</c:v>
                </c:pt>
                <c:pt idx="8400">
                  <c:v>280531</c:v>
                </c:pt>
                <c:pt idx="8401">
                  <c:v>280525</c:v>
                </c:pt>
                <c:pt idx="8402">
                  <c:v>280496</c:v>
                </c:pt>
                <c:pt idx="8403">
                  <c:v>280491</c:v>
                </c:pt>
                <c:pt idx="8404">
                  <c:v>280471</c:v>
                </c:pt>
                <c:pt idx="8405">
                  <c:v>280464</c:v>
                </c:pt>
                <c:pt idx="8406">
                  <c:v>280419</c:v>
                </c:pt>
                <c:pt idx="8407">
                  <c:v>280412</c:v>
                </c:pt>
                <c:pt idx="8408">
                  <c:v>280402</c:v>
                </c:pt>
                <c:pt idx="8409">
                  <c:v>280394</c:v>
                </c:pt>
                <c:pt idx="8410">
                  <c:v>280381</c:v>
                </c:pt>
                <c:pt idx="8411">
                  <c:v>280364</c:v>
                </c:pt>
                <c:pt idx="8412">
                  <c:v>280346</c:v>
                </c:pt>
                <c:pt idx="8413">
                  <c:v>280336</c:v>
                </c:pt>
                <c:pt idx="8414">
                  <c:v>280331</c:v>
                </c:pt>
                <c:pt idx="8415">
                  <c:v>280330</c:v>
                </c:pt>
                <c:pt idx="8416">
                  <c:v>280326</c:v>
                </c:pt>
                <c:pt idx="8417">
                  <c:v>280304</c:v>
                </c:pt>
                <c:pt idx="8418">
                  <c:v>280288</c:v>
                </c:pt>
                <c:pt idx="8419">
                  <c:v>280245</c:v>
                </c:pt>
                <c:pt idx="8420">
                  <c:v>280242</c:v>
                </c:pt>
                <c:pt idx="8421">
                  <c:v>280223</c:v>
                </c:pt>
                <c:pt idx="8422">
                  <c:v>280191</c:v>
                </c:pt>
                <c:pt idx="8423">
                  <c:v>280186</c:v>
                </c:pt>
                <c:pt idx="8424">
                  <c:v>280185</c:v>
                </c:pt>
                <c:pt idx="8425">
                  <c:v>280178</c:v>
                </c:pt>
                <c:pt idx="8426">
                  <c:v>280166</c:v>
                </c:pt>
                <c:pt idx="8427">
                  <c:v>280149</c:v>
                </c:pt>
                <c:pt idx="8428">
                  <c:v>280138</c:v>
                </c:pt>
                <c:pt idx="8429">
                  <c:v>280130</c:v>
                </c:pt>
                <c:pt idx="8430">
                  <c:v>280123</c:v>
                </c:pt>
                <c:pt idx="8431">
                  <c:v>280112</c:v>
                </c:pt>
                <c:pt idx="8432">
                  <c:v>280097</c:v>
                </c:pt>
                <c:pt idx="8433">
                  <c:v>280073</c:v>
                </c:pt>
                <c:pt idx="8434">
                  <c:v>280068</c:v>
                </c:pt>
                <c:pt idx="8435">
                  <c:v>280061</c:v>
                </c:pt>
                <c:pt idx="8436">
                  <c:v>280050</c:v>
                </c:pt>
                <c:pt idx="8437">
                  <c:v>280031</c:v>
                </c:pt>
                <c:pt idx="8438">
                  <c:v>280029</c:v>
                </c:pt>
                <c:pt idx="8439">
                  <c:v>279995</c:v>
                </c:pt>
                <c:pt idx="8440">
                  <c:v>279977</c:v>
                </c:pt>
                <c:pt idx="8441">
                  <c:v>279965</c:v>
                </c:pt>
                <c:pt idx="8442">
                  <c:v>279897</c:v>
                </c:pt>
                <c:pt idx="8443">
                  <c:v>279858</c:v>
                </c:pt>
                <c:pt idx="8444">
                  <c:v>279855</c:v>
                </c:pt>
                <c:pt idx="8445">
                  <c:v>279846</c:v>
                </c:pt>
                <c:pt idx="8446">
                  <c:v>279842</c:v>
                </c:pt>
                <c:pt idx="8447">
                  <c:v>279819</c:v>
                </c:pt>
                <c:pt idx="8448">
                  <c:v>279815</c:v>
                </c:pt>
                <c:pt idx="8449">
                  <c:v>279808</c:v>
                </c:pt>
                <c:pt idx="8450">
                  <c:v>279801</c:v>
                </c:pt>
                <c:pt idx="8451">
                  <c:v>279791</c:v>
                </c:pt>
                <c:pt idx="8452">
                  <c:v>279778</c:v>
                </c:pt>
                <c:pt idx="8453">
                  <c:v>279761</c:v>
                </c:pt>
                <c:pt idx="8454">
                  <c:v>279755</c:v>
                </c:pt>
                <c:pt idx="8455">
                  <c:v>279749</c:v>
                </c:pt>
                <c:pt idx="8456">
                  <c:v>279740</c:v>
                </c:pt>
                <c:pt idx="8457">
                  <c:v>279738</c:v>
                </c:pt>
                <c:pt idx="8458">
                  <c:v>279725</c:v>
                </c:pt>
                <c:pt idx="8459">
                  <c:v>279713</c:v>
                </c:pt>
                <c:pt idx="8460">
                  <c:v>279709</c:v>
                </c:pt>
                <c:pt idx="8461">
                  <c:v>279678</c:v>
                </c:pt>
                <c:pt idx="8462">
                  <c:v>279672</c:v>
                </c:pt>
                <c:pt idx="8463">
                  <c:v>279665</c:v>
                </c:pt>
                <c:pt idx="8464">
                  <c:v>279661</c:v>
                </c:pt>
                <c:pt idx="8465">
                  <c:v>279635</c:v>
                </c:pt>
                <c:pt idx="8466">
                  <c:v>279623</c:v>
                </c:pt>
                <c:pt idx="8467">
                  <c:v>279608</c:v>
                </c:pt>
                <c:pt idx="8468">
                  <c:v>279600</c:v>
                </c:pt>
                <c:pt idx="8469">
                  <c:v>279588</c:v>
                </c:pt>
                <c:pt idx="8470">
                  <c:v>279584</c:v>
                </c:pt>
                <c:pt idx="8471">
                  <c:v>279565</c:v>
                </c:pt>
                <c:pt idx="8472">
                  <c:v>279550</c:v>
                </c:pt>
                <c:pt idx="8473">
                  <c:v>279548</c:v>
                </c:pt>
                <c:pt idx="8474">
                  <c:v>279545</c:v>
                </c:pt>
                <c:pt idx="8475">
                  <c:v>279542</c:v>
                </c:pt>
                <c:pt idx="8476">
                  <c:v>279505</c:v>
                </c:pt>
                <c:pt idx="8477">
                  <c:v>279503</c:v>
                </c:pt>
                <c:pt idx="8478">
                  <c:v>279494</c:v>
                </c:pt>
                <c:pt idx="8479">
                  <c:v>279485</c:v>
                </c:pt>
                <c:pt idx="8480">
                  <c:v>279477</c:v>
                </c:pt>
                <c:pt idx="8481">
                  <c:v>279469</c:v>
                </c:pt>
                <c:pt idx="8482">
                  <c:v>279467</c:v>
                </c:pt>
                <c:pt idx="8483">
                  <c:v>279460</c:v>
                </c:pt>
                <c:pt idx="8484">
                  <c:v>279454</c:v>
                </c:pt>
                <c:pt idx="8485">
                  <c:v>279444</c:v>
                </c:pt>
                <c:pt idx="8486">
                  <c:v>279385</c:v>
                </c:pt>
                <c:pt idx="8487">
                  <c:v>279365</c:v>
                </c:pt>
                <c:pt idx="8488">
                  <c:v>279316</c:v>
                </c:pt>
                <c:pt idx="8489">
                  <c:v>279298</c:v>
                </c:pt>
                <c:pt idx="8490">
                  <c:v>279280</c:v>
                </c:pt>
                <c:pt idx="8491">
                  <c:v>279278</c:v>
                </c:pt>
                <c:pt idx="8492">
                  <c:v>279273</c:v>
                </c:pt>
                <c:pt idx="8493">
                  <c:v>279266</c:v>
                </c:pt>
                <c:pt idx="8494">
                  <c:v>279258</c:v>
                </c:pt>
                <c:pt idx="8495">
                  <c:v>279253</c:v>
                </c:pt>
                <c:pt idx="8496">
                  <c:v>279155</c:v>
                </c:pt>
                <c:pt idx="8497">
                  <c:v>279152</c:v>
                </c:pt>
                <c:pt idx="8498">
                  <c:v>279144</c:v>
                </c:pt>
                <c:pt idx="8499">
                  <c:v>279137</c:v>
                </c:pt>
                <c:pt idx="8500">
                  <c:v>279088</c:v>
                </c:pt>
                <c:pt idx="8501">
                  <c:v>279078</c:v>
                </c:pt>
                <c:pt idx="8502">
                  <c:v>279069</c:v>
                </c:pt>
                <c:pt idx="8503">
                  <c:v>279053</c:v>
                </c:pt>
                <c:pt idx="8504">
                  <c:v>279051</c:v>
                </c:pt>
                <c:pt idx="8505">
                  <c:v>279047</c:v>
                </c:pt>
                <c:pt idx="8506">
                  <c:v>279047</c:v>
                </c:pt>
                <c:pt idx="8507">
                  <c:v>279011</c:v>
                </c:pt>
                <c:pt idx="8508">
                  <c:v>278980</c:v>
                </c:pt>
                <c:pt idx="8509">
                  <c:v>278971</c:v>
                </c:pt>
                <c:pt idx="8510">
                  <c:v>278965</c:v>
                </c:pt>
                <c:pt idx="8511">
                  <c:v>278963</c:v>
                </c:pt>
                <c:pt idx="8512">
                  <c:v>278905</c:v>
                </c:pt>
                <c:pt idx="8513">
                  <c:v>278877</c:v>
                </c:pt>
                <c:pt idx="8514">
                  <c:v>278864</c:v>
                </c:pt>
                <c:pt idx="8515">
                  <c:v>278843</c:v>
                </c:pt>
                <c:pt idx="8516">
                  <c:v>278836</c:v>
                </c:pt>
                <c:pt idx="8517">
                  <c:v>278827</c:v>
                </c:pt>
                <c:pt idx="8518">
                  <c:v>278819</c:v>
                </c:pt>
                <c:pt idx="8519">
                  <c:v>278814</c:v>
                </c:pt>
                <c:pt idx="8520">
                  <c:v>278813</c:v>
                </c:pt>
                <c:pt idx="8521">
                  <c:v>278799</c:v>
                </c:pt>
                <c:pt idx="8522">
                  <c:v>278796</c:v>
                </c:pt>
                <c:pt idx="8523">
                  <c:v>278794</c:v>
                </c:pt>
                <c:pt idx="8524">
                  <c:v>278791</c:v>
                </c:pt>
                <c:pt idx="8525">
                  <c:v>278789</c:v>
                </c:pt>
                <c:pt idx="8526">
                  <c:v>278776</c:v>
                </c:pt>
                <c:pt idx="8527">
                  <c:v>278772</c:v>
                </c:pt>
                <c:pt idx="8528">
                  <c:v>278762</c:v>
                </c:pt>
                <c:pt idx="8529">
                  <c:v>278753</c:v>
                </c:pt>
                <c:pt idx="8530">
                  <c:v>278749</c:v>
                </c:pt>
                <c:pt idx="8531">
                  <c:v>278745</c:v>
                </c:pt>
                <c:pt idx="8532">
                  <c:v>278731</c:v>
                </c:pt>
                <c:pt idx="8533">
                  <c:v>278709</c:v>
                </c:pt>
                <c:pt idx="8534">
                  <c:v>278681</c:v>
                </c:pt>
                <c:pt idx="8535">
                  <c:v>278647</c:v>
                </c:pt>
                <c:pt idx="8536">
                  <c:v>278630</c:v>
                </c:pt>
                <c:pt idx="8537">
                  <c:v>278629</c:v>
                </c:pt>
                <c:pt idx="8538">
                  <c:v>278551</c:v>
                </c:pt>
                <c:pt idx="8539">
                  <c:v>278548</c:v>
                </c:pt>
                <c:pt idx="8540">
                  <c:v>278534</c:v>
                </c:pt>
                <c:pt idx="8541">
                  <c:v>278527</c:v>
                </c:pt>
                <c:pt idx="8542">
                  <c:v>278510</c:v>
                </c:pt>
                <c:pt idx="8543">
                  <c:v>278503</c:v>
                </c:pt>
                <c:pt idx="8544">
                  <c:v>278479</c:v>
                </c:pt>
                <c:pt idx="8545">
                  <c:v>278461</c:v>
                </c:pt>
                <c:pt idx="8546">
                  <c:v>278445</c:v>
                </c:pt>
                <c:pt idx="8547">
                  <c:v>278435</c:v>
                </c:pt>
                <c:pt idx="8548">
                  <c:v>278434</c:v>
                </c:pt>
                <c:pt idx="8549">
                  <c:v>278420</c:v>
                </c:pt>
                <c:pt idx="8550">
                  <c:v>278406</c:v>
                </c:pt>
                <c:pt idx="8551">
                  <c:v>278406</c:v>
                </c:pt>
                <c:pt idx="8552">
                  <c:v>278403</c:v>
                </c:pt>
                <c:pt idx="8553">
                  <c:v>278401</c:v>
                </c:pt>
                <c:pt idx="8554">
                  <c:v>278370</c:v>
                </c:pt>
                <c:pt idx="8555">
                  <c:v>278365</c:v>
                </c:pt>
                <c:pt idx="8556">
                  <c:v>278351</c:v>
                </c:pt>
                <c:pt idx="8557">
                  <c:v>278285</c:v>
                </c:pt>
                <c:pt idx="8558">
                  <c:v>278285</c:v>
                </c:pt>
                <c:pt idx="8559">
                  <c:v>278280</c:v>
                </c:pt>
                <c:pt idx="8560">
                  <c:v>278254</c:v>
                </c:pt>
                <c:pt idx="8561">
                  <c:v>278237</c:v>
                </c:pt>
                <c:pt idx="8562">
                  <c:v>278208</c:v>
                </c:pt>
                <c:pt idx="8563">
                  <c:v>278197</c:v>
                </c:pt>
                <c:pt idx="8564">
                  <c:v>278192</c:v>
                </c:pt>
                <c:pt idx="8565">
                  <c:v>278190</c:v>
                </c:pt>
                <c:pt idx="8566">
                  <c:v>278177</c:v>
                </c:pt>
                <c:pt idx="8567">
                  <c:v>278162</c:v>
                </c:pt>
                <c:pt idx="8568">
                  <c:v>278138</c:v>
                </c:pt>
                <c:pt idx="8569">
                  <c:v>278132</c:v>
                </c:pt>
                <c:pt idx="8570">
                  <c:v>278122</c:v>
                </c:pt>
                <c:pt idx="8571">
                  <c:v>278119</c:v>
                </c:pt>
                <c:pt idx="8572">
                  <c:v>278105</c:v>
                </c:pt>
                <c:pt idx="8573">
                  <c:v>278026</c:v>
                </c:pt>
                <c:pt idx="8574">
                  <c:v>278020</c:v>
                </c:pt>
                <c:pt idx="8575">
                  <c:v>277996</c:v>
                </c:pt>
                <c:pt idx="8576">
                  <c:v>277982</c:v>
                </c:pt>
                <c:pt idx="8577">
                  <c:v>277973</c:v>
                </c:pt>
                <c:pt idx="8578">
                  <c:v>277962</c:v>
                </c:pt>
                <c:pt idx="8579">
                  <c:v>277960</c:v>
                </c:pt>
                <c:pt idx="8580">
                  <c:v>277957</c:v>
                </c:pt>
                <c:pt idx="8581">
                  <c:v>277957</c:v>
                </c:pt>
                <c:pt idx="8582">
                  <c:v>277943</c:v>
                </c:pt>
                <c:pt idx="8583">
                  <c:v>277942</c:v>
                </c:pt>
                <c:pt idx="8584">
                  <c:v>277936</c:v>
                </c:pt>
                <c:pt idx="8585">
                  <c:v>277933</c:v>
                </c:pt>
                <c:pt idx="8586">
                  <c:v>277926</c:v>
                </c:pt>
                <c:pt idx="8587">
                  <c:v>277923</c:v>
                </c:pt>
                <c:pt idx="8588">
                  <c:v>277918</c:v>
                </c:pt>
                <c:pt idx="8589">
                  <c:v>277903</c:v>
                </c:pt>
                <c:pt idx="8590">
                  <c:v>277873</c:v>
                </c:pt>
                <c:pt idx="8591">
                  <c:v>277872</c:v>
                </c:pt>
                <c:pt idx="8592">
                  <c:v>277862</c:v>
                </c:pt>
                <c:pt idx="8593">
                  <c:v>277826</c:v>
                </c:pt>
                <c:pt idx="8594">
                  <c:v>277813</c:v>
                </c:pt>
                <c:pt idx="8595">
                  <c:v>277801</c:v>
                </c:pt>
                <c:pt idx="8596">
                  <c:v>277794</c:v>
                </c:pt>
                <c:pt idx="8597">
                  <c:v>277793</c:v>
                </c:pt>
                <c:pt idx="8598">
                  <c:v>277746</c:v>
                </c:pt>
                <c:pt idx="8599">
                  <c:v>277710</c:v>
                </c:pt>
                <c:pt idx="8600">
                  <c:v>277701</c:v>
                </c:pt>
                <c:pt idx="8601">
                  <c:v>277685</c:v>
                </c:pt>
                <c:pt idx="8602">
                  <c:v>277682</c:v>
                </c:pt>
                <c:pt idx="8603">
                  <c:v>277677</c:v>
                </c:pt>
                <c:pt idx="8604">
                  <c:v>277661</c:v>
                </c:pt>
                <c:pt idx="8605">
                  <c:v>277659</c:v>
                </c:pt>
                <c:pt idx="8606">
                  <c:v>277643</c:v>
                </c:pt>
                <c:pt idx="8607">
                  <c:v>277640</c:v>
                </c:pt>
                <c:pt idx="8608">
                  <c:v>277634</c:v>
                </c:pt>
                <c:pt idx="8609">
                  <c:v>277617</c:v>
                </c:pt>
                <c:pt idx="8610">
                  <c:v>277611</c:v>
                </c:pt>
                <c:pt idx="8611">
                  <c:v>277601</c:v>
                </c:pt>
                <c:pt idx="8612">
                  <c:v>277538</c:v>
                </c:pt>
                <c:pt idx="8613">
                  <c:v>277537</c:v>
                </c:pt>
                <c:pt idx="8614">
                  <c:v>277522</c:v>
                </c:pt>
                <c:pt idx="8615">
                  <c:v>277519</c:v>
                </c:pt>
                <c:pt idx="8616">
                  <c:v>277513</c:v>
                </c:pt>
                <c:pt idx="8617">
                  <c:v>277512</c:v>
                </c:pt>
                <c:pt idx="8618">
                  <c:v>277487</c:v>
                </c:pt>
                <c:pt idx="8619">
                  <c:v>277480</c:v>
                </c:pt>
                <c:pt idx="8620">
                  <c:v>277473</c:v>
                </c:pt>
                <c:pt idx="8621">
                  <c:v>277448</c:v>
                </c:pt>
                <c:pt idx="8622">
                  <c:v>277442</c:v>
                </c:pt>
                <c:pt idx="8623">
                  <c:v>277417</c:v>
                </c:pt>
                <c:pt idx="8624">
                  <c:v>277373</c:v>
                </c:pt>
                <c:pt idx="8625">
                  <c:v>277371</c:v>
                </c:pt>
                <c:pt idx="8626">
                  <c:v>277367</c:v>
                </c:pt>
                <c:pt idx="8627">
                  <c:v>277359</c:v>
                </c:pt>
                <c:pt idx="8628">
                  <c:v>277339</c:v>
                </c:pt>
                <c:pt idx="8629">
                  <c:v>277335</c:v>
                </c:pt>
                <c:pt idx="8630">
                  <c:v>277298</c:v>
                </c:pt>
                <c:pt idx="8631">
                  <c:v>277288</c:v>
                </c:pt>
                <c:pt idx="8632">
                  <c:v>277267</c:v>
                </c:pt>
                <c:pt idx="8633">
                  <c:v>277252</c:v>
                </c:pt>
                <c:pt idx="8634">
                  <c:v>277238</c:v>
                </c:pt>
                <c:pt idx="8635">
                  <c:v>277214</c:v>
                </c:pt>
                <c:pt idx="8636">
                  <c:v>277200</c:v>
                </c:pt>
                <c:pt idx="8637">
                  <c:v>277199</c:v>
                </c:pt>
                <c:pt idx="8638">
                  <c:v>277193</c:v>
                </c:pt>
                <c:pt idx="8639">
                  <c:v>277177</c:v>
                </c:pt>
                <c:pt idx="8640">
                  <c:v>277156</c:v>
                </c:pt>
                <c:pt idx="8641">
                  <c:v>277153</c:v>
                </c:pt>
                <c:pt idx="8642">
                  <c:v>277147</c:v>
                </c:pt>
                <c:pt idx="8643">
                  <c:v>277145</c:v>
                </c:pt>
                <c:pt idx="8644">
                  <c:v>277134</c:v>
                </c:pt>
                <c:pt idx="8645">
                  <c:v>277133</c:v>
                </c:pt>
                <c:pt idx="8646">
                  <c:v>277105</c:v>
                </c:pt>
                <c:pt idx="8647">
                  <c:v>277105</c:v>
                </c:pt>
                <c:pt idx="8648">
                  <c:v>277051</c:v>
                </c:pt>
                <c:pt idx="8649">
                  <c:v>277047</c:v>
                </c:pt>
                <c:pt idx="8650">
                  <c:v>277036</c:v>
                </c:pt>
                <c:pt idx="8651">
                  <c:v>277008</c:v>
                </c:pt>
                <c:pt idx="8652">
                  <c:v>276947</c:v>
                </c:pt>
                <c:pt idx="8653">
                  <c:v>276929</c:v>
                </c:pt>
                <c:pt idx="8654">
                  <c:v>276928</c:v>
                </c:pt>
                <c:pt idx="8655">
                  <c:v>276917</c:v>
                </c:pt>
                <c:pt idx="8656">
                  <c:v>276893</c:v>
                </c:pt>
                <c:pt idx="8657">
                  <c:v>276875</c:v>
                </c:pt>
                <c:pt idx="8658">
                  <c:v>276871</c:v>
                </c:pt>
                <c:pt idx="8659">
                  <c:v>276849</c:v>
                </c:pt>
                <c:pt idx="8660">
                  <c:v>276848</c:v>
                </c:pt>
                <c:pt idx="8661">
                  <c:v>276819</c:v>
                </c:pt>
                <c:pt idx="8662">
                  <c:v>276818</c:v>
                </c:pt>
                <c:pt idx="8663">
                  <c:v>276815</c:v>
                </c:pt>
                <c:pt idx="8664">
                  <c:v>276792</c:v>
                </c:pt>
                <c:pt idx="8665">
                  <c:v>276763</c:v>
                </c:pt>
                <c:pt idx="8666">
                  <c:v>276754</c:v>
                </c:pt>
                <c:pt idx="8667">
                  <c:v>276750</c:v>
                </c:pt>
                <c:pt idx="8668">
                  <c:v>276724</c:v>
                </c:pt>
                <c:pt idx="8669">
                  <c:v>276724</c:v>
                </c:pt>
                <c:pt idx="8670">
                  <c:v>276707</c:v>
                </c:pt>
                <c:pt idx="8671">
                  <c:v>276694</c:v>
                </c:pt>
                <c:pt idx="8672">
                  <c:v>276691</c:v>
                </c:pt>
                <c:pt idx="8673">
                  <c:v>276687</c:v>
                </c:pt>
                <c:pt idx="8674">
                  <c:v>276680</c:v>
                </c:pt>
                <c:pt idx="8675">
                  <c:v>276649</c:v>
                </c:pt>
                <c:pt idx="8676">
                  <c:v>276642</c:v>
                </c:pt>
                <c:pt idx="8677">
                  <c:v>276640</c:v>
                </c:pt>
                <c:pt idx="8678">
                  <c:v>276631</c:v>
                </c:pt>
                <c:pt idx="8679">
                  <c:v>276607</c:v>
                </c:pt>
                <c:pt idx="8680">
                  <c:v>276605</c:v>
                </c:pt>
                <c:pt idx="8681">
                  <c:v>276599</c:v>
                </c:pt>
                <c:pt idx="8682">
                  <c:v>276592</c:v>
                </c:pt>
                <c:pt idx="8683">
                  <c:v>276590</c:v>
                </c:pt>
                <c:pt idx="8684">
                  <c:v>276578</c:v>
                </c:pt>
                <c:pt idx="8685">
                  <c:v>276576</c:v>
                </c:pt>
                <c:pt idx="8686">
                  <c:v>276574</c:v>
                </c:pt>
                <c:pt idx="8687">
                  <c:v>276566</c:v>
                </c:pt>
                <c:pt idx="8688">
                  <c:v>276450</c:v>
                </c:pt>
                <c:pt idx="8689">
                  <c:v>276439</c:v>
                </c:pt>
                <c:pt idx="8690">
                  <c:v>276426</c:v>
                </c:pt>
                <c:pt idx="8691">
                  <c:v>276426</c:v>
                </c:pt>
                <c:pt idx="8692">
                  <c:v>276419</c:v>
                </c:pt>
                <c:pt idx="8693">
                  <c:v>276417</c:v>
                </c:pt>
                <c:pt idx="8694">
                  <c:v>276402</c:v>
                </c:pt>
                <c:pt idx="8695">
                  <c:v>276395</c:v>
                </c:pt>
                <c:pt idx="8696">
                  <c:v>276390</c:v>
                </c:pt>
                <c:pt idx="8697">
                  <c:v>276360</c:v>
                </c:pt>
                <c:pt idx="8698">
                  <c:v>276338</c:v>
                </c:pt>
                <c:pt idx="8699">
                  <c:v>276317</c:v>
                </c:pt>
                <c:pt idx="8700">
                  <c:v>276314</c:v>
                </c:pt>
                <c:pt idx="8701">
                  <c:v>276312</c:v>
                </c:pt>
                <c:pt idx="8702">
                  <c:v>276297</c:v>
                </c:pt>
                <c:pt idx="8703">
                  <c:v>276283</c:v>
                </c:pt>
                <c:pt idx="8704">
                  <c:v>276283</c:v>
                </c:pt>
                <c:pt idx="8705">
                  <c:v>276264</c:v>
                </c:pt>
                <c:pt idx="8706">
                  <c:v>276249</c:v>
                </c:pt>
                <c:pt idx="8707">
                  <c:v>276245</c:v>
                </c:pt>
                <c:pt idx="8708">
                  <c:v>276219</c:v>
                </c:pt>
                <c:pt idx="8709">
                  <c:v>276217</c:v>
                </c:pt>
                <c:pt idx="8710">
                  <c:v>276210</c:v>
                </c:pt>
                <c:pt idx="8711">
                  <c:v>276195</c:v>
                </c:pt>
                <c:pt idx="8712">
                  <c:v>276157</c:v>
                </c:pt>
                <c:pt idx="8713">
                  <c:v>276144</c:v>
                </c:pt>
                <c:pt idx="8714">
                  <c:v>276110</c:v>
                </c:pt>
                <c:pt idx="8715">
                  <c:v>276076</c:v>
                </c:pt>
                <c:pt idx="8716">
                  <c:v>276072</c:v>
                </c:pt>
                <c:pt idx="8717">
                  <c:v>276048</c:v>
                </c:pt>
                <c:pt idx="8718">
                  <c:v>276041</c:v>
                </c:pt>
                <c:pt idx="8719">
                  <c:v>276037</c:v>
                </c:pt>
                <c:pt idx="8720">
                  <c:v>276023</c:v>
                </c:pt>
                <c:pt idx="8721">
                  <c:v>276012</c:v>
                </c:pt>
                <c:pt idx="8722">
                  <c:v>276007</c:v>
                </c:pt>
                <c:pt idx="8723">
                  <c:v>276006</c:v>
                </c:pt>
                <c:pt idx="8724">
                  <c:v>276002</c:v>
                </c:pt>
                <c:pt idx="8725">
                  <c:v>276001</c:v>
                </c:pt>
                <c:pt idx="8726">
                  <c:v>275997</c:v>
                </c:pt>
                <c:pt idx="8727">
                  <c:v>275981</c:v>
                </c:pt>
                <c:pt idx="8728">
                  <c:v>275971</c:v>
                </c:pt>
                <c:pt idx="8729">
                  <c:v>275969</c:v>
                </c:pt>
                <c:pt idx="8730">
                  <c:v>275958</c:v>
                </c:pt>
                <c:pt idx="8731">
                  <c:v>275956</c:v>
                </c:pt>
                <c:pt idx="8732">
                  <c:v>275954</c:v>
                </c:pt>
                <c:pt idx="8733">
                  <c:v>275940</c:v>
                </c:pt>
                <c:pt idx="8734">
                  <c:v>275921</c:v>
                </c:pt>
                <c:pt idx="8735">
                  <c:v>275917</c:v>
                </c:pt>
                <c:pt idx="8736">
                  <c:v>275906</c:v>
                </c:pt>
                <c:pt idx="8737">
                  <c:v>275900</c:v>
                </c:pt>
                <c:pt idx="8738">
                  <c:v>275898</c:v>
                </c:pt>
                <c:pt idx="8739">
                  <c:v>275896</c:v>
                </c:pt>
                <c:pt idx="8740">
                  <c:v>275882</c:v>
                </c:pt>
                <c:pt idx="8741">
                  <c:v>275878</c:v>
                </c:pt>
                <c:pt idx="8742">
                  <c:v>275864</c:v>
                </c:pt>
                <c:pt idx="8743">
                  <c:v>275861</c:v>
                </c:pt>
                <c:pt idx="8744">
                  <c:v>275860</c:v>
                </c:pt>
                <c:pt idx="8745">
                  <c:v>275858</c:v>
                </c:pt>
                <c:pt idx="8746">
                  <c:v>275851</c:v>
                </c:pt>
                <c:pt idx="8747">
                  <c:v>275842</c:v>
                </c:pt>
                <c:pt idx="8748">
                  <c:v>275832</c:v>
                </c:pt>
                <c:pt idx="8749">
                  <c:v>275824</c:v>
                </c:pt>
                <c:pt idx="8750">
                  <c:v>275799</c:v>
                </c:pt>
                <c:pt idx="8751">
                  <c:v>275793</c:v>
                </c:pt>
                <c:pt idx="8752">
                  <c:v>275788</c:v>
                </c:pt>
                <c:pt idx="8753">
                  <c:v>275747</c:v>
                </c:pt>
                <c:pt idx="8754">
                  <c:v>275730</c:v>
                </c:pt>
                <c:pt idx="8755">
                  <c:v>275714</c:v>
                </c:pt>
                <c:pt idx="8756">
                  <c:v>275708</c:v>
                </c:pt>
                <c:pt idx="8757">
                  <c:v>275702</c:v>
                </c:pt>
                <c:pt idx="8758">
                  <c:v>275681</c:v>
                </c:pt>
                <c:pt idx="8759">
                  <c:v>275652</c:v>
                </c:pt>
                <c:pt idx="8760">
                  <c:v>275651</c:v>
                </c:pt>
                <c:pt idx="8761">
                  <c:v>275627</c:v>
                </c:pt>
                <c:pt idx="8762">
                  <c:v>275626</c:v>
                </c:pt>
                <c:pt idx="8763">
                  <c:v>275600</c:v>
                </c:pt>
                <c:pt idx="8764">
                  <c:v>275599</c:v>
                </c:pt>
                <c:pt idx="8765">
                  <c:v>275590</c:v>
                </c:pt>
                <c:pt idx="8766">
                  <c:v>275587</c:v>
                </c:pt>
                <c:pt idx="8767">
                  <c:v>275577</c:v>
                </c:pt>
                <c:pt idx="8768">
                  <c:v>275569</c:v>
                </c:pt>
                <c:pt idx="8769">
                  <c:v>275556</c:v>
                </c:pt>
                <c:pt idx="8770">
                  <c:v>275541</c:v>
                </c:pt>
                <c:pt idx="8771">
                  <c:v>275499</c:v>
                </c:pt>
                <c:pt idx="8772">
                  <c:v>275493</c:v>
                </c:pt>
                <c:pt idx="8773">
                  <c:v>275487</c:v>
                </c:pt>
                <c:pt idx="8774">
                  <c:v>275482</c:v>
                </c:pt>
                <c:pt idx="8775">
                  <c:v>275455</c:v>
                </c:pt>
                <c:pt idx="8776">
                  <c:v>275434</c:v>
                </c:pt>
                <c:pt idx="8777">
                  <c:v>275425</c:v>
                </c:pt>
                <c:pt idx="8778">
                  <c:v>275414</c:v>
                </c:pt>
                <c:pt idx="8779">
                  <c:v>275406</c:v>
                </c:pt>
                <c:pt idx="8780">
                  <c:v>275391</c:v>
                </c:pt>
                <c:pt idx="8781">
                  <c:v>275357</c:v>
                </c:pt>
                <c:pt idx="8782">
                  <c:v>275347</c:v>
                </c:pt>
                <c:pt idx="8783">
                  <c:v>275341</c:v>
                </c:pt>
                <c:pt idx="8784">
                  <c:v>275321</c:v>
                </c:pt>
                <c:pt idx="8785">
                  <c:v>275320</c:v>
                </c:pt>
                <c:pt idx="8786">
                  <c:v>275313</c:v>
                </c:pt>
                <c:pt idx="8787">
                  <c:v>275310</c:v>
                </c:pt>
                <c:pt idx="8788">
                  <c:v>275304</c:v>
                </c:pt>
                <c:pt idx="8789">
                  <c:v>275288</c:v>
                </c:pt>
                <c:pt idx="8790">
                  <c:v>275266</c:v>
                </c:pt>
                <c:pt idx="8791">
                  <c:v>275263</c:v>
                </c:pt>
                <c:pt idx="8792">
                  <c:v>275262</c:v>
                </c:pt>
                <c:pt idx="8793">
                  <c:v>275257</c:v>
                </c:pt>
                <c:pt idx="8794">
                  <c:v>275255</c:v>
                </c:pt>
                <c:pt idx="8795">
                  <c:v>275250</c:v>
                </c:pt>
                <c:pt idx="8796">
                  <c:v>275243</c:v>
                </c:pt>
                <c:pt idx="8797">
                  <c:v>275239</c:v>
                </c:pt>
                <c:pt idx="8798">
                  <c:v>275196</c:v>
                </c:pt>
                <c:pt idx="8799">
                  <c:v>275188</c:v>
                </c:pt>
                <c:pt idx="8800">
                  <c:v>275183</c:v>
                </c:pt>
                <c:pt idx="8801">
                  <c:v>275173</c:v>
                </c:pt>
                <c:pt idx="8802">
                  <c:v>275172</c:v>
                </c:pt>
                <c:pt idx="8803">
                  <c:v>275143</c:v>
                </c:pt>
                <c:pt idx="8804">
                  <c:v>275134</c:v>
                </c:pt>
                <c:pt idx="8805">
                  <c:v>275123</c:v>
                </c:pt>
                <c:pt idx="8806">
                  <c:v>275123</c:v>
                </c:pt>
                <c:pt idx="8807">
                  <c:v>275118</c:v>
                </c:pt>
                <c:pt idx="8808">
                  <c:v>275107</c:v>
                </c:pt>
                <c:pt idx="8809">
                  <c:v>275091</c:v>
                </c:pt>
                <c:pt idx="8810">
                  <c:v>275082</c:v>
                </c:pt>
                <c:pt idx="8811">
                  <c:v>275067</c:v>
                </c:pt>
                <c:pt idx="8812">
                  <c:v>275059</c:v>
                </c:pt>
                <c:pt idx="8813">
                  <c:v>275054</c:v>
                </c:pt>
                <c:pt idx="8814">
                  <c:v>275043</c:v>
                </c:pt>
                <c:pt idx="8815">
                  <c:v>275036</c:v>
                </c:pt>
                <c:pt idx="8816">
                  <c:v>275025</c:v>
                </c:pt>
                <c:pt idx="8817">
                  <c:v>275005</c:v>
                </c:pt>
                <c:pt idx="8818">
                  <c:v>274966</c:v>
                </c:pt>
                <c:pt idx="8819">
                  <c:v>274965</c:v>
                </c:pt>
                <c:pt idx="8820">
                  <c:v>274962</c:v>
                </c:pt>
                <c:pt idx="8821">
                  <c:v>274917</c:v>
                </c:pt>
                <c:pt idx="8822">
                  <c:v>274915</c:v>
                </c:pt>
                <c:pt idx="8823">
                  <c:v>274905</c:v>
                </c:pt>
                <c:pt idx="8824">
                  <c:v>274876</c:v>
                </c:pt>
                <c:pt idx="8825">
                  <c:v>274874</c:v>
                </c:pt>
                <c:pt idx="8826">
                  <c:v>274867</c:v>
                </c:pt>
                <c:pt idx="8827">
                  <c:v>274846</c:v>
                </c:pt>
                <c:pt idx="8828">
                  <c:v>274841</c:v>
                </c:pt>
                <c:pt idx="8829">
                  <c:v>274824</c:v>
                </c:pt>
                <c:pt idx="8830">
                  <c:v>274813</c:v>
                </c:pt>
                <c:pt idx="8831">
                  <c:v>274788</c:v>
                </c:pt>
                <c:pt idx="8832">
                  <c:v>274745</c:v>
                </c:pt>
                <c:pt idx="8833">
                  <c:v>274714</c:v>
                </c:pt>
                <c:pt idx="8834">
                  <c:v>274714</c:v>
                </c:pt>
                <c:pt idx="8835">
                  <c:v>274700</c:v>
                </c:pt>
                <c:pt idx="8836">
                  <c:v>274669</c:v>
                </c:pt>
                <c:pt idx="8837">
                  <c:v>274657</c:v>
                </c:pt>
                <c:pt idx="8838">
                  <c:v>274638</c:v>
                </c:pt>
                <c:pt idx="8839">
                  <c:v>274632</c:v>
                </c:pt>
                <c:pt idx="8840">
                  <c:v>274622</c:v>
                </c:pt>
                <c:pt idx="8841">
                  <c:v>274611</c:v>
                </c:pt>
                <c:pt idx="8842">
                  <c:v>274599</c:v>
                </c:pt>
                <c:pt idx="8843">
                  <c:v>274591</c:v>
                </c:pt>
                <c:pt idx="8844">
                  <c:v>274576</c:v>
                </c:pt>
                <c:pt idx="8845">
                  <c:v>274574</c:v>
                </c:pt>
                <c:pt idx="8846">
                  <c:v>274569</c:v>
                </c:pt>
                <c:pt idx="8847">
                  <c:v>274555</c:v>
                </c:pt>
                <c:pt idx="8848">
                  <c:v>274539</c:v>
                </c:pt>
                <c:pt idx="8849">
                  <c:v>274535</c:v>
                </c:pt>
                <c:pt idx="8850">
                  <c:v>274532</c:v>
                </c:pt>
                <c:pt idx="8851">
                  <c:v>274524</c:v>
                </c:pt>
                <c:pt idx="8852">
                  <c:v>274513</c:v>
                </c:pt>
                <c:pt idx="8853">
                  <c:v>274495</c:v>
                </c:pt>
                <c:pt idx="8854">
                  <c:v>274486</c:v>
                </c:pt>
                <c:pt idx="8855">
                  <c:v>274450</c:v>
                </c:pt>
                <c:pt idx="8856">
                  <c:v>274444</c:v>
                </c:pt>
                <c:pt idx="8857">
                  <c:v>274420</c:v>
                </c:pt>
                <c:pt idx="8858">
                  <c:v>274409</c:v>
                </c:pt>
                <c:pt idx="8859">
                  <c:v>274391</c:v>
                </c:pt>
                <c:pt idx="8860">
                  <c:v>274377</c:v>
                </c:pt>
                <c:pt idx="8861">
                  <c:v>274368</c:v>
                </c:pt>
                <c:pt idx="8862">
                  <c:v>274342</c:v>
                </c:pt>
                <c:pt idx="8863">
                  <c:v>274330</c:v>
                </c:pt>
                <c:pt idx="8864">
                  <c:v>274269</c:v>
                </c:pt>
                <c:pt idx="8865">
                  <c:v>274266</c:v>
                </c:pt>
                <c:pt idx="8866">
                  <c:v>274263</c:v>
                </c:pt>
                <c:pt idx="8867">
                  <c:v>274255</c:v>
                </c:pt>
                <c:pt idx="8868">
                  <c:v>274250</c:v>
                </c:pt>
                <c:pt idx="8869">
                  <c:v>274232</c:v>
                </c:pt>
                <c:pt idx="8870">
                  <c:v>274196</c:v>
                </c:pt>
                <c:pt idx="8871">
                  <c:v>274187</c:v>
                </c:pt>
                <c:pt idx="8872">
                  <c:v>274182</c:v>
                </c:pt>
                <c:pt idx="8873">
                  <c:v>274176</c:v>
                </c:pt>
                <c:pt idx="8874">
                  <c:v>274173</c:v>
                </c:pt>
                <c:pt idx="8875">
                  <c:v>274167</c:v>
                </c:pt>
                <c:pt idx="8876">
                  <c:v>274165</c:v>
                </c:pt>
                <c:pt idx="8877">
                  <c:v>274155</c:v>
                </c:pt>
                <c:pt idx="8878">
                  <c:v>274134</c:v>
                </c:pt>
                <c:pt idx="8879">
                  <c:v>274112</c:v>
                </c:pt>
                <c:pt idx="8880">
                  <c:v>274112</c:v>
                </c:pt>
                <c:pt idx="8881">
                  <c:v>274097</c:v>
                </c:pt>
                <c:pt idx="8882">
                  <c:v>274066</c:v>
                </c:pt>
                <c:pt idx="8883">
                  <c:v>274059</c:v>
                </c:pt>
                <c:pt idx="8884">
                  <c:v>274035</c:v>
                </c:pt>
                <c:pt idx="8885">
                  <c:v>274016</c:v>
                </c:pt>
                <c:pt idx="8886">
                  <c:v>273994</c:v>
                </c:pt>
                <c:pt idx="8887">
                  <c:v>273994</c:v>
                </c:pt>
                <c:pt idx="8888">
                  <c:v>273993</c:v>
                </c:pt>
                <c:pt idx="8889">
                  <c:v>273989</c:v>
                </c:pt>
                <c:pt idx="8890">
                  <c:v>273989</c:v>
                </c:pt>
                <c:pt idx="8891">
                  <c:v>273968</c:v>
                </c:pt>
                <c:pt idx="8892">
                  <c:v>273956</c:v>
                </c:pt>
                <c:pt idx="8893">
                  <c:v>273948</c:v>
                </c:pt>
                <c:pt idx="8894">
                  <c:v>273919</c:v>
                </c:pt>
                <c:pt idx="8895">
                  <c:v>273910</c:v>
                </c:pt>
                <c:pt idx="8896">
                  <c:v>273903</c:v>
                </c:pt>
                <c:pt idx="8897">
                  <c:v>273896</c:v>
                </c:pt>
                <c:pt idx="8898">
                  <c:v>273893</c:v>
                </c:pt>
                <c:pt idx="8899">
                  <c:v>273881</c:v>
                </c:pt>
                <c:pt idx="8900">
                  <c:v>273870</c:v>
                </c:pt>
                <c:pt idx="8901">
                  <c:v>273816</c:v>
                </c:pt>
                <c:pt idx="8902">
                  <c:v>273785</c:v>
                </c:pt>
                <c:pt idx="8903">
                  <c:v>273772</c:v>
                </c:pt>
                <c:pt idx="8904">
                  <c:v>273770</c:v>
                </c:pt>
                <c:pt idx="8905">
                  <c:v>273727</c:v>
                </c:pt>
                <c:pt idx="8906">
                  <c:v>273722</c:v>
                </c:pt>
                <c:pt idx="8907">
                  <c:v>273714</c:v>
                </c:pt>
                <c:pt idx="8908">
                  <c:v>273690</c:v>
                </c:pt>
                <c:pt idx="8909">
                  <c:v>273670</c:v>
                </c:pt>
                <c:pt idx="8910">
                  <c:v>273639</c:v>
                </c:pt>
                <c:pt idx="8911">
                  <c:v>273628</c:v>
                </c:pt>
                <c:pt idx="8912">
                  <c:v>273620</c:v>
                </c:pt>
                <c:pt idx="8913">
                  <c:v>273609</c:v>
                </c:pt>
                <c:pt idx="8914">
                  <c:v>273585</c:v>
                </c:pt>
                <c:pt idx="8915">
                  <c:v>273578</c:v>
                </c:pt>
                <c:pt idx="8916">
                  <c:v>273566</c:v>
                </c:pt>
                <c:pt idx="8917">
                  <c:v>273538</c:v>
                </c:pt>
                <c:pt idx="8918">
                  <c:v>273527</c:v>
                </c:pt>
                <c:pt idx="8919">
                  <c:v>273520</c:v>
                </c:pt>
                <c:pt idx="8920">
                  <c:v>273518</c:v>
                </c:pt>
                <c:pt idx="8921">
                  <c:v>273485</c:v>
                </c:pt>
                <c:pt idx="8922">
                  <c:v>273479</c:v>
                </c:pt>
                <c:pt idx="8923">
                  <c:v>273448</c:v>
                </c:pt>
                <c:pt idx="8924">
                  <c:v>273409</c:v>
                </c:pt>
                <c:pt idx="8925">
                  <c:v>273404</c:v>
                </c:pt>
                <c:pt idx="8926">
                  <c:v>273398</c:v>
                </c:pt>
                <c:pt idx="8927">
                  <c:v>273371</c:v>
                </c:pt>
                <c:pt idx="8928">
                  <c:v>273342</c:v>
                </c:pt>
                <c:pt idx="8929">
                  <c:v>273323</c:v>
                </c:pt>
                <c:pt idx="8930">
                  <c:v>273318</c:v>
                </c:pt>
                <c:pt idx="8931">
                  <c:v>273313</c:v>
                </c:pt>
                <c:pt idx="8932">
                  <c:v>273229</c:v>
                </c:pt>
                <c:pt idx="8933">
                  <c:v>273178</c:v>
                </c:pt>
                <c:pt idx="8934">
                  <c:v>273171</c:v>
                </c:pt>
                <c:pt idx="8935">
                  <c:v>273166</c:v>
                </c:pt>
                <c:pt idx="8936">
                  <c:v>273165</c:v>
                </c:pt>
                <c:pt idx="8937">
                  <c:v>273157</c:v>
                </c:pt>
                <c:pt idx="8938">
                  <c:v>273154</c:v>
                </c:pt>
                <c:pt idx="8939">
                  <c:v>273132</c:v>
                </c:pt>
                <c:pt idx="8940">
                  <c:v>273124</c:v>
                </c:pt>
                <c:pt idx="8941">
                  <c:v>273118</c:v>
                </c:pt>
                <c:pt idx="8942">
                  <c:v>273099</c:v>
                </c:pt>
                <c:pt idx="8943">
                  <c:v>273091</c:v>
                </c:pt>
                <c:pt idx="8944">
                  <c:v>273085</c:v>
                </c:pt>
                <c:pt idx="8945">
                  <c:v>273070</c:v>
                </c:pt>
                <c:pt idx="8946">
                  <c:v>273044</c:v>
                </c:pt>
                <c:pt idx="8947">
                  <c:v>273042</c:v>
                </c:pt>
                <c:pt idx="8948">
                  <c:v>273032</c:v>
                </c:pt>
                <c:pt idx="8949">
                  <c:v>273030</c:v>
                </c:pt>
                <c:pt idx="8950">
                  <c:v>272980</c:v>
                </c:pt>
                <c:pt idx="8951">
                  <c:v>272976</c:v>
                </c:pt>
                <c:pt idx="8952">
                  <c:v>272976</c:v>
                </c:pt>
                <c:pt idx="8953">
                  <c:v>272973</c:v>
                </c:pt>
                <c:pt idx="8954">
                  <c:v>272968</c:v>
                </c:pt>
                <c:pt idx="8955">
                  <c:v>272936</c:v>
                </c:pt>
                <c:pt idx="8956">
                  <c:v>272933</c:v>
                </c:pt>
                <c:pt idx="8957">
                  <c:v>272915</c:v>
                </c:pt>
                <c:pt idx="8958">
                  <c:v>272861</c:v>
                </c:pt>
                <c:pt idx="8959">
                  <c:v>272836</c:v>
                </c:pt>
                <c:pt idx="8960">
                  <c:v>272818</c:v>
                </c:pt>
                <c:pt idx="8961">
                  <c:v>272815</c:v>
                </c:pt>
                <c:pt idx="8962">
                  <c:v>272781</c:v>
                </c:pt>
                <c:pt idx="8963">
                  <c:v>272778</c:v>
                </c:pt>
                <c:pt idx="8964">
                  <c:v>272758</c:v>
                </c:pt>
                <c:pt idx="8965">
                  <c:v>272702</c:v>
                </c:pt>
                <c:pt idx="8966">
                  <c:v>272700</c:v>
                </c:pt>
                <c:pt idx="8967">
                  <c:v>272687</c:v>
                </c:pt>
                <c:pt idx="8968">
                  <c:v>272669</c:v>
                </c:pt>
                <c:pt idx="8969">
                  <c:v>272666</c:v>
                </c:pt>
                <c:pt idx="8970">
                  <c:v>272660</c:v>
                </c:pt>
                <c:pt idx="8971">
                  <c:v>272641</c:v>
                </c:pt>
                <c:pt idx="8972">
                  <c:v>272638</c:v>
                </c:pt>
                <c:pt idx="8973">
                  <c:v>272635</c:v>
                </c:pt>
                <c:pt idx="8974">
                  <c:v>272626</c:v>
                </c:pt>
                <c:pt idx="8975">
                  <c:v>272619</c:v>
                </c:pt>
                <c:pt idx="8976">
                  <c:v>272601</c:v>
                </c:pt>
                <c:pt idx="8977">
                  <c:v>272585</c:v>
                </c:pt>
                <c:pt idx="8978">
                  <c:v>272584</c:v>
                </c:pt>
                <c:pt idx="8979">
                  <c:v>272581</c:v>
                </c:pt>
                <c:pt idx="8980">
                  <c:v>272561</c:v>
                </c:pt>
                <c:pt idx="8981">
                  <c:v>272523</c:v>
                </c:pt>
                <c:pt idx="8982">
                  <c:v>272509</c:v>
                </c:pt>
                <c:pt idx="8983">
                  <c:v>272490</c:v>
                </c:pt>
                <c:pt idx="8984">
                  <c:v>272487</c:v>
                </c:pt>
                <c:pt idx="8985">
                  <c:v>272482</c:v>
                </c:pt>
                <c:pt idx="8986">
                  <c:v>272464</c:v>
                </c:pt>
                <c:pt idx="8987">
                  <c:v>272452</c:v>
                </c:pt>
                <c:pt idx="8988">
                  <c:v>272441</c:v>
                </c:pt>
                <c:pt idx="8989">
                  <c:v>272386</c:v>
                </c:pt>
                <c:pt idx="8990">
                  <c:v>272381</c:v>
                </c:pt>
                <c:pt idx="8991">
                  <c:v>272342</c:v>
                </c:pt>
                <c:pt idx="8992">
                  <c:v>272302</c:v>
                </c:pt>
                <c:pt idx="8993">
                  <c:v>272300</c:v>
                </c:pt>
                <c:pt idx="8994">
                  <c:v>272297</c:v>
                </c:pt>
                <c:pt idx="8995">
                  <c:v>272282</c:v>
                </c:pt>
                <c:pt idx="8996">
                  <c:v>272269</c:v>
                </c:pt>
                <c:pt idx="8997">
                  <c:v>272241</c:v>
                </c:pt>
                <c:pt idx="8998">
                  <c:v>272229</c:v>
                </c:pt>
                <c:pt idx="8999">
                  <c:v>272228</c:v>
                </c:pt>
                <c:pt idx="9000">
                  <c:v>272203</c:v>
                </c:pt>
                <c:pt idx="9001">
                  <c:v>272201</c:v>
                </c:pt>
                <c:pt idx="9002">
                  <c:v>272180</c:v>
                </c:pt>
                <c:pt idx="9003">
                  <c:v>272168</c:v>
                </c:pt>
                <c:pt idx="9004">
                  <c:v>272156</c:v>
                </c:pt>
                <c:pt idx="9005">
                  <c:v>272152</c:v>
                </c:pt>
                <c:pt idx="9006">
                  <c:v>272144</c:v>
                </c:pt>
                <c:pt idx="9007">
                  <c:v>272134</c:v>
                </c:pt>
                <c:pt idx="9008">
                  <c:v>272114</c:v>
                </c:pt>
                <c:pt idx="9009">
                  <c:v>272109</c:v>
                </c:pt>
                <c:pt idx="9010">
                  <c:v>272104</c:v>
                </c:pt>
                <c:pt idx="9011">
                  <c:v>272071</c:v>
                </c:pt>
                <c:pt idx="9012">
                  <c:v>272021</c:v>
                </c:pt>
                <c:pt idx="9013">
                  <c:v>272011</c:v>
                </c:pt>
                <c:pt idx="9014">
                  <c:v>272007</c:v>
                </c:pt>
                <c:pt idx="9015">
                  <c:v>272000</c:v>
                </c:pt>
                <c:pt idx="9016">
                  <c:v>271995</c:v>
                </c:pt>
                <c:pt idx="9017">
                  <c:v>271979</c:v>
                </c:pt>
                <c:pt idx="9018">
                  <c:v>271970</c:v>
                </c:pt>
                <c:pt idx="9019">
                  <c:v>271916</c:v>
                </c:pt>
                <c:pt idx="9020">
                  <c:v>271915</c:v>
                </c:pt>
                <c:pt idx="9021">
                  <c:v>271910</c:v>
                </c:pt>
                <c:pt idx="9022">
                  <c:v>271899</c:v>
                </c:pt>
                <c:pt idx="9023">
                  <c:v>271850</c:v>
                </c:pt>
                <c:pt idx="9024">
                  <c:v>271820</c:v>
                </c:pt>
                <c:pt idx="9025">
                  <c:v>271812</c:v>
                </c:pt>
                <c:pt idx="9026">
                  <c:v>271809</c:v>
                </c:pt>
                <c:pt idx="9027">
                  <c:v>271801</c:v>
                </c:pt>
                <c:pt idx="9028">
                  <c:v>271800</c:v>
                </c:pt>
                <c:pt idx="9029">
                  <c:v>271800</c:v>
                </c:pt>
                <c:pt idx="9030">
                  <c:v>271764</c:v>
                </c:pt>
                <c:pt idx="9031">
                  <c:v>271748</c:v>
                </c:pt>
                <c:pt idx="9032">
                  <c:v>271736</c:v>
                </c:pt>
                <c:pt idx="9033">
                  <c:v>271728</c:v>
                </c:pt>
                <c:pt idx="9034">
                  <c:v>271710</c:v>
                </c:pt>
                <c:pt idx="9035">
                  <c:v>271699</c:v>
                </c:pt>
                <c:pt idx="9036">
                  <c:v>271688</c:v>
                </c:pt>
                <c:pt idx="9037">
                  <c:v>271676</c:v>
                </c:pt>
                <c:pt idx="9038">
                  <c:v>271670</c:v>
                </c:pt>
                <c:pt idx="9039">
                  <c:v>271667</c:v>
                </c:pt>
                <c:pt idx="9040">
                  <c:v>271630</c:v>
                </c:pt>
                <c:pt idx="9041">
                  <c:v>271613</c:v>
                </c:pt>
                <c:pt idx="9042">
                  <c:v>271611</c:v>
                </c:pt>
                <c:pt idx="9043">
                  <c:v>271589</c:v>
                </c:pt>
                <c:pt idx="9044">
                  <c:v>271589</c:v>
                </c:pt>
                <c:pt idx="9045">
                  <c:v>271571</c:v>
                </c:pt>
                <c:pt idx="9046">
                  <c:v>271563</c:v>
                </c:pt>
                <c:pt idx="9047">
                  <c:v>271536</c:v>
                </c:pt>
                <c:pt idx="9048">
                  <c:v>271512</c:v>
                </c:pt>
                <c:pt idx="9049">
                  <c:v>271489</c:v>
                </c:pt>
                <c:pt idx="9050">
                  <c:v>271484</c:v>
                </c:pt>
                <c:pt idx="9051">
                  <c:v>271472</c:v>
                </c:pt>
                <c:pt idx="9052">
                  <c:v>271459</c:v>
                </c:pt>
                <c:pt idx="9053">
                  <c:v>271450</c:v>
                </c:pt>
                <c:pt idx="9054">
                  <c:v>271430</c:v>
                </c:pt>
                <c:pt idx="9055">
                  <c:v>271424</c:v>
                </c:pt>
                <c:pt idx="9056">
                  <c:v>271418</c:v>
                </c:pt>
                <c:pt idx="9057">
                  <c:v>271401</c:v>
                </c:pt>
                <c:pt idx="9058">
                  <c:v>271401</c:v>
                </c:pt>
                <c:pt idx="9059">
                  <c:v>271400</c:v>
                </c:pt>
                <c:pt idx="9060">
                  <c:v>271395</c:v>
                </c:pt>
                <c:pt idx="9061">
                  <c:v>271374</c:v>
                </c:pt>
                <c:pt idx="9062">
                  <c:v>271366</c:v>
                </c:pt>
                <c:pt idx="9063">
                  <c:v>271313</c:v>
                </c:pt>
                <c:pt idx="9064">
                  <c:v>271305</c:v>
                </c:pt>
                <c:pt idx="9065">
                  <c:v>271292</c:v>
                </c:pt>
                <c:pt idx="9066">
                  <c:v>271273</c:v>
                </c:pt>
                <c:pt idx="9067">
                  <c:v>271264</c:v>
                </c:pt>
                <c:pt idx="9068">
                  <c:v>271262</c:v>
                </c:pt>
                <c:pt idx="9069">
                  <c:v>271260</c:v>
                </c:pt>
                <c:pt idx="9070">
                  <c:v>271259</c:v>
                </c:pt>
                <c:pt idx="9071">
                  <c:v>271242</c:v>
                </c:pt>
                <c:pt idx="9072">
                  <c:v>271233</c:v>
                </c:pt>
                <c:pt idx="9073">
                  <c:v>271202</c:v>
                </c:pt>
                <c:pt idx="9074">
                  <c:v>271185</c:v>
                </c:pt>
                <c:pt idx="9075">
                  <c:v>271181</c:v>
                </c:pt>
                <c:pt idx="9076">
                  <c:v>271146</c:v>
                </c:pt>
                <c:pt idx="9077">
                  <c:v>271127</c:v>
                </c:pt>
                <c:pt idx="9078">
                  <c:v>271115</c:v>
                </c:pt>
                <c:pt idx="9079">
                  <c:v>271089</c:v>
                </c:pt>
                <c:pt idx="9080">
                  <c:v>271078</c:v>
                </c:pt>
                <c:pt idx="9081">
                  <c:v>271067</c:v>
                </c:pt>
                <c:pt idx="9082">
                  <c:v>271058</c:v>
                </c:pt>
                <c:pt idx="9083">
                  <c:v>271052</c:v>
                </c:pt>
                <c:pt idx="9084">
                  <c:v>271038</c:v>
                </c:pt>
                <c:pt idx="9085">
                  <c:v>270992</c:v>
                </c:pt>
                <c:pt idx="9086">
                  <c:v>270982</c:v>
                </c:pt>
                <c:pt idx="9087">
                  <c:v>270976</c:v>
                </c:pt>
                <c:pt idx="9088">
                  <c:v>270955</c:v>
                </c:pt>
                <c:pt idx="9089">
                  <c:v>270949</c:v>
                </c:pt>
                <c:pt idx="9090">
                  <c:v>270931</c:v>
                </c:pt>
                <c:pt idx="9091">
                  <c:v>270878</c:v>
                </c:pt>
                <c:pt idx="9092">
                  <c:v>270875</c:v>
                </c:pt>
                <c:pt idx="9093">
                  <c:v>270860</c:v>
                </c:pt>
                <c:pt idx="9094">
                  <c:v>270851</c:v>
                </c:pt>
                <c:pt idx="9095">
                  <c:v>270847</c:v>
                </c:pt>
                <c:pt idx="9096">
                  <c:v>270845</c:v>
                </c:pt>
                <c:pt idx="9097">
                  <c:v>270831</c:v>
                </c:pt>
                <c:pt idx="9098">
                  <c:v>270829</c:v>
                </c:pt>
                <c:pt idx="9099">
                  <c:v>270811</c:v>
                </c:pt>
                <c:pt idx="9100">
                  <c:v>270805</c:v>
                </c:pt>
                <c:pt idx="9101">
                  <c:v>270771</c:v>
                </c:pt>
                <c:pt idx="9102">
                  <c:v>270761</c:v>
                </c:pt>
                <c:pt idx="9103">
                  <c:v>270739</c:v>
                </c:pt>
                <c:pt idx="9104">
                  <c:v>270729</c:v>
                </c:pt>
                <c:pt idx="9105">
                  <c:v>270707</c:v>
                </c:pt>
                <c:pt idx="9106">
                  <c:v>270692</c:v>
                </c:pt>
                <c:pt idx="9107">
                  <c:v>270687</c:v>
                </c:pt>
                <c:pt idx="9108">
                  <c:v>270681</c:v>
                </c:pt>
                <c:pt idx="9109">
                  <c:v>270625</c:v>
                </c:pt>
                <c:pt idx="9110">
                  <c:v>270613</c:v>
                </c:pt>
                <c:pt idx="9111">
                  <c:v>270601</c:v>
                </c:pt>
                <c:pt idx="9112">
                  <c:v>270598</c:v>
                </c:pt>
                <c:pt idx="9113">
                  <c:v>270583</c:v>
                </c:pt>
                <c:pt idx="9114">
                  <c:v>270570</c:v>
                </c:pt>
                <c:pt idx="9115">
                  <c:v>270563</c:v>
                </c:pt>
                <c:pt idx="9116">
                  <c:v>270541</c:v>
                </c:pt>
                <c:pt idx="9117">
                  <c:v>270532</c:v>
                </c:pt>
                <c:pt idx="9118">
                  <c:v>270520</c:v>
                </c:pt>
                <c:pt idx="9119">
                  <c:v>270518</c:v>
                </c:pt>
                <c:pt idx="9120">
                  <c:v>270505</c:v>
                </c:pt>
                <c:pt idx="9121">
                  <c:v>270464</c:v>
                </c:pt>
                <c:pt idx="9122">
                  <c:v>270459</c:v>
                </c:pt>
                <c:pt idx="9123">
                  <c:v>270455</c:v>
                </c:pt>
                <c:pt idx="9124">
                  <c:v>270440</c:v>
                </c:pt>
                <c:pt idx="9125">
                  <c:v>270439</c:v>
                </c:pt>
                <c:pt idx="9126">
                  <c:v>270409</c:v>
                </c:pt>
                <c:pt idx="9127">
                  <c:v>270403</c:v>
                </c:pt>
                <c:pt idx="9128">
                  <c:v>270344</c:v>
                </c:pt>
                <c:pt idx="9129">
                  <c:v>270336</c:v>
                </c:pt>
                <c:pt idx="9130">
                  <c:v>270331</c:v>
                </c:pt>
                <c:pt idx="9131">
                  <c:v>270308</c:v>
                </c:pt>
                <c:pt idx="9132">
                  <c:v>270290</c:v>
                </c:pt>
                <c:pt idx="9133">
                  <c:v>270283</c:v>
                </c:pt>
                <c:pt idx="9134">
                  <c:v>270269</c:v>
                </c:pt>
                <c:pt idx="9135">
                  <c:v>270256</c:v>
                </c:pt>
                <c:pt idx="9136">
                  <c:v>270253</c:v>
                </c:pt>
                <c:pt idx="9137">
                  <c:v>270248</c:v>
                </c:pt>
                <c:pt idx="9138">
                  <c:v>270223</c:v>
                </c:pt>
                <c:pt idx="9139">
                  <c:v>270217</c:v>
                </c:pt>
                <c:pt idx="9140">
                  <c:v>270208</c:v>
                </c:pt>
                <c:pt idx="9141">
                  <c:v>270202</c:v>
                </c:pt>
                <c:pt idx="9142">
                  <c:v>270125</c:v>
                </c:pt>
                <c:pt idx="9143">
                  <c:v>270114</c:v>
                </c:pt>
                <c:pt idx="9144">
                  <c:v>270105</c:v>
                </c:pt>
                <c:pt idx="9145">
                  <c:v>270099</c:v>
                </c:pt>
                <c:pt idx="9146">
                  <c:v>270098</c:v>
                </c:pt>
                <c:pt idx="9147">
                  <c:v>270082</c:v>
                </c:pt>
                <c:pt idx="9148">
                  <c:v>270075</c:v>
                </c:pt>
                <c:pt idx="9149">
                  <c:v>270055</c:v>
                </c:pt>
                <c:pt idx="9150">
                  <c:v>270036</c:v>
                </c:pt>
                <c:pt idx="9151">
                  <c:v>270035</c:v>
                </c:pt>
                <c:pt idx="9152">
                  <c:v>269991</c:v>
                </c:pt>
                <c:pt idx="9153">
                  <c:v>269972</c:v>
                </c:pt>
                <c:pt idx="9154">
                  <c:v>269964</c:v>
                </c:pt>
                <c:pt idx="9155">
                  <c:v>269964</c:v>
                </c:pt>
                <c:pt idx="9156">
                  <c:v>269941</c:v>
                </c:pt>
                <c:pt idx="9157">
                  <c:v>269926</c:v>
                </c:pt>
                <c:pt idx="9158">
                  <c:v>269919</c:v>
                </c:pt>
                <c:pt idx="9159">
                  <c:v>269884</c:v>
                </c:pt>
                <c:pt idx="9160">
                  <c:v>269881</c:v>
                </c:pt>
                <c:pt idx="9161">
                  <c:v>269874</c:v>
                </c:pt>
                <c:pt idx="9162">
                  <c:v>269866</c:v>
                </c:pt>
                <c:pt idx="9163">
                  <c:v>269856</c:v>
                </c:pt>
                <c:pt idx="9164">
                  <c:v>269852</c:v>
                </c:pt>
                <c:pt idx="9165">
                  <c:v>269845</c:v>
                </c:pt>
                <c:pt idx="9166">
                  <c:v>269817</c:v>
                </c:pt>
                <c:pt idx="9167">
                  <c:v>269812</c:v>
                </c:pt>
                <c:pt idx="9168">
                  <c:v>269789</c:v>
                </c:pt>
                <c:pt idx="9169">
                  <c:v>269684</c:v>
                </c:pt>
                <c:pt idx="9170">
                  <c:v>269673</c:v>
                </c:pt>
                <c:pt idx="9171">
                  <c:v>269672</c:v>
                </c:pt>
                <c:pt idx="9172">
                  <c:v>269671</c:v>
                </c:pt>
                <c:pt idx="9173">
                  <c:v>269658</c:v>
                </c:pt>
                <c:pt idx="9174">
                  <c:v>269651</c:v>
                </c:pt>
                <c:pt idx="9175">
                  <c:v>269635</c:v>
                </c:pt>
                <c:pt idx="9176">
                  <c:v>269623</c:v>
                </c:pt>
                <c:pt idx="9177">
                  <c:v>269600</c:v>
                </c:pt>
                <c:pt idx="9178">
                  <c:v>269593</c:v>
                </c:pt>
                <c:pt idx="9179">
                  <c:v>269588</c:v>
                </c:pt>
                <c:pt idx="9180">
                  <c:v>269582</c:v>
                </c:pt>
                <c:pt idx="9181">
                  <c:v>269574</c:v>
                </c:pt>
                <c:pt idx="9182">
                  <c:v>269570</c:v>
                </c:pt>
                <c:pt idx="9183">
                  <c:v>269545</c:v>
                </c:pt>
                <c:pt idx="9184">
                  <c:v>269537</c:v>
                </c:pt>
                <c:pt idx="9185">
                  <c:v>269533</c:v>
                </c:pt>
                <c:pt idx="9186">
                  <c:v>269530</c:v>
                </c:pt>
                <c:pt idx="9187">
                  <c:v>269513</c:v>
                </c:pt>
                <c:pt idx="9188">
                  <c:v>269509</c:v>
                </c:pt>
                <c:pt idx="9189">
                  <c:v>269506</c:v>
                </c:pt>
                <c:pt idx="9190">
                  <c:v>269489</c:v>
                </c:pt>
                <c:pt idx="9191">
                  <c:v>269482</c:v>
                </c:pt>
                <c:pt idx="9192">
                  <c:v>269478</c:v>
                </c:pt>
                <c:pt idx="9193">
                  <c:v>269477</c:v>
                </c:pt>
                <c:pt idx="9194">
                  <c:v>269464</c:v>
                </c:pt>
                <c:pt idx="9195">
                  <c:v>269454</c:v>
                </c:pt>
                <c:pt idx="9196">
                  <c:v>269430</c:v>
                </c:pt>
                <c:pt idx="9197">
                  <c:v>269421</c:v>
                </c:pt>
                <c:pt idx="9198">
                  <c:v>269410</c:v>
                </c:pt>
                <c:pt idx="9199">
                  <c:v>269402</c:v>
                </c:pt>
                <c:pt idx="9200">
                  <c:v>269397</c:v>
                </c:pt>
                <c:pt idx="9201">
                  <c:v>269385</c:v>
                </c:pt>
                <c:pt idx="9202">
                  <c:v>269378</c:v>
                </c:pt>
                <c:pt idx="9203">
                  <c:v>269338</c:v>
                </c:pt>
                <c:pt idx="9204">
                  <c:v>269263</c:v>
                </c:pt>
                <c:pt idx="9205">
                  <c:v>269243</c:v>
                </c:pt>
                <c:pt idx="9206">
                  <c:v>269231</c:v>
                </c:pt>
                <c:pt idx="9207">
                  <c:v>269222</c:v>
                </c:pt>
                <c:pt idx="9208">
                  <c:v>269186</c:v>
                </c:pt>
                <c:pt idx="9209">
                  <c:v>269167</c:v>
                </c:pt>
                <c:pt idx="9210">
                  <c:v>269160</c:v>
                </c:pt>
                <c:pt idx="9211">
                  <c:v>269154</c:v>
                </c:pt>
                <c:pt idx="9212">
                  <c:v>269126</c:v>
                </c:pt>
                <c:pt idx="9213">
                  <c:v>269105</c:v>
                </c:pt>
                <c:pt idx="9214">
                  <c:v>269096</c:v>
                </c:pt>
                <c:pt idx="9215">
                  <c:v>269049</c:v>
                </c:pt>
                <c:pt idx="9216">
                  <c:v>269040</c:v>
                </c:pt>
                <c:pt idx="9217">
                  <c:v>269012</c:v>
                </c:pt>
                <c:pt idx="9218">
                  <c:v>269002</c:v>
                </c:pt>
                <c:pt idx="9219">
                  <c:v>268981</c:v>
                </c:pt>
                <c:pt idx="9220">
                  <c:v>268945</c:v>
                </c:pt>
                <c:pt idx="9221">
                  <c:v>268940</c:v>
                </c:pt>
                <c:pt idx="9222">
                  <c:v>268897</c:v>
                </c:pt>
                <c:pt idx="9223">
                  <c:v>268850</c:v>
                </c:pt>
                <c:pt idx="9224">
                  <c:v>268835</c:v>
                </c:pt>
                <c:pt idx="9225">
                  <c:v>268799</c:v>
                </c:pt>
                <c:pt idx="9226">
                  <c:v>268797</c:v>
                </c:pt>
                <c:pt idx="9227">
                  <c:v>268794</c:v>
                </c:pt>
                <c:pt idx="9228">
                  <c:v>268750</c:v>
                </c:pt>
                <c:pt idx="9229">
                  <c:v>268739</c:v>
                </c:pt>
                <c:pt idx="9230">
                  <c:v>268705</c:v>
                </c:pt>
                <c:pt idx="9231">
                  <c:v>268698</c:v>
                </c:pt>
                <c:pt idx="9232">
                  <c:v>268682</c:v>
                </c:pt>
                <c:pt idx="9233">
                  <c:v>268682</c:v>
                </c:pt>
                <c:pt idx="9234">
                  <c:v>268665</c:v>
                </c:pt>
                <c:pt idx="9235">
                  <c:v>268664</c:v>
                </c:pt>
                <c:pt idx="9236">
                  <c:v>268664</c:v>
                </c:pt>
                <c:pt idx="9237">
                  <c:v>268646</c:v>
                </c:pt>
                <c:pt idx="9238">
                  <c:v>268646</c:v>
                </c:pt>
                <c:pt idx="9239">
                  <c:v>268640</c:v>
                </c:pt>
                <c:pt idx="9240">
                  <c:v>268640</c:v>
                </c:pt>
                <c:pt idx="9241">
                  <c:v>268617</c:v>
                </c:pt>
                <c:pt idx="9242">
                  <c:v>268617</c:v>
                </c:pt>
                <c:pt idx="9243">
                  <c:v>268609</c:v>
                </c:pt>
                <c:pt idx="9244">
                  <c:v>268585</c:v>
                </c:pt>
                <c:pt idx="9245">
                  <c:v>268552</c:v>
                </c:pt>
                <c:pt idx="9246">
                  <c:v>268545</c:v>
                </c:pt>
                <c:pt idx="9247">
                  <c:v>268544</c:v>
                </c:pt>
                <c:pt idx="9248">
                  <c:v>268543</c:v>
                </c:pt>
                <c:pt idx="9249">
                  <c:v>268515</c:v>
                </c:pt>
                <c:pt idx="9250">
                  <c:v>268479</c:v>
                </c:pt>
                <c:pt idx="9251">
                  <c:v>268462</c:v>
                </c:pt>
                <c:pt idx="9252">
                  <c:v>268455</c:v>
                </c:pt>
                <c:pt idx="9253">
                  <c:v>268417</c:v>
                </c:pt>
                <c:pt idx="9254">
                  <c:v>268416</c:v>
                </c:pt>
                <c:pt idx="9255">
                  <c:v>268415</c:v>
                </c:pt>
                <c:pt idx="9256">
                  <c:v>268412</c:v>
                </c:pt>
                <c:pt idx="9257">
                  <c:v>268351</c:v>
                </c:pt>
                <c:pt idx="9258">
                  <c:v>268343</c:v>
                </c:pt>
                <c:pt idx="9259">
                  <c:v>268295</c:v>
                </c:pt>
                <c:pt idx="9260">
                  <c:v>268285</c:v>
                </c:pt>
                <c:pt idx="9261">
                  <c:v>268274</c:v>
                </c:pt>
                <c:pt idx="9262">
                  <c:v>268262</c:v>
                </c:pt>
                <c:pt idx="9263">
                  <c:v>268257</c:v>
                </c:pt>
                <c:pt idx="9264">
                  <c:v>268224</c:v>
                </c:pt>
                <c:pt idx="9265">
                  <c:v>268205</c:v>
                </c:pt>
                <c:pt idx="9266">
                  <c:v>268182</c:v>
                </c:pt>
                <c:pt idx="9267">
                  <c:v>268105</c:v>
                </c:pt>
                <c:pt idx="9268">
                  <c:v>268103</c:v>
                </c:pt>
                <c:pt idx="9269">
                  <c:v>268060</c:v>
                </c:pt>
                <c:pt idx="9270">
                  <c:v>268029</c:v>
                </c:pt>
                <c:pt idx="9271">
                  <c:v>268025</c:v>
                </c:pt>
                <c:pt idx="9272">
                  <c:v>268020</c:v>
                </c:pt>
                <c:pt idx="9273">
                  <c:v>268013</c:v>
                </c:pt>
                <c:pt idx="9274">
                  <c:v>268006</c:v>
                </c:pt>
                <c:pt idx="9275">
                  <c:v>268004</c:v>
                </c:pt>
                <c:pt idx="9276">
                  <c:v>267988</c:v>
                </c:pt>
                <c:pt idx="9277">
                  <c:v>267987</c:v>
                </c:pt>
                <c:pt idx="9278">
                  <c:v>267972</c:v>
                </c:pt>
                <c:pt idx="9279">
                  <c:v>267948</c:v>
                </c:pt>
                <c:pt idx="9280">
                  <c:v>267930</c:v>
                </c:pt>
                <c:pt idx="9281">
                  <c:v>267922</c:v>
                </c:pt>
                <c:pt idx="9282">
                  <c:v>267883</c:v>
                </c:pt>
                <c:pt idx="9283">
                  <c:v>267848</c:v>
                </c:pt>
                <c:pt idx="9284">
                  <c:v>267830</c:v>
                </c:pt>
                <c:pt idx="9285">
                  <c:v>267791</c:v>
                </c:pt>
                <c:pt idx="9286">
                  <c:v>267752</c:v>
                </c:pt>
                <c:pt idx="9287">
                  <c:v>267751</c:v>
                </c:pt>
                <c:pt idx="9288">
                  <c:v>267742</c:v>
                </c:pt>
                <c:pt idx="9289">
                  <c:v>267725</c:v>
                </c:pt>
                <c:pt idx="9290">
                  <c:v>267711</c:v>
                </c:pt>
                <c:pt idx="9291">
                  <c:v>267709</c:v>
                </c:pt>
                <c:pt idx="9292">
                  <c:v>267612</c:v>
                </c:pt>
                <c:pt idx="9293">
                  <c:v>267588</c:v>
                </c:pt>
                <c:pt idx="9294">
                  <c:v>267559</c:v>
                </c:pt>
                <c:pt idx="9295">
                  <c:v>267544</c:v>
                </c:pt>
                <c:pt idx="9296">
                  <c:v>267534</c:v>
                </c:pt>
                <c:pt idx="9297">
                  <c:v>267529</c:v>
                </c:pt>
                <c:pt idx="9298">
                  <c:v>267519</c:v>
                </c:pt>
                <c:pt idx="9299">
                  <c:v>267519</c:v>
                </c:pt>
                <c:pt idx="9300">
                  <c:v>267506</c:v>
                </c:pt>
                <c:pt idx="9301">
                  <c:v>267504</c:v>
                </c:pt>
                <c:pt idx="9302">
                  <c:v>267497</c:v>
                </c:pt>
                <c:pt idx="9303">
                  <c:v>267468</c:v>
                </c:pt>
                <c:pt idx="9304">
                  <c:v>267465</c:v>
                </c:pt>
                <c:pt idx="9305">
                  <c:v>267461</c:v>
                </c:pt>
                <c:pt idx="9306">
                  <c:v>267458</c:v>
                </c:pt>
                <c:pt idx="9307">
                  <c:v>267432</c:v>
                </c:pt>
                <c:pt idx="9308">
                  <c:v>267421</c:v>
                </c:pt>
                <c:pt idx="9309">
                  <c:v>267416</c:v>
                </c:pt>
                <c:pt idx="9310">
                  <c:v>267392</c:v>
                </c:pt>
                <c:pt idx="9311">
                  <c:v>267360</c:v>
                </c:pt>
                <c:pt idx="9312">
                  <c:v>267328</c:v>
                </c:pt>
                <c:pt idx="9313">
                  <c:v>267299</c:v>
                </c:pt>
                <c:pt idx="9314">
                  <c:v>267299</c:v>
                </c:pt>
                <c:pt idx="9315">
                  <c:v>267290</c:v>
                </c:pt>
                <c:pt idx="9316">
                  <c:v>267287</c:v>
                </c:pt>
                <c:pt idx="9317">
                  <c:v>267285</c:v>
                </c:pt>
                <c:pt idx="9318">
                  <c:v>267222</c:v>
                </c:pt>
                <c:pt idx="9319">
                  <c:v>267178</c:v>
                </c:pt>
                <c:pt idx="9320">
                  <c:v>267166</c:v>
                </c:pt>
                <c:pt idx="9321">
                  <c:v>267141</c:v>
                </c:pt>
                <c:pt idx="9322">
                  <c:v>267123</c:v>
                </c:pt>
                <c:pt idx="9323">
                  <c:v>267054</c:v>
                </c:pt>
                <c:pt idx="9324">
                  <c:v>267037</c:v>
                </c:pt>
                <c:pt idx="9325">
                  <c:v>267035</c:v>
                </c:pt>
                <c:pt idx="9326">
                  <c:v>267028</c:v>
                </c:pt>
                <c:pt idx="9327">
                  <c:v>266997</c:v>
                </c:pt>
                <c:pt idx="9328">
                  <c:v>266988</c:v>
                </c:pt>
                <c:pt idx="9329">
                  <c:v>266969</c:v>
                </c:pt>
                <c:pt idx="9330">
                  <c:v>266948</c:v>
                </c:pt>
                <c:pt idx="9331">
                  <c:v>266911</c:v>
                </c:pt>
                <c:pt idx="9332">
                  <c:v>266891</c:v>
                </c:pt>
                <c:pt idx="9333">
                  <c:v>266882</c:v>
                </c:pt>
                <c:pt idx="9334">
                  <c:v>266841</c:v>
                </c:pt>
                <c:pt idx="9335">
                  <c:v>266836</c:v>
                </c:pt>
                <c:pt idx="9336">
                  <c:v>266801</c:v>
                </c:pt>
                <c:pt idx="9337">
                  <c:v>266772</c:v>
                </c:pt>
                <c:pt idx="9338">
                  <c:v>266761</c:v>
                </c:pt>
                <c:pt idx="9339">
                  <c:v>266724</c:v>
                </c:pt>
                <c:pt idx="9340">
                  <c:v>266723</c:v>
                </c:pt>
                <c:pt idx="9341">
                  <c:v>266719</c:v>
                </c:pt>
                <c:pt idx="9342">
                  <c:v>266710</c:v>
                </c:pt>
                <c:pt idx="9343">
                  <c:v>266708</c:v>
                </c:pt>
                <c:pt idx="9344">
                  <c:v>266679</c:v>
                </c:pt>
                <c:pt idx="9345">
                  <c:v>266678</c:v>
                </c:pt>
                <c:pt idx="9346">
                  <c:v>266660</c:v>
                </c:pt>
                <c:pt idx="9347">
                  <c:v>266652</c:v>
                </c:pt>
                <c:pt idx="9348">
                  <c:v>266640</c:v>
                </c:pt>
                <c:pt idx="9349">
                  <c:v>266594</c:v>
                </c:pt>
                <c:pt idx="9350">
                  <c:v>266559</c:v>
                </c:pt>
                <c:pt idx="9351">
                  <c:v>266538</c:v>
                </c:pt>
                <c:pt idx="9352">
                  <c:v>266532</c:v>
                </c:pt>
                <c:pt idx="9353">
                  <c:v>266523</c:v>
                </c:pt>
                <c:pt idx="9354">
                  <c:v>266493</c:v>
                </c:pt>
                <c:pt idx="9355">
                  <c:v>266479</c:v>
                </c:pt>
                <c:pt idx="9356">
                  <c:v>266471</c:v>
                </c:pt>
                <c:pt idx="9357">
                  <c:v>266470</c:v>
                </c:pt>
                <c:pt idx="9358">
                  <c:v>266431</c:v>
                </c:pt>
                <c:pt idx="9359">
                  <c:v>266416</c:v>
                </c:pt>
                <c:pt idx="9360">
                  <c:v>266405</c:v>
                </c:pt>
                <c:pt idx="9361">
                  <c:v>266388</c:v>
                </c:pt>
                <c:pt idx="9362">
                  <c:v>266382</c:v>
                </c:pt>
                <c:pt idx="9363">
                  <c:v>266331</c:v>
                </c:pt>
                <c:pt idx="9364">
                  <c:v>266301</c:v>
                </c:pt>
                <c:pt idx="9365">
                  <c:v>266299</c:v>
                </c:pt>
                <c:pt idx="9366">
                  <c:v>266292</c:v>
                </c:pt>
                <c:pt idx="9367">
                  <c:v>266287</c:v>
                </c:pt>
                <c:pt idx="9368">
                  <c:v>266241</c:v>
                </c:pt>
                <c:pt idx="9369">
                  <c:v>266207</c:v>
                </c:pt>
                <c:pt idx="9370">
                  <c:v>266191</c:v>
                </c:pt>
                <c:pt idx="9371">
                  <c:v>266150</c:v>
                </c:pt>
                <c:pt idx="9372">
                  <c:v>266144</c:v>
                </c:pt>
                <c:pt idx="9373">
                  <c:v>266140</c:v>
                </c:pt>
                <c:pt idx="9374">
                  <c:v>266135</c:v>
                </c:pt>
                <c:pt idx="9375">
                  <c:v>266126</c:v>
                </c:pt>
                <c:pt idx="9376">
                  <c:v>266114</c:v>
                </c:pt>
                <c:pt idx="9377">
                  <c:v>266108</c:v>
                </c:pt>
                <c:pt idx="9378">
                  <c:v>266060</c:v>
                </c:pt>
                <c:pt idx="9379">
                  <c:v>266039</c:v>
                </c:pt>
                <c:pt idx="9380">
                  <c:v>266031</c:v>
                </c:pt>
                <c:pt idx="9381">
                  <c:v>265992</c:v>
                </c:pt>
                <c:pt idx="9382">
                  <c:v>265975</c:v>
                </c:pt>
                <c:pt idx="9383">
                  <c:v>265961</c:v>
                </c:pt>
                <c:pt idx="9384">
                  <c:v>265953</c:v>
                </c:pt>
                <c:pt idx="9385">
                  <c:v>265952</c:v>
                </c:pt>
                <c:pt idx="9386">
                  <c:v>265932</c:v>
                </c:pt>
                <c:pt idx="9387">
                  <c:v>265911</c:v>
                </c:pt>
                <c:pt idx="9388">
                  <c:v>265901</c:v>
                </c:pt>
                <c:pt idx="9389">
                  <c:v>265895</c:v>
                </c:pt>
                <c:pt idx="9390">
                  <c:v>265892</c:v>
                </c:pt>
                <c:pt idx="9391">
                  <c:v>265868</c:v>
                </c:pt>
                <c:pt idx="9392">
                  <c:v>265862</c:v>
                </c:pt>
                <c:pt idx="9393">
                  <c:v>265840</c:v>
                </c:pt>
                <c:pt idx="9394">
                  <c:v>265831</c:v>
                </c:pt>
                <c:pt idx="9395">
                  <c:v>265815</c:v>
                </c:pt>
                <c:pt idx="9396">
                  <c:v>265811</c:v>
                </c:pt>
                <c:pt idx="9397">
                  <c:v>265808</c:v>
                </c:pt>
                <c:pt idx="9398">
                  <c:v>265788</c:v>
                </c:pt>
                <c:pt idx="9399">
                  <c:v>265768</c:v>
                </c:pt>
                <c:pt idx="9400">
                  <c:v>265762</c:v>
                </c:pt>
                <c:pt idx="9401">
                  <c:v>265757</c:v>
                </c:pt>
                <c:pt idx="9402">
                  <c:v>265743</c:v>
                </c:pt>
                <c:pt idx="9403">
                  <c:v>265739</c:v>
                </c:pt>
                <c:pt idx="9404">
                  <c:v>265715</c:v>
                </c:pt>
                <c:pt idx="9405">
                  <c:v>265713</c:v>
                </c:pt>
                <c:pt idx="9406">
                  <c:v>265700</c:v>
                </c:pt>
                <c:pt idx="9407">
                  <c:v>265692</c:v>
                </c:pt>
                <c:pt idx="9408">
                  <c:v>265681</c:v>
                </c:pt>
                <c:pt idx="9409">
                  <c:v>265630</c:v>
                </c:pt>
                <c:pt idx="9410">
                  <c:v>265604</c:v>
                </c:pt>
                <c:pt idx="9411">
                  <c:v>265571</c:v>
                </c:pt>
                <c:pt idx="9412">
                  <c:v>265553</c:v>
                </c:pt>
                <c:pt idx="9413">
                  <c:v>265542</c:v>
                </c:pt>
                <c:pt idx="9414">
                  <c:v>265526</c:v>
                </c:pt>
                <c:pt idx="9415">
                  <c:v>265519</c:v>
                </c:pt>
                <c:pt idx="9416">
                  <c:v>265515</c:v>
                </c:pt>
                <c:pt idx="9417">
                  <c:v>265503</c:v>
                </c:pt>
                <c:pt idx="9418">
                  <c:v>265495</c:v>
                </c:pt>
                <c:pt idx="9419">
                  <c:v>265452</c:v>
                </c:pt>
                <c:pt idx="9420">
                  <c:v>265429</c:v>
                </c:pt>
                <c:pt idx="9421">
                  <c:v>265378</c:v>
                </c:pt>
                <c:pt idx="9422">
                  <c:v>265368</c:v>
                </c:pt>
                <c:pt idx="9423">
                  <c:v>265351</c:v>
                </c:pt>
                <c:pt idx="9424">
                  <c:v>265318</c:v>
                </c:pt>
                <c:pt idx="9425">
                  <c:v>265306</c:v>
                </c:pt>
                <c:pt idx="9426">
                  <c:v>265301</c:v>
                </c:pt>
                <c:pt idx="9427">
                  <c:v>265238</c:v>
                </c:pt>
                <c:pt idx="9428">
                  <c:v>265196</c:v>
                </c:pt>
                <c:pt idx="9429">
                  <c:v>265193</c:v>
                </c:pt>
                <c:pt idx="9430">
                  <c:v>265157</c:v>
                </c:pt>
                <c:pt idx="9431">
                  <c:v>265133</c:v>
                </c:pt>
                <c:pt idx="9432">
                  <c:v>265131</c:v>
                </c:pt>
                <c:pt idx="9433">
                  <c:v>265127</c:v>
                </c:pt>
                <c:pt idx="9434">
                  <c:v>265103</c:v>
                </c:pt>
                <c:pt idx="9435">
                  <c:v>265094</c:v>
                </c:pt>
                <c:pt idx="9436">
                  <c:v>265074</c:v>
                </c:pt>
                <c:pt idx="9437">
                  <c:v>265067</c:v>
                </c:pt>
                <c:pt idx="9438">
                  <c:v>265055</c:v>
                </c:pt>
                <c:pt idx="9439">
                  <c:v>265051</c:v>
                </c:pt>
                <c:pt idx="9440">
                  <c:v>265006</c:v>
                </c:pt>
                <c:pt idx="9441">
                  <c:v>264994</c:v>
                </c:pt>
                <c:pt idx="9442">
                  <c:v>264968</c:v>
                </c:pt>
                <c:pt idx="9443">
                  <c:v>264947</c:v>
                </c:pt>
                <c:pt idx="9444">
                  <c:v>264905</c:v>
                </c:pt>
                <c:pt idx="9445">
                  <c:v>264897</c:v>
                </c:pt>
                <c:pt idx="9446">
                  <c:v>264884</c:v>
                </c:pt>
                <c:pt idx="9447">
                  <c:v>264876</c:v>
                </c:pt>
                <c:pt idx="9448">
                  <c:v>264871</c:v>
                </c:pt>
                <c:pt idx="9449">
                  <c:v>264871</c:v>
                </c:pt>
                <c:pt idx="9450">
                  <c:v>264850</c:v>
                </c:pt>
                <c:pt idx="9451">
                  <c:v>264839</c:v>
                </c:pt>
                <c:pt idx="9452">
                  <c:v>264830</c:v>
                </c:pt>
                <c:pt idx="9453">
                  <c:v>264829</c:v>
                </c:pt>
                <c:pt idx="9454">
                  <c:v>264826</c:v>
                </c:pt>
                <c:pt idx="9455">
                  <c:v>264790</c:v>
                </c:pt>
                <c:pt idx="9456">
                  <c:v>264786</c:v>
                </c:pt>
                <c:pt idx="9457">
                  <c:v>264763</c:v>
                </c:pt>
                <c:pt idx="9458">
                  <c:v>264750</c:v>
                </c:pt>
                <c:pt idx="9459">
                  <c:v>264697</c:v>
                </c:pt>
                <c:pt idx="9460">
                  <c:v>264676</c:v>
                </c:pt>
                <c:pt idx="9461">
                  <c:v>264670</c:v>
                </c:pt>
                <c:pt idx="9462">
                  <c:v>264664</c:v>
                </c:pt>
                <c:pt idx="9463">
                  <c:v>264651</c:v>
                </c:pt>
                <c:pt idx="9464">
                  <c:v>264635</c:v>
                </c:pt>
                <c:pt idx="9465">
                  <c:v>264622</c:v>
                </c:pt>
                <c:pt idx="9466">
                  <c:v>264610</c:v>
                </c:pt>
                <c:pt idx="9467">
                  <c:v>264609</c:v>
                </c:pt>
                <c:pt idx="9468">
                  <c:v>264590</c:v>
                </c:pt>
                <c:pt idx="9469">
                  <c:v>264558</c:v>
                </c:pt>
                <c:pt idx="9470">
                  <c:v>264546</c:v>
                </c:pt>
                <c:pt idx="9471">
                  <c:v>264540</c:v>
                </c:pt>
                <c:pt idx="9472">
                  <c:v>264530</c:v>
                </c:pt>
                <c:pt idx="9473">
                  <c:v>264508</c:v>
                </c:pt>
                <c:pt idx="9474">
                  <c:v>264490</c:v>
                </c:pt>
                <c:pt idx="9475">
                  <c:v>264486</c:v>
                </c:pt>
                <c:pt idx="9476">
                  <c:v>264448</c:v>
                </c:pt>
                <c:pt idx="9477">
                  <c:v>264423</c:v>
                </c:pt>
                <c:pt idx="9478">
                  <c:v>264419</c:v>
                </c:pt>
                <c:pt idx="9479">
                  <c:v>264413</c:v>
                </c:pt>
                <c:pt idx="9480">
                  <c:v>264409</c:v>
                </c:pt>
                <c:pt idx="9481">
                  <c:v>264366</c:v>
                </c:pt>
                <c:pt idx="9482">
                  <c:v>264352</c:v>
                </c:pt>
                <c:pt idx="9483">
                  <c:v>264331</c:v>
                </c:pt>
                <c:pt idx="9484">
                  <c:v>264293</c:v>
                </c:pt>
                <c:pt idx="9485">
                  <c:v>264258</c:v>
                </c:pt>
                <c:pt idx="9486">
                  <c:v>264247</c:v>
                </c:pt>
                <c:pt idx="9487">
                  <c:v>264214</c:v>
                </c:pt>
                <c:pt idx="9488">
                  <c:v>264173</c:v>
                </c:pt>
                <c:pt idx="9489">
                  <c:v>264092</c:v>
                </c:pt>
                <c:pt idx="9490">
                  <c:v>264067</c:v>
                </c:pt>
                <c:pt idx="9491">
                  <c:v>264066</c:v>
                </c:pt>
                <c:pt idx="9492">
                  <c:v>264065</c:v>
                </c:pt>
                <c:pt idx="9493">
                  <c:v>264056</c:v>
                </c:pt>
                <c:pt idx="9494">
                  <c:v>264055</c:v>
                </c:pt>
                <c:pt idx="9495">
                  <c:v>264031</c:v>
                </c:pt>
                <c:pt idx="9496">
                  <c:v>264029</c:v>
                </c:pt>
                <c:pt idx="9497">
                  <c:v>264017</c:v>
                </c:pt>
                <c:pt idx="9498">
                  <c:v>264008</c:v>
                </c:pt>
                <c:pt idx="9499">
                  <c:v>263966</c:v>
                </c:pt>
                <c:pt idx="9500">
                  <c:v>263952</c:v>
                </c:pt>
                <c:pt idx="9501">
                  <c:v>263944</c:v>
                </c:pt>
                <c:pt idx="9502">
                  <c:v>263944</c:v>
                </c:pt>
                <c:pt idx="9503">
                  <c:v>263919</c:v>
                </c:pt>
                <c:pt idx="9504">
                  <c:v>263907</c:v>
                </c:pt>
                <c:pt idx="9505">
                  <c:v>263868</c:v>
                </c:pt>
                <c:pt idx="9506">
                  <c:v>263846</c:v>
                </c:pt>
                <c:pt idx="9507">
                  <c:v>263837</c:v>
                </c:pt>
                <c:pt idx="9508">
                  <c:v>263830</c:v>
                </c:pt>
                <c:pt idx="9509">
                  <c:v>263817</c:v>
                </c:pt>
                <c:pt idx="9510">
                  <c:v>263813</c:v>
                </c:pt>
                <c:pt idx="9511">
                  <c:v>263803</c:v>
                </c:pt>
                <c:pt idx="9512">
                  <c:v>263796</c:v>
                </c:pt>
                <c:pt idx="9513">
                  <c:v>263795</c:v>
                </c:pt>
                <c:pt idx="9514">
                  <c:v>263772</c:v>
                </c:pt>
                <c:pt idx="9515">
                  <c:v>263725</c:v>
                </c:pt>
                <c:pt idx="9516">
                  <c:v>263708</c:v>
                </c:pt>
                <c:pt idx="9517">
                  <c:v>263707</c:v>
                </c:pt>
                <c:pt idx="9518">
                  <c:v>263697</c:v>
                </c:pt>
                <c:pt idx="9519">
                  <c:v>263696</c:v>
                </c:pt>
                <c:pt idx="9520">
                  <c:v>263684</c:v>
                </c:pt>
                <c:pt idx="9521">
                  <c:v>263625</c:v>
                </c:pt>
                <c:pt idx="9522">
                  <c:v>263608</c:v>
                </c:pt>
                <c:pt idx="9523">
                  <c:v>263584</c:v>
                </c:pt>
                <c:pt idx="9524">
                  <c:v>263581</c:v>
                </c:pt>
                <c:pt idx="9525">
                  <c:v>263569</c:v>
                </c:pt>
                <c:pt idx="9526">
                  <c:v>263569</c:v>
                </c:pt>
                <c:pt idx="9527">
                  <c:v>263551</c:v>
                </c:pt>
                <c:pt idx="9528">
                  <c:v>263526</c:v>
                </c:pt>
                <c:pt idx="9529">
                  <c:v>263521</c:v>
                </c:pt>
                <c:pt idx="9530">
                  <c:v>263506</c:v>
                </c:pt>
                <c:pt idx="9531">
                  <c:v>263464</c:v>
                </c:pt>
                <c:pt idx="9532">
                  <c:v>263463</c:v>
                </c:pt>
                <c:pt idx="9533">
                  <c:v>263460</c:v>
                </c:pt>
                <c:pt idx="9534">
                  <c:v>263457</c:v>
                </c:pt>
                <c:pt idx="9535">
                  <c:v>263401</c:v>
                </c:pt>
                <c:pt idx="9536">
                  <c:v>263400</c:v>
                </c:pt>
                <c:pt idx="9537">
                  <c:v>263399</c:v>
                </c:pt>
                <c:pt idx="9538">
                  <c:v>263364</c:v>
                </c:pt>
                <c:pt idx="9539">
                  <c:v>263310</c:v>
                </c:pt>
                <c:pt idx="9540">
                  <c:v>263304</c:v>
                </c:pt>
                <c:pt idx="9541">
                  <c:v>263285</c:v>
                </c:pt>
                <c:pt idx="9542">
                  <c:v>263282</c:v>
                </c:pt>
                <c:pt idx="9543">
                  <c:v>263278</c:v>
                </c:pt>
                <c:pt idx="9544">
                  <c:v>263271</c:v>
                </c:pt>
                <c:pt idx="9545">
                  <c:v>263221</c:v>
                </c:pt>
                <c:pt idx="9546">
                  <c:v>263196</c:v>
                </c:pt>
                <c:pt idx="9547">
                  <c:v>263160</c:v>
                </c:pt>
                <c:pt idx="9548">
                  <c:v>263155</c:v>
                </c:pt>
                <c:pt idx="9549">
                  <c:v>263098</c:v>
                </c:pt>
                <c:pt idx="9550">
                  <c:v>263073</c:v>
                </c:pt>
                <c:pt idx="9551">
                  <c:v>263072</c:v>
                </c:pt>
                <c:pt idx="9552">
                  <c:v>263062</c:v>
                </c:pt>
                <c:pt idx="9553">
                  <c:v>263060</c:v>
                </c:pt>
                <c:pt idx="9554">
                  <c:v>263047</c:v>
                </c:pt>
                <c:pt idx="9555">
                  <c:v>262995</c:v>
                </c:pt>
                <c:pt idx="9556">
                  <c:v>262970</c:v>
                </c:pt>
                <c:pt idx="9557">
                  <c:v>262963</c:v>
                </c:pt>
                <c:pt idx="9558">
                  <c:v>262959</c:v>
                </c:pt>
                <c:pt idx="9559">
                  <c:v>262947</c:v>
                </c:pt>
                <c:pt idx="9560">
                  <c:v>262947</c:v>
                </c:pt>
                <c:pt idx="9561">
                  <c:v>262922</c:v>
                </c:pt>
                <c:pt idx="9562">
                  <c:v>262911</c:v>
                </c:pt>
                <c:pt idx="9563">
                  <c:v>262879</c:v>
                </c:pt>
                <c:pt idx="9564">
                  <c:v>262869</c:v>
                </c:pt>
                <c:pt idx="9565">
                  <c:v>262812</c:v>
                </c:pt>
                <c:pt idx="9566">
                  <c:v>262807</c:v>
                </c:pt>
                <c:pt idx="9567">
                  <c:v>262807</c:v>
                </c:pt>
                <c:pt idx="9568">
                  <c:v>262790</c:v>
                </c:pt>
                <c:pt idx="9569">
                  <c:v>262769</c:v>
                </c:pt>
                <c:pt idx="9570">
                  <c:v>262767</c:v>
                </c:pt>
                <c:pt idx="9571">
                  <c:v>262766</c:v>
                </c:pt>
                <c:pt idx="9572">
                  <c:v>262760</c:v>
                </c:pt>
                <c:pt idx="9573">
                  <c:v>262753</c:v>
                </c:pt>
                <c:pt idx="9574">
                  <c:v>262741</c:v>
                </c:pt>
                <c:pt idx="9575">
                  <c:v>262725</c:v>
                </c:pt>
                <c:pt idx="9576">
                  <c:v>262721</c:v>
                </c:pt>
                <c:pt idx="9577">
                  <c:v>262721</c:v>
                </c:pt>
                <c:pt idx="9578">
                  <c:v>262701</c:v>
                </c:pt>
                <c:pt idx="9579">
                  <c:v>262700</c:v>
                </c:pt>
                <c:pt idx="9580">
                  <c:v>262694</c:v>
                </c:pt>
                <c:pt idx="9581">
                  <c:v>262690</c:v>
                </c:pt>
                <c:pt idx="9582">
                  <c:v>262668</c:v>
                </c:pt>
                <c:pt idx="9583">
                  <c:v>262649</c:v>
                </c:pt>
                <c:pt idx="9584">
                  <c:v>262591</c:v>
                </c:pt>
                <c:pt idx="9585">
                  <c:v>262565</c:v>
                </c:pt>
                <c:pt idx="9586">
                  <c:v>262565</c:v>
                </c:pt>
                <c:pt idx="9587">
                  <c:v>262558</c:v>
                </c:pt>
                <c:pt idx="9588">
                  <c:v>262504</c:v>
                </c:pt>
                <c:pt idx="9589">
                  <c:v>262494</c:v>
                </c:pt>
                <c:pt idx="9590">
                  <c:v>262487</c:v>
                </c:pt>
                <c:pt idx="9591">
                  <c:v>262464</c:v>
                </c:pt>
                <c:pt idx="9592">
                  <c:v>262460</c:v>
                </c:pt>
                <c:pt idx="9593">
                  <c:v>262439</c:v>
                </c:pt>
                <c:pt idx="9594">
                  <c:v>262423</c:v>
                </c:pt>
                <c:pt idx="9595">
                  <c:v>262391</c:v>
                </c:pt>
                <c:pt idx="9596">
                  <c:v>262371</c:v>
                </c:pt>
                <c:pt idx="9597">
                  <c:v>262358</c:v>
                </c:pt>
                <c:pt idx="9598">
                  <c:v>262348</c:v>
                </c:pt>
                <c:pt idx="9599">
                  <c:v>262330</c:v>
                </c:pt>
                <c:pt idx="9600">
                  <c:v>262291</c:v>
                </c:pt>
                <c:pt idx="9601">
                  <c:v>262290</c:v>
                </c:pt>
                <c:pt idx="9602">
                  <c:v>262282</c:v>
                </c:pt>
                <c:pt idx="9603">
                  <c:v>262276</c:v>
                </c:pt>
                <c:pt idx="9604">
                  <c:v>262259</c:v>
                </c:pt>
                <c:pt idx="9605">
                  <c:v>262258</c:v>
                </c:pt>
                <c:pt idx="9606">
                  <c:v>262234</c:v>
                </c:pt>
                <c:pt idx="9607">
                  <c:v>262157</c:v>
                </c:pt>
                <c:pt idx="9608">
                  <c:v>262137</c:v>
                </c:pt>
                <c:pt idx="9609">
                  <c:v>262108</c:v>
                </c:pt>
                <c:pt idx="9610">
                  <c:v>262105</c:v>
                </c:pt>
                <c:pt idx="9611">
                  <c:v>262105</c:v>
                </c:pt>
                <c:pt idx="9612">
                  <c:v>262095</c:v>
                </c:pt>
                <c:pt idx="9613">
                  <c:v>262093</c:v>
                </c:pt>
                <c:pt idx="9614">
                  <c:v>262086</c:v>
                </c:pt>
                <c:pt idx="9615">
                  <c:v>262046</c:v>
                </c:pt>
                <c:pt idx="9616">
                  <c:v>262001</c:v>
                </c:pt>
                <c:pt idx="9617">
                  <c:v>262000</c:v>
                </c:pt>
                <c:pt idx="9618">
                  <c:v>261957</c:v>
                </c:pt>
                <c:pt idx="9619">
                  <c:v>261936</c:v>
                </c:pt>
                <c:pt idx="9620">
                  <c:v>261933</c:v>
                </c:pt>
                <c:pt idx="9621">
                  <c:v>261890</c:v>
                </c:pt>
                <c:pt idx="9622">
                  <c:v>261889</c:v>
                </c:pt>
                <c:pt idx="9623">
                  <c:v>261885</c:v>
                </c:pt>
                <c:pt idx="9624">
                  <c:v>261878</c:v>
                </c:pt>
                <c:pt idx="9625">
                  <c:v>261878</c:v>
                </c:pt>
                <c:pt idx="9626">
                  <c:v>261869</c:v>
                </c:pt>
                <c:pt idx="9627">
                  <c:v>261868</c:v>
                </c:pt>
                <c:pt idx="9628">
                  <c:v>261844</c:v>
                </c:pt>
                <c:pt idx="9629">
                  <c:v>261829</c:v>
                </c:pt>
                <c:pt idx="9630">
                  <c:v>261824</c:v>
                </c:pt>
                <c:pt idx="9631">
                  <c:v>261812</c:v>
                </c:pt>
                <c:pt idx="9632">
                  <c:v>261809</c:v>
                </c:pt>
                <c:pt idx="9633">
                  <c:v>261754</c:v>
                </c:pt>
                <c:pt idx="9634">
                  <c:v>261753</c:v>
                </c:pt>
                <c:pt idx="9635">
                  <c:v>261745</c:v>
                </c:pt>
                <c:pt idx="9636">
                  <c:v>261726</c:v>
                </c:pt>
                <c:pt idx="9637">
                  <c:v>261653</c:v>
                </c:pt>
                <c:pt idx="9638">
                  <c:v>261649</c:v>
                </c:pt>
                <c:pt idx="9639">
                  <c:v>261614</c:v>
                </c:pt>
                <c:pt idx="9640">
                  <c:v>261609</c:v>
                </c:pt>
                <c:pt idx="9641">
                  <c:v>261608</c:v>
                </c:pt>
                <c:pt idx="9642">
                  <c:v>261607</c:v>
                </c:pt>
                <c:pt idx="9643">
                  <c:v>261562</c:v>
                </c:pt>
                <c:pt idx="9644">
                  <c:v>261560</c:v>
                </c:pt>
                <c:pt idx="9645">
                  <c:v>261551</c:v>
                </c:pt>
                <c:pt idx="9646">
                  <c:v>261551</c:v>
                </c:pt>
                <c:pt idx="9647">
                  <c:v>261533</c:v>
                </c:pt>
                <c:pt idx="9648">
                  <c:v>261519</c:v>
                </c:pt>
                <c:pt idx="9649">
                  <c:v>261476</c:v>
                </c:pt>
                <c:pt idx="9650">
                  <c:v>261395</c:v>
                </c:pt>
                <c:pt idx="9651">
                  <c:v>261368</c:v>
                </c:pt>
                <c:pt idx="9652">
                  <c:v>261351</c:v>
                </c:pt>
                <c:pt idx="9653">
                  <c:v>261347</c:v>
                </c:pt>
                <c:pt idx="9654">
                  <c:v>261341</c:v>
                </c:pt>
                <c:pt idx="9655">
                  <c:v>261338</c:v>
                </c:pt>
                <c:pt idx="9656">
                  <c:v>261308</c:v>
                </c:pt>
                <c:pt idx="9657">
                  <c:v>261280</c:v>
                </c:pt>
                <c:pt idx="9658">
                  <c:v>261269</c:v>
                </c:pt>
                <c:pt idx="9659">
                  <c:v>261203</c:v>
                </c:pt>
                <c:pt idx="9660">
                  <c:v>261176</c:v>
                </c:pt>
                <c:pt idx="9661">
                  <c:v>261176</c:v>
                </c:pt>
                <c:pt idx="9662">
                  <c:v>261136</c:v>
                </c:pt>
                <c:pt idx="9663">
                  <c:v>261104</c:v>
                </c:pt>
                <c:pt idx="9664">
                  <c:v>261092</c:v>
                </c:pt>
                <c:pt idx="9665">
                  <c:v>261039</c:v>
                </c:pt>
                <c:pt idx="9666">
                  <c:v>261023</c:v>
                </c:pt>
                <c:pt idx="9667">
                  <c:v>261014</c:v>
                </c:pt>
                <c:pt idx="9668">
                  <c:v>260999</c:v>
                </c:pt>
                <c:pt idx="9669">
                  <c:v>260993</c:v>
                </c:pt>
                <c:pt idx="9670">
                  <c:v>260888</c:v>
                </c:pt>
                <c:pt idx="9671">
                  <c:v>260868</c:v>
                </c:pt>
                <c:pt idx="9672">
                  <c:v>260864</c:v>
                </c:pt>
                <c:pt idx="9673">
                  <c:v>260828</c:v>
                </c:pt>
                <c:pt idx="9674">
                  <c:v>260821</c:v>
                </c:pt>
                <c:pt idx="9675">
                  <c:v>260814</c:v>
                </c:pt>
                <c:pt idx="9676">
                  <c:v>260795</c:v>
                </c:pt>
                <c:pt idx="9677">
                  <c:v>260789</c:v>
                </c:pt>
                <c:pt idx="9678">
                  <c:v>260784</c:v>
                </c:pt>
                <c:pt idx="9679">
                  <c:v>260778</c:v>
                </c:pt>
                <c:pt idx="9680">
                  <c:v>260776</c:v>
                </c:pt>
                <c:pt idx="9681">
                  <c:v>260746</c:v>
                </c:pt>
                <c:pt idx="9682">
                  <c:v>260733</c:v>
                </c:pt>
                <c:pt idx="9683">
                  <c:v>260721</c:v>
                </c:pt>
                <c:pt idx="9684">
                  <c:v>260715</c:v>
                </c:pt>
                <c:pt idx="9685">
                  <c:v>260678</c:v>
                </c:pt>
                <c:pt idx="9686">
                  <c:v>260633</c:v>
                </c:pt>
                <c:pt idx="9687">
                  <c:v>260620</c:v>
                </c:pt>
                <c:pt idx="9688">
                  <c:v>260576</c:v>
                </c:pt>
                <c:pt idx="9689">
                  <c:v>260575</c:v>
                </c:pt>
                <c:pt idx="9690">
                  <c:v>260550</c:v>
                </c:pt>
                <c:pt idx="9691">
                  <c:v>260545</c:v>
                </c:pt>
                <c:pt idx="9692">
                  <c:v>260530</c:v>
                </c:pt>
                <c:pt idx="9693">
                  <c:v>260477</c:v>
                </c:pt>
                <c:pt idx="9694">
                  <c:v>260454</c:v>
                </c:pt>
                <c:pt idx="9695">
                  <c:v>260433</c:v>
                </c:pt>
                <c:pt idx="9696">
                  <c:v>260427</c:v>
                </c:pt>
                <c:pt idx="9697">
                  <c:v>260427</c:v>
                </c:pt>
                <c:pt idx="9698">
                  <c:v>260397</c:v>
                </c:pt>
                <c:pt idx="9699">
                  <c:v>260358</c:v>
                </c:pt>
                <c:pt idx="9700">
                  <c:v>260348</c:v>
                </c:pt>
                <c:pt idx="9701">
                  <c:v>260339</c:v>
                </c:pt>
                <c:pt idx="9702">
                  <c:v>260329</c:v>
                </c:pt>
                <c:pt idx="9703">
                  <c:v>260300</c:v>
                </c:pt>
                <c:pt idx="9704">
                  <c:v>260297</c:v>
                </c:pt>
                <c:pt idx="9705">
                  <c:v>260286</c:v>
                </c:pt>
                <c:pt idx="9706">
                  <c:v>260257</c:v>
                </c:pt>
                <c:pt idx="9707">
                  <c:v>260254</c:v>
                </c:pt>
                <c:pt idx="9708">
                  <c:v>260246</c:v>
                </c:pt>
                <c:pt idx="9709">
                  <c:v>260214</c:v>
                </c:pt>
                <c:pt idx="9710">
                  <c:v>260209</c:v>
                </c:pt>
                <c:pt idx="9711">
                  <c:v>260160</c:v>
                </c:pt>
                <c:pt idx="9712">
                  <c:v>260147</c:v>
                </c:pt>
                <c:pt idx="9713">
                  <c:v>260139</c:v>
                </c:pt>
                <c:pt idx="9714">
                  <c:v>260102</c:v>
                </c:pt>
                <c:pt idx="9715">
                  <c:v>260096</c:v>
                </c:pt>
                <c:pt idx="9716">
                  <c:v>260067</c:v>
                </c:pt>
                <c:pt idx="9717">
                  <c:v>260063</c:v>
                </c:pt>
                <c:pt idx="9718">
                  <c:v>260037</c:v>
                </c:pt>
                <c:pt idx="9719">
                  <c:v>260032</c:v>
                </c:pt>
                <c:pt idx="9720">
                  <c:v>260002</c:v>
                </c:pt>
                <c:pt idx="9721">
                  <c:v>259981</c:v>
                </c:pt>
                <c:pt idx="9722">
                  <c:v>259966</c:v>
                </c:pt>
                <c:pt idx="9723">
                  <c:v>259952</c:v>
                </c:pt>
                <c:pt idx="9724">
                  <c:v>259926</c:v>
                </c:pt>
                <c:pt idx="9725">
                  <c:v>259922</c:v>
                </c:pt>
                <c:pt idx="9726">
                  <c:v>259901</c:v>
                </c:pt>
                <c:pt idx="9727">
                  <c:v>259874</c:v>
                </c:pt>
                <c:pt idx="9728">
                  <c:v>259863</c:v>
                </c:pt>
                <c:pt idx="9729">
                  <c:v>259857</c:v>
                </c:pt>
                <c:pt idx="9730">
                  <c:v>259821</c:v>
                </c:pt>
                <c:pt idx="9731">
                  <c:v>259812</c:v>
                </c:pt>
                <c:pt idx="9732">
                  <c:v>259810</c:v>
                </c:pt>
                <c:pt idx="9733">
                  <c:v>259799</c:v>
                </c:pt>
                <c:pt idx="9734">
                  <c:v>259738</c:v>
                </c:pt>
                <c:pt idx="9735">
                  <c:v>259731</c:v>
                </c:pt>
                <c:pt idx="9736">
                  <c:v>259725</c:v>
                </c:pt>
                <c:pt idx="9737">
                  <c:v>259716</c:v>
                </c:pt>
                <c:pt idx="9738">
                  <c:v>259687</c:v>
                </c:pt>
                <c:pt idx="9739">
                  <c:v>259660</c:v>
                </c:pt>
                <c:pt idx="9740">
                  <c:v>259653</c:v>
                </c:pt>
                <c:pt idx="9741">
                  <c:v>259625</c:v>
                </c:pt>
                <c:pt idx="9742">
                  <c:v>259625</c:v>
                </c:pt>
                <c:pt idx="9743">
                  <c:v>259607</c:v>
                </c:pt>
                <c:pt idx="9744">
                  <c:v>259592</c:v>
                </c:pt>
                <c:pt idx="9745">
                  <c:v>259583</c:v>
                </c:pt>
                <c:pt idx="9746">
                  <c:v>259577</c:v>
                </c:pt>
                <c:pt idx="9747">
                  <c:v>259490</c:v>
                </c:pt>
                <c:pt idx="9748">
                  <c:v>259477</c:v>
                </c:pt>
                <c:pt idx="9749">
                  <c:v>259477</c:v>
                </c:pt>
                <c:pt idx="9750">
                  <c:v>259458</c:v>
                </c:pt>
                <c:pt idx="9751">
                  <c:v>259384</c:v>
                </c:pt>
                <c:pt idx="9752">
                  <c:v>259359</c:v>
                </c:pt>
                <c:pt idx="9753">
                  <c:v>259306</c:v>
                </c:pt>
                <c:pt idx="9754">
                  <c:v>259280</c:v>
                </c:pt>
                <c:pt idx="9755">
                  <c:v>259274</c:v>
                </c:pt>
                <c:pt idx="9756">
                  <c:v>259214</c:v>
                </c:pt>
                <c:pt idx="9757">
                  <c:v>259209</c:v>
                </c:pt>
                <c:pt idx="9758">
                  <c:v>259146</c:v>
                </c:pt>
                <c:pt idx="9759">
                  <c:v>259104</c:v>
                </c:pt>
                <c:pt idx="9760">
                  <c:v>259102</c:v>
                </c:pt>
                <c:pt idx="9761">
                  <c:v>259080</c:v>
                </c:pt>
                <c:pt idx="9762">
                  <c:v>259073</c:v>
                </c:pt>
                <c:pt idx="9763">
                  <c:v>258995</c:v>
                </c:pt>
                <c:pt idx="9764">
                  <c:v>258976</c:v>
                </c:pt>
                <c:pt idx="9765">
                  <c:v>258971</c:v>
                </c:pt>
                <c:pt idx="9766">
                  <c:v>258960</c:v>
                </c:pt>
                <c:pt idx="9767">
                  <c:v>258949</c:v>
                </c:pt>
                <c:pt idx="9768">
                  <c:v>258946</c:v>
                </c:pt>
                <c:pt idx="9769">
                  <c:v>258933</c:v>
                </c:pt>
                <c:pt idx="9770">
                  <c:v>258879</c:v>
                </c:pt>
                <c:pt idx="9771">
                  <c:v>258850</c:v>
                </c:pt>
                <c:pt idx="9772">
                  <c:v>258840</c:v>
                </c:pt>
                <c:pt idx="9773">
                  <c:v>258833</c:v>
                </c:pt>
                <c:pt idx="9774">
                  <c:v>258831</c:v>
                </c:pt>
                <c:pt idx="9775">
                  <c:v>258810</c:v>
                </c:pt>
                <c:pt idx="9776">
                  <c:v>258793</c:v>
                </c:pt>
                <c:pt idx="9777">
                  <c:v>258786</c:v>
                </c:pt>
                <c:pt idx="9778">
                  <c:v>258785</c:v>
                </c:pt>
                <c:pt idx="9779">
                  <c:v>258781</c:v>
                </c:pt>
                <c:pt idx="9780">
                  <c:v>258772</c:v>
                </c:pt>
                <c:pt idx="9781">
                  <c:v>258771</c:v>
                </c:pt>
                <c:pt idx="9782">
                  <c:v>258762</c:v>
                </c:pt>
                <c:pt idx="9783">
                  <c:v>258731</c:v>
                </c:pt>
                <c:pt idx="9784">
                  <c:v>258718</c:v>
                </c:pt>
                <c:pt idx="9785">
                  <c:v>258657</c:v>
                </c:pt>
                <c:pt idx="9786">
                  <c:v>258654</c:v>
                </c:pt>
                <c:pt idx="9787">
                  <c:v>258652</c:v>
                </c:pt>
                <c:pt idx="9788">
                  <c:v>258622</c:v>
                </c:pt>
                <c:pt idx="9789">
                  <c:v>258619</c:v>
                </c:pt>
                <c:pt idx="9790">
                  <c:v>258611</c:v>
                </c:pt>
                <c:pt idx="9791">
                  <c:v>258603</c:v>
                </c:pt>
                <c:pt idx="9792">
                  <c:v>258529</c:v>
                </c:pt>
                <c:pt idx="9793">
                  <c:v>258523</c:v>
                </c:pt>
                <c:pt idx="9794">
                  <c:v>258518</c:v>
                </c:pt>
                <c:pt idx="9795">
                  <c:v>258516</c:v>
                </c:pt>
                <c:pt idx="9796">
                  <c:v>258484</c:v>
                </c:pt>
                <c:pt idx="9797">
                  <c:v>258484</c:v>
                </c:pt>
                <c:pt idx="9798">
                  <c:v>258474</c:v>
                </c:pt>
                <c:pt idx="9799">
                  <c:v>258472</c:v>
                </c:pt>
                <c:pt idx="9800">
                  <c:v>258459</c:v>
                </c:pt>
                <c:pt idx="9801">
                  <c:v>258428</c:v>
                </c:pt>
                <c:pt idx="9802">
                  <c:v>258422</c:v>
                </c:pt>
                <c:pt idx="9803">
                  <c:v>258393</c:v>
                </c:pt>
                <c:pt idx="9804">
                  <c:v>258377</c:v>
                </c:pt>
                <c:pt idx="9805">
                  <c:v>258362</c:v>
                </c:pt>
                <c:pt idx="9806">
                  <c:v>258357</c:v>
                </c:pt>
                <c:pt idx="9807">
                  <c:v>258338</c:v>
                </c:pt>
                <c:pt idx="9808">
                  <c:v>258294</c:v>
                </c:pt>
                <c:pt idx="9809">
                  <c:v>258273</c:v>
                </c:pt>
                <c:pt idx="9810">
                  <c:v>258263</c:v>
                </c:pt>
                <c:pt idx="9811">
                  <c:v>258250</c:v>
                </c:pt>
                <c:pt idx="9812">
                  <c:v>258229</c:v>
                </c:pt>
                <c:pt idx="9813">
                  <c:v>258212</c:v>
                </c:pt>
                <c:pt idx="9814">
                  <c:v>258200</c:v>
                </c:pt>
                <c:pt idx="9815">
                  <c:v>258158</c:v>
                </c:pt>
                <c:pt idx="9816">
                  <c:v>258151</c:v>
                </c:pt>
                <c:pt idx="9817">
                  <c:v>258093</c:v>
                </c:pt>
                <c:pt idx="9818">
                  <c:v>258066</c:v>
                </c:pt>
                <c:pt idx="9819">
                  <c:v>258019</c:v>
                </c:pt>
                <c:pt idx="9820">
                  <c:v>258003</c:v>
                </c:pt>
                <c:pt idx="9821">
                  <c:v>257981</c:v>
                </c:pt>
                <c:pt idx="9822">
                  <c:v>257968</c:v>
                </c:pt>
                <c:pt idx="9823">
                  <c:v>257957</c:v>
                </c:pt>
                <c:pt idx="9824">
                  <c:v>257917</c:v>
                </c:pt>
                <c:pt idx="9825">
                  <c:v>257917</c:v>
                </c:pt>
                <c:pt idx="9826">
                  <c:v>257898</c:v>
                </c:pt>
                <c:pt idx="9827">
                  <c:v>257873</c:v>
                </c:pt>
                <c:pt idx="9828">
                  <c:v>257868</c:v>
                </c:pt>
                <c:pt idx="9829">
                  <c:v>257864</c:v>
                </c:pt>
                <c:pt idx="9830">
                  <c:v>257818</c:v>
                </c:pt>
                <c:pt idx="9831">
                  <c:v>257813</c:v>
                </c:pt>
                <c:pt idx="9832">
                  <c:v>257801</c:v>
                </c:pt>
                <c:pt idx="9833">
                  <c:v>257798</c:v>
                </c:pt>
                <c:pt idx="9834">
                  <c:v>257795</c:v>
                </c:pt>
                <c:pt idx="9835">
                  <c:v>257734</c:v>
                </c:pt>
                <c:pt idx="9836">
                  <c:v>257726</c:v>
                </c:pt>
                <c:pt idx="9837">
                  <c:v>257718</c:v>
                </c:pt>
                <c:pt idx="9838">
                  <c:v>257707</c:v>
                </c:pt>
                <c:pt idx="9839">
                  <c:v>257707</c:v>
                </c:pt>
                <c:pt idx="9840">
                  <c:v>257706</c:v>
                </c:pt>
                <c:pt idx="9841">
                  <c:v>257695</c:v>
                </c:pt>
                <c:pt idx="9842">
                  <c:v>257694</c:v>
                </c:pt>
                <c:pt idx="9843">
                  <c:v>257689</c:v>
                </c:pt>
                <c:pt idx="9844">
                  <c:v>257674</c:v>
                </c:pt>
                <c:pt idx="9845">
                  <c:v>257666</c:v>
                </c:pt>
                <c:pt idx="9846">
                  <c:v>257661</c:v>
                </c:pt>
                <c:pt idx="9847">
                  <c:v>257643</c:v>
                </c:pt>
                <c:pt idx="9848">
                  <c:v>257581</c:v>
                </c:pt>
                <c:pt idx="9849">
                  <c:v>257568</c:v>
                </c:pt>
                <c:pt idx="9850">
                  <c:v>257568</c:v>
                </c:pt>
                <c:pt idx="9851">
                  <c:v>257561</c:v>
                </c:pt>
                <c:pt idx="9852">
                  <c:v>257534</c:v>
                </c:pt>
                <c:pt idx="9853">
                  <c:v>257530</c:v>
                </c:pt>
                <c:pt idx="9854">
                  <c:v>257519</c:v>
                </c:pt>
                <c:pt idx="9855">
                  <c:v>257499</c:v>
                </c:pt>
                <c:pt idx="9856">
                  <c:v>257492</c:v>
                </c:pt>
                <c:pt idx="9857">
                  <c:v>257482</c:v>
                </c:pt>
                <c:pt idx="9858">
                  <c:v>257469</c:v>
                </c:pt>
                <c:pt idx="9859">
                  <c:v>257442</c:v>
                </c:pt>
                <c:pt idx="9860">
                  <c:v>257437</c:v>
                </c:pt>
                <c:pt idx="9861">
                  <c:v>257437</c:v>
                </c:pt>
                <c:pt idx="9862">
                  <c:v>257410</c:v>
                </c:pt>
                <c:pt idx="9863">
                  <c:v>257408</c:v>
                </c:pt>
                <c:pt idx="9864">
                  <c:v>257401</c:v>
                </c:pt>
                <c:pt idx="9865">
                  <c:v>257390</c:v>
                </c:pt>
                <c:pt idx="9866">
                  <c:v>257315</c:v>
                </c:pt>
                <c:pt idx="9867">
                  <c:v>257277</c:v>
                </c:pt>
                <c:pt idx="9868">
                  <c:v>257258</c:v>
                </c:pt>
                <c:pt idx="9869">
                  <c:v>257254</c:v>
                </c:pt>
                <c:pt idx="9870">
                  <c:v>257173</c:v>
                </c:pt>
                <c:pt idx="9871">
                  <c:v>257168</c:v>
                </c:pt>
                <c:pt idx="9872">
                  <c:v>257155</c:v>
                </c:pt>
                <c:pt idx="9873">
                  <c:v>257154</c:v>
                </c:pt>
                <c:pt idx="9874">
                  <c:v>257135</c:v>
                </c:pt>
                <c:pt idx="9875">
                  <c:v>257121</c:v>
                </c:pt>
                <c:pt idx="9876">
                  <c:v>257102</c:v>
                </c:pt>
                <c:pt idx="9877">
                  <c:v>257096</c:v>
                </c:pt>
                <c:pt idx="9878">
                  <c:v>257090</c:v>
                </c:pt>
                <c:pt idx="9879">
                  <c:v>257082</c:v>
                </c:pt>
                <c:pt idx="9880">
                  <c:v>257081</c:v>
                </c:pt>
                <c:pt idx="9881">
                  <c:v>257054</c:v>
                </c:pt>
                <c:pt idx="9882">
                  <c:v>257045</c:v>
                </c:pt>
                <c:pt idx="9883">
                  <c:v>257035</c:v>
                </c:pt>
                <c:pt idx="9884">
                  <c:v>257032</c:v>
                </c:pt>
                <c:pt idx="9885">
                  <c:v>257003</c:v>
                </c:pt>
                <c:pt idx="9886">
                  <c:v>256941</c:v>
                </c:pt>
                <c:pt idx="9887">
                  <c:v>256935</c:v>
                </c:pt>
                <c:pt idx="9888">
                  <c:v>256923</c:v>
                </c:pt>
                <c:pt idx="9889">
                  <c:v>256906</c:v>
                </c:pt>
                <c:pt idx="9890">
                  <c:v>256894</c:v>
                </c:pt>
                <c:pt idx="9891">
                  <c:v>256890</c:v>
                </c:pt>
                <c:pt idx="9892">
                  <c:v>256886</c:v>
                </c:pt>
                <c:pt idx="9893">
                  <c:v>256869</c:v>
                </c:pt>
                <c:pt idx="9894">
                  <c:v>256868</c:v>
                </c:pt>
                <c:pt idx="9895">
                  <c:v>256809</c:v>
                </c:pt>
                <c:pt idx="9896">
                  <c:v>256807</c:v>
                </c:pt>
                <c:pt idx="9897">
                  <c:v>256781</c:v>
                </c:pt>
                <c:pt idx="9898">
                  <c:v>256735</c:v>
                </c:pt>
                <c:pt idx="9899">
                  <c:v>256721</c:v>
                </c:pt>
                <c:pt idx="9900">
                  <c:v>256699</c:v>
                </c:pt>
                <c:pt idx="9901">
                  <c:v>256683</c:v>
                </c:pt>
                <c:pt idx="9902">
                  <c:v>256681</c:v>
                </c:pt>
                <c:pt idx="9903">
                  <c:v>256676</c:v>
                </c:pt>
                <c:pt idx="9904">
                  <c:v>256667</c:v>
                </c:pt>
                <c:pt idx="9905">
                  <c:v>256666</c:v>
                </c:pt>
                <c:pt idx="9906">
                  <c:v>256638</c:v>
                </c:pt>
                <c:pt idx="9907">
                  <c:v>256606</c:v>
                </c:pt>
                <c:pt idx="9908">
                  <c:v>256599</c:v>
                </c:pt>
                <c:pt idx="9909">
                  <c:v>256598</c:v>
                </c:pt>
                <c:pt idx="9910">
                  <c:v>256571</c:v>
                </c:pt>
                <c:pt idx="9911">
                  <c:v>256569</c:v>
                </c:pt>
                <c:pt idx="9912">
                  <c:v>256549</c:v>
                </c:pt>
                <c:pt idx="9913">
                  <c:v>256520</c:v>
                </c:pt>
                <c:pt idx="9914">
                  <c:v>256517</c:v>
                </c:pt>
                <c:pt idx="9915">
                  <c:v>256470</c:v>
                </c:pt>
                <c:pt idx="9916">
                  <c:v>256412</c:v>
                </c:pt>
                <c:pt idx="9917">
                  <c:v>256361</c:v>
                </c:pt>
                <c:pt idx="9918">
                  <c:v>256359</c:v>
                </c:pt>
                <c:pt idx="9919">
                  <c:v>256331</c:v>
                </c:pt>
                <c:pt idx="9920">
                  <c:v>256259</c:v>
                </c:pt>
                <c:pt idx="9921">
                  <c:v>256244</c:v>
                </c:pt>
                <c:pt idx="9922">
                  <c:v>256228</c:v>
                </c:pt>
                <c:pt idx="9923">
                  <c:v>256217</c:v>
                </c:pt>
                <c:pt idx="9924">
                  <c:v>256216</c:v>
                </c:pt>
                <c:pt idx="9925">
                  <c:v>256191</c:v>
                </c:pt>
                <c:pt idx="9926">
                  <c:v>256174</c:v>
                </c:pt>
                <c:pt idx="9927">
                  <c:v>256170</c:v>
                </c:pt>
                <c:pt idx="9928">
                  <c:v>256165</c:v>
                </c:pt>
                <c:pt idx="9929">
                  <c:v>256145</c:v>
                </c:pt>
                <c:pt idx="9930">
                  <c:v>256144</c:v>
                </c:pt>
                <c:pt idx="9931">
                  <c:v>256137</c:v>
                </c:pt>
                <c:pt idx="9932">
                  <c:v>256119</c:v>
                </c:pt>
                <c:pt idx="9933">
                  <c:v>256101</c:v>
                </c:pt>
                <c:pt idx="9934">
                  <c:v>256087</c:v>
                </c:pt>
                <c:pt idx="9935">
                  <c:v>256075</c:v>
                </c:pt>
                <c:pt idx="9936">
                  <c:v>256060</c:v>
                </c:pt>
                <c:pt idx="9937">
                  <c:v>256056</c:v>
                </c:pt>
                <c:pt idx="9938">
                  <c:v>256055</c:v>
                </c:pt>
                <c:pt idx="9939">
                  <c:v>256030</c:v>
                </c:pt>
                <c:pt idx="9940">
                  <c:v>255890</c:v>
                </c:pt>
                <c:pt idx="9941">
                  <c:v>255878</c:v>
                </c:pt>
                <c:pt idx="9942">
                  <c:v>255869</c:v>
                </c:pt>
                <c:pt idx="9943">
                  <c:v>255867</c:v>
                </c:pt>
                <c:pt idx="9944">
                  <c:v>255848</c:v>
                </c:pt>
                <c:pt idx="9945">
                  <c:v>255823</c:v>
                </c:pt>
                <c:pt idx="9946">
                  <c:v>255809</c:v>
                </c:pt>
                <c:pt idx="9947">
                  <c:v>255697</c:v>
                </c:pt>
                <c:pt idx="9948">
                  <c:v>255663</c:v>
                </c:pt>
                <c:pt idx="9949">
                  <c:v>255649</c:v>
                </c:pt>
                <c:pt idx="9950">
                  <c:v>255647</c:v>
                </c:pt>
                <c:pt idx="9951">
                  <c:v>255620</c:v>
                </c:pt>
                <c:pt idx="9952">
                  <c:v>255595</c:v>
                </c:pt>
                <c:pt idx="9953">
                  <c:v>255586</c:v>
                </c:pt>
                <c:pt idx="9954">
                  <c:v>255579</c:v>
                </c:pt>
                <c:pt idx="9955">
                  <c:v>255578</c:v>
                </c:pt>
                <c:pt idx="9956">
                  <c:v>255568</c:v>
                </c:pt>
                <c:pt idx="9957">
                  <c:v>255556</c:v>
                </c:pt>
                <c:pt idx="9958">
                  <c:v>255531</c:v>
                </c:pt>
                <c:pt idx="9959">
                  <c:v>255528</c:v>
                </c:pt>
                <c:pt idx="9960">
                  <c:v>255526</c:v>
                </c:pt>
                <c:pt idx="9961">
                  <c:v>255456</c:v>
                </c:pt>
                <c:pt idx="9962">
                  <c:v>255433</c:v>
                </c:pt>
                <c:pt idx="9963">
                  <c:v>255426</c:v>
                </c:pt>
                <c:pt idx="9964">
                  <c:v>255351</c:v>
                </c:pt>
                <c:pt idx="9965">
                  <c:v>255340</c:v>
                </c:pt>
                <c:pt idx="9966">
                  <c:v>255326</c:v>
                </c:pt>
                <c:pt idx="9967">
                  <c:v>255325</c:v>
                </c:pt>
                <c:pt idx="9968">
                  <c:v>255310</c:v>
                </c:pt>
                <c:pt idx="9969">
                  <c:v>255244</c:v>
                </c:pt>
                <c:pt idx="9970">
                  <c:v>255241</c:v>
                </c:pt>
                <c:pt idx="9971">
                  <c:v>255237</c:v>
                </c:pt>
                <c:pt idx="9972">
                  <c:v>255234</c:v>
                </c:pt>
                <c:pt idx="9973">
                  <c:v>255211</c:v>
                </c:pt>
                <c:pt idx="9974">
                  <c:v>255188</c:v>
                </c:pt>
                <c:pt idx="9975">
                  <c:v>255165</c:v>
                </c:pt>
                <c:pt idx="9976">
                  <c:v>255137</c:v>
                </c:pt>
                <c:pt idx="9977">
                  <c:v>255127</c:v>
                </c:pt>
                <c:pt idx="9978">
                  <c:v>255077</c:v>
                </c:pt>
                <c:pt idx="9979">
                  <c:v>255031</c:v>
                </c:pt>
                <c:pt idx="9980">
                  <c:v>255014</c:v>
                </c:pt>
                <c:pt idx="9981">
                  <c:v>254956</c:v>
                </c:pt>
                <c:pt idx="9982">
                  <c:v>254925</c:v>
                </c:pt>
                <c:pt idx="9983">
                  <c:v>254921</c:v>
                </c:pt>
                <c:pt idx="9984">
                  <c:v>254904</c:v>
                </c:pt>
                <c:pt idx="9985">
                  <c:v>254896</c:v>
                </c:pt>
                <c:pt idx="9986">
                  <c:v>254855</c:v>
                </c:pt>
                <c:pt idx="9987">
                  <c:v>254831</c:v>
                </c:pt>
                <c:pt idx="9988">
                  <c:v>254824</c:v>
                </c:pt>
                <c:pt idx="9989">
                  <c:v>254821</c:v>
                </c:pt>
                <c:pt idx="9990">
                  <c:v>254783</c:v>
                </c:pt>
                <c:pt idx="9991">
                  <c:v>254777</c:v>
                </c:pt>
                <c:pt idx="9992">
                  <c:v>254774</c:v>
                </c:pt>
                <c:pt idx="9993">
                  <c:v>254748</c:v>
                </c:pt>
                <c:pt idx="9994">
                  <c:v>254707</c:v>
                </c:pt>
                <c:pt idx="9995">
                  <c:v>254659</c:v>
                </c:pt>
                <c:pt idx="9996">
                  <c:v>254657</c:v>
                </c:pt>
                <c:pt idx="9997">
                  <c:v>254646</c:v>
                </c:pt>
                <c:pt idx="9998">
                  <c:v>254641</c:v>
                </c:pt>
                <c:pt idx="9999">
                  <c:v>254639</c:v>
                </c:pt>
                <c:pt idx="10000">
                  <c:v>254631</c:v>
                </c:pt>
                <c:pt idx="10001">
                  <c:v>254623</c:v>
                </c:pt>
                <c:pt idx="10002">
                  <c:v>254614</c:v>
                </c:pt>
                <c:pt idx="10003">
                  <c:v>254590</c:v>
                </c:pt>
                <c:pt idx="10004">
                  <c:v>254585</c:v>
                </c:pt>
                <c:pt idx="10005">
                  <c:v>254563</c:v>
                </c:pt>
                <c:pt idx="10006">
                  <c:v>254550</c:v>
                </c:pt>
                <c:pt idx="10007">
                  <c:v>254526</c:v>
                </c:pt>
                <c:pt idx="10008">
                  <c:v>254478</c:v>
                </c:pt>
                <c:pt idx="10009">
                  <c:v>254470</c:v>
                </c:pt>
                <c:pt idx="10010">
                  <c:v>254440</c:v>
                </c:pt>
                <c:pt idx="10011">
                  <c:v>254415</c:v>
                </c:pt>
                <c:pt idx="10012">
                  <c:v>254384</c:v>
                </c:pt>
                <c:pt idx="10013">
                  <c:v>254381</c:v>
                </c:pt>
                <c:pt idx="10014">
                  <c:v>254267</c:v>
                </c:pt>
                <c:pt idx="10015">
                  <c:v>254262</c:v>
                </c:pt>
                <c:pt idx="10016">
                  <c:v>254250</c:v>
                </c:pt>
                <c:pt idx="10017">
                  <c:v>254239</c:v>
                </c:pt>
                <c:pt idx="10018">
                  <c:v>254223</c:v>
                </c:pt>
                <c:pt idx="10019">
                  <c:v>254159</c:v>
                </c:pt>
                <c:pt idx="10020">
                  <c:v>254159</c:v>
                </c:pt>
                <c:pt idx="10021">
                  <c:v>254146</c:v>
                </c:pt>
                <c:pt idx="10022">
                  <c:v>254138</c:v>
                </c:pt>
                <c:pt idx="10023">
                  <c:v>254136</c:v>
                </c:pt>
                <c:pt idx="10024">
                  <c:v>254118</c:v>
                </c:pt>
                <c:pt idx="10025">
                  <c:v>254095</c:v>
                </c:pt>
                <c:pt idx="10026">
                  <c:v>254070</c:v>
                </c:pt>
                <c:pt idx="10027">
                  <c:v>254066</c:v>
                </c:pt>
                <c:pt idx="10028">
                  <c:v>254065</c:v>
                </c:pt>
                <c:pt idx="10029">
                  <c:v>254036</c:v>
                </c:pt>
                <c:pt idx="10030">
                  <c:v>254024</c:v>
                </c:pt>
                <c:pt idx="10031">
                  <c:v>254008</c:v>
                </c:pt>
                <c:pt idx="10032">
                  <c:v>253903</c:v>
                </c:pt>
                <c:pt idx="10033">
                  <c:v>253863</c:v>
                </c:pt>
                <c:pt idx="10034">
                  <c:v>253839</c:v>
                </c:pt>
                <c:pt idx="10035">
                  <c:v>253815</c:v>
                </c:pt>
                <c:pt idx="10036">
                  <c:v>253802</c:v>
                </c:pt>
                <c:pt idx="10037">
                  <c:v>253765</c:v>
                </c:pt>
                <c:pt idx="10038">
                  <c:v>253756</c:v>
                </c:pt>
                <c:pt idx="10039">
                  <c:v>253723</c:v>
                </c:pt>
                <c:pt idx="10040">
                  <c:v>253715</c:v>
                </c:pt>
                <c:pt idx="10041">
                  <c:v>253679</c:v>
                </c:pt>
                <c:pt idx="10042">
                  <c:v>253616</c:v>
                </c:pt>
                <c:pt idx="10043">
                  <c:v>253606</c:v>
                </c:pt>
                <c:pt idx="10044">
                  <c:v>253594</c:v>
                </c:pt>
                <c:pt idx="10045">
                  <c:v>253556</c:v>
                </c:pt>
                <c:pt idx="10046">
                  <c:v>253534</c:v>
                </c:pt>
                <c:pt idx="10047">
                  <c:v>253486</c:v>
                </c:pt>
                <c:pt idx="10048">
                  <c:v>253474</c:v>
                </c:pt>
                <c:pt idx="10049">
                  <c:v>253459</c:v>
                </c:pt>
                <c:pt idx="10050">
                  <c:v>253453</c:v>
                </c:pt>
                <c:pt idx="10051">
                  <c:v>253404</c:v>
                </c:pt>
                <c:pt idx="10052">
                  <c:v>253403</c:v>
                </c:pt>
                <c:pt idx="10053">
                  <c:v>253384</c:v>
                </c:pt>
                <c:pt idx="10054">
                  <c:v>253378</c:v>
                </c:pt>
                <c:pt idx="10055">
                  <c:v>253310</c:v>
                </c:pt>
                <c:pt idx="10056">
                  <c:v>253294</c:v>
                </c:pt>
                <c:pt idx="10057">
                  <c:v>253285</c:v>
                </c:pt>
                <c:pt idx="10058">
                  <c:v>253282</c:v>
                </c:pt>
                <c:pt idx="10059">
                  <c:v>253218</c:v>
                </c:pt>
                <c:pt idx="10060">
                  <c:v>253193</c:v>
                </c:pt>
                <c:pt idx="10061">
                  <c:v>253154</c:v>
                </c:pt>
                <c:pt idx="10062">
                  <c:v>253134</c:v>
                </c:pt>
                <c:pt idx="10063">
                  <c:v>253116</c:v>
                </c:pt>
                <c:pt idx="10064">
                  <c:v>253066</c:v>
                </c:pt>
                <c:pt idx="10065">
                  <c:v>252999</c:v>
                </c:pt>
                <c:pt idx="10066">
                  <c:v>252977</c:v>
                </c:pt>
                <c:pt idx="10067">
                  <c:v>252947</c:v>
                </c:pt>
                <c:pt idx="10068">
                  <c:v>252944</c:v>
                </c:pt>
                <c:pt idx="10069">
                  <c:v>252917</c:v>
                </c:pt>
                <c:pt idx="10070">
                  <c:v>252906</c:v>
                </c:pt>
                <c:pt idx="10071">
                  <c:v>252866</c:v>
                </c:pt>
                <c:pt idx="10072">
                  <c:v>252838</c:v>
                </c:pt>
                <c:pt idx="10073">
                  <c:v>252837</c:v>
                </c:pt>
                <c:pt idx="10074">
                  <c:v>252837</c:v>
                </c:pt>
                <c:pt idx="10075">
                  <c:v>252820</c:v>
                </c:pt>
                <c:pt idx="10076">
                  <c:v>252786</c:v>
                </c:pt>
                <c:pt idx="10077">
                  <c:v>252761</c:v>
                </c:pt>
                <c:pt idx="10078">
                  <c:v>252728</c:v>
                </c:pt>
                <c:pt idx="10079">
                  <c:v>252650</c:v>
                </c:pt>
                <c:pt idx="10080">
                  <c:v>252588</c:v>
                </c:pt>
                <c:pt idx="10081">
                  <c:v>252581</c:v>
                </c:pt>
                <c:pt idx="10082">
                  <c:v>252512</c:v>
                </c:pt>
                <c:pt idx="10083">
                  <c:v>252508</c:v>
                </c:pt>
                <c:pt idx="10084">
                  <c:v>252497</c:v>
                </c:pt>
                <c:pt idx="10085">
                  <c:v>252433</c:v>
                </c:pt>
                <c:pt idx="10086">
                  <c:v>252433</c:v>
                </c:pt>
                <c:pt idx="10087">
                  <c:v>252417</c:v>
                </c:pt>
                <c:pt idx="10088">
                  <c:v>252408</c:v>
                </c:pt>
                <c:pt idx="10089">
                  <c:v>252342</c:v>
                </c:pt>
                <c:pt idx="10090">
                  <c:v>252339</c:v>
                </c:pt>
                <c:pt idx="10091">
                  <c:v>252320</c:v>
                </c:pt>
                <c:pt idx="10092">
                  <c:v>252316</c:v>
                </c:pt>
                <c:pt idx="10093">
                  <c:v>252288</c:v>
                </c:pt>
                <c:pt idx="10094">
                  <c:v>252244</c:v>
                </c:pt>
                <c:pt idx="10095">
                  <c:v>252217</c:v>
                </c:pt>
                <c:pt idx="10096">
                  <c:v>252156</c:v>
                </c:pt>
                <c:pt idx="10097">
                  <c:v>252124</c:v>
                </c:pt>
                <c:pt idx="10098">
                  <c:v>252106</c:v>
                </c:pt>
                <c:pt idx="10099">
                  <c:v>252079</c:v>
                </c:pt>
                <c:pt idx="10100">
                  <c:v>252047</c:v>
                </c:pt>
                <c:pt idx="10101">
                  <c:v>251913</c:v>
                </c:pt>
                <c:pt idx="10102">
                  <c:v>251893</c:v>
                </c:pt>
                <c:pt idx="10103">
                  <c:v>251887</c:v>
                </c:pt>
                <c:pt idx="10104">
                  <c:v>251868</c:v>
                </c:pt>
                <c:pt idx="10105">
                  <c:v>251853</c:v>
                </c:pt>
                <c:pt idx="10106">
                  <c:v>251846</c:v>
                </c:pt>
                <c:pt idx="10107">
                  <c:v>251813</c:v>
                </c:pt>
                <c:pt idx="10108">
                  <c:v>251792</c:v>
                </c:pt>
                <c:pt idx="10109">
                  <c:v>251738</c:v>
                </c:pt>
                <c:pt idx="10110">
                  <c:v>251704</c:v>
                </c:pt>
                <c:pt idx="10111">
                  <c:v>251700</c:v>
                </c:pt>
                <c:pt idx="10112">
                  <c:v>251699</c:v>
                </c:pt>
                <c:pt idx="10113">
                  <c:v>251690</c:v>
                </c:pt>
                <c:pt idx="10114">
                  <c:v>251680</c:v>
                </c:pt>
                <c:pt idx="10115">
                  <c:v>251675</c:v>
                </c:pt>
                <c:pt idx="10116">
                  <c:v>251632</c:v>
                </c:pt>
                <c:pt idx="10117">
                  <c:v>251600</c:v>
                </c:pt>
                <c:pt idx="10118">
                  <c:v>251551</c:v>
                </c:pt>
                <c:pt idx="10119">
                  <c:v>251487</c:v>
                </c:pt>
                <c:pt idx="10120">
                  <c:v>251476</c:v>
                </c:pt>
                <c:pt idx="10121">
                  <c:v>251473</c:v>
                </c:pt>
                <c:pt idx="10122">
                  <c:v>251461</c:v>
                </c:pt>
                <c:pt idx="10123">
                  <c:v>251430</c:v>
                </c:pt>
                <c:pt idx="10124">
                  <c:v>251418</c:v>
                </c:pt>
                <c:pt idx="10125">
                  <c:v>251373</c:v>
                </c:pt>
                <c:pt idx="10126">
                  <c:v>251353</c:v>
                </c:pt>
                <c:pt idx="10127">
                  <c:v>251351</c:v>
                </c:pt>
                <c:pt idx="10128">
                  <c:v>251344</c:v>
                </c:pt>
                <c:pt idx="10129">
                  <c:v>251329</c:v>
                </c:pt>
                <c:pt idx="10130">
                  <c:v>251279</c:v>
                </c:pt>
                <c:pt idx="10131">
                  <c:v>251274</c:v>
                </c:pt>
                <c:pt idx="10132">
                  <c:v>251272</c:v>
                </c:pt>
                <c:pt idx="10133">
                  <c:v>251251</c:v>
                </c:pt>
                <c:pt idx="10134">
                  <c:v>251246</c:v>
                </c:pt>
                <c:pt idx="10135">
                  <c:v>251205</c:v>
                </c:pt>
                <c:pt idx="10136">
                  <c:v>251190</c:v>
                </c:pt>
                <c:pt idx="10137">
                  <c:v>251161</c:v>
                </c:pt>
                <c:pt idx="10138">
                  <c:v>251084</c:v>
                </c:pt>
                <c:pt idx="10139">
                  <c:v>251044</c:v>
                </c:pt>
                <c:pt idx="10140">
                  <c:v>251021</c:v>
                </c:pt>
                <c:pt idx="10141">
                  <c:v>250995</c:v>
                </c:pt>
                <c:pt idx="10142">
                  <c:v>250961</c:v>
                </c:pt>
                <c:pt idx="10143">
                  <c:v>250901</c:v>
                </c:pt>
                <c:pt idx="10144">
                  <c:v>250895</c:v>
                </c:pt>
                <c:pt idx="10145">
                  <c:v>250864</c:v>
                </c:pt>
                <c:pt idx="10146">
                  <c:v>250845</c:v>
                </c:pt>
                <c:pt idx="10147">
                  <c:v>250798</c:v>
                </c:pt>
                <c:pt idx="10148">
                  <c:v>250781</c:v>
                </c:pt>
                <c:pt idx="10149">
                  <c:v>250776</c:v>
                </c:pt>
                <c:pt idx="10150">
                  <c:v>250666</c:v>
                </c:pt>
                <c:pt idx="10151">
                  <c:v>250656</c:v>
                </c:pt>
                <c:pt idx="10152">
                  <c:v>250644</c:v>
                </c:pt>
                <c:pt idx="10153">
                  <c:v>250643</c:v>
                </c:pt>
                <c:pt idx="10154">
                  <c:v>250621</c:v>
                </c:pt>
                <c:pt idx="10155">
                  <c:v>250614</c:v>
                </c:pt>
                <c:pt idx="10156">
                  <c:v>250543</c:v>
                </c:pt>
                <c:pt idx="10157">
                  <c:v>250530</c:v>
                </c:pt>
                <c:pt idx="10158">
                  <c:v>250529</c:v>
                </c:pt>
                <c:pt idx="10159">
                  <c:v>250488</c:v>
                </c:pt>
                <c:pt idx="10160">
                  <c:v>250402</c:v>
                </c:pt>
                <c:pt idx="10161">
                  <c:v>250377</c:v>
                </c:pt>
                <c:pt idx="10162">
                  <c:v>250316</c:v>
                </c:pt>
                <c:pt idx="10163">
                  <c:v>250257</c:v>
                </c:pt>
                <c:pt idx="10164">
                  <c:v>250255</c:v>
                </c:pt>
                <c:pt idx="10165">
                  <c:v>250249</c:v>
                </c:pt>
                <c:pt idx="10166">
                  <c:v>250216</c:v>
                </c:pt>
                <c:pt idx="10167">
                  <c:v>250160</c:v>
                </c:pt>
                <c:pt idx="10168">
                  <c:v>250097</c:v>
                </c:pt>
                <c:pt idx="10169">
                  <c:v>250068</c:v>
                </c:pt>
                <c:pt idx="10170">
                  <c:v>250050</c:v>
                </c:pt>
                <c:pt idx="10171">
                  <c:v>249959</c:v>
                </c:pt>
                <c:pt idx="10172">
                  <c:v>249940</c:v>
                </c:pt>
                <c:pt idx="10173">
                  <c:v>249925</c:v>
                </c:pt>
                <c:pt idx="10174">
                  <c:v>249918</c:v>
                </c:pt>
                <c:pt idx="10175">
                  <c:v>249901</c:v>
                </c:pt>
                <c:pt idx="10176">
                  <c:v>249806</c:v>
                </c:pt>
                <c:pt idx="10177">
                  <c:v>249802</c:v>
                </c:pt>
                <c:pt idx="10178">
                  <c:v>249789</c:v>
                </c:pt>
                <c:pt idx="10179">
                  <c:v>249781</c:v>
                </c:pt>
                <c:pt idx="10180">
                  <c:v>249769</c:v>
                </c:pt>
                <c:pt idx="10181">
                  <c:v>249761</c:v>
                </c:pt>
                <c:pt idx="10182">
                  <c:v>249724</c:v>
                </c:pt>
                <c:pt idx="10183">
                  <c:v>249718</c:v>
                </c:pt>
                <c:pt idx="10184">
                  <c:v>249699</c:v>
                </c:pt>
                <c:pt idx="10185">
                  <c:v>249671</c:v>
                </c:pt>
                <c:pt idx="10186">
                  <c:v>249664</c:v>
                </c:pt>
                <c:pt idx="10187">
                  <c:v>249640</c:v>
                </c:pt>
                <c:pt idx="10188">
                  <c:v>249619</c:v>
                </c:pt>
                <c:pt idx="10189">
                  <c:v>249543</c:v>
                </c:pt>
                <c:pt idx="10190">
                  <c:v>249521</c:v>
                </c:pt>
                <c:pt idx="10191">
                  <c:v>249502</c:v>
                </c:pt>
                <c:pt idx="10192">
                  <c:v>249458</c:v>
                </c:pt>
                <c:pt idx="10193">
                  <c:v>249409</c:v>
                </c:pt>
                <c:pt idx="10194">
                  <c:v>249358</c:v>
                </c:pt>
                <c:pt idx="10195">
                  <c:v>249323</c:v>
                </c:pt>
                <c:pt idx="10196">
                  <c:v>249314</c:v>
                </c:pt>
                <c:pt idx="10197">
                  <c:v>249310</c:v>
                </c:pt>
                <c:pt idx="10198">
                  <c:v>249304</c:v>
                </c:pt>
                <c:pt idx="10199">
                  <c:v>249261</c:v>
                </c:pt>
                <c:pt idx="10200">
                  <c:v>249251</c:v>
                </c:pt>
                <c:pt idx="10201">
                  <c:v>249246</c:v>
                </c:pt>
                <c:pt idx="10202">
                  <c:v>249240</c:v>
                </c:pt>
                <c:pt idx="10203">
                  <c:v>249238</c:v>
                </c:pt>
                <c:pt idx="10204">
                  <c:v>249181</c:v>
                </c:pt>
                <c:pt idx="10205">
                  <c:v>249169</c:v>
                </c:pt>
                <c:pt idx="10206">
                  <c:v>249148</c:v>
                </c:pt>
                <c:pt idx="10207">
                  <c:v>249142</c:v>
                </c:pt>
                <c:pt idx="10208">
                  <c:v>249101</c:v>
                </c:pt>
                <c:pt idx="10209">
                  <c:v>249013</c:v>
                </c:pt>
                <c:pt idx="10210">
                  <c:v>249011</c:v>
                </c:pt>
                <c:pt idx="10211">
                  <c:v>249006</c:v>
                </c:pt>
                <c:pt idx="10212">
                  <c:v>248993</c:v>
                </c:pt>
                <c:pt idx="10213">
                  <c:v>248987</c:v>
                </c:pt>
                <c:pt idx="10214">
                  <c:v>248975</c:v>
                </c:pt>
                <c:pt idx="10215">
                  <c:v>248927</c:v>
                </c:pt>
                <c:pt idx="10216">
                  <c:v>248920</c:v>
                </c:pt>
                <c:pt idx="10217">
                  <c:v>248895</c:v>
                </c:pt>
                <c:pt idx="10218">
                  <c:v>248838</c:v>
                </c:pt>
                <c:pt idx="10219">
                  <c:v>248836</c:v>
                </c:pt>
                <c:pt idx="10220">
                  <c:v>248833</c:v>
                </c:pt>
                <c:pt idx="10221">
                  <c:v>248831</c:v>
                </c:pt>
                <c:pt idx="10222">
                  <c:v>248787</c:v>
                </c:pt>
                <c:pt idx="10223">
                  <c:v>248768</c:v>
                </c:pt>
                <c:pt idx="10224">
                  <c:v>248729</c:v>
                </c:pt>
                <c:pt idx="10225">
                  <c:v>248723</c:v>
                </c:pt>
                <c:pt idx="10226">
                  <c:v>248654</c:v>
                </c:pt>
                <c:pt idx="10227">
                  <c:v>248637</c:v>
                </c:pt>
                <c:pt idx="10228">
                  <c:v>248605</c:v>
                </c:pt>
                <c:pt idx="10229">
                  <c:v>248594</c:v>
                </c:pt>
                <c:pt idx="10230">
                  <c:v>248593</c:v>
                </c:pt>
                <c:pt idx="10231">
                  <c:v>248545</c:v>
                </c:pt>
                <c:pt idx="10232">
                  <c:v>248516</c:v>
                </c:pt>
                <c:pt idx="10233">
                  <c:v>248513</c:v>
                </c:pt>
                <c:pt idx="10234">
                  <c:v>248484</c:v>
                </c:pt>
                <c:pt idx="10235">
                  <c:v>248364</c:v>
                </c:pt>
                <c:pt idx="10236">
                  <c:v>248331</c:v>
                </c:pt>
                <c:pt idx="10237">
                  <c:v>248303</c:v>
                </c:pt>
                <c:pt idx="10238">
                  <c:v>248280</c:v>
                </c:pt>
                <c:pt idx="10239">
                  <c:v>248199</c:v>
                </c:pt>
                <c:pt idx="10240">
                  <c:v>248181</c:v>
                </c:pt>
                <c:pt idx="10241">
                  <c:v>248137</c:v>
                </c:pt>
                <c:pt idx="10242">
                  <c:v>248084</c:v>
                </c:pt>
                <c:pt idx="10243">
                  <c:v>248018</c:v>
                </c:pt>
                <c:pt idx="10244">
                  <c:v>247971</c:v>
                </c:pt>
                <c:pt idx="10245">
                  <c:v>247940</c:v>
                </c:pt>
                <c:pt idx="10246">
                  <c:v>247932</c:v>
                </c:pt>
                <c:pt idx="10247">
                  <c:v>247908</c:v>
                </c:pt>
                <c:pt idx="10248">
                  <c:v>247905</c:v>
                </c:pt>
                <c:pt idx="10249">
                  <c:v>247900</c:v>
                </c:pt>
                <c:pt idx="10250">
                  <c:v>247878</c:v>
                </c:pt>
                <c:pt idx="10251">
                  <c:v>247857</c:v>
                </c:pt>
                <c:pt idx="10252">
                  <c:v>247851</c:v>
                </c:pt>
                <c:pt idx="10253">
                  <c:v>247836</c:v>
                </c:pt>
                <c:pt idx="10254">
                  <c:v>247831</c:v>
                </c:pt>
                <c:pt idx="10255">
                  <c:v>247812</c:v>
                </c:pt>
                <c:pt idx="10256">
                  <c:v>247701</c:v>
                </c:pt>
                <c:pt idx="10257">
                  <c:v>247656</c:v>
                </c:pt>
                <c:pt idx="10258">
                  <c:v>247539</c:v>
                </c:pt>
                <c:pt idx="10259">
                  <c:v>247530</c:v>
                </c:pt>
                <c:pt idx="10260">
                  <c:v>247490</c:v>
                </c:pt>
                <c:pt idx="10261">
                  <c:v>247438</c:v>
                </c:pt>
                <c:pt idx="10262">
                  <c:v>247429</c:v>
                </c:pt>
                <c:pt idx="10263">
                  <c:v>247420</c:v>
                </c:pt>
                <c:pt idx="10264">
                  <c:v>247419</c:v>
                </c:pt>
                <c:pt idx="10265">
                  <c:v>247364</c:v>
                </c:pt>
                <c:pt idx="10266">
                  <c:v>247349</c:v>
                </c:pt>
                <c:pt idx="10267">
                  <c:v>247292</c:v>
                </c:pt>
                <c:pt idx="10268">
                  <c:v>247291</c:v>
                </c:pt>
                <c:pt idx="10269">
                  <c:v>247246</c:v>
                </c:pt>
                <c:pt idx="10270">
                  <c:v>247208</c:v>
                </c:pt>
                <c:pt idx="10271">
                  <c:v>247166</c:v>
                </c:pt>
                <c:pt idx="10272">
                  <c:v>247165</c:v>
                </c:pt>
                <c:pt idx="10273">
                  <c:v>247144</c:v>
                </c:pt>
                <c:pt idx="10274">
                  <c:v>247092</c:v>
                </c:pt>
                <c:pt idx="10275">
                  <c:v>247043</c:v>
                </c:pt>
                <c:pt idx="10276">
                  <c:v>247033</c:v>
                </c:pt>
                <c:pt idx="10277">
                  <c:v>247022</c:v>
                </c:pt>
                <c:pt idx="10278">
                  <c:v>247006</c:v>
                </c:pt>
                <c:pt idx="10279">
                  <c:v>246989</c:v>
                </c:pt>
                <c:pt idx="10280">
                  <c:v>246986</c:v>
                </c:pt>
                <c:pt idx="10281">
                  <c:v>246949</c:v>
                </c:pt>
                <c:pt idx="10282">
                  <c:v>246856</c:v>
                </c:pt>
                <c:pt idx="10283">
                  <c:v>246840</c:v>
                </c:pt>
                <c:pt idx="10284">
                  <c:v>246826</c:v>
                </c:pt>
                <c:pt idx="10285">
                  <c:v>246777</c:v>
                </c:pt>
                <c:pt idx="10286">
                  <c:v>246773</c:v>
                </c:pt>
                <c:pt idx="10287">
                  <c:v>246733</c:v>
                </c:pt>
                <c:pt idx="10288">
                  <c:v>246671</c:v>
                </c:pt>
                <c:pt idx="10289">
                  <c:v>246639</c:v>
                </c:pt>
                <c:pt idx="10290">
                  <c:v>246623</c:v>
                </c:pt>
                <c:pt idx="10291">
                  <c:v>246590</c:v>
                </c:pt>
                <c:pt idx="10292">
                  <c:v>246581</c:v>
                </c:pt>
                <c:pt idx="10293">
                  <c:v>246549</c:v>
                </c:pt>
                <c:pt idx="10294">
                  <c:v>246533</c:v>
                </c:pt>
                <c:pt idx="10295">
                  <c:v>246526</c:v>
                </c:pt>
                <c:pt idx="10296">
                  <c:v>246462</c:v>
                </c:pt>
                <c:pt idx="10297">
                  <c:v>246433</c:v>
                </c:pt>
                <c:pt idx="10298">
                  <c:v>246413</c:v>
                </c:pt>
                <c:pt idx="10299">
                  <c:v>246408</c:v>
                </c:pt>
                <c:pt idx="10300">
                  <c:v>246316</c:v>
                </c:pt>
                <c:pt idx="10301">
                  <c:v>246304</c:v>
                </c:pt>
                <c:pt idx="10302">
                  <c:v>246262</c:v>
                </c:pt>
                <c:pt idx="10303">
                  <c:v>246196</c:v>
                </c:pt>
                <c:pt idx="10304">
                  <c:v>246187</c:v>
                </c:pt>
                <c:pt idx="10305">
                  <c:v>246173</c:v>
                </c:pt>
                <c:pt idx="10306">
                  <c:v>246161</c:v>
                </c:pt>
                <c:pt idx="10307">
                  <c:v>246138</c:v>
                </c:pt>
                <c:pt idx="10308">
                  <c:v>246113</c:v>
                </c:pt>
                <c:pt idx="10309">
                  <c:v>246074</c:v>
                </c:pt>
                <c:pt idx="10310">
                  <c:v>246048</c:v>
                </c:pt>
                <c:pt idx="10311">
                  <c:v>245958</c:v>
                </c:pt>
                <c:pt idx="10312">
                  <c:v>245957</c:v>
                </c:pt>
                <c:pt idx="10313">
                  <c:v>245938</c:v>
                </c:pt>
                <c:pt idx="10314">
                  <c:v>245798</c:v>
                </c:pt>
                <c:pt idx="10315">
                  <c:v>245774</c:v>
                </c:pt>
                <c:pt idx="10316">
                  <c:v>245732</c:v>
                </c:pt>
                <c:pt idx="10317">
                  <c:v>245699</c:v>
                </c:pt>
                <c:pt idx="10318">
                  <c:v>245689</c:v>
                </c:pt>
                <c:pt idx="10319">
                  <c:v>245686</c:v>
                </c:pt>
                <c:pt idx="10320">
                  <c:v>245671</c:v>
                </c:pt>
                <c:pt idx="10321">
                  <c:v>245630</c:v>
                </c:pt>
                <c:pt idx="10322">
                  <c:v>245623</c:v>
                </c:pt>
                <c:pt idx="10323">
                  <c:v>245589</c:v>
                </c:pt>
                <c:pt idx="10324">
                  <c:v>245572</c:v>
                </c:pt>
                <c:pt idx="10325">
                  <c:v>245565</c:v>
                </c:pt>
                <c:pt idx="10326">
                  <c:v>245538</c:v>
                </c:pt>
                <c:pt idx="10327">
                  <c:v>245337</c:v>
                </c:pt>
                <c:pt idx="10328">
                  <c:v>245316</c:v>
                </c:pt>
                <c:pt idx="10329">
                  <c:v>245213</c:v>
                </c:pt>
                <c:pt idx="10330">
                  <c:v>245183</c:v>
                </c:pt>
                <c:pt idx="10331">
                  <c:v>245167</c:v>
                </c:pt>
                <c:pt idx="10332">
                  <c:v>245123</c:v>
                </c:pt>
                <c:pt idx="10333">
                  <c:v>245123</c:v>
                </c:pt>
                <c:pt idx="10334">
                  <c:v>245078</c:v>
                </c:pt>
                <c:pt idx="10335">
                  <c:v>245075</c:v>
                </c:pt>
                <c:pt idx="10336">
                  <c:v>245048</c:v>
                </c:pt>
                <c:pt idx="10337">
                  <c:v>245035</c:v>
                </c:pt>
                <c:pt idx="10338">
                  <c:v>245034</c:v>
                </c:pt>
                <c:pt idx="10339">
                  <c:v>245034</c:v>
                </c:pt>
                <c:pt idx="10340">
                  <c:v>245018</c:v>
                </c:pt>
                <c:pt idx="10341">
                  <c:v>245004</c:v>
                </c:pt>
                <c:pt idx="10342">
                  <c:v>244985</c:v>
                </c:pt>
                <c:pt idx="10343">
                  <c:v>244973</c:v>
                </c:pt>
                <c:pt idx="10344">
                  <c:v>244946</c:v>
                </c:pt>
                <c:pt idx="10345">
                  <c:v>244932</c:v>
                </c:pt>
                <c:pt idx="10346">
                  <c:v>244927</c:v>
                </c:pt>
                <c:pt idx="10347">
                  <c:v>244896</c:v>
                </c:pt>
                <c:pt idx="10348">
                  <c:v>244869</c:v>
                </c:pt>
                <c:pt idx="10349">
                  <c:v>244851</c:v>
                </c:pt>
                <c:pt idx="10350">
                  <c:v>244850</c:v>
                </c:pt>
                <c:pt idx="10351">
                  <c:v>244849</c:v>
                </c:pt>
                <c:pt idx="10352">
                  <c:v>244831</c:v>
                </c:pt>
                <c:pt idx="10353">
                  <c:v>244822</c:v>
                </c:pt>
                <c:pt idx="10354">
                  <c:v>244812</c:v>
                </c:pt>
                <c:pt idx="10355">
                  <c:v>244734</c:v>
                </c:pt>
                <c:pt idx="10356">
                  <c:v>244710</c:v>
                </c:pt>
                <c:pt idx="10357">
                  <c:v>244601</c:v>
                </c:pt>
                <c:pt idx="10358">
                  <c:v>244542</c:v>
                </c:pt>
                <c:pt idx="10359">
                  <c:v>244473</c:v>
                </c:pt>
                <c:pt idx="10360">
                  <c:v>244467</c:v>
                </c:pt>
                <c:pt idx="10361">
                  <c:v>244422</c:v>
                </c:pt>
                <c:pt idx="10362">
                  <c:v>244409</c:v>
                </c:pt>
                <c:pt idx="10363">
                  <c:v>244362</c:v>
                </c:pt>
                <c:pt idx="10364">
                  <c:v>244332</c:v>
                </c:pt>
                <c:pt idx="10365">
                  <c:v>244321</c:v>
                </c:pt>
                <c:pt idx="10366">
                  <c:v>244318</c:v>
                </c:pt>
                <c:pt idx="10367">
                  <c:v>244312</c:v>
                </c:pt>
                <c:pt idx="10368">
                  <c:v>244301</c:v>
                </c:pt>
                <c:pt idx="10369">
                  <c:v>244293</c:v>
                </c:pt>
                <c:pt idx="10370">
                  <c:v>244293</c:v>
                </c:pt>
                <c:pt idx="10371">
                  <c:v>244266</c:v>
                </c:pt>
                <c:pt idx="10372">
                  <c:v>244255</c:v>
                </c:pt>
                <c:pt idx="10373">
                  <c:v>244249</c:v>
                </c:pt>
                <c:pt idx="10374">
                  <c:v>244237</c:v>
                </c:pt>
                <c:pt idx="10375">
                  <c:v>244236</c:v>
                </c:pt>
                <c:pt idx="10376">
                  <c:v>244189</c:v>
                </c:pt>
                <c:pt idx="10377">
                  <c:v>244138</c:v>
                </c:pt>
                <c:pt idx="10378">
                  <c:v>244086</c:v>
                </c:pt>
                <c:pt idx="10379">
                  <c:v>244072</c:v>
                </c:pt>
                <c:pt idx="10380">
                  <c:v>244042</c:v>
                </c:pt>
                <c:pt idx="10381">
                  <c:v>243933</c:v>
                </c:pt>
                <c:pt idx="10382">
                  <c:v>243834</c:v>
                </c:pt>
                <c:pt idx="10383">
                  <c:v>243812</c:v>
                </c:pt>
                <c:pt idx="10384">
                  <c:v>243738</c:v>
                </c:pt>
                <c:pt idx="10385">
                  <c:v>243733</c:v>
                </c:pt>
                <c:pt idx="10386">
                  <c:v>243650</c:v>
                </c:pt>
                <c:pt idx="10387">
                  <c:v>243505</c:v>
                </c:pt>
                <c:pt idx="10388">
                  <c:v>243483</c:v>
                </c:pt>
                <c:pt idx="10389">
                  <c:v>243453</c:v>
                </c:pt>
                <c:pt idx="10390">
                  <c:v>243446</c:v>
                </c:pt>
                <c:pt idx="10391">
                  <c:v>243436</c:v>
                </c:pt>
                <c:pt idx="10392">
                  <c:v>243364</c:v>
                </c:pt>
                <c:pt idx="10393">
                  <c:v>243293</c:v>
                </c:pt>
                <c:pt idx="10394">
                  <c:v>243293</c:v>
                </c:pt>
                <c:pt idx="10395">
                  <c:v>243292</c:v>
                </c:pt>
                <c:pt idx="10396">
                  <c:v>243242</c:v>
                </c:pt>
                <c:pt idx="10397">
                  <c:v>243193</c:v>
                </c:pt>
                <c:pt idx="10398">
                  <c:v>243164</c:v>
                </c:pt>
                <c:pt idx="10399">
                  <c:v>243111</c:v>
                </c:pt>
                <c:pt idx="10400">
                  <c:v>243079</c:v>
                </c:pt>
                <c:pt idx="10401">
                  <c:v>243075</c:v>
                </c:pt>
                <c:pt idx="10402">
                  <c:v>243046</c:v>
                </c:pt>
                <c:pt idx="10403">
                  <c:v>242978</c:v>
                </c:pt>
                <c:pt idx="10404">
                  <c:v>242916</c:v>
                </c:pt>
                <c:pt idx="10405">
                  <c:v>242902</c:v>
                </c:pt>
                <c:pt idx="10406">
                  <c:v>242869</c:v>
                </c:pt>
                <c:pt idx="10407">
                  <c:v>242865</c:v>
                </c:pt>
                <c:pt idx="10408">
                  <c:v>242841</c:v>
                </c:pt>
                <c:pt idx="10409">
                  <c:v>242773</c:v>
                </c:pt>
                <c:pt idx="10410">
                  <c:v>242766</c:v>
                </c:pt>
                <c:pt idx="10411">
                  <c:v>242765</c:v>
                </c:pt>
                <c:pt idx="10412">
                  <c:v>242746</c:v>
                </c:pt>
                <c:pt idx="10413">
                  <c:v>242734</c:v>
                </c:pt>
                <c:pt idx="10414">
                  <c:v>242710</c:v>
                </c:pt>
                <c:pt idx="10415">
                  <c:v>242692</c:v>
                </c:pt>
                <c:pt idx="10416">
                  <c:v>242626</c:v>
                </c:pt>
                <c:pt idx="10417">
                  <c:v>242538</c:v>
                </c:pt>
                <c:pt idx="10418">
                  <c:v>242535</c:v>
                </c:pt>
                <c:pt idx="10419">
                  <c:v>242533</c:v>
                </c:pt>
                <c:pt idx="10420">
                  <c:v>242464</c:v>
                </c:pt>
                <c:pt idx="10421">
                  <c:v>242455</c:v>
                </c:pt>
                <c:pt idx="10422">
                  <c:v>242410</c:v>
                </c:pt>
                <c:pt idx="10423">
                  <c:v>242344</c:v>
                </c:pt>
                <c:pt idx="10424">
                  <c:v>242315</c:v>
                </c:pt>
                <c:pt idx="10425">
                  <c:v>242314</c:v>
                </c:pt>
                <c:pt idx="10426">
                  <c:v>242287</c:v>
                </c:pt>
                <c:pt idx="10427">
                  <c:v>242220</c:v>
                </c:pt>
                <c:pt idx="10428">
                  <c:v>242205</c:v>
                </c:pt>
                <c:pt idx="10429">
                  <c:v>242190</c:v>
                </c:pt>
                <c:pt idx="10430">
                  <c:v>242186</c:v>
                </c:pt>
                <c:pt idx="10431">
                  <c:v>242161</c:v>
                </c:pt>
                <c:pt idx="10432">
                  <c:v>242124</c:v>
                </c:pt>
                <c:pt idx="10433">
                  <c:v>242082</c:v>
                </c:pt>
                <c:pt idx="10434">
                  <c:v>242026</c:v>
                </c:pt>
                <c:pt idx="10435">
                  <c:v>241980</c:v>
                </c:pt>
                <c:pt idx="10436">
                  <c:v>241921</c:v>
                </c:pt>
                <c:pt idx="10437">
                  <c:v>241908</c:v>
                </c:pt>
                <c:pt idx="10438">
                  <c:v>241872</c:v>
                </c:pt>
                <c:pt idx="10439">
                  <c:v>241802</c:v>
                </c:pt>
                <c:pt idx="10440">
                  <c:v>241763</c:v>
                </c:pt>
                <c:pt idx="10441">
                  <c:v>241760</c:v>
                </c:pt>
                <c:pt idx="10442">
                  <c:v>241718</c:v>
                </c:pt>
                <c:pt idx="10443">
                  <c:v>241694</c:v>
                </c:pt>
                <c:pt idx="10444">
                  <c:v>241656</c:v>
                </c:pt>
                <c:pt idx="10445">
                  <c:v>241556</c:v>
                </c:pt>
                <c:pt idx="10446">
                  <c:v>241549</c:v>
                </c:pt>
                <c:pt idx="10447">
                  <c:v>241472</c:v>
                </c:pt>
                <c:pt idx="10448">
                  <c:v>241450</c:v>
                </c:pt>
                <c:pt idx="10449">
                  <c:v>241421</c:v>
                </c:pt>
                <c:pt idx="10450">
                  <c:v>241344</c:v>
                </c:pt>
                <c:pt idx="10451">
                  <c:v>241326</c:v>
                </c:pt>
                <c:pt idx="10452">
                  <c:v>241290</c:v>
                </c:pt>
                <c:pt idx="10453">
                  <c:v>241270</c:v>
                </c:pt>
                <c:pt idx="10454">
                  <c:v>241250</c:v>
                </c:pt>
                <c:pt idx="10455">
                  <c:v>241220</c:v>
                </c:pt>
                <c:pt idx="10456">
                  <c:v>241164</c:v>
                </c:pt>
                <c:pt idx="10457">
                  <c:v>241076</c:v>
                </c:pt>
                <c:pt idx="10458">
                  <c:v>241070</c:v>
                </c:pt>
                <c:pt idx="10459">
                  <c:v>241001</c:v>
                </c:pt>
                <c:pt idx="10460">
                  <c:v>240988</c:v>
                </c:pt>
                <c:pt idx="10461">
                  <c:v>240970</c:v>
                </c:pt>
                <c:pt idx="10462">
                  <c:v>240938</c:v>
                </c:pt>
                <c:pt idx="10463">
                  <c:v>240902</c:v>
                </c:pt>
                <c:pt idx="10464">
                  <c:v>240817</c:v>
                </c:pt>
                <c:pt idx="10465">
                  <c:v>240811</c:v>
                </c:pt>
                <c:pt idx="10466">
                  <c:v>240784</c:v>
                </c:pt>
                <c:pt idx="10467">
                  <c:v>240782</c:v>
                </c:pt>
                <c:pt idx="10468">
                  <c:v>240768</c:v>
                </c:pt>
                <c:pt idx="10469">
                  <c:v>240753</c:v>
                </c:pt>
                <c:pt idx="10470">
                  <c:v>240748</c:v>
                </c:pt>
                <c:pt idx="10471">
                  <c:v>240745</c:v>
                </c:pt>
                <c:pt idx="10472">
                  <c:v>240681</c:v>
                </c:pt>
                <c:pt idx="10473">
                  <c:v>240673</c:v>
                </c:pt>
                <c:pt idx="10474">
                  <c:v>240658</c:v>
                </c:pt>
                <c:pt idx="10475">
                  <c:v>240628</c:v>
                </c:pt>
                <c:pt idx="10476">
                  <c:v>240628</c:v>
                </c:pt>
                <c:pt idx="10477">
                  <c:v>240609</c:v>
                </c:pt>
                <c:pt idx="10478">
                  <c:v>240580</c:v>
                </c:pt>
                <c:pt idx="10479">
                  <c:v>240494</c:v>
                </c:pt>
                <c:pt idx="10480">
                  <c:v>240488</c:v>
                </c:pt>
                <c:pt idx="10481">
                  <c:v>240474</c:v>
                </c:pt>
                <c:pt idx="10482">
                  <c:v>240402</c:v>
                </c:pt>
                <c:pt idx="10483">
                  <c:v>240392</c:v>
                </c:pt>
                <c:pt idx="10484">
                  <c:v>240372</c:v>
                </c:pt>
                <c:pt idx="10485">
                  <c:v>240344</c:v>
                </c:pt>
                <c:pt idx="10486">
                  <c:v>240344</c:v>
                </c:pt>
                <c:pt idx="10487">
                  <c:v>240338</c:v>
                </c:pt>
                <c:pt idx="10488">
                  <c:v>240259</c:v>
                </c:pt>
                <c:pt idx="10489">
                  <c:v>240259</c:v>
                </c:pt>
                <c:pt idx="10490">
                  <c:v>240150</c:v>
                </c:pt>
                <c:pt idx="10491">
                  <c:v>240148</c:v>
                </c:pt>
                <c:pt idx="10492">
                  <c:v>240134</c:v>
                </c:pt>
                <c:pt idx="10493">
                  <c:v>240078</c:v>
                </c:pt>
                <c:pt idx="10494">
                  <c:v>240068</c:v>
                </c:pt>
                <c:pt idx="10495">
                  <c:v>240048</c:v>
                </c:pt>
                <c:pt idx="10496">
                  <c:v>239965</c:v>
                </c:pt>
                <c:pt idx="10497">
                  <c:v>239951</c:v>
                </c:pt>
                <c:pt idx="10498">
                  <c:v>239832</c:v>
                </c:pt>
                <c:pt idx="10499">
                  <c:v>239752</c:v>
                </c:pt>
                <c:pt idx="10500">
                  <c:v>239657</c:v>
                </c:pt>
                <c:pt idx="10501">
                  <c:v>239376</c:v>
                </c:pt>
                <c:pt idx="10502">
                  <c:v>239165</c:v>
                </c:pt>
                <c:pt idx="10503">
                  <c:v>239159</c:v>
                </c:pt>
                <c:pt idx="10504">
                  <c:v>239088</c:v>
                </c:pt>
                <c:pt idx="10505">
                  <c:v>239064</c:v>
                </c:pt>
                <c:pt idx="10506">
                  <c:v>239057</c:v>
                </c:pt>
                <c:pt idx="10507">
                  <c:v>239002</c:v>
                </c:pt>
                <c:pt idx="10508">
                  <c:v>238944</c:v>
                </c:pt>
                <c:pt idx="10509">
                  <c:v>238795</c:v>
                </c:pt>
                <c:pt idx="10510">
                  <c:v>238704</c:v>
                </c:pt>
                <c:pt idx="10511">
                  <c:v>238663</c:v>
                </c:pt>
                <c:pt idx="10512">
                  <c:v>238625</c:v>
                </c:pt>
                <c:pt idx="10513">
                  <c:v>238575</c:v>
                </c:pt>
                <c:pt idx="10514">
                  <c:v>238539</c:v>
                </c:pt>
                <c:pt idx="10515">
                  <c:v>238480</c:v>
                </c:pt>
                <c:pt idx="10516">
                  <c:v>238396</c:v>
                </c:pt>
                <c:pt idx="10517">
                  <c:v>238307</c:v>
                </c:pt>
                <c:pt idx="10518">
                  <c:v>238267</c:v>
                </c:pt>
                <c:pt idx="10519">
                  <c:v>238252</c:v>
                </c:pt>
                <c:pt idx="10520">
                  <c:v>238248</c:v>
                </c:pt>
                <c:pt idx="10521">
                  <c:v>238126</c:v>
                </c:pt>
                <c:pt idx="10522">
                  <c:v>238113</c:v>
                </c:pt>
                <c:pt idx="10523">
                  <c:v>238101</c:v>
                </c:pt>
                <c:pt idx="10524">
                  <c:v>237929</c:v>
                </c:pt>
                <c:pt idx="10525">
                  <c:v>237924</c:v>
                </c:pt>
                <c:pt idx="10526">
                  <c:v>237857</c:v>
                </c:pt>
                <c:pt idx="10527">
                  <c:v>237763</c:v>
                </c:pt>
                <c:pt idx="10528">
                  <c:v>237665</c:v>
                </c:pt>
                <c:pt idx="10529">
                  <c:v>237640</c:v>
                </c:pt>
                <c:pt idx="10530">
                  <c:v>237638</c:v>
                </c:pt>
                <c:pt idx="10531">
                  <c:v>237591</c:v>
                </c:pt>
                <c:pt idx="10532">
                  <c:v>237428</c:v>
                </c:pt>
                <c:pt idx="10533">
                  <c:v>237388</c:v>
                </c:pt>
                <c:pt idx="10534">
                  <c:v>237323</c:v>
                </c:pt>
                <c:pt idx="10535">
                  <c:v>237299</c:v>
                </c:pt>
                <c:pt idx="10536">
                  <c:v>237252</c:v>
                </c:pt>
                <c:pt idx="10537">
                  <c:v>237238</c:v>
                </c:pt>
                <c:pt idx="10538">
                  <c:v>237206</c:v>
                </c:pt>
                <c:pt idx="10539">
                  <c:v>237182</c:v>
                </c:pt>
                <c:pt idx="10540">
                  <c:v>237147</c:v>
                </c:pt>
                <c:pt idx="10541">
                  <c:v>237078</c:v>
                </c:pt>
                <c:pt idx="10542">
                  <c:v>237005</c:v>
                </c:pt>
                <c:pt idx="10543">
                  <c:v>237005</c:v>
                </c:pt>
                <c:pt idx="10544">
                  <c:v>236738</c:v>
                </c:pt>
                <c:pt idx="10545">
                  <c:v>236638</c:v>
                </c:pt>
                <c:pt idx="10546">
                  <c:v>236637</c:v>
                </c:pt>
                <c:pt idx="10547">
                  <c:v>236632</c:v>
                </c:pt>
                <c:pt idx="10548">
                  <c:v>236575</c:v>
                </c:pt>
                <c:pt idx="10549">
                  <c:v>236563</c:v>
                </c:pt>
                <c:pt idx="10550">
                  <c:v>236531</c:v>
                </c:pt>
                <c:pt idx="10551">
                  <c:v>236472</c:v>
                </c:pt>
                <c:pt idx="10552">
                  <c:v>236406</c:v>
                </c:pt>
                <c:pt idx="10553">
                  <c:v>236398</c:v>
                </c:pt>
                <c:pt idx="10554">
                  <c:v>236397</c:v>
                </c:pt>
                <c:pt idx="10555">
                  <c:v>236394</c:v>
                </c:pt>
                <c:pt idx="10556">
                  <c:v>236302</c:v>
                </c:pt>
                <c:pt idx="10557">
                  <c:v>236297</c:v>
                </c:pt>
                <c:pt idx="10558">
                  <c:v>236207</c:v>
                </c:pt>
                <c:pt idx="10559">
                  <c:v>236179</c:v>
                </c:pt>
                <c:pt idx="10560">
                  <c:v>236140</c:v>
                </c:pt>
                <c:pt idx="10561">
                  <c:v>236138</c:v>
                </c:pt>
                <c:pt idx="10562">
                  <c:v>236135</c:v>
                </c:pt>
                <c:pt idx="10563">
                  <c:v>236069</c:v>
                </c:pt>
                <c:pt idx="10564">
                  <c:v>236058</c:v>
                </c:pt>
                <c:pt idx="10565">
                  <c:v>235915</c:v>
                </c:pt>
                <c:pt idx="10566">
                  <c:v>235898</c:v>
                </c:pt>
                <c:pt idx="10567">
                  <c:v>235897</c:v>
                </c:pt>
                <c:pt idx="10568">
                  <c:v>235828</c:v>
                </c:pt>
                <c:pt idx="10569">
                  <c:v>235778</c:v>
                </c:pt>
                <c:pt idx="10570">
                  <c:v>235613</c:v>
                </c:pt>
                <c:pt idx="10571">
                  <c:v>235598</c:v>
                </c:pt>
                <c:pt idx="10572">
                  <c:v>235559</c:v>
                </c:pt>
                <c:pt idx="10573">
                  <c:v>235547</c:v>
                </c:pt>
                <c:pt idx="10574">
                  <c:v>235536</c:v>
                </c:pt>
                <c:pt idx="10575">
                  <c:v>235534</c:v>
                </c:pt>
                <c:pt idx="10576">
                  <c:v>235513</c:v>
                </c:pt>
                <c:pt idx="10577">
                  <c:v>235504</c:v>
                </c:pt>
                <c:pt idx="10578">
                  <c:v>235473</c:v>
                </c:pt>
                <c:pt idx="10579">
                  <c:v>235471</c:v>
                </c:pt>
                <c:pt idx="10580">
                  <c:v>235428</c:v>
                </c:pt>
                <c:pt idx="10581">
                  <c:v>235413</c:v>
                </c:pt>
                <c:pt idx="10582">
                  <c:v>235385</c:v>
                </c:pt>
                <c:pt idx="10583">
                  <c:v>235344</c:v>
                </c:pt>
                <c:pt idx="10584">
                  <c:v>235314</c:v>
                </c:pt>
                <c:pt idx="10585">
                  <c:v>235226</c:v>
                </c:pt>
                <c:pt idx="10586">
                  <c:v>235085</c:v>
                </c:pt>
                <c:pt idx="10587">
                  <c:v>235009</c:v>
                </c:pt>
                <c:pt idx="10588">
                  <c:v>234950</c:v>
                </c:pt>
                <c:pt idx="10589">
                  <c:v>234934</c:v>
                </c:pt>
                <c:pt idx="10590">
                  <c:v>234907</c:v>
                </c:pt>
                <c:pt idx="10591">
                  <c:v>234885</c:v>
                </c:pt>
                <c:pt idx="10592">
                  <c:v>234851</c:v>
                </c:pt>
                <c:pt idx="10593">
                  <c:v>234838</c:v>
                </c:pt>
                <c:pt idx="10594">
                  <c:v>234763</c:v>
                </c:pt>
                <c:pt idx="10595">
                  <c:v>234659</c:v>
                </c:pt>
                <c:pt idx="10596">
                  <c:v>234631</c:v>
                </c:pt>
                <c:pt idx="10597">
                  <c:v>234499</c:v>
                </c:pt>
                <c:pt idx="10598">
                  <c:v>234404</c:v>
                </c:pt>
                <c:pt idx="10599">
                  <c:v>234402</c:v>
                </c:pt>
                <c:pt idx="10600">
                  <c:v>234061</c:v>
                </c:pt>
                <c:pt idx="10601">
                  <c:v>234026</c:v>
                </c:pt>
                <c:pt idx="10602">
                  <c:v>234024</c:v>
                </c:pt>
                <c:pt idx="10603">
                  <c:v>233989</c:v>
                </c:pt>
                <c:pt idx="10604">
                  <c:v>233979</c:v>
                </c:pt>
                <c:pt idx="10605">
                  <c:v>233909</c:v>
                </c:pt>
                <c:pt idx="10606">
                  <c:v>233613</c:v>
                </c:pt>
                <c:pt idx="10607">
                  <c:v>233483</c:v>
                </c:pt>
                <c:pt idx="10608">
                  <c:v>233421</c:v>
                </c:pt>
                <c:pt idx="10609">
                  <c:v>233360</c:v>
                </c:pt>
                <c:pt idx="10610">
                  <c:v>233343</c:v>
                </c:pt>
                <c:pt idx="10611">
                  <c:v>233339</c:v>
                </c:pt>
                <c:pt idx="10612">
                  <c:v>233324</c:v>
                </c:pt>
                <c:pt idx="10613">
                  <c:v>233312</c:v>
                </c:pt>
                <c:pt idx="10614">
                  <c:v>233252</c:v>
                </c:pt>
                <c:pt idx="10615">
                  <c:v>233228</c:v>
                </c:pt>
                <c:pt idx="10616">
                  <c:v>233053</c:v>
                </c:pt>
                <c:pt idx="10617">
                  <c:v>233025</c:v>
                </c:pt>
                <c:pt idx="10618">
                  <c:v>233017</c:v>
                </c:pt>
                <c:pt idx="10619">
                  <c:v>232989</c:v>
                </c:pt>
                <c:pt idx="10620">
                  <c:v>232971</c:v>
                </c:pt>
                <c:pt idx="10621">
                  <c:v>232900</c:v>
                </c:pt>
                <c:pt idx="10622">
                  <c:v>232889</c:v>
                </c:pt>
                <c:pt idx="10623">
                  <c:v>232829</c:v>
                </c:pt>
                <c:pt idx="10624">
                  <c:v>232798</c:v>
                </c:pt>
                <c:pt idx="10625">
                  <c:v>232734</c:v>
                </c:pt>
                <c:pt idx="10626">
                  <c:v>232696</c:v>
                </c:pt>
                <c:pt idx="10627">
                  <c:v>232495</c:v>
                </c:pt>
                <c:pt idx="10628">
                  <c:v>232479</c:v>
                </c:pt>
                <c:pt idx="10629">
                  <c:v>232345</c:v>
                </c:pt>
                <c:pt idx="10630">
                  <c:v>232299</c:v>
                </c:pt>
                <c:pt idx="10631">
                  <c:v>232260</c:v>
                </c:pt>
                <c:pt idx="10632">
                  <c:v>232139</c:v>
                </c:pt>
                <c:pt idx="10633">
                  <c:v>231896</c:v>
                </c:pt>
                <c:pt idx="10634">
                  <c:v>231812</c:v>
                </c:pt>
                <c:pt idx="10635">
                  <c:v>231805</c:v>
                </c:pt>
                <c:pt idx="10636">
                  <c:v>231794</c:v>
                </c:pt>
                <c:pt idx="10637">
                  <c:v>231712</c:v>
                </c:pt>
                <c:pt idx="10638">
                  <c:v>231639</c:v>
                </c:pt>
                <c:pt idx="10639">
                  <c:v>231420</c:v>
                </c:pt>
                <c:pt idx="10640">
                  <c:v>231352</c:v>
                </c:pt>
                <c:pt idx="10641">
                  <c:v>231278</c:v>
                </c:pt>
                <c:pt idx="10642">
                  <c:v>231167</c:v>
                </c:pt>
                <c:pt idx="10643">
                  <c:v>231166</c:v>
                </c:pt>
                <c:pt idx="10644">
                  <c:v>231053</c:v>
                </c:pt>
                <c:pt idx="10645">
                  <c:v>230987</c:v>
                </c:pt>
                <c:pt idx="10646">
                  <c:v>230738</c:v>
                </c:pt>
                <c:pt idx="10647">
                  <c:v>230606</c:v>
                </c:pt>
                <c:pt idx="10648">
                  <c:v>230524</c:v>
                </c:pt>
                <c:pt idx="10649">
                  <c:v>230390</c:v>
                </c:pt>
                <c:pt idx="10650">
                  <c:v>230306</c:v>
                </c:pt>
                <c:pt idx="10651">
                  <c:v>230218</c:v>
                </c:pt>
                <c:pt idx="10652">
                  <c:v>230196</c:v>
                </c:pt>
                <c:pt idx="10653">
                  <c:v>230023</c:v>
                </c:pt>
                <c:pt idx="10654">
                  <c:v>229991</c:v>
                </c:pt>
                <c:pt idx="10655">
                  <c:v>229827</c:v>
                </c:pt>
                <c:pt idx="10656">
                  <c:v>229796</c:v>
                </c:pt>
                <c:pt idx="10657">
                  <c:v>229769</c:v>
                </c:pt>
                <c:pt idx="10658">
                  <c:v>229735</c:v>
                </c:pt>
                <c:pt idx="10659">
                  <c:v>229716</c:v>
                </c:pt>
                <c:pt idx="10660">
                  <c:v>229640</c:v>
                </c:pt>
                <c:pt idx="10661">
                  <c:v>229611</c:v>
                </c:pt>
                <c:pt idx="10662">
                  <c:v>229606</c:v>
                </c:pt>
                <c:pt idx="10663">
                  <c:v>229509</c:v>
                </c:pt>
                <c:pt idx="10664">
                  <c:v>229481</c:v>
                </c:pt>
                <c:pt idx="10665">
                  <c:v>229453</c:v>
                </c:pt>
                <c:pt idx="10666">
                  <c:v>229420</c:v>
                </c:pt>
                <c:pt idx="10667">
                  <c:v>229158</c:v>
                </c:pt>
                <c:pt idx="10668">
                  <c:v>229142</c:v>
                </c:pt>
                <c:pt idx="10669">
                  <c:v>229117</c:v>
                </c:pt>
                <c:pt idx="10670">
                  <c:v>229049</c:v>
                </c:pt>
                <c:pt idx="10671">
                  <c:v>228875</c:v>
                </c:pt>
                <c:pt idx="10672">
                  <c:v>228700</c:v>
                </c:pt>
                <c:pt idx="10673">
                  <c:v>228693</c:v>
                </c:pt>
                <c:pt idx="10674">
                  <c:v>228648</c:v>
                </c:pt>
                <c:pt idx="10675">
                  <c:v>228462</c:v>
                </c:pt>
                <c:pt idx="10676">
                  <c:v>228319</c:v>
                </c:pt>
                <c:pt idx="10677">
                  <c:v>228191</c:v>
                </c:pt>
                <c:pt idx="10678">
                  <c:v>228179</c:v>
                </c:pt>
                <c:pt idx="10679">
                  <c:v>227873</c:v>
                </c:pt>
                <c:pt idx="10680">
                  <c:v>227794</c:v>
                </c:pt>
                <c:pt idx="10681">
                  <c:v>227681</c:v>
                </c:pt>
                <c:pt idx="10682">
                  <c:v>226989</c:v>
                </c:pt>
                <c:pt idx="10683">
                  <c:v>226974</c:v>
                </c:pt>
                <c:pt idx="10684">
                  <c:v>226904</c:v>
                </c:pt>
                <c:pt idx="10685">
                  <c:v>226749</c:v>
                </c:pt>
                <c:pt idx="10686">
                  <c:v>226712</c:v>
                </c:pt>
                <c:pt idx="10687">
                  <c:v>226583</c:v>
                </c:pt>
                <c:pt idx="10688">
                  <c:v>226484</c:v>
                </c:pt>
                <c:pt idx="10689">
                  <c:v>226192</c:v>
                </c:pt>
                <c:pt idx="10690">
                  <c:v>226146</c:v>
                </c:pt>
                <c:pt idx="10691">
                  <c:v>226037</c:v>
                </c:pt>
                <c:pt idx="10692">
                  <c:v>225996</c:v>
                </c:pt>
                <c:pt idx="10693">
                  <c:v>225979</c:v>
                </c:pt>
                <c:pt idx="10694">
                  <c:v>225933</c:v>
                </c:pt>
                <c:pt idx="10695">
                  <c:v>225897</c:v>
                </c:pt>
                <c:pt idx="10696">
                  <c:v>225895</c:v>
                </c:pt>
                <c:pt idx="10697">
                  <c:v>225757</c:v>
                </c:pt>
                <c:pt idx="10698">
                  <c:v>225712</c:v>
                </c:pt>
                <c:pt idx="10699">
                  <c:v>225581</c:v>
                </c:pt>
                <c:pt idx="10700">
                  <c:v>225446</c:v>
                </c:pt>
                <c:pt idx="10701">
                  <c:v>225391</c:v>
                </c:pt>
                <c:pt idx="10702">
                  <c:v>225304</c:v>
                </c:pt>
                <c:pt idx="10703">
                  <c:v>225286</c:v>
                </c:pt>
                <c:pt idx="10704">
                  <c:v>225245</c:v>
                </c:pt>
                <c:pt idx="10705">
                  <c:v>225148</c:v>
                </c:pt>
                <c:pt idx="10706">
                  <c:v>224997</c:v>
                </c:pt>
                <c:pt idx="10707">
                  <c:v>224632</c:v>
                </c:pt>
                <c:pt idx="10708">
                  <c:v>224470</c:v>
                </c:pt>
                <c:pt idx="10709">
                  <c:v>224253</c:v>
                </c:pt>
                <c:pt idx="10710">
                  <c:v>223998</c:v>
                </c:pt>
                <c:pt idx="10711">
                  <c:v>223921</c:v>
                </c:pt>
                <c:pt idx="10712">
                  <c:v>223586</c:v>
                </c:pt>
                <c:pt idx="10713">
                  <c:v>223531</c:v>
                </c:pt>
                <c:pt idx="10714">
                  <c:v>223327</c:v>
                </c:pt>
                <c:pt idx="10715">
                  <c:v>223299</c:v>
                </c:pt>
                <c:pt idx="10716">
                  <c:v>223235</c:v>
                </c:pt>
                <c:pt idx="10717">
                  <c:v>222950</c:v>
                </c:pt>
                <c:pt idx="10718">
                  <c:v>222880</c:v>
                </c:pt>
                <c:pt idx="10719">
                  <c:v>222871</c:v>
                </c:pt>
                <c:pt idx="10720">
                  <c:v>222692</c:v>
                </c:pt>
                <c:pt idx="10721">
                  <c:v>222343</c:v>
                </c:pt>
                <c:pt idx="10722">
                  <c:v>222326</c:v>
                </c:pt>
                <c:pt idx="10723">
                  <c:v>222249</c:v>
                </c:pt>
                <c:pt idx="10724">
                  <c:v>222220</c:v>
                </c:pt>
                <c:pt idx="10725">
                  <c:v>222114</c:v>
                </c:pt>
                <c:pt idx="10726">
                  <c:v>221940</c:v>
                </c:pt>
                <c:pt idx="10727">
                  <c:v>221903</c:v>
                </c:pt>
                <c:pt idx="10728">
                  <c:v>221761</c:v>
                </c:pt>
                <c:pt idx="10729">
                  <c:v>221516</c:v>
                </c:pt>
                <c:pt idx="10730">
                  <c:v>221467</c:v>
                </c:pt>
                <c:pt idx="10731">
                  <c:v>221388</c:v>
                </c:pt>
                <c:pt idx="10732">
                  <c:v>221276</c:v>
                </c:pt>
                <c:pt idx="10733">
                  <c:v>221169</c:v>
                </c:pt>
                <c:pt idx="10734">
                  <c:v>220904</c:v>
                </c:pt>
                <c:pt idx="10735">
                  <c:v>220836</c:v>
                </c:pt>
                <c:pt idx="10736">
                  <c:v>220108</c:v>
                </c:pt>
                <c:pt idx="10737">
                  <c:v>219973</c:v>
                </c:pt>
                <c:pt idx="10738">
                  <c:v>219881</c:v>
                </c:pt>
                <c:pt idx="10739">
                  <c:v>219751</c:v>
                </c:pt>
                <c:pt idx="10740">
                  <c:v>219655</c:v>
                </c:pt>
                <c:pt idx="10741">
                  <c:v>219464</c:v>
                </c:pt>
                <c:pt idx="10742">
                  <c:v>219446</c:v>
                </c:pt>
                <c:pt idx="10743">
                  <c:v>219407</c:v>
                </c:pt>
                <c:pt idx="10744">
                  <c:v>219281</c:v>
                </c:pt>
                <c:pt idx="10745">
                  <c:v>219269</c:v>
                </c:pt>
                <c:pt idx="10746">
                  <c:v>219094</c:v>
                </c:pt>
                <c:pt idx="10747">
                  <c:v>219076</c:v>
                </c:pt>
                <c:pt idx="10748">
                  <c:v>219017</c:v>
                </c:pt>
                <c:pt idx="10749">
                  <c:v>218864</c:v>
                </c:pt>
                <c:pt idx="10750">
                  <c:v>218176</c:v>
                </c:pt>
                <c:pt idx="10751">
                  <c:v>217719</c:v>
                </c:pt>
                <c:pt idx="10752">
                  <c:v>217140</c:v>
                </c:pt>
                <c:pt idx="10753">
                  <c:v>216856</c:v>
                </c:pt>
                <c:pt idx="10754">
                  <c:v>216785</c:v>
                </c:pt>
                <c:pt idx="10755">
                  <c:v>216760</c:v>
                </c:pt>
                <c:pt idx="10756">
                  <c:v>216251</c:v>
                </c:pt>
                <c:pt idx="10757">
                  <c:v>216082</c:v>
                </c:pt>
                <c:pt idx="10758">
                  <c:v>215784</c:v>
                </c:pt>
                <c:pt idx="10759">
                  <c:v>215771</c:v>
                </c:pt>
                <c:pt idx="10760">
                  <c:v>215151</c:v>
                </c:pt>
                <c:pt idx="10761">
                  <c:v>214844</c:v>
                </c:pt>
                <c:pt idx="10762">
                  <c:v>214071</c:v>
                </c:pt>
                <c:pt idx="10763">
                  <c:v>213603</c:v>
                </c:pt>
                <c:pt idx="10764">
                  <c:v>213546</c:v>
                </c:pt>
                <c:pt idx="10765">
                  <c:v>213193</c:v>
                </c:pt>
                <c:pt idx="10766">
                  <c:v>213153</c:v>
                </c:pt>
                <c:pt idx="10767">
                  <c:v>213000</c:v>
                </c:pt>
                <c:pt idx="10768">
                  <c:v>212958</c:v>
                </c:pt>
                <c:pt idx="10769">
                  <c:v>212875</c:v>
                </c:pt>
                <c:pt idx="10770">
                  <c:v>212860</c:v>
                </c:pt>
                <c:pt idx="10771">
                  <c:v>212055</c:v>
                </c:pt>
                <c:pt idx="10772">
                  <c:v>212043</c:v>
                </c:pt>
                <c:pt idx="10773">
                  <c:v>211585</c:v>
                </c:pt>
                <c:pt idx="10774">
                  <c:v>211281</c:v>
                </c:pt>
                <c:pt idx="10775">
                  <c:v>211020</c:v>
                </c:pt>
                <c:pt idx="10776">
                  <c:v>210551</c:v>
                </c:pt>
                <c:pt idx="10777">
                  <c:v>209154</c:v>
                </c:pt>
                <c:pt idx="10778">
                  <c:v>206515</c:v>
                </c:pt>
                <c:pt idx="10779">
                  <c:v>206478</c:v>
                </c:pt>
                <c:pt idx="10780">
                  <c:v>206227</c:v>
                </c:pt>
                <c:pt idx="10781">
                  <c:v>206148</c:v>
                </c:pt>
                <c:pt idx="10782">
                  <c:v>206061</c:v>
                </c:pt>
                <c:pt idx="10783">
                  <c:v>205767</c:v>
                </c:pt>
                <c:pt idx="10784">
                  <c:v>205592</c:v>
                </c:pt>
                <c:pt idx="10785">
                  <c:v>205403</c:v>
                </c:pt>
                <c:pt idx="10786">
                  <c:v>205072</c:v>
                </c:pt>
                <c:pt idx="10787">
                  <c:v>205031</c:v>
                </c:pt>
                <c:pt idx="10788">
                  <c:v>204543</c:v>
                </c:pt>
                <c:pt idx="10789">
                  <c:v>204399</c:v>
                </c:pt>
                <c:pt idx="10790">
                  <c:v>204217</c:v>
                </c:pt>
                <c:pt idx="10791">
                  <c:v>203914</c:v>
                </c:pt>
                <c:pt idx="10792">
                  <c:v>203835</c:v>
                </c:pt>
                <c:pt idx="10793">
                  <c:v>203685</c:v>
                </c:pt>
                <c:pt idx="10794">
                  <c:v>203587</c:v>
                </c:pt>
                <c:pt idx="10795">
                  <c:v>203528</c:v>
                </c:pt>
                <c:pt idx="10796">
                  <c:v>203432</c:v>
                </c:pt>
                <c:pt idx="10797">
                  <c:v>202965</c:v>
                </c:pt>
                <c:pt idx="10798">
                  <c:v>202871</c:v>
                </c:pt>
                <c:pt idx="10799">
                  <c:v>202340</c:v>
                </c:pt>
                <c:pt idx="10800">
                  <c:v>202331</c:v>
                </c:pt>
                <c:pt idx="10801">
                  <c:v>202323</c:v>
                </c:pt>
                <c:pt idx="10802">
                  <c:v>201688</c:v>
                </c:pt>
                <c:pt idx="10803">
                  <c:v>200869</c:v>
                </c:pt>
                <c:pt idx="10804">
                  <c:v>200858</c:v>
                </c:pt>
                <c:pt idx="10805">
                  <c:v>199883</c:v>
                </c:pt>
                <c:pt idx="10806">
                  <c:v>199165</c:v>
                </c:pt>
                <c:pt idx="10807">
                  <c:v>198496</c:v>
                </c:pt>
                <c:pt idx="10808">
                  <c:v>198434</c:v>
                </c:pt>
                <c:pt idx="10809">
                  <c:v>198130</c:v>
                </c:pt>
                <c:pt idx="10810">
                  <c:v>197875</c:v>
                </c:pt>
                <c:pt idx="10811">
                  <c:v>197873</c:v>
                </c:pt>
                <c:pt idx="10812">
                  <c:v>197846</c:v>
                </c:pt>
                <c:pt idx="10813">
                  <c:v>197239</c:v>
                </c:pt>
                <c:pt idx="10814">
                  <c:v>197057</c:v>
                </c:pt>
                <c:pt idx="10815">
                  <c:v>196881</c:v>
                </c:pt>
                <c:pt idx="10816">
                  <c:v>196624</c:v>
                </c:pt>
                <c:pt idx="10817">
                  <c:v>196113</c:v>
                </c:pt>
                <c:pt idx="10818">
                  <c:v>195547</c:v>
                </c:pt>
                <c:pt idx="10819">
                  <c:v>194918</c:v>
                </c:pt>
                <c:pt idx="10820">
                  <c:v>194906</c:v>
                </c:pt>
                <c:pt idx="10821">
                  <c:v>194729</c:v>
                </c:pt>
                <c:pt idx="10822">
                  <c:v>194427</c:v>
                </c:pt>
                <c:pt idx="10823">
                  <c:v>194311</c:v>
                </c:pt>
                <c:pt idx="10824">
                  <c:v>194272</c:v>
                </c:pt>
                <c:pt idx="10825">
                  <c:v>194271</c:v>
                </c:pt>
                <c:pt idx="10826">
                  <c:v>193989</c:v>
                </c:pt>
                <c:pt idx="10827">
                  <c:v>193941</c:v>
                </c:pt>
                <c:pt idx="10828">
                  <c:v>193908</c:v>
                </c:pt>
                <c:pt idx="10829">
                  <c:v>193855</c:v>
                </c:pt>
                <c:pt idx="10830">
                  <c:v>193819</c:v>
                </c:pt>
                <c:pt idx="10831">
                  <c:v>193491</c:v>
                </c:pt>
                <c:pt idx="10832">
                  <c:v>193488</c:v>
                </c:pt>
                <c:pt idx="10833">
                  <c:v>193440</c:v>
                </c:pt>
                <c:pt idx="10834">
                  <c:v>193417</c:v>
                </c:pt>
                <c:pt idx="10835">
                  <c:v>193290</c:v>
                </c:pt>
                <c:pt idx="10836">
                  <c:v>193273</c:v>
                </c:pt>
                <c:pt idx="10837">
                  <c:v>193253</c:v>
                </c:pt>
                <c:pt idx="10838">
                  <c:v>193240</c:v>
                </c:pt>
                <c:pt idx="10839">
                  <c:v>193234</c:v>
                </c:pt>
                <c:pt idx="10840">
                  <c:v>192970</c:v>
                </c:pt>
                <c:pt idx="10841">
                  <c:v>192762</c:v>
                </c:pt>
                <c:pt idx="10842">
                  <c:v>192571</c:v>
                </c:pt>
                <c:pt idx="10843">
                  <c:v>192361</c:v>
                </c:pt>
                <c:pt idx="10844">
                  <c:v>192351</c:v>
                </c:pt>
                <c:pt idx="10845">
                  <c:v>192272</c:v>
                </c:pt>
                <c:pt idx="10846">
                  <c:v>192195</c:v>
                </c:pt>
                <c:pt idx="10847">
                  <c:v>192066</c:v>
                </c:pt>
                <c:pt idx="10848">
                  <c:v>192035</c:v>
                </c:pt>
                <c:pt idx="10849">
                  <c:v>191906</c:v>
                </c:pt>
                <c:pt idx="10850">
                  <c:v>191778</c:v>
                </c:pt>
                <c:pt idx="10851">
                  <c:v>191666</c:v>
                </c:pt>
                <c:pt idx="10852">
                  <c:v>191648</c:v>
                </c:pt>
                <c:pt idx="10853">
                  <c:v>191414</c:v>
                </c:pt>
                <c:pt idx="10854">
                  <c:v>191360</c:v>
                </c:pt>
                <c:pt idx="10855">
                  <c:v>191203</c:v>
                </c:pt>
                <c:pt idx="10856">
                  <c:v>191073</c:v>
                </c:pt>
                <c:pt idx="10857">
                  <c:v>190768</c:v>
                </c:pt>
                <c:pt idx="10858">
                  <c:v>190726</c:v>
                </c:pt>
                <c:pt idx="10859">
                  <c:v>190695</c:v>
                </c:pt>
                <c:pt idx="10860">
                  <c:v>190477</c:v>
                </c:pt>
                <c:pt idx="10861">
                  <c:v>190160</c:v>
                </c:pt>
                <c:pt idx="10862">
                  <c:v>190063</c:v>
                </c:pt>
                <c:pt idx="10863">
                  <c:v>189929</c:v>
                </c:pt>
                <c:pt idx="10864">
                  <c:v>189903</c:v>
                </c:pt>
                <c:pt idx="10865">
                  <c:v>189698</c:v>
                </c:pt>
                <c:pt idx="10866">
                  <c:v>189598</c:v>
                </c:pt>
                <c:pt idx="10867">
                  <c:v>189520</c:v>
                </c:pt>
                <c:pt idx="10868">
                  <c:v>189103</c:v>
                </c:pt>
                <c:pt idx="10869">
                  <c:v>189011</c:v>
                </c:pt>
                <c:pt idx="10870">
                  <c:v>188971</c:v>
                </c:pt>
                <c:pt idx="10871">
                  <c:v>188730</c:v>
                </c:pt>
                <c:pt idx="10872">
                  <c:v>188718</c:v>
                </c:pt>
                <c:pt idx="10873">
                  <c:v>188601</c:v>
                </c:pt>
                <c:pt idx="10874">
                  <c:v>188599</c:v>
                </c:pt>
                <c:pt idx="10875">
                  <c:v>188593</c:v>
                </c:pt>
                <c:pt idx="10876">
                  <c:v>188511</c:v>
                </c:pt>
                <c:pt idx="10877">
                  <c:v>188497</c:v>
                </c:pt>
                <c:pt idx="10878">
                  <c:v>188491</c:v>
                </c:pt>
                <c:pt idx="10879">
                  <c:v>188451</c:v>
                </c:pt>
                <c:pt idx="10880">
                  <c:v>188359</c:v>
                </c:pt>
                <c:pt idx="10881">
                  <c:v>188290</c:v>
                </c:pt>
                <c:pt idx="10882">
                  <c:v>188109</c:v>
                </c:pt>
                <c:pt idx="10883">
                  <c:v>187990</c:v>
                </c:pt>
                <c:pt idx="10884">
                  <c:v>187978</c:v>
                </c:pt>
                <c:pt idx="10885">
                  <c:v>187970</c:v>
                </c:pt>
                <c:pt idx="10886">
                  <c:v>187741</c:v>
                </c:pt>
                <c:pt idx="10887">
                  <c:v>187601</c:v>
                </c:pt>
                <c:pt idx="10888">
                  <c:v>187540</c:v>
                </c:pt>
                <c:pt idx="10889">
                  <c:v>187504</c:v>
                </c:pt>
                <c:pt idx="10890">
                  <c:v>187277</c:v>
                </c:pt>
                <c:pt idx="10891">
                  <c:v>187206</c:v>
                </c:pt>
                <c:pt idx="10892">
                  <c:v>187122</c:v>
                </c:pt>
                <c:pt idx="10893">
                  <c:v>186940</c:v>
                </c:pt>
                <c:pt idx="10894">
                  <c:v>186925</c:v>
                </c:pt>
                <c:pt idx="10895">
                  <c:v>186914</c:v>
                </c:pt>
                <c:pt idx="10896">
                  <c:v>186798</c:v>
                </c:pt>
                <c:pt idx="10897">
                  <c:v>186754</c:v>
                </c:pt>
                <c:pt idx="10898">
                  <c:v>186671</c:v>
                </c:pt>
                <c:pt idx="10899">
                  <c:v>186633</c:v>
                </c:pt>
                <c:pt idx="10900">
                  <c:v>186580</c:v>
                </c:pt>
                <c:pt idx="10901">
                  <c:v>186380</c:v>
                </c:pt>
                <c:pt idx="10902">
                  <c:v>186201</c:v>
                </c:pt>
                <c:pt idx="10903">
                  <c:v>186200</c:v>
                </c:pt>
                <c:pt idx="10904">
                  <c:v>186110</c:v>
                </c:pt>
                <c:pt idx="10905">
                  <c:v>186038</c:v>
                </c:pt>
                <c:pt idx="10906">
                  <c:v>186026</c:v>
                </c:pt>
                <c:pt idx="10907">
                  <c:v>185984</c:v>
                </c:pt>
                <c:pt idx="10908">
                  <c:v>185889</c:v>
                </c:pt>
                <c:pt idx="10909">
                  <c:v>185828</c:v>
                </c:pt>
                <c:pt idx="10910">
                  <c:v>185818</c:v>
                </c:pt>
                <c:pt idx="10911">
                  <c:v>185702</c:v>
                </c:pt>
                <c:pt idx="10912">
                  <c:v>185614</c:v>
                </c:pt>
                <c:pt idx="10913">
                  <c:v>185451</c:v>
                </c:pt>
                <c:pt idx="10914">
                  <c:v>185366</c:v>
                </c:pt>
                <c:pt idx="10915">
                  <c:v>185329</c:v>
                </c:pt>
                <c:pt idx="10916">
                  <c:v>185208</c:v>
                </c:pt>
                <c:pt idx="10917">
                  <c:v>185104</c:v>
                </c:pt>
                <c:pt idx="10918">
                  <c:v>184893</c:v>
                </c:pt>
                <c:pt idx="10919">
                  <c:v>184844</c:v>
                </c:pt>
                <c:pt idx="10920">
                  <c:v>184655</c:v>
                </c:pt>
                <c:pt idx="10921">
                  <c:v>184476</c:v>
                </c:pt>
                <c:pt idx="10922">
                  <c:v>184406</c:v>
                </c:pt>
                <c:pt idx="10923">
                  <c:v>184377</c:v>
                </c:pt>
                <c:pt idx="10924">
                  <c:v>184318</c:v>
                </c:pt>
                <c:pt idx="10925">
                  <c:v>184184</c:v>
                </c:pt>
                <c:pt idx="10926">
                  <c:v>184165</c:v>
                </c:pt>
                <c:pt idx="10927">
                  <c:v>184141</c:v>
                </c:pt>
                <c:pt idx="10928">
                  <c:v>184134</c:v>
                </c:pt>
                <c:pt idx="10929">
                  <c:v>184097</c:v>
                </c:pt>
                <c:pt idx="10930">
                  <c:v>184051</c:v>
                </c:pt>
                <c:pt idx="10931">
                  <c:v>183835</c:v>
                </c:pt>
                <c:pt idx="10932">
                  <c:v>183820</c:v>
                </c:pt>
                <c:pt idx="10933">
                  <c:v>183739</c:v>
                </c:pt>
                <c:pt idx="10934">
                  <c:v>183575</c:v>
                </c:pt>
                <c:pt idx="10935">
                  <c:v>183494</c:v>
                </c:pt>
                <c:pt idx="10936">
                  <c:v>183432</c:v>
                </c:pt>
                <c:pt idx="10937">
                  <c:v>183374</c:v>
                </c:pt>
                <c:pt idx="10938">
                  <c:v>183288</c:v>
                </c:pt>
                <c:pt idx="10939">
                  <c:v>183134</c:v>
                </c:pt>
                <c:pt idx="10940">
                  <c:v>183125</c:v>
                </c:pt>
                <c:pt idx="10941">
                  <c:v>183080</c:v>
                </c:pt>
                <c:pt idx="10942">
                  <c:v>183054</c:v>
                </c:pt>
                <c:pt idx="10943">
                  <c:v>183041</c:v>
                </c:pt>
                <c:pt idx="10944">
                  <c:v>182990</c:v>
                </c:pt>
                <c:pt idx="10945">
                  <c:v>182956</c:v>
                </c:pt>
                <c:pt idx="10946">
                  <c:v>182926</c:v>
                </c:pt>
                <c:pt idx="10947">
                  <c:v>182874</c:v>
                </c:pt>
                <c:pt idx="10948">
                  <c:v>182868</c:v>
                </c:pt>
                <c:pt idx="10949">
                  <c:v>182753</c:v>
                </c:pt>
                <c:pt idx="10950">
                  <c:v>182664</c:v>
                </c:pt>
                <c:pt idx="10951">
                  <c:v>182646</c:v>
                </c:pt>
                <c:pt idx="10952">
                  <c:v>182583</c:v>
                </c:pt>
                <c:pt idx="10953">
                  <c:v>182572</c:v>
                </c:pt>
                <c:pt idx="10954">
                  <c:v>182559</c:v>
                </c:pt>
                <c:pt idx="10955">
                  <c:v>182541</c:v>
                </c:pt>
                <c:pt idx="10956">
                  <c:v>182414</c:v>
                </c:pt>
                <c:pt idx="10957">
                  <c:v>182282</c:v>
                </c:pt>
                <c:pt idx="10958">
                  <c:v>182194</c:v>
                </c:pt>
                <c:pt idx="10959">
                  <c:v>182033</c:v>
                </c:pt>
                <c:pt idx="10960">
                  <c:v>182002</c:v>
                </c:pt>
                <c:pt idx="10961">
                  <c:v>181999</c:v>
                </c:pt>
                <c:pt idx="10962">
                  <c:v>181959</c:v>
                </c:pt>
                <c:pt idx="10963">
                  <c:v>181940</c:v>
                </c:pt>
                <c:pt idx="10964">
                  <c:v>181901</c:v>
                </c:pt>
                <c:pt idx="10965">
                  <c:v>181780</c:v>
                </c:pt>
                <c:pt idx="10966">
                  <c:v>181772</c:v>
                </c:pt>
                <c:pt idx="10967">
                  <c:v>181742</c:v>
                </c:pt>
                <c:pt idx="10968">
                  <c:v>181648</c:v>
                </c:pt>
                <c:pt idx="10969">
                  <c:v>181578</c:v>
                </c:pt>
                <c:pt idx="10970">
                  <c:v>181544</c:v>
                </c:pt>
                <c:pt idx="10971">
                  <c:v>181511</c:v>
                </c:pt>
                <c:pt idx="10972">
                  <c:v>181352</c:v>
                </c:pt>
                <c:pt idx="10973">
                  <c:v>181341</c:v>
                </c:pt>
                <c:pt idx="10974">
                  <c:v>181256</c:v>
                </c:pt>
                <c:pt idx="10975">
                  <c:v>181223</c:v>
                </c:pt>
                <c:pt idx="10976">
                  <c:v>181189</c:v>
                </c:pt>
                <c:pt idx="10977">
                  <c:v>181114</c:v>
                </c:pt>
                <c:pt idx="10978">
                  <c:v>181105</c:v>
                </c:pt>
                <c:pt idx="10979">
                  <c:v>181020</c:v>
                </c:pt>
                <c:pt idx="10980">
                  <c:v>180845</c:v>
                </c:pt>
                <c:pt idx="10981">
                  <c:v>180807</c:v>
                </c:pt>
                <c:pt idx="10982">
                  <c:v>180798</c:v>
                </c:pt>
                <c:pt idx="10983">
                  <c:v>180702</c:v>
                </c:pt>
                <c:pt idx="10984">
                  <c:v>180664</c:v>
                </c:pt>
                <c:pt idx="10985">
                  <c:v>180657</c:v>
                </c:pt>
                <c:pt idx="10986">
                  <c:v>180589</c:v>
                </c:pt>
                <c:pt idx="10987">
                  <c:v>180587</c:v>
                </c:pt>
                <c:pt idx="10988">
                  <c:v>180587</c:v>
                </c:pt>
                <c:pt idx="10989">
                  <c:v>180438</c:v>
                </c:pt>
                <c:pt idx="10990">
                  <c:v>180423</c:v>
                </c:pt>
                <c:pt idx="10991">
                  <c:v>180422</c:v>
                </c:pt>
                <c:pt idx="10992">
                  <c:v>180316</c:v>
                </c:pt>
                <c:pt idx="10993">
                  <c:v>180300</c:v>
                </c:pt>
                <c:pt idx="10994">
                  <c:v>180271</c:v>
                </c:pt>
                <c:pt idx="10995">
                  <c:v>180238</c:v>
                </c:pt>
                <c:pt idx="10996">
                  <c:v>180235</c:v>
                </c:pt>
                <c:pt idx="10997">
                  <c:v>180171</c:v>
                </c:pt>
                <c:pt idx="10998">
                  <c:v>180087</c:v>
                </c:pt>
                <c:pt idx="10999">
                  <c:v>180080</c:v>
                </c:pt>
                <c:pt idx="11000">
                  <c:v>180076</c:v>
                </c:pt>
                <c:pt idx="11001">
                  <c:v>180020</c:v>
                </c:pt>
                <c:pt idx="11002">
                  <c:v>180015</c:v>
                </c:pt>
                <c:pt idx="11003">
                  <c:v>179977</c:v>
                </c:pt>
                <c:pt idx="11004">
                  <c:v>179966</c:v>
                </c:pt>
                <c:pt idx="11005">
                  <c:v>179907</c:v>
                </c:pt>
                <c:pt idx="11006">
                  <c:v>179905</c:v>
                </c:pt>
                <c:pt idx="11007">
                  <c:v>179741</c:v>
                </c:pt>
                <c:pt idx="11008">
                  <c:v>179714</c:v>
                </c:pt>
                <c:pt idx="11009">
                  <c:v>179714</c:v>
                </c:pt>
                <c:pt idx="11010">
                  <c:v>179517</c:v>
                </c:pt>
                <c:pt idx="11011">
                  <c:v>179474</c:v>
                </c:pt>
                <c:pt idx="11012">
                  <c:v>179419</c:v>
                </c:pt>
                <c:pt idx="11013">
                  <c:v>179329</c:v>
                </c:pt>
                <c:pt idx="11014">
                  <c:v>179324</c:v>
                </c:pt>
                <c:pt idx="11015">
                  <c:v>179274</c:v>
                </c:pt>
                <c:pt idx="11016">
                  <c:v>179269</c:v>
                </c:pt>
                <c:pt idx="11017">
                  <c:v>179253</c:v>
                </c:pt>
                <c:pt idx="11018">
                  <c:v>179223</c:v>
                </c:pt>
                <c:pt idx="11019">
                  <c:v>179155</c:v>
                </c:pt>
                <c:pt idx="11020">
                  <c:v>179147</c:v>
                </c:pt>
                <c:pt idx="11021">
                  <c:v>179065</c:v>
                </c:pt>
                <c:pt idx="11022">
                  <c:v>178978</c:v>
                </c:pt>
                <c:pt idx="11023">
                  <c:v>178943</c:v>
                </c:pt>
                <c:pt idx="11024">
                  <c:v>178932</c:v>
                </c:pt>
                <c:pt idx="11025">
                  <c:v>178917</c:v>
                </c:pt>
                <c:pt idx="11026">
                  <c:v>178680</c:v>
                </c:pt>
                <c:pt idx="11027">
                  <c:v>178541</c:v>
                </c:pt>
                <c:pt idx="11028">
                  <c:v>178511</c:v>
                </c:pt>
                <c:pt idx="11029">
                  <c:v>178471</c:v>
                </c:pt>
                <c:pt idx="11030">
                  <c:v>178465</c:v>
                </c:pt>
                <c:pt idx="11031">
                  <c:v>178455</c:v>
                </c:pt>
                <c:pt idx="11032">
                  <c:v>178367</c:v>
                </c:pt>
                <c:pt idx="11033">
                  <c:v>178330</c:v>
                </c:pt>
                <c:pt idx="11034">
                  <c:v>178330</c:v>
                </c:pt>
                <c:pt idx="11035">
                  <c:v>178278</c:v>
                </c:pt>
                <c:pt idx="11036">
                  <c:v>178184</c:v>
                </c:pt>
                <c:pt idx="11037">
                  <c:v>178176</c:v>
                </c:pt>
                <c:pt idx="11038">
                  <c:v>178109</c:v>
                </c:pt>
                <c:pt idx="11039">
                  <c:v>178103</c:v>
                </c:pt>
                <c:pt idx="11040">
                  <c:v>178009</c:v>
                </c:pt>
                <c:pt idx="11041">
                  <c:v>177949</c:v>
                </c:pt>
                <c:pt idx="11042">
                  <c:v>177894</c:v>
                </c:pt>
                <c:pt idx="11043">
                  <c:v>177880</c:v>
                </c:pt>
                <c:pt idx="11044">
                  <c:v>177828</c:v>
                </c:pt>
                <c:pt idx="11045">
                  <c:v>177719</c:v>
                </c:pt>
                <c:pt idx="11046">
                  <c:v>177691</c:v>
                </c:pt>
                <c:pt idx="11047">
                  <c:v>177653</c:v>
                </c:pt>
                <c:pt idx="11048">
                  <c:v>177651</c:v>
                </c:pt>
                <c:pt idx="11049">
                  <c:v>177574</c:v>
                </c:pt>
                <c:pt idx="11050">
                  <c:v>177560</c:v>
                </c:pt>
                <c:pt idx="11051">
                  <c:v>177555</c:v>
                </c:pt>
                <c:pt idx="11052">
                  <c:v>177489</c:v>
                </c:pt>
                <c:pt idx="11053">
                  <c:v>177487</c:v>
                </c:pt>
                <c:pt idx="11054">
                  <c:v>177382</c:v>
                </c:pt>
                <c:pt idx="11055">
                  <c:v>177377</c:v>
                </c:pt>
                <c:pt idx="11056">
                  <c:v>177315</c:v>
                </c:pt>
                <c:pt idx="11057">
                  <c:v>177307</c:v>
                </c:pt>
                <c:pt idx="11058">
                  <c:v>177269</c:v>
                </c:pt>
                <c:pt idx="11059">
                  <c:v>177265</c:v>
                </c:pt>
                <c:pt idx="11060">
                  <c:v>177260</c:v>
                </c:pt>
                <c:pt idx="11061">
                  <c:v>177203</c:v>
                </c:pt>
                <c:pt idx="11062">
                  <c:v>177138</c:v>
                </c:pt>
                <c:pt idx="11063">
                  <c:v>177091</c:v>
                </c:pt>
                <c:pt idx="11064">
                  <c:v>177060</c:v>
                </c:pt>
                <c:pt idx="11065">
                  <c:v>177045</c:v>
                </c:pt>
                <c:pt idx="11066">
                  <c:v>176972</c:v>
                </c:pt>
                <c:pt idx="11067">
                  <c:v>176943</c:v>
                </c:pt>
                <c:pt idx="11068">
                  <c:v>176922</c:v>
                </c:pt>
                <c:pt idx="11069">
                  <c:v>176901</c:v>
                </c:pt>
                <c:pt idx="11070">
                  <c:v>176862</c:v>
                </c:pt>
                <c:pt idx="11071">
                  <c:v>176802</c:v>
                </c:pt>
                <c:pt idx="11072">
                  <c:v>176749</c:v>
                </c:pt>
                <c:pt idx="11073">
                  <c:v>176744</c:v>
                </c:pt>
                <c:pt idx="11074">
                  <c:v>176743</c:v>
                </c:pt>
                <c:pt idx="11075">
                  <c:v>176716</c:v>
                </c:pt>
                <c:pt idx="11076">
                  <c:v>176700</c:v>
                </c:pt>
                <c:pt idx="11077">
                  <c:v>176698</c:v>
                </c:pt>
                <c:pt idx="11078">
                  <c:v>176653</c:v>
                </c:pt>
                <c:pt idx="11079">
                  <c:v>176650</c:v>
                </c:pt>
                <c:pt idx="11080">
                  <c:v>176649</c:v>
                </c:pt>
                <c:pt idx="11081">
                  <c:v>176502</c:v>
                </c:pt>
                <c:pt idx="11082">
                  <c:v>176481</c:v>
                </c:pt>
                <c:pt idx="11083">
                  <c:v>176468</c:v>
                </c:pt>
                <c:pt idx="11084">
                  <c:v>176440</c:v>
                </c:pt>
                <c:pt idx="11085">
                  <c:v>176438</c:v>
                </c:pt>
                <c:pt idx="11086">
                  <c:v>176434</c:v>
                </c:pt>
                <c:pt idx="11087">
                  <c:v>176434</c:v>
                </c:pt>
                <c:pt idx="11088">
                  <c:v>176415</c:v>
                </c:pt>
                <c:pt idx="11089">
                  <c:v>176393</c:v>
                </c:pt>
                <c:pt idx="11090">
                  <c:v>176381</c:v>
                </c:pt>
                <c:pt idx="11091">
                  <c:v>176381</c:v>
                </c:pt>
                <c:pt idx="11092">
                  <c:v>176342</c:v>
                </c:pt>
                <c:pt idx="11093">
                  <c:v>176338</c:v>
                </c:pt>
                <c:pt idx="11094">
                  <c:v>176288</c:v>
                </c:pt>
                <c:pt idx="11095">
                  <c:v>176274</c:v>
                </c:pt>
                <c:pt idx="11096">
                  <c:v>176252</c:v>
                </c:pt>
                <c:pt idx="11097">
                  <c:v>176238</c:v>
                </c:pt>
                <c:pt idx="11098">
                  <c:v>176235</c:v>
                </c:pt>
                <c:pt idx="11099">
                  <c:v>176213</c:v>
                </c:pt>
                <c:pt idx="11100">
                  <c:v>176209</c:v>
                </c:pt>
                <c:pt idx="11101">
                  <c:v>176190</c:v>
                </c:pt>
                <c:pt idx="11102">
                  <c:v>176176</c:v>
                </c:pt>
                <c:pt idx="11103">
                  <c:v>176174</c:v>
                </c:pt>
                <c:pt idx="11104">
                  <c:v>176153</c:v>
                </c:pt>
                <c:pt idx="11105">
                  <c:v>176132</c:v>
                </c:pt>
                <c:pt idx="11106">
                  <c:v>176120</c:v>
                </c:pt>
                <c:pt idx="11107">
                  <c:v>176113</c:v>
                </c:pt>
                <c:pt idx="11108">
                  <c:v>176096</c:v>
                </c:pt>
                <c:pt idx="11109">
                  <c:v>176048</c:v>
                </c:pt>
                <c:pt idx="11110">
                  <c:v>175998</c:v>
                </c:pt>
                <c:pt idx="11111">
                  <c:v>175997</c:v>
                </c:pt>
                <c:pt idx="11112">
                  <c:v>175983</c:v>
                </c:pt>
                <c:pt idx="11113">
                  <c:v>175950</c:v>
                </c:pt>
                <c:pt idx="11114">
                  <c:v>175942</c:v>
                </c:pt>
                <c:pt idx="11115">
                  <c:v>175903</c:v>
                </c:pt>
                <c:pt idx="11116">
                  <c:v>175897</c:v>
                </c:pt>
                <c:pt idx="11117">
                  <c:v>175835</c:v>
                </c:pt>
                <c:pt idx="11118">
                  <c:v>175804</c:v>
                </c:pt>
                <c:pt idx="11119">
                  <c:v>175704</c:v>
                </c:pt>
                <c:pt idx="11120">
                  <c:v>175689</c:v>
                </c:pt>
                <c:pt idx="11121">
                  <c:v>175659</c:v>
                </c:pt>
                <c:pt idx="11122">
                  <c:v>175655</c:v>
                </c:pt>
                <c:pt idx="11123">
                  <c:v>175599</c:v>
                </c:pt>
                <c:pt idx="11124">
                  <c:v>175572</c:v>
                </c:pt>
                <c:pt idx="11125">
                  <c:v>175503</c:v>
                </c:pt>
                <c:pt idx="11126">
                  <c:v>175469</c:v>
                </c:pt>
                <c:pt idx="11127">
                  <c:v>175454</c:v>
                </c:pt>
                <c:pt idx="11128">
                  <c:v>175451</c:v>
                </c:pt>
                <c:pt idx="11129">
                  <c:v>175428</c:v>
                </c:pt>
                <c:pt idx="11130">
                  <c:v>175382</c:v>
                </c:pt>
                <c:pt idx="11131">
                  <c:v>175353</c:v>
                </c:pt>
                <c:pt idx="11132">
                  <c:v>175341</c:v>
                </c:pt>
                <c:pt idx="11133">
                  <c:v>175306</c:v>
                </c:pt>
                <c:pt idx="11134">
                  <c:v>175265</c:v>
                </c:pt>
                <c:pt idx="11135">
                  <c:v>175264</c:v>
                </c:pt>
                <c:pt idx="11136">
                  <c:v>175214</c:v>
                </c:pt>
                <c:pt idx="11137">
                  <c:v>175180</c:v>
                </c:pt>
                <c:pt idx="11138">
                  <c:v>175135</c:v>
                </c:pt>
                <c:pt idx="11139">
                  <c:v>175113</c:v>
                </c:pt>
                <c:pt idx="11140">
                  <c:v>175061</c:v>
                </c:pt>
                <c:pt idx="11141">
                  <c:v>175042</c:v>
                </c:pt>
                <c:pt idx="11142">
                  <c:v>175015</c:v>
                </c:pt>
                <c:pt idx="11143">
                  <c:v>175006</c:v>
                </c:pt>
                <c:pt idx="11144">
                  <c:v>174997</c:v>
                </c:pt>
                <c:pt idx="11145">
                  <c:v>174977</c:v>
                </c:pt>
                <c:pt idx="11146">
                  <c:v>174965</c:v>
                </c:pt>
                <c:pt idx="11147">
                  <c:v>174881</c:v>
                </c:pt>
                <c:pt idx="11148">
                  <c:v>174866</c:v>
                </c:pt>
                <c:pt idx="11149">
                  <c:v>174819</c:v>
                </c:pt>
                <c:pt idx="11150">
                  <c:v>174811</c:v>
                </c:pt>
                <c:pt idx="11151">
                  <c:v>174739</c:v>
                </c:pt>
                <c:pt idx="11152">
                  <c:v>174722</c:v>
                </c:pt>
                <c:pt idx="11153">
                  <c:v>174714</c:v>
                </c:pt>
                <c:pt idx="11154">
                  <c:v>174679</c:v>
                </c:pt>
                <c:pt idx="11155">
                  <c:v>174598</c:v>
                </c:pt>
                <c:pt idx="11156">
                  <c:v>174596</c:v>
                </c:pt>
                <c:pt idx="11157">
                  <c:v>174562</c:v>
                </c:pt>
                <c:pt idx="11158">
                  <c:v>174521</c:v>
                </c:pt>
                <c:pt idx="11159">
                  <c:v>174519</c:v>
                </c:pt>
                <c:pt idx="11160">
                  <c:v>174515</c:v>
                </c:pt>
                <c:pt idx="11161">
                  <c:v>174493</c:v>
                </c:pt>
                <c:pt idx="11162">
                  <c:v>174473</c:v>
                </c:pt>
                <c:pt idx="11163">
                  <c:v>174437</c:v>
                </c:pt>
                <c:pt idx="11164">
                  <c:v>174403</c:v>
                </c:pt>
                <c:pt idx="11165">
                  <c:v>174391</c:v>
                </c:pt>
                <c:pt idx="11166">
                  <c:v>174282</c:v>
                </c:pt>
                <c:pt idx="11167">
                  <c:v>174201</c:v>
                </c:pt>
                <c:pt idx="11168">
                  <c:v>174193</c:v>
                </c:pt>
                <c:pt idx="11169">
                  <c:v>174183</c:v>
                </c:pt>
                <c:pt idx="11170">
                  <c:v>174171</c:v>
                </c:pt>
                <c:pt idx="11171">
                  <c:v>174123</c:v>
                </c:pt>
                <c:pt idx="11172">
                  <c:v>174070</c:v>
                </c:pt>
                <c:pt idx="11173">
                  <c:v>174014</c:v>
                </c:pt>
                <c:pt idx="11174">
                  <c:v>173980</c:v>
                </c:pt>
                <c:pt idx="11175">
                  <c:v>173979</c:v>
                </c:pt>
                <c:pt idx="11176">
                  <c:v>173960</c:v>
                </c:pt>
                <c:pt idx="11177">
                  <c:v>173946</c:v>
                </c:pt>
                <c:pt idx="11178">
                  <c:v>173883</c:v>
                </c:pt>
                <c:pt idx="11179">
                  <c:v>173857</c:v>
                </c:pt>
                <c:pt idx="11180">
                  <c:v>173849</c:v>
                </c:pt>
                <c:pt idx="11181">
                  <c:v>173769</c:v>
                </c:pt>
                <c:pt idx="11182">
                  <c:v>173764</c:v>
                </c:pt>
                <c:pt idx="11183">
                  <c:v>173712</c:v>
                </c:pt>
                <c:pt idx="11184">
                  <c:v>173691</c:v>
                </c:pt>
                <c:pt idx="11185">
                  <c:v>173686</c:v>
                </c:pt>
                <c:pt idx="11186">
                  <c:v>173666</c:v>
                </c:pt>
                <c:pt idx="11187">
                  <c:v>173659</c:v>
                </c:pt>
                <c:pt idx="11188">
                  <c:v>173653</c:v>
                </c:pt>
                <c:pt idx="11189">
                  <c:v>173649</c:v>
                </c:pt>
                <c:pt idx="11190">
                  <c:v>173627</c:v>
                </c:pt>
                <c:pt idx="11191">
                  <c:v>173609</c:v>
                </c:pt>
                <c:pt idx="11192">
                  <c:v>173608</c:v>
                </c:pt>
                <c:pt idx="11193">
                  <c:v>173593</c:v>
                </c:pt>
                <c:pt idx="11194">
                  <c:v>173557</c:v>
                </c:pt>
                <c:pt idx="11195">
                  <c:v>173535</c:v>
                </c:pt>
                <c:pt idx="11196">
                  <c:v>173531</c:v>
                </c:pt>
                <c:pt idx="11197">
                  <c:v>173524</c:v>
                </c:pt>
                <c:pt idx="11198">
                  <c:v>173479</c:v>
                </c:pt>
                <c:pt idx="11199">
                  <c:v>173469</c:v>
                </c:pt>
                <c:pt idx="11200">
                  <c:v>173451</c:v>
                </c:pt>
                <c:pt idx="11201">
                  <c:v>173402</c:v>
                </c:pt>
                <c:pt idx="11202">
                  <c:v>173366</c:v>
                </c:pt>
                <c:pt idx="11203">
                  <c:v>173356</c:v>
                </c:pt>
                <c:pt idx="11204">
                  <c:v>173315</c:v>
                </c:pt>
                <c:pt idx="11205">
                  <c:v>173303</c:v>
                </c:pt>
                <c:pt idx="11206">
                  <c:v>173280</c:v>
                </c:pt>
                <c:pt idx="11207">
                  <c:v>173232</c:v>
                </c:pt>
                <c:pt idx="11208">
                  <c:v>173195</c:v>
                </c:pt>
                <c:pt idx="11209">
                  <c:v>173191</c:v>
                </c:pt>
                <c:pt idx="11210">
                  <c:v>173187</c:v>
                </c:pt>
                <c:pt idx="11211">
                  <c:v>173150</c:v>
                </c:pt>
                <c:pt idx="11212">
                  <c:v>173144</c:v>
                </c:pt>
                <c:pt idx="11213">
                  <c:v>173116</c:v>
                </c:pt>
                <c:pt idx="11214">
                  <c:v>173107</c:v>
                </c:pt>
                <c:pt idx="11215">
                  <c:v>173075</c:v>
                </c:pt>
                <c:pt idx="11216">
                  <c:v>173074</c:v>
                </c:pt>
                <c:pt idx="11217">
                  <c:v>173029</c:v>
                </c:pt>
                <c:pt idx="11218">
                  <c:v>173007</c:v>
                </c:pt>
                <c:pt idx="11219">
                  <c:v>172977</c:v>
                </c:pt>
                <c:pt idx="11220">
                  <c:v>172963</c:v>
                </c:pt>
                <c:pt idx="11221">
                  <c:v>172961</c:v>
                </c:pt>
                <c:pt idx="11222">
                  <c:v>172899</c:v>
                </c:pt>
                <c:pt idx="11223">
                  <c:v>172876</c:v>
                </c:pt>
                <c:pt idx="11224">
                  <c:v>172837</c:v>
                </c:pt>
                <c:pt idx="11225">
                  <c:v>172805</c:v>
                </c:pt>
                <c:pt idx="11226">
                  <c:v>172793</c:v>
                </c:pt>
                <c:pt idx="11227">
                  <c:v>172792</c:v>
                </c:pt>
                <c:pt idx="11228">
                  <c:v>172726</c:v>
                </c:pt>
                <c:pt idx="11229">
                  <c:v>172672</c:v>
                </c:pt>
                <c:pt idx="11230">
                  <c:v>172633</c:v>
                </c:pt>
                <c:pt idx="11231">
                  <c:v>172574</c:v>
                </c:pt>
                <c:pt idx="11232">
                  <c:v>172572</c:v>
                </c:pt>
                <c:pt idx="11233">
                  <c:v>172551</c:v>
                </c:pt>
                <c:pt idx="11234">
                  <c:v>172541</c:v>
                </c:pt>
                <c:pt idx="11235">
                  <c:v>172508</c:v>
                </c:pt>
                <c:pt idx="11236">
                  <c:v>172492</c:v>
                </c:pt>
                <c:pt idx="11237">
                  <c:v>172453</c:v>
                </c:pt>
                <c:pt idx="11238">
                  <c:v>172438</c:v>
                </c:pt>
                <c:pt idx="11239">
                  <c:v>172437</c:v>
                </c:pt>
                <c:pt idx="11240">
                  <c:v>172407</c:v>
                </c:pt>
                <c:pt idx="11241">
                  <c:v>172400</c:v>
                </c:pt>
                <c:pt idx="11242">
                  <c:v>172367</c:v>
                </c:pt>
                <c:pt idx="11243">
                  <c:v>172347</c:v>
                </c:pt>
                <c:pt idx="11244">
                  <c:v>172307</c:v>
                </c:pt>
                <c:pt idx="11245">
                  <c:v>172262</c:v>
                </c:pt>
                <c:pt idx="11246">
                  <c:v>172248</c:v>
                </c:pt>
                <c:pt idx="11247">
                  <c:v>172248</c:v>
                </c:pt>
                <c:pt idx="11248">
                  <c:v>172165</c:v>
                </c:pt>
                <c:pt idx="11249">
                  <c:v>172156</c:v>
                </c:pt>
                <c:pt idx="11250">
                  <c:v>172155</c:v>
                </c:pt>
                <c:pt idx="11251">
                  <c:v>172140</c:v>
                </c:pt>
                <c:pt idx="11252">
                  <c:v>172109</c:v>
                </c:pt>
                <c:pt idx="11253">
                  <c:v>172098</c:v>
                </c:pt>
                <c:pt idx="11254">
                  <c:v>172091</c:v>
                </c:pt>
                <c:pt idx="11255">
                  <c:v>172087</c:v>
                </c:pt>
                <c:pt idx="11256">
                  <c:v>172053</c:v>
                </c:pt>
                <c:pt idx="11257">
                  <c:v>172051</c:v>
                </c:pt>
                <c:pt idx="11258">
                  <c:v>172047</c:v>
                </c:pt>
                <c:pt idx="11259">
                  <c:v>172039</c:v>
                </c:pt>
                <c:pt idx="11260">
                  <c:v>172028</c:v>
                </c:pt>
                <c:pt idx="11261">
                  <c:v>171994</c:v>
                </c:pt>
                <c:pt idx="11262">
                  <c:v>171936</c:v>
                </c:pt>
                <c:pt idx="11263">
                  <c:v>171875</c:v>
                </c:pt>
                <c:pt idx="11264">
                  <c:v>171873</c:v>
                </c:pt>
                <c:pt idx="11265">
                  <c:v>171866</c:v>
                </c:pt>
                <c:pt idx="11266">
                  <c:v>171859</c:v>
                </c:pt>
                <c:pt idx="11267">
                  <c:v>171832</c:v>
                </c:pt>
                <c:pt idx="11268">
                  <c:v>171814</c:v>
                </c:pt>
                <c:pt idx="11269">
                  <c:v>171812</c:v>
                </c:pt>
                <c:pt idx="11270">
                  <c:v>171809</c:v>
                </c:pt>
                <c:pt idx="11271">
                  <c:v>171805</c:v>
                </c:pt>
                <c:pt idx="11272">
                  <c:v>171771</c:v>
                </c:pt>
                <c:pt idx="11273">
                  <c:v>171726</c:v>
                </c:pt>
                <c:pt idx="11274">
                  <c:v>171696</c:v>
                </c:pt>
                <c:pt idx="11275">
                  <c:v>171678</c:v>
                </c:pt>
                <c:pt idx="11276">
                  <c:v>171643</c:v>
                </c:pt>
                <c:pt idx="11277">
                  <c:v>171566</c:v>
                </c:pt>
                <c:pt idx="11278">
                  <c:v>171544</c:v>
                </c:pt>
                <c:pt idx="11279">
                  <c:v>171534</c:v>
                </c:pt>
                <c:pt idx="11280">
                  <c:v>171529</c:v>
                </c:pt>
                <c:pt idx="11281">
                  <c:v>171523</c:v>
                </c:pt>
                <c:pt idx="11282">
                  <c:v>171519</c:v>
                </c:pt>
                <c:pt idx="11283">
                  <c:v>171487</c:v>
                </c:pt>
                <c:pt idx="11284">
                  <c:v>171472</c:v>
                </c:pt>
                <c:pt idx="11285">
                  <c:v>171428</c:v>
                </c:pt>
                <c:pt idx="11286">
                  <c:v>171407</c:v>
                </c:pt>
                <c:pt idx="11287">
                  <c:v>171406</c:v>
                </c:pt>
                <c:pt idx="11288">
                  <c:v>171361</c:v>
                </c:pt>
                <c:pt idx="11289">
                  <c:v>171277</c:v>
                </c:pt>
                <c:pt idx="11290">
                  <c:v>171265</c:v>
                </c:pt>
                <c:pt idx="11291">
                  <c:v>171239</c:v>
                </c:pt>
                <c:pt idx="11292">
                  <c:v>171221</c:v>
                </c:pt>
                <c:pt idx="11293">
                  <c:v>171202</c:v>
                </c:pt>
                <c:pt idx="11294">
                  <c:v>171149</c:v>
                </c:pt>
                <c:pt idx="11295">
                  <c:v>171138</c:v>
                </c:pt>
                <c:pt idx="11296">
                  <c:v>171086</c:v>
                </c:pt>
                <c:pt idx="11297">
                  <c:v>171066</c:v>
                </c:pt>
                <c:pt idx="11298">
                  <c:v>171038</c:v>
                </c:pt>
                <c:pt idx="11299">
                  <c:v>171033</c:v>
                </c:pt>
                <c:pt idx="11300">
                  <c:v>171016</c:v>
                </c:pt>
                <c:pt idx="11301">
                  <c:v>170997</c:v>
                </c:pt>
                <c:pt idx="11302">
                  <c:v>170984</c:v>
                </c:pt>
                <c:pt idx="11303">
                  <c:v>170984</c:v>
                </c:pt>
                <c:pt idx="11304">
                  <c:v>170977</c:v>
                </c:pt>
                <c:pt idx="11305">
                  <c:v>170922</c:v>
                </c:pt>
                <c:pt idx="11306">
                  <c:v>170916</c:v>
                </c:pt>
                <c:pt idx="11307">
                  <c:v>170871</c:v>
                </c:pt>
                <c:pt idx="11308">
                  <c:v>170865</c:v>
                </c:pt>
                <c:pt idx="11309">
                  <c:v>170850</c:v>
                </c:pt>
                <c:pt idx="11310">
                  <c:v>170800</c:v>
                </c:pt>
                <c:pt idx="11311">
                  <c:v>170793</c:v>
                </c:pt>
                <c:pt idx="11312">
                  <c:v>170776</c:v>
                </c:pt>
                <c:pt idx="11313">
                  <c:v>170755</c:v>
                </c:pt>
                <c:pt idx="11314">
                  <c:v>170733</c:v>
                </c:pt>
                <c:pt idx="11315">
                  <c:v>170716</c:v>
                </c:pt>
                <c:pt idx="11316">
                  <c:v>170688</c:v>
                </c:pt>
                <c:pt idx="11317">
                  <c:v>170646</c:v>
                </c:pt>
                <c:pt idx="11318">
                  <c:v>170633</c:v>
                </c:pt>
                <c:pt idx="11319">
                  <c:v>170624</c:v>
                </c:pt>
                <c:pt idx="11320">
                  <c:v>170624</c:v>
                </c:pt>
                <c:pt idx="11321">
                  <c:v>170623</c:v>
                </c:pt>
                <c:pt idx="11322">
                  <c:v>170567</c:v>
                </c:pt>
                <c:pt idx="11323">
                  <c:v>170557</c:v>
                </c:pt>
                <c:pt idx="11324">
                  <c:v>170527</c:v>
                </c:pt>
                <c:pt idx="11325">
                  <c:v>170397</c:v>
                </c:pt>
                <c:pt idx="11326">
                  <c:v>170367</c:v>
                </c:pt>
                <c:pt idx="11327">
                  <c:v>170355</c:v>
                </c:pt>
                <c:pt idx="11328">
                  <c:v>170355</c:v>
                </c:pt>
                <c:pt idx="11329">
                  <c:v>170347</c:v>
                </c:pt>
                <c:pt idx="11330">
                  <c:v>170326</c:v>
                </c:pt>
                <c:pt idx="11331">
                  <c:v>170316</c:v>
                </c:pt>
                <c:pt idx="11332">
                  <c:v>170310</c:v>
                </c:pt>
                <c:pt idx="11333">
                  <c:v>170271</c:v>
                </c:pt>
                <c:pt idx="11334">
                  <c:v>170266</c:v>
                </c:pt>
                <c:pt idx="11335">
                  <c:v>170262</c:v>
                </c:pt>
                <c:pt idx="11336">
                  <c:v>170246</c:v>
                </c:pt>
                <c:pt idx="11337">
                  <c:v>170212</c:v>
                </c:pt>
                <c:pt idx="11338">
                  <c:v>170185</c:v>
                </c:pt>
                <c:pt idx="11339">
                  <c:v>170167</c:v>
                </c:pt>
                <c:pt idx="11340">
                  <c:v>170137</c:v>
                </c:pt>
                <c:pt idx="11341">
                  <c:v>170116</c:v>
                </c:pt>
                <c:pt idx="11342">
                  <c:v>170078</c:v>
                </c:pt>
                <c:pt idx="11343">
                  <c:v>170073</c:v>
                </c:pt>
                <c:pt idx="11344">
                  <c:v>170065</c:v>
                </c:pt>
                <c:pt idx="11345">
                  <c:v>170062</c:v>
                </c:pt>
                <c:pt idx="11346">
                  <c:v>170029</c:v>
                </c:pt>
                <c:pt idx="11347">
                  <c:v>170010</c:v>
                </c:pt>
                <c:pt idx="11348">
                  <c:v>169969</c:v>
                </c:pt>
                <c:pt idx="11349">
                  <c:v>169929</c:v>
                </c:pt>
                <c:pt idx="11350">
                  <c:v>169854</c:v>
                </c:pt>
                <c:pt idx="11351">
                  <c:v>169820</c:v>
                </c:pt>
                <c:pt idx="11352">
                  <c:v>169807</c:v>
                </c:pt>
                <c:pt idx="11353">
                  <c:v>169753</c:v>
                </c:pt>
                <c:pt idx="11354">
                  <c:v>169726</c:v>
                </c:pt>
                <c:pt idx="11355">
                  <c:v>169706</c:v>
                </c:pt>
                <c:pt idx="11356">
                  <c:v>169683</c:v>
                </c:pt>
                <c:pt idx="11357">
                  <c:v>169675</c:v>
                </c:pt>
                <c:pt idx="11358">
                  <c:v>169656</c:v>
                </c:pt>
                <c:pt idx="11359">
                  <c:v>169646</c:v>
                </c:pt>
                <c:pt idx="11360">
                  <c:v>169640</c:v>
                </c:pt>
                <c:pt idx="11361">
                  <c:v>169602</c:v>
                </c:pt>
                <c:pt idx="11362">
                  <c:v>169602</c:v>
                </c:pt>
                <c:pt idx="11363">
                  <c:v>169581</c:v>
                </c:pt>
                <c:pt idx="11364">
                  <c:v>169539</c:v>
                </c:pt>
                <c:pt idx="11365">
                  <c:v>169490</c:v>
                </c:pt>
                <c:pt idx="11366">
                  <c:v>169461</c:v>
                </c:pt>
                <c:pt idx="11367">
                  <c:v>169416</c:v>
                </c:pt>
                <c:pt idx="11368">
                  <c:v>169414</c:v>
                </c:pt>
                <c:pt idx="11369">
                  <c:v>169395</c:v>
                </c:pt>
                <c:pt idx="11370">
                  <c:v>169319</c:v>
                </c:pt>
                <c:pt idx="11371">
                  <c:v>169305</c:v>
                </c:pt>
                <c:pt idx="11372">
                  <c:v>169301</c:v>
                </c:pt>
                <c:pt idx="11373">
                  <c:v>169296</c:v>
                </c:pt>
                <c:pt idx="11374">
                  <c:v>169294</c:v>
                </c:pt>
                <c:pt idx="11375">
                  <c:v>169287</c:v>
                </c:pt>
                <c:pt idx="11376">
                  <c:v>169223</c:v>
                </c:pt>
                <c:pt idx="11377">
                  <c:v>169218</c:v>
                </c:pt>
                <c:pt idx="11378">
                  <c:v>169189</c:v>
                </c:pt>
                <c:pt idx="11379">
                  <c:v>169188</c:v>
                </c:pt>
                <c:pt idx="11380">
                  <c:v>169143</c:v>
                </c:pt>
                <c:pt idx="11381">
                  <c:v>169105</c:v>
                </c:pt>
                <c:pt idx="11382">
                  <c:v>169102</c:v>
                </c:pt>
                <c:pt idx="11383">
                  <c:v>169056</c:v>
                </c:pt>
                <c:pt idx="11384">
                  <c:v>169006</c:v>
                </c:pt>
                <c:pt idx="11385">
                  <c:v>168997</c:v>
                </c:pt>
                <c:pt idx="11386">
                  <c:v>168990</c:v>
                </c:pt>
                <c:pt idx="11387">
                  <c:v>168990</c:v>
                </c:pt>
                <c:pt idx="11388">
                  <c:v>168942</c:v>
                </c:pt>
                <c:pt idx="11389">
                  <c:v>168915</c:v>
                </c:pt>
                <c:pt idx="11390">
                  <c:v>168898</c:v>
                </c:pt>
                <c:pt idx="11391">
                  <c:v>168840</c:v>
                </c:pt>
                <c:pt idx="11392">
                  <c:v>168827</c:v>
                </c:pt>
                <c:pt idx="11393">
                  <c:v>168812</c:v>
                </c:pt>
                <c:pt idx="11394">
                  <c:v>168801</c:v>
                </c:pt>
                <c:pt idx="11395">
                  <c:v>168781</c:v>
                </c:pt>
                <c:pt idx="11396">
                  <c:v>168728</c:v>
                </c:pt>
                <c:pt idx="11397">
                  <c:v>168694</c:v>
                </c:pt>
                <c:pt idx="11398">
                  <c:v>168690</c:v>
                </c:pt>
                <c:pt idx="11399">
                  <c:v>168685</c:v>
                </c:pt>
                <c:pt idx="11400">
                  <c:v>168665</c:v>
                </c:pt>
                <c:pt idx="11401">
                  <c:v>168650</c:v>
                </c:pt>
                <c:pt idx="11402">
                  <c:v>168647</c:v>
                </c:pt>
                <c:pt idx="11403">
                  <c:v>168641</c:v>
                </c:pt>
                <c:pt idx="11404">
                  <c:v>168595</c:v>
                </c:pt>
                <c:pt idx="11405">
                  <c:v>168592</c:v>
                </c:pt>
                <c:pt idx="11406">
                  <c:v>168569</c:v>
                </c:pt>
                <c:pt idx="11407">
                  <c:v>168546</c:v>
                </c:pt>
                <c:pt idx="11408">
                  <c:v>168529</c:v>
                </c:pt>
                <c:pt idx="11409">
                  <c:v>168510</c:v>
                </c:pt>
                <c:pt idx="11410">
                  <c:v>168498</c:v>
                </c:pt>
                <c:pt idx="11411">
                  <c:v>168496</c:v>
                </c:pt>
                <c:pt idx="11412">
                  <c:v>168472</c:v>
                </c:pt>
                <c:pt idx="11413">
                  <c:v>168421</c:v>
                </c:pt>
                <c:pt idx="11414">
                  <c:v>168418</c:v>
                </c:pt>
                <c:pt idx="11415">
                  <c:v>168402</c:v>
                </c:pt>
                <c:pt idx="11416">
                  <c:v>168388</c:v>
                </c:pt>
                <c:pt idx="11417">
                  <c:v>168377</c:v>
                </c:pt>
                <c:pt idx="11418">
                  <c:v>168373</c:v>
                </c:pt>
                <c:pt idx="11419">
                  <c:v>168363</c:v>
                </c:pt>
                <c:pt idx="11420">
                  <c:v>168362</c:v>
                </c:pt>
                <c:pt idx="11421">
                  <c:v>168343</c:v>
                </c:pt>
                <c:pt idx="11422">
                  <c:v>168313</c:v>
                </c:pt>
                <c:pt idx="11423">
                  <c:v>168283</c:v>
                </c:pt>
                <c:pt idx="11424">
                  <c:v>168221</c:v>
                </c:pt>
                <c:pt idx="11425">
                  <c:v>168195</c:v>
                </c:pt>
                <c:pt idx="11426">
                  <c:v>168147</c:v>
                </c:pt>
                <c:pt idx="11427">
                  <c:v>168132</c:v>
                </c:pt>
                <c:pt idx="11428">
                  <c:v>168106</c:v>
                </c:pt>
                <c:pt idx="11429">
                  <c:v>168084</c:v>
                </c:pt>
                <c:pt idx="11430">
                  <c:v>168080</c:v>
                </c:pt>
                <c:pt idx="11431">
                  <c:v>168074</c:v>
                </c:pt>
                <c:pt idx="11432">
                  <c:v>168056</c:v>
                </c:pt>
                <c:pt idx="11433">
                  <c:v>168040</c:v>
                </c:pt>
                <c:pt idx="11434">
                  <c:v>168023</c:v>
                </c:pt>
                <c:pt idx="11435">
                  <c:v>168008</c:v>
                </c:pt>
                <c:pt idx="11436">
                  <c:v>167978</c:v>
                </c:pt>
                <c:pt idx="11437">
                  <c:v>167924</c:v>
                </c:pt>
                <c:pt idx="11438">
                  <c:v>167879</c:v>
                </c:pt>
                <c:pt idx="11439">
                  <c:v>167871</c:v>
                </c:pt>
                <c:pt idx="11440">
                  <c:v>167867</c:v>
                </c:pt>
                <c:pt idx="11441">
                  <c:v>167867</c:v>
                </c:pt>
                <c:pt idx="11442">
                  <c:v>167865</c:v>
                </c:pt>
                <c:pt idx="11443">
                  <c:v>167820</c:v>
                </c:pt>
                <c:pt idx="11444">
                  <c:v>167819</c:v>
                </c:pt>
                <c:pt idx="11445">
                  <c:v>167806</c:v>
                </c:pt>
                <c:pt idx="11446">
                  <c:v>167795</c:v>
                </c:pt>
                <c:pt idx="11447">
                  <c:v>167718</c:v>
                </c:pt>
                <c:pt idx="11448">
                  <c:v>167715</c:v>
                </c:pt>
                <c:pt idx="11449">
                  <c:v>167703</c:v>
                </c:pt>
                <c:pt idx="11450">
                  <c:v>167700</c:v>
                </c:pt>
                <c:pt idx="11451">
                  <c:v>167698</c:v>
                </c:pt>
                <c:pt idx="11452">
                  <c:v>167655</c:v>
                </c:pt>
                <c:pt idx="11453">
                  <c:v>167646</c:v>
                </c:pt>
                <c:pt idx="11454">
                  <c:v>167602</c:v>
                </c:pt>
                <c:pt idx="11455">
                  <c:v>167598</c:v>
                </c:pt>
                <c:pt idx="11456">
                  <c:v>167570</c:v>
                </c:pt>
                <c:pt idx="11457">
                  <c:v>167549</c:v>
                </c:pt>
                <c:pt idx="11458">
                  <c:v>167535</c:v>
                </c:pt>
                <c:pt idx="11459">
                  <c:v>167533</c:v>
                </c:pt>
                <c:pt idx="11460">
                  <c:v>167525</c:v>
                </c:pt>
                <c:pt idx="11461">
                  <c:v>167520</c:v>
                </c:pt>
                <c:pt idx="11462">
                  <c:v>167510</c:v>
                </c:pt>
                <c:pt idx="11463">
                  <c:v>167466</c:v>
                </c:pt>
                <c:pt idx="11464">
                  <c:v>167451</c:v>
                </c:pt>
                <c:pt idx="11465">
                  <c:v>167449</c:v>
                </c:pt>
                <c:pt idx="11466">
                  <c:v>167439</c:v>
                </c:pt>
                <c:pt idx="11467">
                  <c:v>167406</c:v>
                </c:pt>
                <c:pt idx="11468">
                  <c:v>167405</c:v>
                </c:pt>
                <c:pt idx="11469">
                  <c:v>167390</c:v>
                </c:pt>
                <c:pt idx="11470">
                  <c:v>167388</c:v>
                </c:pt>
                <c:pt idx="11471">
                  <c:v>167354</c:v>
                </c:pt>
                <c:pt idx="11472">
                  <c:v>167302</c:v>
                </c:pt>
                <c:pt idx="11473">
                  <c:v>167270</c:v>
                </c:pt>
                <c:pt idx="11474">
                  <c:v>167258</c:v>
                </c:pt>
                <c:pt idx="11475">
                  <c:v>167246</c:v>
                </c:pt>
                <c:pt idx="11476">
                  <c:v>167243</c:v>
                </c:pt>
                <c:pt idx="11477">
                  <c:v>167239</c:v>
                </c:pt>
                <c:pt idx="11478">
                  <c:v>167225</c:v>
                </c:pt>
                <c:pt idx="11479">
                  <c:v>167183</c:v>
                </c:pt>
                <c:pt idx="11480">
                  <c:v>167139</c:v>
                </c:pt>
                <c:pt idx="11481">
                  <c:v>167119</c:v>
                </c:pt>
                <c:pt idx="11482">
                  <c:v>167046</c:v>
                </c:pt>
                <c:pt idx="11483">
                  <c:v>167039</c:v>
                </c:pt>
                <c:pt idx="11484">
                  <c:v>167039</c:v>
                </c:pt>
                <c:pt idx="11485">
                  <c:v>167030</c:v>
                </c:pt>
                <c:pt idx="11486">
                  <c:v>167022</c:v>
                </c:pt>
                <c:pt idx="11487">
                  <c:v>167012</c:v>
                </c:pt>
                <c:pt idx="11488">
                  <c:v>167008</c:v>
                </c:pt>
                <c:pt idx="11489">
                  <c:v>167007</c:v>
                </c:pt>
                <c:pt idx="11490">
                  <c:v>167002</c:v>
                </c:pt>
                <c:pt idx="11491">
                  <c:v>166978</c:v>
                </c:pt>
                <c:pt idx="11492">
                  <c:v>166963</c:v>
                </c:pt>
                <c:pt idx="11493">
                  <c:v>166956</c:v>
                </c:pt>
                <c:pt idx="11494">
                  <c:v>166944</c:v>
                </c:pt>
                <c:pt idx="11495">
                  <c:v>166937</c:v>
                </c:pt>
                <c:pt idx="11496">
                  <c:v>166893</c:v>
                </c:pt>
                <c:pt idx="11497">
                  <c:v>166871</c:v>
                </c:pt>
                <c:pt idx="11498">
                  <c:v>166865</c:v>
                </c:pt>
                <c:pt idx="11499">
                  <c:v>166838</c:v>
                </c:pt>
                <c:pt idx="11500">
                  <c:v>166829</c:v>
                </c:pt>
                <c:pt idx="11501">
                  <c:v>166796</c:v>
                </c:pt>
                <c:pt idx="11502">
                  <c:v>166779</c:v>
                </c:pt>
                <c:pt idx="11503">
                  <c:v>166724</c:v>
                </c:pt>
                <c:pt idx="11504">
                  <c:v>166696</c:v>
                </c:pt>
                <c:pt idx="11505">
                  <c:v>166642</c:v>
                </c:pt>
                <c:pt idx="11506">
                  <c:v>166619</c:v>
                </c:pt>
                <c:pt idx="11507">
                  <c:v>166590</c:v>
                </c:pt>
                <c:pt idx="11508">
                  <c:v>166587</c:v>
                </c:pt>
                <c:pt idx="11509">
                  <c:v>166571</c:v>
                </c:pt>
                <c:pt idx="11510">
                  <c:v>166559</c:v>
                </c:pt>
                <c:pt idx="11511">
                  <c:v>166557</c:v>
                </c:pt>
                <c:pt idx="11512">
                  <c:v>166549</c:v>
                </c:pt>
                <c:pt idx="11513">
                  <c:v>166541</c:v>
                </c:pt>
                <c:pt idx="11514">
                  <c:v>166507</c:v>
                </c:pt>
                <c:pt idx="11515">
                  <c:v>166488</c:v>
                </c:pt>
                <c:pt idx="11516">
                  <c:v>166484</c:v>
                </c:pt>
                <c:pt idx="11517">
                  <c:v>166445</c:v>
                </c:pt>
                <c:pt idx="11518">
                  <c:v>166439</c:v>
                </c:pt>
                <c:pt idx="11519">
                  <c:v>166420</c:v>
                </c:pt>
                <c:pt idx="11520">
                  <c:v>166415</c:v>
                </c:pt>
                <c:pt idx="11521">
                  <c:v>166413</c:v>
                </c:pt>
                <c:pt idx="11522">
                  <c:v>166401</c:v>
                </c:pt>
                <c:pt idx="11523">
                  <c:v>166392</c:v>
                </c:pt>
                <c:pt idx="11524">
                  <c:v>166331</c:v>
                </c:pt>
                <c:pt idx="11525">
                  <c:v>166298</c:v>
                </c:pt>
                <c:pt idx="11526">
                  <c:v>166279</c:v>
                </c:pt>
                <c:pt idx="11527">
                  <c:v>166278</c:v>
                </c:pt>
                <c:pt idx="11528">
                  <c:v>166260</c:v>
                </c:pt>
                <c:pt idx="11529">
                  <c:v>166236</c:v>
                </c:pt>
                <c:pt idx="11530">
                  <c:v>166225</c:v>
                </c:pt>
                <c:pt idx="11531">
                  <c:v>166192</c:v>
                </c:pt>
                <c:pt idx="11532">
                  <c:v>166187</c:v>
                </c:pt>
                <c:pt idx="11533">
                  <c:v>166177</c:v>
                </c:pt>
                <c:pt idx="11534">
                  <c:v>166176</c:v>
                </c:pt>
                <c:pt idx="11535">
                  <c:v>166173</c:v>
                </c:pt>
                <c:pt idx="11536">
                  <c:v>166151</c:v>
                </c:pt>
                <c:pt idx="11537">
                  <c:v>166148</c:v>
                </c:pt>
                <c:pt idx="11538">
                  <c:v>166135</c:v>
                </c:pt>
                <c:pt idx="11539">
                  <c:v>166130</c:v>
                </c:pt>
                <c:pt idx="11540">
                  <c:v>166124</c:v>
                </c:pt>
                <c:pt idx="11541">
                  <c:v>166107</c:v>
                </c:pt>
                <c:pt idx="11542">
                  <c:v>166107</c:v>
                </c:pt>
                <c:pt idx="11543">
                  <c:v>166087</c:v>
                </c:pt>
                <c:pt idx="11544">
                  <c:v>166082</c:v>
                </c:pt>
                <c:pt idx="11545">
                  <c:v>166059</c:v>
                </c:pt>
                <c:pt idx="11546">
                  <c:v>166020</c:v>
                </c:pt>
                <c:pt idx="11547">
                  <c:v>165959</c:v>
                </c:pt>
                <c:pt idx="11548">
                  <c:v>165957</c:v>
                </c:pt>
                <c:pt idx="11549">
                  <c:v>165950</c:v>
                </c:pt>
                <c:pt idx="11550">
                  <c:v>165928</c:v>
                </c:pt>
                <c:pt idx="11551">
                  <c:v>165908</c:v>
                </c:pt>
                <c:pt idx="11552">
                  <c:v>165906</c:v>
                </c:pt>
                <c:pt idx="11553">
                  <c:v>165896</c:v>
                </c:pt>
                <c:pt idx="11554">
                  <c:v>165884</c:v>
                </c:pt>
                <c:pt idx="11555">
                  <c:v>165878</c:v>
                </c:pt>
                <c:pt idx="11556">
                  <c:v>165870</c:v>
                </c:pt>
                <c:pt idx="11557">
                  <c:v>165858</c:v>
                </c:pt>
                <c:pt idx="11558">
                  <c:v>165856</c:v>
                </c:pt>
                <c:pt idx="11559">
                  <c:v>165856</c:v>
                </c:pt>
                <c:pt idx="11560">
                  <c:v>165842</c:v>
                </c:pt>
                <c:pt idx="11561">
                  <c:v>165826</c:v>
                </c:pt>
                <c:pt idx="11562">
                  <c:v>165812</c:v>
                </c:pt>
                <c:pt idx="11563">
                  <c:v>165790</c:v>
                </c:pt>
                <c:pt idx="11564">
                  <c:v>165761</c:v>
                </c:pt>
                <c:pt idx="11565">
                  <c:v>165745</c:v>
                </c:pt>
                <c:pt idx="11566">
                  <c:v>165726</c:v>
                </c:pt>
                <c:pt idx="11567">
                  <c:v>165725</c:v>
                </c:pt>
                <c:pt idx="11568">
                  <c:v>165711</c:v>
                </c:pt>
                <c:pt idx="11569">
                  <c:v>165709</c:v>
                </c:pt>
                <c:pt idx="11570">
                  <c:v>165687</c:v>
                </c:pt>
                <c:pt idx="11571">
                  <c:v>165686</c:v>
                </c:pt>
                <c:pt idx="11572">
                  <c:v>165658</c:v>
                </c:pt>
                <c:pt idx="11573">
                  <c:v>165653</c:v>
                </c:pt>
                <c:pt idx="11574">
                  <c:v>165641</c:v>
                </c:pt>
                <c:pt idx="11575">
                  <c:v>165616</c:v>
                </c:pt>
                <c:pt idx="11576">
                  <c:v>165591</c:v>
                </c:pt>
                <c:pt idx="11577">
                  <c:v>165578</c:v>
                </c:pt>
                <c:pt idx="11578">
                  <c:v>165537</c:v>
                </c:pt>
                <c:pt idx="11579">
                  <c:v>165533</c:v>
                </c:pt>
                <c:pt idx="11580">
                  <c:v>165532</c:v>
                </c:pt>
                <c:pt idx="11581">
                  <c:v>165526</c:v>
                </c:pt>
                <c:pt idx="11582">
                  <c:v>165521</c:v>
                </c:pt>
                <c:pt idx="11583">
                  <c:v>165520</c:v>
                </c:pt>
                <c:pt idx="11584">
                  <c:v>165516</c:v>
                </c:pt>
                <c:pt idx="11585">
                  <c:v>165498</c:v>
                </c:pt>
                <c:pt idx="11586">
                  <c:v>165484</c:v>
                </c:pt>
                <c:pt idx="11587">
                  <c:v>165484</c:v>
                </c:pt>
                <c:pt idx="11588">
                  <c:v>165474</c:v>
                </c:pt>
                <c:pt idx="11589">
                  <c:v>165464</c:v>
                </c:pt>
                <c:pt idx="11590">
                  <c:v>165464</c:v>
                </c:pt>
                <c:pt idx="11591">
                  <c:v>165459</c:v>
                </c:pt>
                <c:pt idx="11592">
                  <c:v>165415</c:v>
                </c:pt>
                <c:pt idx="11593">
                  <c:v>165399</c:v>
                </c:pt>
                <c:pt idx="11594">
                  <c:v>165386</c:v>
                </c:pt>
                <c:pt idx="11595">
                  <c:v>165378</c:v>
                </c:pt>
                <c:pt idx="11596">
                  <c:v>165347</c:v>
                </c:pt>
                <c:pt idx="11597">
                  <c:v>165340</c:v>
                </c:pt>
                <c:pt idx="11598">
                  <c:v>165277</c:v>
                </c:pt>
                <c:pt idx="11599">
                  <c:v>165261</c:v>
                </c:pt>
                <c:pt idx="11600">
                  <c:v>165199</c:v>
                </c:pt>
                <c:pt idx="11601">
                  <c:v>165158</c:v>
                </c:pt>
                <c:pt idx="11602">
                  <c:v>165149</c:v>
                </c:pt>
                <c:pt idx="11603">
                  <c:v>165148</c:v>
                </c:pt>
                <c:pt idx="11604">
                  <c:v>165129</c:v>
                </c:pt>
                <c:pt idx="11605">
                  <c:v>165116</c:v>
                </c:pt>
                <c:pt idx="11606">
                  <c:v>165109</c:v>
                </c:pt>
                <c:pt idx="11607">
                  <c:v>165104</c:v>
                </c:pt>
                <c:pt idx="11608">
                  <c:v>165066</c:v>
                </c:pt>
                <c:pt idx="11609">
                  <c:v>165043</c:v>
                </c:pt>
                <c:pt idx="11610">
                  <c:v>165024</c:v>
                </c:pt>
                <c:pt idx="11611">
                  <c:v>165009</c:v>
                </c:pt>
                <c:pt idx="11612">
                  <c:v>165006</c:v>
                </c:pt>
                <c:pt idx="11613">
                  <c:v>164999</c:v>
                </c:pt>
                <c:pt idx="11614">
                  <c:v>164995</c:v>
                </c:pt>
                <c:pt idx="11615">
                  <c:v>164974</c:v>
                </c:pt>
                <c:pt idx="11616">
                  <c:v>164968</c:v>
                </c:pt>
                <c:pt idx="11617">
                  <c:v>164955</c:v>
                </c:pt>
                <c:pt idx="11618">
                  <c:v>164933</c:v>
                </c:pt>
                <c:pt idx="11619">
                  <c:v>164919</c:v>
                </c:pt>
                <c:pt idx="11620">
                  <c:v>164915</c:v>
                </c:pt>
                <c:pt idx="11621">
                  <c:v>164853</c:v>
                </c:pt>
                <c:pt idx="11622">
                  <c:v>164810</c:v>
                </c:pt>
                <c:pt idx="11623">
                  <c:v>164802</c:v>
                </c:pt>
                <c:pt idx="11624">
                  <c:v>164774</c:v>
                </c:pt>
                <c:pt idx="11625">
                  <c:v>164721</c:v>
                </c:pt>
                <c:pt idx="11626">
                  <c:v>164717</c:v>
                </c:pt>
                <c:pt idx="11627">
                  <c:v>164713</c:v>
                </c:pt>
                <c:pt idx="11628">
                  <c:v>164693</c:v>
                </c:pt>
                <c:pt idx="11629">
                  <c:v>164685</c:v>
                </c:pt>
                <c:pt idx="11630">
                  <c:v>164646</c:v>
                </c:pt>
                <c:pt idx="11631">
                  <c:v>164634</c:v>
                </c:pt>
                <c:pt idx="11632">
                  <c:v>164553</c:v>
                </c:pt>
                <c:pt idx="11633">
                  <c:v>164518</c:v>
                </c:pt>
                <c:pt idx="11634">
                  <c:v>164414</c:v>
                </c:pt>
                <c:pt idx="11635">
                  <c:v>164382</c:v>
                </c:pt>
                <c:pt idx="11636">
                  <c:v>164381</c:v>
                </c:pt>
                <c:pt idx="11637">
                  <c:v>164376</c:v>
                </c:pt>
                <c:pt idx="11638">
                  <c:v>164363</c:v>
                </c:pt>
                <c:pt idx="11639">
                  <c:v>164306</c:v>
                </c:pt>
                <c:pt idx="11640">
                  <c:v>164286</c:v>
                </c:pt>
                <c:pt idx="11641">
                  <c:v>164274</c:v>
                </c:pt>
                <c:pt idx="11642">
                  <c:v>164270</c:v>
                </c:pt>
                <c:pt idx="11643">
                  <c:v>164269</c:v>
                </c:pt>
                <c:pt idx="11644">
                  <c:v>164249</c:v>
                </c:pt>
                <c:pt idx="11645">
                  <c:v>164247</c:v>
                </c:pt>
                <c:pt idx="11646">
                  <c:v>164242</c:v>
                </c:pt>
                <c:pt idx="11647">
                  <c:v>164211</c:v>
                </c:pt>
                <c:pt idx="11648">
                  <c:v>164198</c:v>
                </c:pt>
                <c:pt idx="11649">
                  <c:v>164192</c:v>
                </c:pt>
                <c:pt idx="11650">
                  <c:v>164191</c:v>
                </c:pt>
                <c:pt idx="11651">
                  <c:v>164181</c:v>
                </c:pt>
                <c:pt idx="11652">
                  <c:v>164158</c:v>
                </c:pt>
                <c:pt idx="11653">
                  <c:v>164126</c:v>
                </c:pt>
                <c:pt idx="11654">
                  <c:v>164123</c:v>
                </c:pt>
                <c:pt idx="11655">
                  <c:v>164120</c:v>
                </c:pt>
                <c:pt idx="11656">
                  <c:v>164108</c:v>
                </c:pt>
                <c:pt idx="11657">
                  <c:v>164105</c:v>
                </c:pt>
                <c:pt idx="11658">
                  <c:v>164079</c:v>
                </c:pt>
                <c:pt idx="11659">
                  <c:v>164045</c:v>
                </c:pt>
                <c:pt idx="11660">
                  <c:v>164041</c:v>
                </c:pt>
                <c:pt idx="11661">
                  <c:v>164026</c:v>
                </c:pt>
                <c:pt idx="11662">
                  <c:v>164024</c:v>
                </c:pt>
                <c:pt idx="11663">
                  <c:v>164019</c:v>
                </c:pt>
                <c:pt idx="11664">
                  <c:v>164016</c:v>
                </c:pt>
                <c:pt idx="11665">
                  <c:v>163991</c:v>
                </c:pt>
                <c:pt idx="11666">
                  <c:v>163988</c:v>
                </c:pt>
                <c:pt idx="11667">
                  <c:v>163983</c:v>
                </c:pt>
                <c:pt idx="11668">
                  <c:v>163957</c:v>
                </c:pt>
                <c:pt idx="11669">
                  <c:v>163949</c:v>
                </c:pt>
                <c:pt idx="11670">
                  <c:v>163937</c:v>
                </c:pt>
                <c:pt idx="11671">
                  <c:v>163934</c:v>
                </c:pt>
                <c:pt idx="11672">
                  <c:v>163924</c:v>
                </c:pt>
                <c:pt idx="11673">
                  <c:v>163910</c:v>
                </c:pt>
                <c:pt idx="11674">
                  <c:v>163864</c:v>
                </c:pt>
                <c:pt idx="11675">
                  <c:v>163863</c:v>
                </c:pt>
                <c:pt idx="11676">
                  <c:v>163845</c:v>
                </c:pt>
                <c:pt idx="11677">
                  <c:v>163821</c:v>
                </c:pt>
                <c:pt idx="11678">
                  <c:v>163810</c:v>
                </c:pt>
                <c:pt idx="11679">
                  <c:v>163808</c:v>
                </c:pt>
                <c:pt idx="11680">
                  <c:v>163784</c:v>
                </c:pt>
                <c:pt idx="11681">
                  <c:v>163756</c:v>
                </c:pt>
                <c:pt idx="11682">
                  <c:v>163752</c:v>
                </c:pt>
                <c:pt idx="11683">
                  <c:v>163751</c:v>
                </c:pt>
                <c:pt idx="11684">
                  <c:v>163739</c:v>
                </c:pt>
                <c:pt idx="11685">
                  <c:v>163734</c:v>
                </c:pt>
                <c:pt idx="11686">
                  <c:v>163726</c:v>
                </c:pt>
                <c:pt idx="11687">
                  <c:v>163715</c:v>
                </c:pt>
                <c:pt idx="11688">
                  <c:v>163706</c:v>
                </c:pt>
                <c:pt idx="11689">
                  <c:v>163689</c:v>
                </c:pt>
                <c:pt idx="11690">
                  <c:v>163669</c:v>
                </c:pt>
                <c:pt idx="11691">
                  <c:v>163649</c:v>
                </c:pt>
                <c:pt idx="11692">
                  <c:v>163649</c:v>
                </c:pt>
                <c:pt idx="11693">
                  <c:v>163608</c:v>
                </c:pt>
                <c:pt idx="11694">
                  <c:v>163599</c:v>
                </c:pt>
                <c:pt idx="11695">
                  <c:v>163590</c:v>
                </c:pt>
                <c:pt idx="11696">
                  <c:v>163586</c:v>
                </c:pt>
                <c:pt idx="11697">
                  <c:v>163583</c:v>
                </c:pt>
                <c:pt idx="11698">
                  <c:v>163550</c:v>
                </c:pt>
                <c:pt idx="11699">
                  <c:v>163512</c:v>
                </c:pt>
                <c:pt idx="11700">
                  <c:v>163509</c:v>
                </c:pt>
                <c:pt idx="11701">
                  <c:v>163503</c:v>
                </c:pt>
                <c:pt idx="11702">
                  <c:v>163499</c:v>
                </c:pt>
                <c:pt idx="11703">
                  <c:v>163497</c:v>
                </c:pt>
                <c:pt idx="11704">
                  <c:v>163493</c:v>
                </c:pt>
                <c:pt idx="11705">
                  <c:v>163481</c:v>
                </c:pt>
                <c:pt idx="11706">
                  <c:v>163479</c:v>
                </c:pt>
                <c:pt idx="11707">
                  <c:v>163467</c:v>
                </c:pt>
                <c:pt idx="11708">
                  <c:v>163458</c:v>
                </c:pt>
                <c:pt idx="11709">
                  <c:v>163457</c:v>
                </c:pt>
                <c:pt idx="11710">
                  <c:v>163452</c:v>
                </c:pt>
                <c:pt idx="11711">
                  <c:v>163439</c:v>
                </c:pt>
                <c:pt idx="11712">
                  <c:v>163418</c:v>
                </c:pt>
                <c:pt idx="11713">
                  <c:v>163396</c:v>
                </c:pt>
                <c:pt idx="11714">
                  <c:v>163363</c:v>
                </c:pt>
                <c:pt idx="11715">
                  <c:v>163336</c:v>
                </c:pt>
                <c:pt idx="11716">
                  <c:v>163335</c:v>
                </c:pt>
                <c:pt idx="11717">
                  <c:v>163318</c:v>
                </c:pt>
                <c:pt idx="11718">
                  <c:v>163306</c:v>
                </c:pt>
                <c:pt idx="11719">
                  <c:v>163262</c:v>
                </c:pt>
                <c:pt idx="11720">
                  <c:v>163259</c:v>
                </c:pt>
                <c:pt idx="11721">
                  <c:v>163253</c:v>
                </c:pt>
                <c:pt idx="11722">
                  <c:v>163249</c:v>
                </c:pt>
                <c:pt idx="11723">
                  <c:v>163241</c:v>
                </c:pt>
                <c:pt idx="11724">
                  <c:v>163236</c:v>
                </c:pt>
                <c:pt idx="11725">
                  <c:v>163232</c:v>
                </c:pt>
                <c:pt idx="11726">
                  <c:v>163200</c:v>
                </c:pt>
                <c:pt idx="11727">
                  <c:v>163151</c:v>
                </c:pt>
                <c:pt idx="11728">
                  <c:v>163117</c:v>
                </c:pt>
                <c:pt idx="11729">
                  <c:v>163103</c:v>
                </c:pt>
                <c:pt idx="11730">
                  <c:v>163101</c:v>
                </c:pt>
                <c:pt idx="11731">
                  <c:v>163096</c:v>
                </c:pt>
                <c:pt idx="11732">
                  <c:v>163086</c:v>
                </c:pt>
                <c:pt idx="11733">
                  <c:v>163078</c:v>
                </c:pt>
                <c:pt idx="11734">
                  <c:v>163073</c:v>
                </c:pt>
                <c:pt idx="11735">
                  <c:v>163063</c:v>
                </c:pt>
                <c:pt idx="11736">
                  <c:v>163041</c:v>
                </c:pt>
                <c:pt idx="11737">
                  <c:v>163009</c:v>
                </c:pt>
                <c:pt idx="11738">
                  <c:v>162977</c:v>
                </c:pt>
                <c:pt idx="11739">
                  <c:v>162926</c:v>
                </c:pt>
                <c:pt idx="11740">
                  <c:v>162900</c:v>
                </c:pt>
                <c:pt idx="11741">
                  <c:v>162880</c:v>
                </c:pt>
                <c:pt idx="11742">
                  <c:v>162866</c:v>
                </c:pt>
                <c:pt idx="11743">
                  <c:v>162857</c:v>
                </c:pt>
                <c:pt idx="11744">
                  <c:v>162846</c:v>
                </c:pt>
                <c:pt idx="11745">
                  <c:v>162828</c:v>
                </c:pt>
                <c:pt idx="11746">
                  <c:v>162824</c:v>
                </c:pt>
                <c:pt idx="11747">
                  <c:v>162818</c:v>
                </c:pt>
                <c:pt idx="11748">
                  <c:v>162813</c:v>
                </c:pt>
                <c:pt idx="11749">
                  <c:v>162770</c:v>
                </c:pt>
                <c:pt idx="11750">
                  <c:v>162723</c:v>
                </c:pt>
                <c:pt idx="11751">
                  <c:v>162691</c:v>
                </c:pt>
                <c:pt idx="11752">
                  <c:v>162682</c:v>
                </c:pt>
                <c:pt idx="11753">
                  <c:v>162655</c:v>
                </c:pt>
                <c:pt idx="11754">
                  <c:v>162654</c:v>
                </c:pt>
                <c:pt idx="11755">
                  <c:v>162648</c:v>
                </c:pt>
                <c:pt idx="11756">
                  <c:v>162646</c:v>
                </c:pt>
                <c:pt idx="11757">
                  <c:v>162641</c:v>
                </c:pt>
                <c:pt idx="11758">
                  <c:v>162640</c:v>
                </c:pt>
                <c:pt idx="11759">
                  <c:v>162625</c:v>
                </c:pt>
                <c:pt idx="11760">
                  <c:v>162589</c:v>
                </c:pt>
                <c:pt idx="11761">
                  <c:v>162563</c:v>
                </c:pt>
                <c:pt idx="11762">
                  <c:v>162542</c:v>
                </c:pt>
                <c:pt idx="11763">
                  <c:v>162519</c:v>
                </c:pt>
                <c:pt idx="11764">
                  <c:v>162511</c:v>
                </c:pt>
                <c:pt idx="11765">
                  <c:v>162473</c:v>
                </c:pt>
                <c:pt idx="11766">
                  <c:v>162423</c:v>
                </c:pt>
                <c:pt idx="11767">
                  <c:v>162383</c:v>
                </c:pt>
                <c:pt idx="11768">
                  <c:v>162371</c:v>
                </c:pt>
                <c:pt idx="11769">
                  <c:v>162369</c:v>
                </c:pt>
                <c:pt idx="11770">
                  <c:v>162328</c:v>
                </c:pt>
                <c:pt idx="11771">
                  <c:v>162324</c:v>
                </c:pt>
                <c:pt idx="11772">
                  <c:v>162316</c:v>
                </c:pt>
                <c:pt idx="11773">
                  <c:v>162310</c:v>
                </c:pt>
                <c:pt idx="11774">
                  <c:v>162306</c:v>
                </c:pt>
                <c:pt idx="11775">
                  <c:v>162306</c:v>
                </c:pt>
                <c:pt idx="11776">
                  <c:v>162293</c:v>
                </c:pt>
                <c:pt idx="11777">
                  <c:v>162289</c:v>
                </c:pt>
                <c:pt idx="11778">
                  <c:v>162282</c:v>
                </c:pt>
                <c:pt idx="11779">
                  <c:v>162237</c:v>
                </c:pt>
                <c:pt idx="11780">
                  <c:v>162225</c:v>
                </c:pt>
                <c:pt idx="11781">
                  <c:v>162220</c:v>
                </c:pt>
                <c:pt idx="11782">
                  <c:v>162211</c:v>
                </c:pt>
                <c:pt idx="11783">
                  <c:v>162157</c:v>
                </c:pt>
                <c:pt idx="11784">
                  <c:v>162156</c:v>
                </c:pt>
                <c:pt idx="11785">
                  <c:v>162151</c:v>
                </c:pt>
                <c:pt idx="11786">
                  <c:v>162143</c:v>
                </c:pt>
                <c:pt idx="11787">
                  <c:v>162137</c:v>
                </c:pt>
                <c:pt idx="11788">
                  <c:v>162125</c:v>
                </c:pt>
                <c:pt idx="11789">
                  <c:v>162119</c:v>
                </c:pt>
                <c:pt idx="11790">
                  <c:v>162071</c:v>
                </c:pt>
                <c:pt idx="11791">
                  <c:v>162069</c:v>
                </c:pt>
                <c:pt idx="11792">
                  <c:v>162047</c:v>
                </c:pt>
                <c:pt idx="11793">
                  <c:v>162037</c:v>
                </c:pt>
                <c:pt idx="11794">
                  <c:v>162030</c:v>
                </c:pt>
                <c:pt idx="11795">
                  <c:v>162025</c:v>
                </c:pt>
                <c:pt idx="11796">
                  <c:v>162025</c:v>
                </c:pt>
                <c:pt idx="11797">
                  <c:v>162022</c:v>
                </c:pt>
                <c:pt idx="11798">
                  <c:v>161992</c:v>
                </c:pt>
                <c:pt idx="11799">
                  <c:v>161958</c:v>
                </c:pt>
                <c:pt idx="11800">
                  <c:v>161948</c:v>
                </c:pt>
                <c:pt idx="11801">
                  <c:v>161946</c:v>
                </c:pt>
                <c:pt idx="11802">
                  <c:v>161927</c:v>
                </c:pt>
                <c:pt idx="11803">
                  <c:v>161917</c:v>
                </c:pt>
                <c:pt idx="11804">
                  <c:v>161907</c:v>
                </c:pt>
                <c:pt idx="11805">
                  <c:v>161898</c:v>
                </c:pt>
                <c:pt idx="11806">
                  <c:v>161895</c:v>
                </c:pt>
                <c:pt idx="11807">
                  <c:v>161893</c:v>
                </c:pt>
                <c:pt idx="11808">
                  <c:v>161883</c:v>
                </c:pt>
                <c:pt idx="11809">
                  <c:v>161860</c:v>
                </c:pt>
                <c:pt idx="11810">
                  <c:v>161855</c:v>
                </c:pt>
                <c:pt idx="11811">
                  <c:v>161851</c:v>
                </c:pt>
                <c:pt idx="11812">
                  <c:v>161830</c:v>
                </c:pt>
                <c:pt idx="11813">
                  <c:v>161825</c:v>
                </c:pt>
                <c:pt idx="11814">
                  <c:v>161806</c:v>
                </c:pt>
                <c:pt idx="11815">
                  <c:v>161785</c:v>
                </c:pt>
                <c:pt idx="11816">
                  <c:v>161768</c:v>
                </c:pt>
                <c:pt idx="11817">
                  <c:v>161747</c:v>
                </c:pt>
                <c:pt idx="11818">
                  <c:v>161742</c:v>
                </c:pt>
                <c:pt idx="11819">
                  <c:v>161736</c:v>
                </c:pt>
                <c:pt idx="11820">
                  <c:v>161694</c:v>
                </c:pt>
                <c:pt idx="11821">
                  <c:v>161685</c:v>
                </c:pt>
                <c:pt idx="11822">
                  <c:v>161676</c:v>
                </c:pt>
                <c:pt idx="11823">
                  <c:v>161672</c:v>
                </c:pt>
                <c:pt idx="11824">
                  <c:v>161667</c:v>
                </c:pt>
                <c:pt idx="11825">
                  <c:v>161649</c:v>
                </c:pt>
                <c:pt idx="11826">
                  <c:v>161629</c:v>
                </c:pt>
                <c:pt idx="11827">
                  <c:v>161612</c:v>
                </c:pt>
                <c:pt idx="11828">
                  <c:v>161607</c:v>
                </c:pt>
                <c:pt idx="11829">
                  <c:v>161605</c:v>
                </c:pt>
                <c:pt idx="11830">
                  <c:v>161591</c:v>
                </c:pt>
                <c:pt idx="11831">
                  <c:v>161588</c:v>
                </c:pt>
                <c:pt idx="11832">
                  <c:v>161571</c:v>
                </c:pt>
                <c:pt idx="11833">
                  <c:v>161563</c:v>
                </c:pt>
                <c:pt idx="11834">
                  <c:v>161562</c:v>
                </c:pt>
                <c:pt idx="11835">
                  <c:v>161551</c:v>
                </c:pt>
                <c:pt idx="11836">
                  <c:v>161547</c:v>
                </c:pt>
                <c:pt idx="11837">
                  <c:v>161532</c:v>
                </c:pt>
                <c:pt idx="11838">
                  <c:v>161517</c:v>
                </c:pt>
                <c:pt idx="11839">
                  <c:v>161516</c:v>
                </c:pt>
                <c:pt idx="11840">
                  <c:v>161489</c:v>
                </c:pt>
                <c:pt idx="11841">
                  <c:v>161477</c:v>
                </c:pt>
                <c:pt idx="11842">
                  <c:v>161474</c:v>
                </c:pt>
                <c:pt idx="11843">
                  <c:v>161468</c:v>
                </c:pt>
                <c:pt idx="11844">
                  <c:v>161432</c:v>
                </c:pt>
                <c:pt idx="11845">
                  <c:v>161416</c:v>
                </c:pt>
                <c:pt idx="11846">
                  <c:v>161401</c:v>
                </c:pt>
                <c:pt idx="11847">
                  <c:v>161396</c:v>
                </c:pt>
                <c:pt idx="11848">
                  <c:v>161385</c:v>
                </c:pt>
                <c:pt idx="11849">
                  <c:v>161380</c:v>
                </c:pt>
                <c:pt idx="11850">
                  <c:v>161379</c:v>
                </c:pt>
                <c:pt idx="11851">
                  <c:v>161374</c:v>
                </c:pt>
                <c:pt idx="11852">
                  <c:v>161363</c:v>
                </c:pt>
                <c:pt idx="11853">
                  <c:v>161351</c:v>
                </c:pt>
                <c:pt idx="11854">
                  <c:v>161348</c:v>
                </c:pt>
                <c:pt idx="11855">
                  <c:v>161338</c:v>
                </c:pt>
                <c:pt idx="11856">
                  <c:v>161320</c:v>
                </c:pt>
                <c:pt idx="11857">
                  <c:v>161281</c:v>
                </c:pt>
                <c:pt idx="11858">
                  <c:v>161278</c:v>
                </c:pt>
                <c:pt idx="11859">
                  <c:v>161254</c:v>
                </c:pt>
                <c:pt idx="11860">
                  <c:v>161232</c:v>
                </c:pt>
                <c:pt idx="11861">
                  <c:v>161227</c:v>
                </c:pt>
                <c:pt idx="11862">
                  <c:v>161204</c:v>
                </c:pt>
                <c:pt idx="11863">
                  <c:v>161199</c:v>
                </c:pt>
                <c:pt idx="11864">
                  <c:v>161112</c:v>
                </c:pt>
                <c:pt idx="11865">
                  <c:v>161109</c:v>
                </c:pt>
                <c:pt idx="11866">
                  <c:v>161108</c:v>
                </c:pt>
                <c:pt idx="11867">
                  <c:v>161073</c:v>
                </c:pt>
                <c:pt idx="11868">
                  <c:v>161046</c:v>
                </c:pt>
                <c:pt idx="11869">
                  <c:v>161044</c:v>
                </c:pt>
                <c:pt idx="11870">
                  <c:v>161004</c:v>
                </c:pt>
                <c:pt idx="11871">
                  <c:v>160984</c:v>
                </c:pt>
                <c:pt idx="11872">
                  <c:v>160982</c:v>
                </c:pt>
                <c:pt idx="11873">
                  <c:v>160974</c:v>
                </c:pt>
                <c:pt idx="11874">
                  <c:v>160963</c:v>
                </c:pt>
                <c:pt idx="11875">
                  <c:v>160963</c:v>
                </c:pt>
                <c:pt idx="11876">
                  <c:v>160949</c:v>
                </c:pt>
                <c:pt idx="11877">
                  <c:v>160942</c:v>
                </c:pt>
                <c:pt idx="11878">
                  <c:v>160923</c:v>
                </c:pt>
                <c:pt idx="11879">
                  <c:v>160917</c:v>
                </c:pt>
                <c:pt idx="11880">
                  <c:v>160906</c:v>
                </c:pt>
                <c:pt idx="11881">
                  <c:v>160885</c:v>
                </c:pt>
                <c:pt idx="11882">
                  <c:v>160877</c:v>
                </c:pt>
                <c:pt idx="11883">
                  <c:v>160858</c:v>
                </c:pt>
                <c:pt idx="11884">
                  <c:v>160847</c:v>
                </c:pt>
                <c:pt idx="11885">
                  <c:v>160827</c:v>
                </c:pt>
                <c:pt idx="11886">
                  <c:v>160815</c:v>
                </c:pt>
                <c:pt idx="11887">
                  <c:v>160749</c:v>
                </c:pt>
                <c:pt idx="11888">
                  <c:v>160746</c:v>
                </c:pt>
                <c:pt idx="11889">
                  <c:v>160725</c:v>
                </c:pt>
                <c:pt idx="11890">
                  <c:v>160723</c:v>
                </c:pt>
                <c:pt idx="11891">
                  <c:v>160719</c:v>
                </c:pt>
                <c:pt idx="11892">
                  <c:v>160700</c:v>
                </c:pt>
                <c:pt idx="11893">
                  <c:v>160676</c:v>
                </c:pt>
                <c:pt idx="11894">
                  <c:v>160669</c:v>
                </c:pt>
                <c:pt idx="11895">
                  <c:v>160653</c:v>
                </c:pt>
                <c:pt idx="11896">
                  <c:v>160646</c:v>
                </c:pt>
                <c:pt idx="11897">
                  <c:v>160637</c:v>
                </c:pt>
                <c:pt idx="11898">
                  <c:v>160587</c:v>
                </c:pt>
                <c:pt idx="11899">
                  <c:v>160573</c:v>
                </c:pt>
                <c:pt idx="11900">
                  <c:v>160566</c:v>
                </c:pt>
                <c:pt idx="11901">
                  <c:v>160556</c:v>
                </c:pt>
                <c:pt idx="11902">
                  <c:v>160527</c:v>
                </c:pt>
                <c:pt idx="11903">
                  <c:v>160507</c:v>
                </c:pt>
                <c:pt idx="11904">
                  <c:v>160489</c:v>
                </c:pt>
                <c:pt idx="11905">
                  <c:v>160484</c:v>
                </c:pt>
                <c:pt idx="11906">
                  <c:v>160475</c:v>
                </c:pt>
                <c:pt idx="11907">
                  <c:v>160473</c:v>
                </c:pt>
                <c:pt idx="11908">
                  <c:v>160470</c:v>
                </c:pt>
                <c:pt idx="11909">
                  <c:v>160468</c:v>
                </c:pt>
                <c:pt idx="11910">
                  <c:v>160463</c:v>
                </c:pt>
                <c:pt idx="11911">
                  <c:v>160436</c:v>
                </c:pt>
                <c:pt idx="11912">
                  <c:v>160403</c:v>
                </c:pt>
                <c:pt idx="11913">
                  <c:v>160391</c:v>
                </c:pt>
                <c:pt idx="11914">
                  <c:v>160375</c:v>
                </c:pt>
                <c:pt idx="11915">
                  <c:v>160362</c:v>
                </c:pt>
                <c:pt idx="11916">
                  <c:v>160362</c:v>
                </c:pt>
                <c:pt idx="11917">
                  <c:v>160359</c:v>
                </c:pt>
                <c:pt idx="11918">
                  <c:v>160348</c:v>
                </c:pt>
                <c:pt idx="11919">
                  <c:v>160334</c:v>
                </c:pt>
                <c:pt idx="11920">
                  <c:v>160315</c:v>
                </c:pt>
                <c:pt idx="11921">
                  <c:v>160312</c:v>
                </c:pt>
                <c:pt idx="11922">
                  <c:v>160295</c:v>
                </c:pt>
                <c:pt idx="11923">
                  <c:v>160288</c:v>
                </c:pt>
                <c:pt idx="11924">
                  <c:v>160266</c:v>
                </c:pt>
                <c:pt idx="11925">
                  <c:v>160200</c:v>
                </c:pt>
                <c:pt idx="11926">
                  <c:v>160182</c:v>
                </c:pt>
                <c:pt idx="11927">
                  <c:v>160154</c:v>
                </c:pt>
                <c:pt idx="11928">
                  <c:v>160147</c:v>
                </c:pt>
                <c:pt idx="11929">
                  <c:v>160142</c:v>
                </c:pt>
                <c:pt idx="11930">
                  <c:v>160133</c:v>
                </c:pt>
                <c:pt idx="11931">
                  <c:v>160101</c:v>
                </c:pt>
                <c:pt idx="11932">
                  <c:v>160094</c:v>
                </c:pt>
                <c:pt idx="11933">
                  <c:v>160090</c:v>
                </c:pt>
                <c:pt idx="11934">
                  <c:v>160087</c:v>
                </c:pt>
                <c:pt idx="11935">
                  <c:v>160063</c:v>
                </c:pt>
                <c:pt idx="11936">
                  <c:v>160054</c:v>
                </c:pt>
                <c:pt idx="11937">
                  <c:v>160032</c:v>
                </c:pt>
                <c:pt idx="11938">
                  <c:v>160012</c:v>
                </c:pt>
                <c:pt idx="11939">
                  <c:v>159992</c:v>
                </c:pt>
                <c:pt idx="11940">
                  <c:v>159992</c:v>
                </c:pt>
                <c:pt idx="11941">
                  <c:v>159990</c:v>
                </c:pt>
                <c:pt idx="11942">
                  <c:v>159989</c:v>
                </c:pt>
                <c:pt idx="11943">
                  <c:v>159986</c:v>
                </c:pt>
                <c:pt idx="11944">
                  <c:v>159981</c:v>
                </c:pt>
                <c:pt idx="11945">
                  <c:v>159979</c:v>
                </c:pt>
                <c:pt idx="11946">
                  <c:v>159976</c:v>
                </c:pt>
                <c:pt idx="11947">
                  <c:v>159969</c:v>
                </c:pt>
                <c:pt idx="11948">
                  <c:v>159968</c:v>
                </c:pt>
                <c:pt idx="11949">
                  <c:v>159962</c:v>
                </c:pt>
                <c:pt idx="11950">
                  <c:v>159958</c:v>
                </c:pt>
                <c:pt idx="11951">
                  <c:v>159957</c:v>
                </c:pt>
                <c:pt idx="11952">
                  <c:v>159922</c:v>
                </c:pt>
                <c:pt idx="11953">
                  <c:v>159922</c:v>
                </c:pt>
                <c:pt idx="11954">
                  <c:v>159921</c:v>
                </c:pt>
                <c:pt idx="11955">
                  <c:v>159906</c:v>
                </c:pt>
                <c:pt idx="11956">
                  <c:v>159902</c:v>
                </c:pt>
                <c:pt idx="11957">
                  <c:v>159851</c:v>
                </c:pt>
                <c:pt idx="11958">
                  <c:v>159838</c:v>
                </c:pt>
                <c:pt idx="11959">
                  <c:v>159837</c:v>
                </c:pt>
                <c:pt idx="11960">
                  <c:v>159822</c:v>
                </c:pt>
                <c:pt idx="11961">
                  <c:v>159810</c:v>
                </c:pt>
                <c:pt idx="11962">
                  <c:v>159801</c:v>
                </c:pt>
                <c:pt idx="11963">
                  <c:v>159792</c:v>
                </c:pt>
                <c:pt idx="11964">
                  <c:v>159792</c:v>
                </c:pt>
                <c:pt idx="11965">
                  <c:v>159767</c:v>
                </c:pt>
                <c:pt idx="11966">
                  <c:v>159755</c:v>
                </c:pt>
                <c:pt idx="11967">
                  <c:v>159754</c:v>
                </c:pt>
                <c:pt idx="11968">
                  <c:v>159724</c:v>
                </c:pt>
                <c:pt idx="11969">
                  <c:v>159682</c:v>
                </c:pt>
                <c:pt idx="11970">
                  <c:v>159674</c:v>
                </c:pt>
                <c:pt idx="11971">
                  <c:v>159648</c:v>
                </c:pt>
                <c:pt idx="11972">
                  <c:v>159623</c:v>
                </c:pt>
                <c:pt idx="11973">
                  <c:v>159598</c:v>
                </c:pt>
                <c:pt idx="11974">
                  <c:v>159584</c:v>
                </c:pt>
                <c:pt idx="11975">
                  <c:v>159573</c:v>
                </c:pt>
                <c:pt idx="11976">
                  <c:v>159569</c:v>
                </c:pt>
                <c:pt idx="11977">
                  <c:v>159567</c:v>
                </c:pt>
                <c:pt idx="11978">
                  <c:v>159557</c:v>
                </c:pt>
                <c:pt idx="11979">
                  <c:v>159552</c:v>
                </c:pt>
                <c:pt idx="11980">
                  <c:v>159549</c:v>
                </c:pt>
                <c:pt idx="11981">
                  <c:v>159537</c:v>
                </c:pt>
                <c:pt idx="11982">
                  <c:v>159500</c:v>
                </c:pt>
                <c:pt idx="11983">
                  <c:v>159477</c:v>
                </c:pt>
                <c:pt idx="11984">
                  <c:v>159473</c:v>
                </c:pt>
                <c:pt idx="11985">
                  <c:v>159456</c:v>
                </c:pt>
                <c:pt idx="11986">
                  <c:v>159443</c:v>
                </c:pt>
                <c:pt idx="11987">
                  <c:v>159410</c:v>
                </c:pt>
                <c:pt idx="11988">
                  <c:v>159402</c:v>
                </c:pt>
                <c:pt idx="11989">
                  <c:v>159394</c:v>
                </c:pt>
                <c:pt idx="11990">
                  <c:v>159377</c:v>
                </c:pt>
                <c:pt idx="11991">
                  <c:v>159361</c:v>
                </c:pt>
                <c:pt idx="11992">
                  <c:v>159357</c:v>
                </c:pt>
                <c:pt idx="11993">
                  <c:v>159340</c:v>
                </c:pt>
                <c:pt idx="11994">
                  <c:v>159334</c:v>
                </c:pt>
                <c:pt idx="11995">
                  <c:v>159328</c:v>
                </c:pt>
                <c:pt idx="11996">
                  <c:v>159308</c:v>
                </c:pt>
                <c:pt idx="11997">
                  <c:v>159285</c:v>
                </c:pt>
                <c:pt idx="11998">
                  <c:v>159271</c:v>
                </c:pt>
                <c:pt idx="11999">
                  <c:v>159271</c:v>
                </c:pt>
                <c:pt idx="12000">
                  <c:v>159260</c:v>
                </c:pt>
                <c:pt idx="12001">
                  <c:v>159249</c:v>
                </c:pt>
                <c:pt idx="12002">
                  <c:v>159248</c:v>
                </c:pt>
                <c:pt idx="12003">
                  <c:v>159224</c:v>
                </c:pt>
                <c:pt idx="12004">
                  <c:v>159212</c:v>
                </c:pt>
                <c:pt idx="12005">
                  <c:v>159202</c:v>
                </c:pt>
                <c:pt idx="12006">
                  <c:v>159186</c:v>
                </c:pt>
                <c:pt idx="12007">
                  <c:v>159186</c:v>
                </c:pt>
                <c:pt idx="12008">
                  <c:v>159162</c:v>
                </c:pt>
                <c:pt idx="12009">
                  <c:v>159159</c:v>
                </c:pt>
                <c:pt idx="12010">
                  <c:v>159151</c:v>
                </c:pt>
                <c:pt idx="12011">
                  <c:v>159147</c:v>
                </c:pt>
                <c:pt idx="12012">
                  <c:v>159136</c:v>
                </c:pt>
                <c:pt idx="12013">
                  <c:v>159129</c:v>
                </c:pt>
                <c:pt idx="12014">
                  <c:v>159117</c:v>
                </c:pt>
                <c:pt idx="12015">
                  <c:v>159112</c:v>
                </c:pt>
                <c:pt idx="12016">
                  <c:v>159110</c:v>
                </c:pt>
                <c:pt idx="12017">
                  <c:v>159105</c:v>
                </c:pt>
                <c:pt idx="12018">
                  <c:v>159086</c:v>
                </c:pt>
                <c:pt idx="12019">
                  <c:v>159084</c:v>
                </c:pt>
                <c:pt idx="12020">
                  <c:v>159081</c:v>
                </c:pt>
                <c:pt idx="12021">
                  <c:v>159062</c:v>
                </c:pt>
                <c:pt idx="12022">
                  <c:v>159045</c:v>
                </c:pt>
                <c:pt idx="12023">
                  <c:v>159042</c:v>
                </c:pt>
                <c:pt idx="12024">
                  <c:v>159031</c:v>
                </c:pt>
                <c:pt idx="12025">
                  <c:v>159026</c:v>
                </c:pt>
                <c:pt idx="12026">
                  <c:v>159015</c:v>
                </c:pt>
                <c:pt idx="12027">
                  <c:v>158992</c:v>
                </c:pt>
                <c:pt idx="12028">
                  <c:v>158987</c:v>
                </c:pt>
                <c:pt idx="12029">
                  <c:v>158982</c:v>
                </c:pt>
                <c:pt idx="12030">
                  <c:v>158965</c:v>
                </c:pt>
                <c:pt idx="12031">
                  <c:v>158963</c:v>
                </c:pt>
                <c:pt idx="12032">
                  <c:v>158956</c:v>
                </c:pt>
                <c:pt idx="12033">
                  <c:v>158956</c:v>
                </c:pt>
                <c:pt idx="12034">
                  <c:v>158933</c:v>
                </c:pt>
                <c:pt idx="12035">
                  <c:v>158931</c:v>
                </c:pt>
                <c:pt idx="12036">
                  <c:v>158928</c:v>
                </c:pt>
                <c:pt idx="12037">
                  <c:v>158909</c:v>
                </c:pt>
                <c:pt idx="12038">
                  <c:v>158894</c:v>
                </c:pt>
                <c:pt idx="12039">
                  <c:v>158873</c:v>
                </c:pt>
                <c:pt idx="12040">
                  <c:v>158870</c:v>
                </c:pt>
                <c:pt idx="12041">
                  <c:v>158864</c:v>
                </c:pt>
                <c:pt idx="12042">
                  <c:v>158863</c:v>
                </c:pt>
                <c:pt idx="12043">
                  <c:v>158858</c:v>
                </c:pt>
                <c:pt idx="12044">
                  <c:v>158856</c:v>
                </c:pt>
                <c:pt idx="12045">
                  <c:v>158853</c:v>
                </c:pt>
                <c:pt idx="12046">
                  <c:v>158838</c:v>
                </c:pt>
                <c:pt idx="12047">
                  <c:v>158835</c:v>
                </c:pt>
                <c:pt idx="12048">
                  <c:v>158828</c:v>
                </c:pt>
                <c:pt idx="12049">
                  <c:v>158827</c:v>
                </c:pt>
                <c:pt idx="12050">
                  <c:v>158824</c:v>
                </c:pt>
                <c:pt idx="12051">
                  <c:v>158812</c:v>
                </c:pt>
                <c:pt idx="12052">
                  <c:v>158808</c:v>
                </c:pt>
                <c:pt idx="12053">
                  <c:v>158802</c:v>
                </c:pt>
                <c:pt idx="12054">
                  <c:v>158799</c:v>
                </c:pt>
                <c:pt idx="12055">
                  <c:v>158751</c:v>
                </c:pt>
                <c:pt idx="12056">
                  <c:v>158749</c:v>
                </c:pt>
                <c:pt idx="12057">
                  <c:v>158742</c:v>
                </c:pt>
                <c:pt idx="12058">
                  <c:v>158737</c:v>
                </c:pt>
                <c:pt idx="12059">
                  <c:v>158736</c:v>
                </c:pt>
                <c:pt idx="12060">
                  <c:v>158726</c:v>
                </c:pt>
                <c:pt idx="12061">
                  <c:v>158725</c:v>
                </c:pt>
                <c:pt idx="12062">
                  <c:v>158715</c:v>
                </c:pt>
                <c:pt idx="12063">
                  <c:v>158695</c:v>
                </c:pt>
                <c:pt idx="12064">
                  <c:v>158666</c:v>
                </c:pt>
                <c:pt idx="12065">
                  <c:v>158626</c:v>
                </c:pt>
                <c:pt idx="12066">
                  <c:v>158611</c:v>
                </c:pt>
                <c:pt idx="12067">
                  <c:v>158594</c:v>
                </c:pt>
                <c:pt idx="12068">
                  <c:v>158578</c:v>
                </c:pt>
                <c:pt idx="12069">
                  <c:v>158567</c:v>
                </c:pt>
                <c:pt idx="12070">
                  <c:v>158551</c:v>
                </c:pt>
                <c:pt idx="12071">
                  <c:v>158540</c:v>
                </c:pt>
                <c:pt idx="12072">
                  <c:v>158539</c:v>
                </c:pt>
                <c:pt idx="12073">
                  <c:v>158537</c:v>
                </c:pt>
                <c:pt idx="12074">
                  <c:v>158527</c:v>
                </c:pt>
                <c:pt idx="12075">
                  <c:v>158527</c:v>
                </c:pt>
                <c:pt idx="12076">
                  <c:v>158514</c:v>
                </c:pt>
                <c:pt idx="12077">
                  <c:v>158514</c:v>
                </c:pt>
                <c:pt idx="12078">
                  <c:v>158509</c:v>
                </c:pt>
                <c:pt idx="12079">
                  <c:v>158505</c:v>
                </c:pt>
                <c:pt idx="12080">
                  <c:v>158499</c:v>
                </c:pt>
                <c:pt idx="12081">
                  <c:v>158486</c:v>
                </c:pt>
                <c:pt idx="12082">
                  <c:v>158484</c:v>
                </c:pt>
                <c:pt idx="12083">
                  <c:v>158484</c:v>
                </c:pt>
                <c:pt idx="12084">
                  <c:v>158476</c:v>
                </c:pt>
                <c:pt idx="12085">
                  <c:v>158469</c:v>
                </c:pt>
                <c:pt idx="12086">
                  <c:v>158464</c:v>
                </c:pt>
                <c:pt idx="12087">
                  <c:v>158462</c:v>
                </c:pt>
                <c:pt idx="12088">
                  <c:v>158456</c:v>
                </c:pt>
                <c:pt idx="12089">
                  <c:v>158454</c:v>
                </c:pt>
                <c:pt idx="12090">
                  <c:v>158451</c:v>
                </c:pt>
                <c:pt idx="12091">
                  <c:v>158442</c:v>
                </c:pt>
                <c:pt idx="12092">
                  <c:v>158431</c:v>
                </c:pt>
                <c:pt idx="12093">
                  <c:v>158428</c:v>
                </c:pt>
                <c:pt idx="12094">
                  <c:v>158425</c:v>
                </c:pt>
                <c:pt idx="12095">
                  <c:v>158424</c:v>
                </c:pt>
                <c:pt idx="12096">
                  <c:v>158423</c:v>
                </c:pt>
                <c:pt idx="12097">
                  <c:v>158409</c:v>
                </c:pt>
                <c:pt idx="12098">
                  <c:v>158391</c:v>
                </c:pt>
                <c:pt idx="12099">
                  <c:v>158389</c:v>
                </c:pt>
                <c:pt idx="12100">
                  <c:v>158383</c:v>
                </c:pt>
                <c:pt idx="12101">
                  <c:v>158374</c:v>
                </c:pt>
                <c:pt idx="12102">
                  <c:v>158368</c:v>
                </c:pt>
                <c:pt idx="12103">
                  <c:v>158356</c:v>
                </c:pt>
                <c:pt idx="12104">
                  <c:v>158348</c:v>
                </c:pt>
                <c:pt idx="12105">
                  <c:v>158341</c:v>
                </c:pt>
                <c:pt idx="12106">
                  <c:v>158338</c:v>
                </c:pt>
                <c:pt idx="12107">
                  <c:v>158319</c:v>
                </c:pt>
                <c:pt idx="12108">
                  <c:v>158311</c:v>
                </c:pt>
                <c:pt idx="12109">
                  <c:v>158308</c:v>
                </c:pt>
                <c:pt idx="12110">
                  <c:v>158301</c:v>
                </c:pt>
                <c:pt idx="12111">
                  <c:v>158301</c:v>
                </c:pt>
                <c:pt idx="12112">
                  <c:v>158283</c:v>
                </c:pt>
                <c:pt idx="12113">
                  <c:v>158277</c:v>
                </c:pt>
                <c:pt idx="12114">
                  <c:v>158260</c:v>
                </c:pt>
                <c:pt idx="12115">
                  <c:v>158256</c:v>
                </c:pt>
                <c:pt idx="12116">
                  <c:v>158253</c:v>
                </c:pt>
                <c:pt idx="12117">
                  <c:v>158252</c:v>
                </c:pt>
                <c:pt idx="12118">
                  <c:v>158248</c:v>
                </c:pt>
                <c:pt idx="12119">
                  <c:v>158240</c:v>
                </c:pt>
                <c:pt idx="12120">
                  <c:v>158237</c:v>
                </c:pt>
                <c:pt idx="12121">
                  <c:v>158224</c:v>
                </c:pt>
                <c:pt idx="12122">
                  <c:v>158219</c:v>
                </c:pt>
                <c:pt idx="12123">
                  <c:v>158201</c:v>
                </c:pt>
                <c:pt idx="12124">
                  <c:v>158192</c:v>
                </c:pt>
                <c:pt idx="12125">
                  <c:v>158179</c:v>
                </c:pt>
                <c:pt idx="12126">
                  <c:v>158178</c:v>
                </c:pt>
                <c:pt idx="12127">
                  <c:v>158171</c:v>
                </c:pt>
                <c:pt idx="12128">
                  <c:v>158144</c:v>
                </c:pt>
                <c:pt idx="12129">
                  <c:v>158136</c:v>
                </c:pt>
                <c:pt idx="12130">
                  <c:v>158136</c:v>
                </c:pt>
                <c:pt idx="12131">
                  <c:v>158129</c:v>
                </c:pt>
                <c:pt idx="12132">
                  <c:v>158122</c:v>
                </c:pt>
                <c:pt idx="12133">
                  <c:v>158114</c:v>
                </c:pt>
                <c:pt idx="12134">
                  <c:v>158101</c:v>
                </c:pt>
                <c:pt idx="12135">
                  <c:v>158097</c:v>
                </c:pt>
                <c:pt idx="12136">
                  <c:v>158077</c:v>
                </c:pt>
                <c:pt idx="12137">
                  <c:v>158072</c:v>
                </c:pt>
                <c:pt idx="12138">
                  <c:v>158056</c:v>
                </c:pt>
                <c:pt idx="12139">
                  <c:v>158049</c:v>
                </c:pt>
                <c:pt idx="12140">
                  <c:v>158033</c:v>
                </c:pt>
                <c:pt idx="12141">
                  <c:v>158031</c:v>
                </c:pt>
                <c:pt idx="12142">
                  <c:v>158029</c:v>
                </c:pt>
                <c:pt idx="12143">
                  <c:v>158023</c:v>
                </c:pt>
                <c:pt idx="12144">
                  <c:v>158010</c:v>
                </c:pt>
                <c:pt idx="12145">
                  <c:v>157989</c:v>
                </c:pt>
                <c:pt idx="12146">
                  <c:v>157983</c:v>
                </c:pt>
                <c:pt idx="12147">
                  <c:v>157976</c:v>
                </c:pt>
                <c:pt idx="12148">
                  <c:v>157972</c:v>
                </c:pt>
                <c:pt idx="12149">
                  <c:v>157963</c:v>
                </c:pt>
                <c:pt idx="12150">
                  <c:v>157958</c:v>
                </c:pt>
                <c:pt idx="12151">
                  <c:v>157948</c:v>
                </c:pt>
                <c:pt idx="12152">
                  <c:v>157947</c:v>
                </c:pt>
                <c:pt idx="12153">
                  <c:v>157942</c:v>
                </c:pt>
                <c:pt idx="12154">
                  <c:v>157924</c:v>
                </c:pt>
                <c:pt idx="12155">
                  <c:v>157920</c:v>
                </c:pt>
                <c:pt idx="12156">
                  <c:v>157919</c:v>
                </c:pt>
                <c:pt idx="12157">
                  <c:v>157907</c:v>
                </c:pt>
                <c:pt idx="12158">
                  <c:v>157891</c:v>
                </c:pt>
                <c:pt idx="12159">
                  <c:v>157880</c:v>
                </c:pt>
                <c:pt idx="12160">
                  <c:v>157879</c:v>
                </c:pt>
                <c:pt idx="12161">
                  <c:v>157872</c:v>
                </c:pt>
                <c:pt idx="12162">
                  <c:v>157857</c:v>
                </c:pt>
                <c:pt idx="12163">
                  <c:v>157848</c:v>
                </c:pt>
                <c:pt idx="12164">
                  <c:v>157842</c:v>
                </c:pt>
                <c:pt idx="12165">
                  <c:v>157841</c:v>
                </c:pt>
                <c:pt idx="12166">
                  <c:v>157836</c:v>
                </c:pt>
                <c:pt idx="12167">
                  <c:v>157834</c:v>
                </c:pt>
                <c:pt idx="12168">
                  <c:v>157831</c:v>
                </c:pt>
                <c:pt idx="12169">
                  <c:v>157825</c:v>
                </c:pt>
                <c:pt idx="12170">
                  <c:v>157816</c:v>
                </c:pt>
                <c:pt idx="12171">
                  <c:v>157801</c:v>
                </c:pt>
                <c:pt idx="12172">
                  <c:v>157793</c:v>
                </c:pt>
                <c:pt idx="12173">
                  <c:v>157785</c:v>
                </c:pt>
                <c:pt idx="12174">
                  <c:v>157768</c:v>
                </c:pt>
                <c:pt idx="12175">
                  <c:v>157754</c:v>
                </c:pt>
                <c:pt idx="12176">
                  <c:v>157753</c:v>
                </c:pt>
                <c:pt idx="12177">
                  <c:v>157729</c:v>
                </c:pt>
                <c:pt idx="12178">
                  <c:v>157728</c:v>
                </c:pt>
                <c:pt idx="12179">
                  <c:v>157726</c:v>
                </c:pt>
                <c:pt idx="12180">
                  <c:v>157720</c:v>
                </c:pt>
                <c:pt idx="12181">
                  <c:v>157703</c:v>
                </c:pt>
                <c:pt idx="12182">
                  <c:v>157692</c:v>
                </c:pt>
                <c:pt idx="12183">
                  <c:v>157689</c:v>
                </c:pt>
                <c:pt idx="12184">
                  <c:v>157669</c:v>
                </c:pt>
                <c:pt idx="12185">
                  <c:v>157665</c:v>
                </c:pt>
                <c:pt idx="12186">
                  <c:v>157650</c:v>
                </c:pt>
                <c:pt idx="12187">
                  <c:v>157636</c:v>
                </c:pt>
                <c:pt idx="12188">
                  <c:v>157636</c:v>
                </c:pt>
                <c:pt idx="12189">
                  <c:v>157636</c:v>
                </c:pt>
                <c:pt idx="12190">
                  <c:v>157635</c:v>
                </c:pt>
                <c:pt idx="12191">
                  <c:v>157630</c:v>
                </c:pt>
                <c:pt idx="12192">
                  <c:v>157612</c:v>
                </c:pt>
                <c:pt idx="12193">
                  <c:v>157600</c:v>
                </c:pt>
                <c:pt idx="12194">
                  <c:v>157595</c:v>
                </c:pt>
                <c:pt idx="12195">
                  <c:v>157589</c:v>
                </c:pt>
                <c:pt idx="12196">
                  <c:v>157575</c:v>
                </c:pt>
                <c:pt idx="12197">
                  <c:v>157558</c:v>
                </c:pt>
                <c:pt idx="12198">
                  <c:v>157525</c:v>
                </c:pt>
                <c:pt idx="12199">
                  <c:v>157524</c:v>
                </c:pt>
                <c:pt idx="12200">
                  <c:v>157506</c:v>
                </c:pt>
                <c:pt idx="12201">
                  <c:v>157497</c:v>
                </c:pt>
                <c:pt idx="12202">
                  <c:v>157497</c:v>
                </c:pt>
                <c:pt idx="12203">
                  <c:v>157483</c:v>
                </c:pt>
                <c:pt idx="12204">
                  <c:v>157478</c:v>
                </c:pt>
                <c:pt idx="12205">
                  <c:v>157464</c:v>
                </c:pt>
                <c:pt idx="12206">
                  <c:v>157462</c:v>
                </c:pt>
                <c:pt idx="12207">
                  <c:v>157411</c:v>
                </c:pt>
                <c:pt idx="12208">
                  <c:v>157404</c:v>
                </c:pt>
                <c:pt idx="12209">
                  <c:v>157396</c:v>
                </c:pt>
                <c:pt idx="12210">
                  <c:v>157393</c:v>
                </c:pt>
                <c:pt idx="12211">
                  <c:v>157389</c:v>
                </c:pt>
                <c:pt idx="12212">
                  <c:v>157388</c:v>
                </c:pt>
                <c:pt idx="12213">
                  <c:v>157385</c:v>
                </c:pt>
                <c:pt idx="12214">
                  <c:v>157379</c:v>
                </c:pt>
                <c:pt idx="12215">
                  <c:v>157374</c:v>
                </c:pt>
                <c:pt idx="12216">
                  <c:v>157374</c:v>
                </c:pt>
                <c:pt idx="12217">
                  <c:v>157362</c:v>
                </c:pt>
                <c:pt idx="12218">
                  <c:v>157362</c:v>
                </c:pt>
                <c:pt idx="12219">
                  <c:v>157347</c:v>
                </c:pt>
                <c:pt idx="12220">
                  <c:v>157344</c:v>
                </c:pt>
                <c:pt idx="12221">
                  <c:v>157340</c:v>
                </c:pt>
                <c:pt idx="12222">
                  <c:v>157326</c:v>
                </c:pt>
                <c:pt idx="12223">
                  <c:v>157312</c:v>
                </c:pt>
                <c:pt idx="12224">
                  <c:v>157311</c:v>
                </c:pt>
                <c:pt idx="12225">
                  <c:v>157291</c:v>
                </c:pt>
                <c:pt idx="12226">
                  <c:v>157281</c:v>
                </c:pt>
                <c:pt idx="12227">
                  <c:v>157279</c:v>
                </c:pt>
                <c:pt idx="12228">
                  <c:v>157263</c:v>
                </c:pt>
                <c:pt idx="12229">
                  <c:v>157257</c:v>
                </c:pt>
                <c:pt idx="12230">
                  <c:v>157236</c:v>
                </c:pt>
                <c:pt idx="12231">
                  <c:v>157223</c:v>
                </c:pt>
                <c:pt idx="12232">
                  <c:v>157211</c:v>
                </c:pt>
                <c:pt idx="12233">
                  <c:v>157210</c:v>
                </c:pt>
                <c:pt idx="12234">
                  <c:v>157192</c:v>
                </c:pt>
                <c:pt idx="12235">
                  <c:v>157182</c:v>
                </c:pt>
                <c:pt idx="12236">
                  <c:v>157180</c:v>
                </c:pt>
                <c:pt idx="12237">
                  <c:v>157177</c:v>
                </c:pt>
                <c:pt idx="12238">
                  <c:v>157152</c:v>
                </c:pt>
                <c:pt idx="12239">
                  <c:v>157152</c:v>
                </c:pt>
                <c:pt idx="12240">
                  <c:v>157152</c:v>
                </c:pt>
                <c:pt idx="12241">
                  <c:v>157139</c:v>
                </c:pt>
                <c:pt idx="12242">
                  <c:v>157131</c:v>
                </c:pt>
                <c:pt idx="12243">
                  <c:v>157124</c:v>
                </c:pt>
                <c:pt idx="12244">
                  <c:v>157121</c:v>
                </c:pt>
                <c:pt idx="12245">
                  <c:v>157112</c:v>
                </c:pt>
                <c:pt idx="12246">
                  <c:v>157099</c:v>
                </c:pt>
                <c:pt idx="12247">
                  <c:v>157079</c:v>
                </c:pt>
                <c:pt idx="12248">
                  <c:v>157078</c:v>
                </c:pt>
                <c:pt idx="12249">
                  <c:v>157052</c:v>
                </c:pt>
                <c:pt idx="12250">
                  <c:v>157031</c:v>
                </c:pt>
                <c:pt idx="12251">
                  <c:v>156999</c:v>
                </c:pt>
                <c:pt idx="12252">
                  <c:v>156982</c:v>
                </c:pt>
                <c:pt idx="12253">
                  <c:v>156970</c:v>
                </c:pt>
                <c:pt idx="12254">
                  <c:v>156969</c:v>
                </c:pt>
                <c:pt idx="12255">
                  <c:v>156962</c:v>
                </c:pt>
                <c:pt idx="12256">
                  <c:v>156960</c:v>
                </c:pt>
                <c:pt idx="12257">
                  <c:v>156957</c:v>
                </c:pt>
                <c:pt idx="12258">
                  <c:v>156953</c:v>
                </c:pt>
                <c:pt idx="12259">
                  <c:v>156953</c:v>
                </c:pt>
                <c:pt idx="12260">
                  <c:v>156947</c:v>
                </c:pt>
                <c:pt idx="12261">
                  <c:v>156944</c:v>
                </c:pt>
                <c:pt idx="12262">
                  <c:v>156941</c:v>
                </c:pt>
                <c:pt idx="12263">
                  <c:v>156938</c:v>
                </c:pt>
                <c:pt idx="12264">
                  <c:v>156929</c:v>
                </c:pt>
                <c:pt idx="12265">
                  <c:v>156921</c:v>
                </c:pt>
                <c:pt idx="12266">
                  <c:v>156912</c:v>
                </c:pt>
                <c:pt idx="12267">
                  <c:v>156886</c:v>
                </c:pt>
                <c:pt idx="12268">
                  <c:v>156885</c:v>
                </c:pt>
                <c:pt idx="12269">
                  <c:v>156884</c:v>
                </c:pt>
                <c:pt idx="12270">
                  <c:v>156869</c:v>
                </c:pt>
                <c:pt idx="12271">
                  <c:v>156861</c:v>
                </c:pt>
                <c:pt idx="12272">
                  <c:v>156845</c:v>
                </c:pt>
                <c:pt idx="12273">
                  <c:v>156836</c:v>
                </c:pt>
                <c:pt idx="12274">
                  <c:v>156836</c:v>
                </c:pt>
                <c:pt idx="12275">
                  <c:v>156833</c:v>
                </c:pt>
                <c:pt idx="12276">
                  <c:v>156817</c:v>
                </c:pt>
                <c:pt idx="12277">
                  <c:v>156808</c:v>
                </c:pt>
                <c:pt idx="12278">
                  <c:v>156798</c:v>
                </c:pt>
                <c:pt idx="12279">
                  <c:v>156788</c:v>
                </c:pt>
                <c:pt idx="12280">
                  <c:v>156784</c:v>
                </c:pt>
                <c:pt idx="12281">
                  <c:v>156777</c:v>
                </c:pt>
                <c:pt idx="12282">
                  <c:v>156755</c:v>
                </c:pt>
                <c:pt idx="12283">
                  <c:v>156746</c:v>
                </c:pt>
                <c:pt idx="12284">
                  <c:v>156739</c:v>
                </c:pt>
                <c:pt idx="12285">
                  <c:v>156737</c:v>
                </c:pt>
                <c:pt idx="12286">
                  <c:v>156736</c:v>
                </c:pt>
                <c:pt idx="12287">
                  <c:v>156724</c:v>
                </c:pt>
                <c:pt idx="12288">
                  <c:v>156721</c:v>
                </c:pt>
                <c:pt idx="12289">
                  <c:v>156719</c:v>
                </c:pt>
                <c:pt idx="12290">
                  <c:v>156719</c:v>
                </c:pt>
                <c:pt idx="12291">
                  <c:v>156696</c:v>
                </c:pt>
                <c:pt idx="12292">
                  <c:v>156694</c:v>
                </c:pt>
                <c:pt idx="12293">
                  <c:v>156678</c:v>
                </c:pt>
                <c:pt idx="12294">
                  <c:v>156672</c:v>
                </c:pt>
                <c:pt idx="12295">
                  <c:v>156648</c:v>
                </c:pt>
                <c:pt idx="12296">
                  <c:v>156643</c:v>
                </c:pt>
                <c:pt idx="12297">
                  <c:v>156616</c:v>
                </c:pt>
                <c:pt idx="12298">
                  <c:v>156599</c:v>
                </c:pt>
                <c:pt idx="12299">
                  <c:v>156598</c:v>
                </c:pt>
                <c:pt idx="12300">
                  <c:v>156586</c:v>
                </c:pt>
                <c:pt idx="12301">
                  <c:v>156576</c:v>
                </c:pt>
                <c:pt idx="12302">
                  <c:v>156562</c:v>
                </c:pt>
                <c:pt idx="12303">
                  <c:v>156561</c:v>
                </c:pt>
                <c:pt idx="12304">
                  <c:v>156557</c:v>
                </c:pt>
                <c:pt idx="12305">
                  <c:v>156556</c:v>
                </c:pt>
                <c:pt idx="12306">
                  <c:v>156548</c:v>
                </c:pt>
                <c:pt idx="12307">
                  <c:v>156544</c:v>
                </c:pt>
                <c:pt idx="12308">
                  <c:v>156540</c:v>
                </c:pt>
                <c:pt idx="12309">
                  <c:v>156533</c:v>
                </c:pt>
                <c:pt idx="12310">
                  <c:v>156532</c:v>
                </c:pt>
                <c:pt idx="12311">
                  <c:v>156516</c:v>
                </c:pt>
                <c:pt idx="12312">
                  <c:v>156515</c:v>
                </c:pt>
                <c:pt idx="12313">
                  <c:v>156506</c:v>
                </c:pt>
                <c:pt idx="12314">
                  <c:v>156486</c:v>
                </c:pt>
                <c:pt idx="12315">
                  <c:v>156465</c:v>
                </c:pt>
                <c:pt idx="12316">
                  <c:v>156437</c:v>
                </c:pt>
                <c:pt idx="12317">
                  <c:v>156435</c:v>
                </c:pt>
                <c:pt idx="12318">
                  <c:v>156419</c:v>
                </c:pt>
                <c:pt idx="12319">
                  <c:v>156406</c:v>
                </c:pt>
                <c:pt idx="12320">
                  <c:v>156393</c:v>
                </c:pt>
                <c:pt idx="12321">
                  <c:v>156381</c:v>
                </c:pt>
                <c:pt idx="12322">
                  <c:v>156378</c:v>
                </c:pt>
                <c:pt idx="12323">
                  <c:v>156373</c:v>
                </c:pt>
                <c:pt idx="12324">
                  <c:v>156367</c:v>
                </c:pt>
                <c:pt idx="12325">
                  <c:v>156345</c:v>
                </c:pt>
                <c:pt idx="12326">
                  <c:v>156340</c:v>
                </c:pt>
                <c:pt idx="12327">
                  <c:v>156337</c:v>
                </c:pt>
                <c:pt idx="12328">
                  <c:v>156328</c:v>
                </c:pt>
                <c:pt idx="12329">
                  <c:v>156298</c:v>
                </c:pt>
                <c:pt idx="12330">
                  <c:v>156296</c:v>
                </c:pt>
                <c:pt idx="12331">
                  <c:v>156295</c:v>
                </c:pt>
                <c:pt idx="12332">
                  <c:v>156290</c:v>
                </c:pt>
                <c:pt idx="12333">
                  <c:v>156286</c:v>
                </c:pt>
                <c:pt idx="12334">
                  <c:v>156269</c:v>
                </c:pt>
                <c:pt idx="12335">
                  <c:v>156254</c:v>
                </c:pt>
                <c:pt idx="12336">
                  <c:v>156251</c:v>
                </c:pt>
                <c:pt idx="12337">
                  <c:v>156245</c:v>
                </c:pt>
                <c:pt idx="12338">
                  <c:v>156222</c:v>
                </c:pt>
                <c:pt idx="12339">
                  <c:v>156221</c:v>
                </c:pt>
                <c:pt idx="12340">
                  <c:v>156216</c:v>
                </c:pt>
                <c:pt idx="12341">
                  <c:v>156208</c:v>
                </c:pt>
                <c:pt idx="12342">
                  <c:v>156202</c:v>
                </c:pt>
                <c:pt idx="12343">
                  <c:v>156199</c:v>
                </c:pt>
                <c:pt idx="12344">
                  <c:v>156198</c:v>
                </c:pt>
                <c:pt idx="12345">
                  <c:v>156194</c:v>
                </c:pt>
                <c:pt idx="12346">
                  <c:v>156190</c:v>
                </c:pt>
                <c:pt idx="12347">
                  <c:v>156188</c:v>
                </c:pt>
                <c:pt idx="12348">
                  <c:v>156185</c:v>
                </c:pt>
                <c:pt idx="12349">
                  <c:v>156185</c:v>
                </c:pt>
                <c:pt idx="12350">
                  <c:v>156176</c:v>
                </c:pt>
                <c:pt idx="12351">
                  <c:v>156172</c:v>
                </c:pt>
                <c:pt idx="12352">
                  <c:v>156142</c:v>
                </c:pt>
                <c:pt idx="12353">
                  <c:v>156125</c:v>
                </c:pt>
                <c:pt idx="12354">
                  <c:v>156121</c:v>
                </c:pt>
                <c:pt idx="12355">
                  <c:v>156120</c:v>
                </c:pt>
                <c:pt idx="12356">
                  <c:v>156112</c:v>
                </c:pt>
                <c:pt idx="12357">
                  <c:v>156110</c:v>
                </c:pt>
                <c:pt idx="12358">
                  <c:v>156109</c:v>
                </c:pt>
                <c:pt idx="12359">
                  <c:v>156106</c:v>
                </c:pt>
                <c:pt idx="12360">
                  <c:v>156099</c:v>
                </c:pt>
                <c:pt idx="12361">
                  <c:v>156094</c:v>
                </c:pt>
                <c:pt idx="12362">
                  <c:v>156090</c:v>
                </c:pt>
                <c:pt idx="12363">
                  <c:v>156043</c:v>
                </c:pt>
                <c:pt idx="12364">
                  <c:v>156039</c:v>
                </c:pt>
                <c:pt idx="12365">
                  <c:v>156017</c:v>
                </c:pt>
                <c:pt idx="12366">
                  <c:v>156006</c:v>
                </c:pt>
                <c:pt idx="12367">
                  <c:v>156004</c:v>
                </c:pt>
                <c:pt idx="12368">
                  <c:v>156004</c:v>
                </c:pt>
                <c:pt idx="12369">
                  <c:v>156004</c:v>
                </c:pt>
                <c:pt idx="12370">
                  <c:v>155990</c:v>
                </c:pt>
                <c:pt idx="12371">
                  <c:v>155987</c:v>
                </c:pt>
                <c:pt idx="12372">
                  <c:v>155984</c:v>
                </c:pt>
                <c:pt idx="12373">
                  <c:v>155971</c:v>
                </c:pt>
                <c:pt idx="12374">
                  <c:v>155954</c:v>
                </c:pt>
                <c:pt idx="12375">
                  <c:v>155931</c:v>
                </c:pt>
                <c:pt idx="12376">
                  <c:v>155917</c:v>
                </c:pt>
                <c:pt idx="12377">
                  <c:v>155904</c:v>
                </c:pt>
                <c:pt idx="12378">
                  <c:v>155904</c:v>
                </c:pt>
                <c:pt idx="12379">
                  <c:v>155899</c:v>
                </c:pt>
                <c:pt idx="12380">
                  <c:v>155893</c:v>
                </c:pt>
                <c:pt idx="12381">
                  <c:v>155880</c:v>
                </c:pt>
                <c:pt idx="12382">
                  <c:v>155871</c:v>
                </c:pt>
                <c:pt idx="12383">
                  <c:v>155867</c:v>
                </c:pt>
                <c:pt idx="12384">
                  <c:v>155867</c:v>
                </c:pt>
                <c:pt idx="12385">
                  <c:v>155866</c:v>
                </c:pt>
                <c:pt idx="12386">
                  <c:v>155866</c:v>
                </c:pt>
                <c:pt idx="12387">
                  <c:v>155865</c:v>
                </c:pt>
                <c:pt idx="12388">
                  <c:v>155845</c:v>
                </c:pt>
                <c:pt idx="12389">
                  <c:v>155841</c:v>
                </c:pt>
                <c:pt idx="12390">
                  <c:v>155835</c:v>
                </c:pt>
                <c:pt idx="12391">
                  <c:v>155824</c:v>
                </c:pt>
                <c:pt idx="12392">
                  <c:v>155814</c:v>
                </c:pt>
                <c:pt idx="12393">
                  <c:v>155813</c:v>
                </c:pt>
                <c:pt idx="12394">
                  <c:v>155812</c:v>
                </c:pt>
                <c:pt idx="12395">
                  <c:v>155796</c:v>
                </c:pt>
                <c:pt idx="12396">
                  <c:v>155776</c:v>
                </c:pt>
                <c:pt idx="12397">
                  <c:v>155740</c:v>
                </c:pt>
                <c:pt idx="12398">
                  <c:v>155732</c:v>
                </c:pt>
                <c:pt idx="12399">
                  <c:v>155729</c:v>
                </c:pt>
                <c:pt idx="12400">
                  <c:v>155729</c:v>
                </c:pt>
                <c:pt idx="12401">
                  <c:v>155722</c:v>
                </c:pt>
                <c:pt idx="12402">
                  <c:v>155704</c:v>
                </c:pt>
                <c:pt idx="12403">
                  <c:v>155695</c:v>
                </c:pt>
                <c:pt idx="12404">
                  <c:v>155687</c:v>
                </c:pt>
                <c:pt idx="12405">
                  <c:v>155684</c:v>
                </c:pt>
                <c:pt idx="12406">
                  <c:v>155673</c:v>
                </c:pt>
                <c:pt idx="12407">
                  <c:v>155671</c:v>
                </c:pt>
                <c:pt idx="12408">
                  <c:v>155671</c:v>
                </c:pt>
                <c:pt idx="12409">
                  <c:v>155655</c:v>
                </c:pt>
                <c:pt idx="12410">
                  <c:v>155652</c:v>
                </c:pt>
                <c:pt idx="12411">
                  <c:v>155628</c:v>
                </c:pt>
                <c:pt idx="12412">
                  <c:v>155595</c:v>
                </c:pt>
                <c:pt idx="12413">
                  <c:v>155594</c:v>
                </c:pt>
                <c:pt idx="12414">
                  <c:v>155590</c:v>
                </c:pt>
                <c:pt idx="12415">
                  <c:v>155585</c:v>
                </c:pt>
                <c:pt idx="12416">
                  <c:v>155578</c:v>
                </c:pt>
                <c:pt idx="12417">
                  <c:v>155565</c:v>
                </c:pt>
                <c:pt idx="12418">
                  <c:v>155563</c:v>
                </c:pt>
                <c:pt idx="12419">
                  <c:v>155548</c:v>
                </c:pt>
                <c:pt idx="12420">
                  <c:v>155543</c:v>
                </c:pt>
                <c:pt idx="12421">
                  <c:v>155543</c:v>
                </c:pt>
                <c:pt idx="12422">
                  <c:v>155540</c:v>
                </c:pt>
                <c:pt idx="12423">
                  <c:v>155530</c:v>
                </c:pt>
                <c:pt idx="12424">
                  <c:v>155525</c:v>
                </c:pt>
                <c:pt idx="12425">
                  <c:v>155514</c:v>
                </c:pt>
                <c:pt idx="12426">
                  <c:v>155513</c:v>
                </c:pt>
                <c:pt idx="12427">
                  <c:v>155513</c:v>
                </c:pt>
                <c:pt idx="12428">
                  <c:v>155509</c:v>
                </c:pt>
                <c:pt idx="12429">
                  <c:v>155494</c:v>
                </c:pt>
                <c:pt idx="12430">
                  <c:v>155457</c:v>
                </c:pt>
                <c:pt idx="12431">
                  <c:v>155445</c:v>
                </c:pt>
                <c:pt idx="12432">
                  <c:v>155437</c:v>
                </c:pt>
                <c:pt idx="12433">
                  <c:v>155433</c:v>
                </c:pt>
                <c:pt idx="12434">
                  <c:v>155433</c:v>
                </c:pt>
                <c:pt idx="12435">
                  <c:v>155423</c:v>
                </c:pt>
                <c:pt idx="12436">
                  <c:v>155422</c:v>
                </c:pt>
                <c:pt idx="12437">
                  <c:v>155401</c:v>
                </c:pt>
                <c:pt idx="12438">
                  <c:v>155400</c:v>
                </c:pt>
                <c:pt idx="12439">
                  <c:v>155394</c:v>
                </c:pt>
                <c:pt idx="12440">
                  <c:v>155377</c:v>
                </c:pt>
                <c:pt idx="12441">
                  <c:v>155364</c:v>
                </c:pt>
                <c:pt idx="12442">
                  <c:v>155362</c:v>
                </c:pt>
                <c:pt idx="12443">
                  <c:v>155360</c:v>
                </c:pt>
                <c:pt idx="12444">
                  <c:v>155360</c:v>
                </c:pt>
                <c:pt idx="12445">
                  <c:v>155356</c:v>
                </c:pt>
                <c:pt idx="12446">
                  <c:v>155354</c:v>
                </c:pt>
                <c:pt idx="12447">
                  <c:v>155330</c:v>
                </c:pt>
                <c:pt idx="12448">
                  <c:v>155330</c:v>
                </c:pt>
                <c:pt idx="12449">
                  <c:v>155310</c:v>
                </c:pt>
                <c:pt idx="12450">
                  <c:v>155289</c:v>
                </c:pt>
                <c:pt idx="12451">
                  <c:v>155285</c:v>
                </c:pt>
                <c:pt idx="12452">
                  <c:v>155280</c:v>
                </c:pt>
                <c:pt idx="12453">
                  <c:v>155265</c:v>
                </c:pt>
                <c:pt idx="12454">
                  <c:v>155256</c:v>
                </c:pt>
                <c:pt idx="12455">
                  <c:v>155248</c:v>
                </c:pt>
                <c:pt idx="12456">
                  <c:v>155240</c:v>
                </c:pt>
                <c:pt idx="12457">
                  <c:v>155233</c:v>
                </c:pt>
                <c:pt idx="12458">
                  <c:v>155231</c:v>
                </c:pt>
                <c:pt idx="12459">
                  <c:v>155229</c:v>
                </c:pt>
                <c:pt idx="12460">
                  <c:v>155228</c:v>
                </c:pt>
                <c:pt idx="12461">
                  <c:v>155222</c:v>
                </c:pt>
                <c:pt idx="12462">
                  <c:v>155221</c:v>
                </c:pt>
                <c:pt idx="12463">
                  <c:v>155213</c:v>
                </c:pt>
                <c:pt idx="12464">
                  <c:v>155199</c:v>
                </c:pt>
                <c:pt idx="12465">
                  <c:v>155191</c:v>
                </c:pt>
                <c:pt idx="12466">
                  <c:v>155184</c:v>
                </c:pt>
                <c:pt idx="12467">
                  <c:v>155177</c:v>
                </c:pt>
                <c:pt idx="12468">
                  <c:v>155162</c:v>
                </c:pt>
                <c:pt idx="12469">
                  <c:v>155157</c:v>
                </c:pt>
                <c:pt idx="12470">
                  <c:v>155138</c:v>
                </c:pt>
                <c:pt idx="12471">
                  <c:v>155135</c:v>
                </c:pt>
                <c:pt idx="12472">
                  <c:v>155087</c:v>
                </c:pt>
                <c:pt idx="12473">
                  <c:v>155073</c:v>
                </c:pt>
                <c:pt idx="12474">
                  <c:v>155061</c:v>
                </c:pt>
                <c:pt idx="12475">
                  <c:v>155053</c:v>
                </c:pt>
                <c:pt idx="12476">
                  <c:v>155051</c:v>
                </c:pt>
                <c:pt idx="12477">
                  <c:v>155047</c:v>
                </c:pt>
                <c:pt idx="12478">
                  <c:v>155045</c:v>
                </c:pt>
                <c:pt idx="12479">
                  <c:v>155039</c:v>
                </c:pt>
                <c:pt idx="12480">
                  <c:v>155023</c:v>
                </c:pt>
                <c:pt idx="12481">
                  <c:v>155018</c:v>
                </c:pt>
                <c:pt idx="12482">
                  <c:v>155014</c:v>
                </c:pt>
                <c:pt idx="12483">
                  <c:v>155007</c:v>
                </c:pt>
                <c:pt idx="12484">
                  <c:v>154991</c:v>
                </c:pt>
                <c:pt idx="12485">
                  <c:v>154991</c:v>
                </c:pt>
                <c:pt idx="12486">
                  <c:v>154982</c:v>
                </c:pt>
                <c:pt idx="12487">
                  <c:v>154981</c:v>
                </c:pt>
                <c:pt idx="12488">
                  <c:v>154980</c:v>
                </c:pt>
                <c:pt idx="12489">
                  <c:v>154976</c:v>
                </c:pt>
                <c:pt idx="12490">
                  <c:v>154970</c:v>
                </c:pt>
                <c:pt idx="12491">
                  <c:v>154967</c:v>
                </c:pt>
                <c:pt idx="12492">
                  <c:v>154962</c:v>
                </c:pt>
                <c:pt idx="12493">
                  <c:v>154949</c:v>
                </c:pt>
                <c:pt idx="12494">
                  <c:v>154948</c:v>
                </c:pt>
                <c:pt idx="12495">
                  <c:v>154927</c:v>
                </c:pt>
                <c:pt idx="12496">
                  <c:v>154925</c:v>
                </c:pt>
                <c:pt idx="12497">
                  <c:v>154920</c:v>
                </c:pt>
                <c:pt idx="12498">
                  <c:v>154907</c:v>
                </c:pt>
                <c:pt idx="12499">
                  <c:v>154905</c:v>
                </c:pt>
                <c:pt idx="12500">
                  <c:v>154901</c:v>
                </c:pt>
                <c:pt idx="12501">
                  <c:v>154897</c:v>
                </c:pt>
                <c:pt idx="12502">
                  <c:v>154889</c:v>
                </c:pt>
                <c:pt idx="12503">
                  <c:v>154886</c:v>
                </c:pt>
                <c:pt idx="12504">
                  <c:v>154885</c:v>
                </c:pt>
                <c:pt idx="12505">
                  <c:v>154876</c:v>
                </c:pt>
                <c:pt idx="12506">
                  <c:v>154876</c:v>
                </c:pt>
                <c:pt idx="12507">
                  <c:v>154871</c:v>
                </c:pt>
                <c:pt idx="12508">
                  <c:v>154865</c:v>
                </c:pt>
                <c:pt idx="12509">
                  <c:v>154862</c:v>
                </c:pt>
                <c:pt idx="12510">
                  <c:v>154857</c:v>
                </c:pt>
                <c:pt idx="12511">
                  <c:v>154855</c:v>
                </c:pt>
                <c:pt idx="12512">
                  <c:v>154844</c:v>
                </c:pt>
                <c:pt idx="12513">
                  <c:v>154842</c:v>
                </c:pt>
                <c:pt idx="12514">
                  <c:v>154837</c:v>
                </c:pt>
                <c:pt idx="12515">
                  <c:v>154832</c:v>
                </c:pt>
                <c:pt idx="12516">
                  <c:v>154822</c:v>
                </c:pt>
                <c:pt idx="12517">
                  <c:v>154813</c:v>
                </c:pt>
                <c:pt idx="12518">
                  <c:v>154813</c:v>
                </c:pt>
                <c:pt idx="12519">
                  <c:v>154802</c:v>
                </c:pt>
                <c:pt idx="12520">
                  <c:v>154802</c:v>
                </c:pt>
                <c:pt idx="12521">
                  <c:v>154800</c:v>
                </c:pt>
                <c:pt idx="12522">
                  <c:v>154795</c:v>
                </c:pt>
                <c:pt idx="12523">
                  <c:v>154795</c:v>
                </c:pt>
                <c:pt idx="12524">
                  <c:v>154795</c:v>
                </c:pt>
                <c:pt idx="12525">
                  <c:v>154792</c:v>
                </c:pt>
                <c:pt idx="12526">
                  <c:v>154768</c:v>
                </c:pt>
                <c:pt idx="12527">
                  <c:v>154768</c:v>
                </c:pt>
                <c:pt idx="12528">
                  <c:v>154765</c:v>
                </c:pt>
                <c:pt idx="12529">
                  <c:v>154763</c:v>
                </c:pt>
                <c:pt idx="12530">
                  <c:v>154759</c:v>
                </c:pt>
                <c:pt idx="12531">
                  <c:v>154738</c:v>
                </c:pt>
                <c:pt idx="12532">
                  <c:v>154728</c:v>
                </c:pt>
                <c:pt idx="12533">
                  <c:v>154717</c:v>
                </c:pt>
                <c:pt idx="12534">
                  <c:v>154708</c:v>
                </c:pt>
                <c:pt idx="12535">
                  <c:v>154684</c:v>
                </c:pt>
                <c:pt idx="12536">
                  <c:v>154673</c:v>
                </c:pt>
                <c:pt idx="12537">
                  <c:v>154656</c:v>
                </c:pt>
                <c:pt idx="12538">
                  <c:v>154655</c:v>
                </c:pt>
                <c:pt idx="12539">
                  <c:v>154653</c:v>
                </c:pt>
                <c:pt idx="12540">
                  <c:v>154646</c:v>
                </c:pt>
                <c:pt idx="12541">
                  <c:v>154628</c:v>
                </c:pt>
                <c:pt idx="12542">
                  <c:v>154606</c:v>
                </c:pt>
                <c:pt idx="12543">
                  <c:v>154599</c:v>
                </c:pt>
                <c:pt idx="12544">
                  <c:v>154572</c:v>
                </c:pt>
                <c:pt idx="12545">
                  <c:v>154567</c:v>
                </c:pt>
                <c:pt idx="12546">
                  <c:v>154560</c:v>
                </c:pt>
                <c:pt idx="12547">
                  <c:v>154546</c:v>
                </c:pt>
                <c:pt idx="12548">
                  <c:v>154542</c:v>
                </c:pt>
                <c:pt idx="12549">
                  <c:v>154540</c:v>
                </c:pt>
                <c:pt idx="12550">
                  <c:v>154534</c:v>
                </c:pt>
                <c:pt idx="12551">
                  <c:v>154522</c:v>
                </c:pt>
                <c:pt idx="12552">
                  <c:v>154515</c:v>
                </c:pt>
                <c:pt idx="12553">
                  <c:v>154512</c:v>
                </c:pt>
                <c:pt idx="12554">
                  <c:v>154508</c:v>
                </c:pt>
                <c:pt idx="12555">
                  <c:v>154496</c:v>
                </c:pt>
                <c:pt idx="12556">
                  <c:v>154491</c:v>
                </c:pt>
                <c:pt idx="12557">
                  <c:v>154488</c:v>
                </c:pt>
                <c:pt idx="12558">
                  <c:v>154487</c:v>
                </c:pt>
                <c:pt idx="12559">
                  <c:v>154485</c:v>
                </c:pt>
                <c:pt idx="12560">
                  <c:v>154484</c:v>
                </c:pt>
                <c:pt idx="12561">
                  <c:v>154448</c:v>
                </c:pt>
                <c:pt idx="12562">
                  <c:v>154444</c:v>
                </c:pt>
                <c:pt idx="12563">
                  <c:v>154429</c:v>
                </c:pt>
                <c:pt idx="12564">
                  <c:v>154427</c:v>
                </c:pt>
                <c:pt idx="12565">
                  <c:v>154421</c:v>
                </c:pt>
                <c:pt idx="12566">
                  <c:v>154421</c:v>
                </c:pt>
                <c:pt idx="12567">
                  <c:v>154383</c:v>
                </c:pt>
                <c:pt idx="12568">
                  <c:v>154366</c:v>
                </c:pt>
                <c:pt idx="12569">
                  <c:v>154361</c:v>
                </c:pt>
                <c:pt idx="12570">
                  <c:v>154323</c:v>
                </c:pt>
                <c:pt idx="12571">
                  <c:v>154323</c:v>
                </c:pt>
                <c:pt idx="12572">
                  <c:v>154321</c:v>
                </c:pt>
                <c:pt idx="12573">
                  <c:v>154319</c:v>
                </c:pt>
                <c:pt idx="12574">
                  <c:v>154317</c:v>
                </c:pt>
                <c:pt idx="12575">
                  <c:v>154307</c:v>
                </c:pt>
                <c:pt idx="12576">
                  <c:v>154305</c:v>
                </c:pt>
                <c:pt idx="12577">
                  <c:v>154270</c:v>
                </c:pt>
                <c:pt idx="12578">
                  <c:v>154267</c:v>
                </c:pt>
                <c:pt idx="12579">
                  <c:v>154262</c:v>
                </c:pt>
                <c:pt idx="12580">
                  <c:v>154253</c:v>
                </c:pt>
                <c:pt idx="12581">
                  <c:v>154252</c:v>
                </c:pt>
                <c:pt idx="12582">
                  <c:v>154240</c:v>
                </c:pt>
                <c:pt idx="12583">
                  <c:v>154232</c:v>
                </c:pt>
                <c:pt idx="12584">
                  <c:v>154227</c:v>
                </c:pt>
                <c:pt idx="12585">
                  <c:v>154225</c:v>
                </c:pt>
                <c:pt idx="12586">
                  <c:v>154211</c:v>
                </c:pt>
                <c:pt idx="12587">
                  <c:v>154209</c:v>
                </c:pt>
                <c:pt idx="12588">
                  <c:v>154201</c:v>
                </c:pt>
                <c:pt idx="12589">
                  <c:v>154184</c:v>
                </c:pt>
                <c:pt idx="12590">
                  <c:v>154184</c:v>
                </c:pt>
                <c:pt idx="12591">
                  <c:v>154178</c:v>
                </c:pt>
                <c:pt idx="12592">
                  <c:v>154168</c:v>
                </c:pt>
                <c:pt idx="12593">
                  <c:v>154161</c:v>
                </c:pt>
                <c:pt idx="12594">
                  <c:v>154158</c:v>
                </c:pt>
                <c:pt idx="12595">
                  <c:v>154152</c:v>
                </c:pt>
                <c:pt idx="12596">
                  <c:v>154145</c:v>
                </c:pt>
                <c:pt idx="12597">
                  <c:v>154132</c:v>
                </c:pt>
                <c:pt idx="12598">
                  <c:v>154111</c:v>
                </c:pt>
                <c:pt idx="12599">
                  <c:v>154104</c:v>
                </c:pt>
                <c:pt idx="12600">
                  <c:v>154089</c:v>
                </c:pt>
                <c:pt idx="12601">
                  <c:v>154084</c:v>
                </c:pt>
                <c:pt idx="12602">
                  <c:v>154082</c:v>
                </c:pt>
                <c:pt idx="12603">
                  <c:v>154080</c:v>
                </c:pt>
                <c:pt idx="12604">
                  <c:v>154071</c:v>
                </c:pt>
                <c:pt idx="12605">
                  <c:v>154066</c:v>
                </c:pt>
                <c:pt idx="12606">
                  <c:v>154063</c:v>
                </c:pt>
                <c:pt idx="12607">
                  <c:v>154060</c:v>
                </c:pt>
                <c:pt idx="12608">
                  <c:v>154060</c:v>
                </c:pt>
                <c:pt idx="12609">
                  <c:v>154054</c:v>
                </c:pt>
                <c:pt idx="12610">
                  <c:v>154048</c:v>
                </c:pt>
                <c:pt idx="12611">
                  <c:v>154046</c:v>
                </c:pt>
                <c:pt idx="12612">
                  <c:v>154041</c:v>
                </c:pt>
                <c:pt idx="12613">
                  <c:v>154038</c:v>
                </c:pt>
                <c:pt idx="12614">
                  <c:v>154034</c:v>
                </c:pt>
                <c:pt idx="12615">
                  <c:v>154032</c:v>
                </c:pt>
                <c:pt idx="12616">
                  <c:v>154032</c:v>
                </c:pt>
                <c:pt idx="12617">
                  <c:v>154031</c:v>
                </c:pt>
                <c:pt idx="12618">
                  <c:v>154025</c:v>
                </c:pt>
                <c:pt idx="12619">
                  <c:v>154025</c:v>
                </c:pt>
                <c:pt idx="12620">
                  <c:v>154025</c:v>
                </c:pt>
                <c:pt idx="12621">
                  <c:v>154017</c:v>
                </c:pt>
                <c:pt idx="12622">
                  <c:v>154015</c:v>
                </c:pt>
                <c:pt idx="12623">
                  <c:v>154011</c:v>
                </c:pt>
                <c:pt idx="12624">
                  <c:v>154008</c:v>
                </c:pt>
                <c:pt idx="12625">
                  <c:v>154007</c:v>
                </c:pt>
                <c:pt idx="12626">
                  <c:v>153998</c:v>
                </c:pt>
                <c:pt idx="12627">
                  <c:v>153992</c:v>
                </c:pt>
                <c:pt idx="12628">
                  <c:v>153989</c:v>
                </c:pt>
                <c:pt idx="12629">
                  <c:v>153971</c:v>
                </c:pt>
                <c:pt idx="12630">
                  <c:v>153964</c:v>
                </c:pt>
                <c:pt idx="12631">
                  <c:v>153956</c:v>
                </c:pt>
                <c:pt idx="12632">
                  <c:v>153949</c:v>
                </c:pt>
                <c:pt idx="12633">
                  <c:v>153943</c:v>
                </c:pt>
                <c:pt idx="12634">
                  <c:v>153939</c:v>
                </c:pt>
                <c:pt idx="12635">
                  <c:v>153933</c:v>
                </c:pt>
                <c:pt idx="12636">
                  <c:v>153924</c:v>
                </c:pt>
                <c:pt idx="12637">
                  <c:v>153916</c:v>
                </c:pt>
                <c:pt idx="12638">
                  <c:v>153909</c:v>
                </c:pt>
                <c:pt idx="12639">
                  <c:v>153900</c:v>
                </c:pt>
                <c:pt idx="12640">
                  <c:v>153893</c:v>
                </c:pt>
                <c:pt idx="12641">
                  <c:v>153872</c:v>
                </c:pt>
                <c:pt idx="12642">
                  <c:v>153868</c:v>
                </c:pt>
                <c:pt idx="12643">
                  <c:v>153865</c:v>
                </c:pt>
                <c:pt idx="12644">
                  <c:v>153862</c:v>
                </c:pt>
                <c:pt idx="12645">
                  <c:v>153820</c:v>
                </c:pt>
                <c:pt idx="12646">
                  <c:v>153819</c:v>
                </c:pt>
                <c:pt idx="12647">
                  <c:v>153819</c:v>
                </c:pt>
                <c:pt idx="12648">
                  <c:v>153813</c:v>
                </c:pt>
                <c:pt idx="12649">
                  <c:v>153795</c:v>
                </c:pt>
                <c:pt idx="12650">
                  <c:v>153752</c:v>
                </c:pt>
                <c:pt idx="12651">
                  <c:v>153743</c:v>
                </c:pt>
                <c:pt idx="12652">
                  <c:v>153733</c:v>
                </c:pt>
                <c:pt idx="12653">
                  <c:v>153728</c:v>
                </c:pt>
                <c:pt idx="12654">
                  <c:v>153716</c:v>
                </c:pt>
                <c:pt idx="12655">
                  <c:v>153716</c:v>
                </c:pt>
                <c:pt idx="12656">
                  <c:v>153711</c:v>
                </c:pt>
                <c:pt idx="12657">
                  <c:v>153708</c:v>
                </c:pt>
                <c:pt idx="12658">
                  <c:v>153702</c:v>
                </c:pt>
                <c:pt idx="12659">
                  <c:v>153689</c:v>
                </c:pt>
                <c:pt idx="12660">
                  <c:v>153684</c:v>
                </c:pt>
                <c:pt idx="12661">
                  <c:v>153650</c:v>
                </c:pt>
                <c:pt idx="12662">
                  <c:v>153649</c:v>
                </c:pt>
                <c:pt idx="12663">
                  <c:v>153645</c:v>
                </c:pt>
                <c:pt idx="12664">
                  <c:v>153632</c:v>
                </c:pt>
                <c:pt idx="12665">
                  <c:v>153629</c:v>
                </c:pt>
                <c:pt idx="12666">
                  <c:v>153613</c:v>
                </c:pt>
                <c:pt idx="12667">
                  <c:v>153608</c:v>
                </c:pt>
                <c:pt idx="12668">
                  <c:v>153603</c:v>
                </c:pt>
                <c:pt idx="12669">
                  <c:v>153591</c:v>
                </c:pt>
                <c:pt idx="12670">
                  <c:v>153585</c:v>
                </c:pt>
                <c:pt idx="12671">
                  <c:v>153570</c:v>
                </c:pt>
                <c:pt idx="12672">
                  <c:v>153567</c:v>
                </c:pt>
                <c:pt idx="12673">
                  <c:v>153565</c:v>
                </c:pt>
                <c:pt idx="12674">
                  <c:v>153559</c:v>
                </c:pt>
                <c:pt idx="12675">
                  <c:v>153551</c:v>
                </c:pt>
                <c:pt idx="12676">
                  <c:v>153547</c:v>
                </c:pt>
                <c:pt idx="12677">
                  <c:v>153544</c:v>
                </c:pt>
                <c:pt idx="12678">
                  <c:v>153528</c:v>
                </c:pt>
                <c:pt idx="12679">
                  <c:v>153512</c:v>
                </c:pt>
                <c:pt idx="12680">
                  <c:v>153506</c:v>
                </c:pt>
                <c:pt idx="12681">
                  <c:v>153506</c:v>
                </c:pt>
                <c:pt idx="12682">
                  <c:v>153496</c:v>
                </c:pt>
                <c:pt idx="12683">
                  <c:v>153495</c:v>
                </c:pt>
                <c:pt idx="12684">
                  <c:v>153489</c:v>
                </c:pt>
                <c:pt idx="12685">
                  <c:v>153486</c:v>
                </c:pt>
                <c:pt idx="12686">
                  <c:v>153480</c:v>
                </c:pt>
                <c:pt idx="12687">
                  <c:v>153477</c:v>
                </c:pt>
                <c:pt idx="12688">
                  <c:v>153471</c:v>
                </c:pt>
                <c:pt idx="12689">
                  <c:v>153456</c:v>
                </c:pt>
                <c:pt idx="12690">
                  <c:v>153441</c:v>
                </c:pt>
                <c:pt idx="12691">
                  <c:v>153436</c:v>
                </c:pt>
                <c:pt idx="12692">
                  <c:v>153432</c:v>
                </c:pt>
                <c:pt idx="12693">
                  <c:v>153430</c:v>
                </c:pt>
                <c:pt idx="12694">
                  <c:v>153426</c:v>
                </c:pt>
                <c:pt idx="12695">
                  <c:v>153411</c:v>
                </c:pt>
                <c:pt idx="12696">
                  <c:v>153399</c:v>
                </c:pt>
                <c:pt idx="12697">
                  <c:v>153390</c:v>
                </c:pt>
                <c:pt idx="12698">
                  <c:v>153380</c:v>
                </c:pt>
                <c:pt idx="12699">
                  <c:v>153359</c:v>
                </c:pt>
                <c:pt idx="12700">
                  <c:v>153354</c:v>
                </c:pt>
                <c:pt idx="12701">
                  <c:v>153343</c:v>
                </c:pt>
                <c:pt idx="12702">
                  <c:v>153339</c:v>
                </c:pt>
                <c:pt idx="12703">
                  <c:v>153336</c:v>
                </c:pt>
                <c:pt idx="12704">
                  <c:v>153329</c:v>
                </c:pt>
                <c:pt idx="12705">
                  <c:v>153328</c:v>
                </c:pt>
                <c:pt idx="12706">
                  <c:v>153321</c:v>
                </c:pt>
                <c:pt idx="12707">
                  <c:v>153316</c:v>
                </c:pt>
                <c:pt idx="12708">
                  <c:v>153307</c:v>
                </c:pt>
                <c:pt idx="12709">
                  <c:v>153298</c:v>
                </c:pt>
                <c:pt idx="12710">
                  <c:v>153296</c:v>
                </c:pt>
                <c:pt idx="12711">
                  <c:v>153295</c:v>
                </c:pt>
                <c:pt idx="12712">
                  <c:v>153283</c:v>
                </c:pt>
                <c:pt idx="12713">
                  <c:v>153276</c:v>
                </c:pt>
                <c:pt idx="12714">
                  <c:v>153267</c:v>
                </c:pt>
                <c:pt idx="12715">
                  <c:v>153243</c:v>
                </c:pt>
                <c:pt idx="12716">
                  <c:v>153240</c:v>
                </c:pt>
                <c:pt idx="12717">
                  <c:v>153231</c:v>
                </c:pt>
                <c:pt idx="12718">
                  <c:v>153223</c:v>
                </c:pt>
                <c:pt idx="12719">
                  <c:v>153214</c:v>
                </c:pt>
                <c:pt idx="12720">
                  <c:v>153211</c:v>
                </c:pt>
                <c:pt idx="12721">
                  <c:v>153194</c:v>
                </c:pt>
                <c:pt idx="12722">
                  <c:v>153188</c:v>
                </c:pt>
                <c:pt idx="12723">
                  <c:v>153186</c:v>
                </c:pt>
                <c:pt idx="12724">
                  <c:v>153178</c:v>
                </c:pt>
                <c:pt idx="12725">
                  <c:v>153175</c:v>
                </c:pt>
                <c:pt idx="12726">
                  <c:v>153161</c:v>
                </c:pt>
                <c:pt idx="12727">
                  <c:v>153148</c:v>
                </c:pt>
                <c:pt idx="12728">
                  <c:v>153148</c:v>
                </c:pt>
                <c:pt idx="12729">
                  <c:v>153147</c:v>
                </c:pt>
                <c:pt idx="12730">
                  <c:v>153134</c:v>
                </c:pt>
                <c:pt idx="12731">
                  <c:v>153124</c:v>
                </c:pt>
                <c:pt idx="12732">
                  <c:v>153108</c:v>
                </c:pt>
                <c:pt idx="12733">
                  <c:v>153105</c:v>
                </c:pt>
                <c:pt idx="12734">
                  <c:v>153104</c:v>
                </c:pt>
                <c:pt idx="12735">
                  <c:v>153103</c:v>
                </c:pt>
                <c:pt idx="12736">
                  <c:v>153101</c:v>
                </c:pt>
                <c:pt idx="12737">
                  <c:v>153095</c:v>
                </c:pt>
                <c:pt idx="12738">
                  <c:v>153089</c:v>
                </c:pt>
                <c:pt idx="12739">
                  <c:v>153085</c:v>
                </c:pt>
                <c:pt idx="12740">
                  <c:v>153080</c:v>
                </c:pt>
                <c:pt idx="12741">
                  <c:v>153074</c:v>
                </c:pt>
                <c:pt idx="12742">
                  <c:v>153067</c:v>
                </c:pt>
                <c:pt idx="12743">
                  <c:v>153056</c:v>
                </c:pt>
                <c:pt idx="12744">
                  <c:v>153038</c:v>
                </c:pt>
                <c:pt idx="12745">
                  <c:v>153036</c:v>
                </c:pt>
                <c:pt idx="12746">
                  <c:v>152989</c:v>
                </c:pt>
                <c:pt idx="12747">
                  <c:v>152987</c:v>
                </c:pt>
                <c:pt idx="12748">
                  <c:v>152987</c:v>
                </c:pt>
                <c:pt idx="12749">
                  <c:v>152977</c:v>
                </c:pt>
                <c:pt idx="12750">
                  <c:v>152957</c:v>
                </c:pt>
                <c:pt idx="12751">
                  <c:v>152950</c:v>
                </c:pt>
                <c:pt idx="12752">
                  <c:v>152950</c:v>
                </c:pt>
                <c:pt idx="12753">
                  <c:v>152935</c:v>
                </c:pt>
                <c:pt idx="12754">
                  <c:v>152920</c:v>
                </c:pt>
                <c:pt idx="12755">
                  <c:v>152915</c:v>
                </c:pt>
                <c:pt idx="12756">
                  <c:v>152913</c:v>
                </c:pt>
                <c:pt idx="12757">
                  <c:v>152897</c:v>
                </c:pt>
                <c:pt idx="12758">
                  <c:v>152895</c:v>
                </c:pt>
                <c:pt idx="12759">
                  <c:v>152893</c:v>
                </c:pt>
                <c:pt idx="12760">
                  <c:v>152885</c:v>
                </c:pt>
                <c:pt idx="12761">
                  <c:v>152880</c:v>
                </c:pt>
                <c:pt idx="12762">
                  <c:v>152879</c:v>
                </c:pt>
                <c:pt idx="12763">
                  <c:v>152878</c:v>
                </c:pt>
                <c:pt idx="12764">
                  <c:v>152878</c:v>
                </c:pt>
                <c:pt idx="12765">
                  <c:v>152877</c:v>
                </c:pt>
                <c:pt idx="12766">
                  <c:v>152858</c:v>
                </c:pt>
                <c:pt idx="12767">
                  <c:v>152843</c:v>
                </c:pt>
                <c:pt idx="12768">
                  <c:v>152822</c:v>
                </c:pt>
                <c:pt idx="12769">
                  <c:v>152820</c:v>
                </c:pt>
                <c:pt idx="12770">
                  <c:v>152807</c:v>
                </c:pt>
                <c:pt idx="12771">
                  <c:v>152796</c:v>
                </c:pt>
                <c:pt idx="12772">
                  <c:v>152796</c:v>
                </c:pt>
                <c:pt idx="12773">
                  <c:v>152775</c:v>
                </c:pt>
                <c:pt idx="12774">
                  <c:v>152773</c:v>
                </c:pt>
                <c:pt idx="12775">
                  <c:v>152766</c:v>
                </c:pt>
                <c:pt idx="12776">
                  <c:v>152763</c:v>
                </c:pt>
                <c:pt idx="12777">
                  <c:v>152744</c:v>
                </c:pt>
                <c:pt idx="12778">
                  <c:v>152741</c:v>
                </c:pt>
                <c:pt idx="12779">
                  <c:v>152731</c:v>
                </c:pt>
                <c:pt idx="12780">
                  <c:v>152730</c:v>
                </c:pt>
                <c:pt idx="12781">
                  <c:v>152719</c:v>
                </c:pt>
                <c:pt idx="12782">
                  <c:v>152718</c:v>
                </c:pt>
                <c:pt idx="12783">
                  <c:v>152708</c:v>
                </c:pt>
                <c:pt idx="12784">
                  <c:v>152707</c:v>
                </c:pt>
                <c:pt idx="12785">
                  <c:v>152692</c:v>
                </c:pt>
                <c:pt idx="12786">
                  <c:v>152678</c:v>
                </c:pt>
                <c:pt idx="12787">
                  <c:v>152668</c:v>
                </c:pt>
                <c:pt idx="12788">
                  <c:v>152643</c:v>
                </c:pt>
                <c:pt idx="12789">
                  <c:v>152628</c:v>
                </c:pt>
                <c:pt idx="12790">
                  <c:v>152624</c:v>
                </c:pt>
                <c:pt idx="12791">
                  <c:v>152623</c:v>
                </c:pt>
                <c:pt idx="12792">
                  <c:v>152618</c:v>
                </c:pt>
                <c:pt idx="12793">
                  <c:v>152617</c:v>
                </c:pt>
                <c:pt idx="12794">
                  <c:v>152615</c:v>
                </c:pt>
                <c:pt idx="12795">
                  <c:v>152590</c:v>
                </c:pt>
                <c:pt idx="12796">
                  <c:v>152587</c:v>
                </c:pt>
                <c:pt idx="12797">
                  <c:v>152585</c:v>
                </c:pt>
                <c:pt idx="12798">
                  <c:v>152580</c:v>
                </c:pt>
                <c:pt idx="12799">
                  <c:v>152576</c:v>
                </c:pt>
                <c:pt idx="12800">
                  <c:v>152571</c:v>
                </c:pt>
                <c:pt idx="12801">
                  <c:v>152554</c:v>
                </c:pt>
                <c:pt idx="12802">
                  <c:v>152545</c:v>
                </c:pt>
                <c:pt idx="12803">
                  <c:v>152545</c:v>
                </c:pt>
                <c:pt idx="12804">
                  <c:v>152545</c:v>
                </c:pt>
                <c:pt idx="12805">
                  <c:v>152520</c:v>
                </c:pt>
                <c:pt idx="12806">
                  <c:v>152504</c:v>
                </c:pt>
                <c:pt idx="12807">
                  <c:v>152504</c:v>
                </c:pt>
                <c:pt idx="12808">
                  <c:v>152499</c:v>
                </c:pt>
                <c:pt idx="12809">
                  <c:v>152499</c:v>
                </c:pt>
                <c:pt idx="12810">
                  <c:v>152498</c:v>
                </c:pt>
                <c:pt idx="12811">
                  <c:v>152495</c:v>
                </c:pt>
                <c:pt idx="12812">
                  <c:v>152492</c:v>
                </c:pt>
                <c:pt idx="12813">
                  <c:v>152490</c:v>
                </c:pt>
                <c:pt idx="12814">
                  <c:v>152486</c:v>
                </c:pt>
                <c:pt idx="12815">
                  <c:v>152477</c:v>
                </c:pt>
                <c:pt idx="12816">
                  <c:v>152470</c:v>
                </c:pt>
                <c:pt idx="12817">
                  <c:v>152465</c:v>
                </c:pt>
                <c:pt idx="12818">
                  <c:v>152455</c:v>
                </c:pt>
                <c:pt idx="12819">
                  <c:v>152445</c:v>
                </c:pt>
                <c:pt idx="12820">
                  <c:v>152441</c:v>
                </c:pt>
                <c:pt idx="12821">
                  <c:v>152434</c:v>
                </c:pt>
                <c:pt idx="12822">
                  <c:v>152420</c:v>
                </c:pt>
                <c:pt idx="12823">
                  <c:v>152419</c:v>
                </c:pt>
                <c:pt idx="12824">
                  <c:v>152395</c:v>
                </c:pt>
                <c:pt idx="12825">
                  <c:v>152374</c:v>
                </c:pt>
                <c:pt idx="12826">
                  <c:v>152372</c:v>
                </c:pt>
                <c:pt idx="12827">
                  <c:v>152372</c:v>
                </c:pt>
                <c:pt idx="12828">
                  <c:v>152359</c:v>
                </c:pt>
                <c:pt idx="12829">
                  <c:v>152357</c:v>
                </c:pt>
                <c:pt idx="12830">
                  <c:v>152343</c:v>
                </c:pt>
                <c:pt idx="12831">
                  <c:v>152340</c:v>
                </c:pt>
                <c:pt idx="12832">
                  <c:v>152334</c:v>
                </c:pt>
                <c:pt idx="12833">
                  <c:v>152322</c:v>
                </c:pt>
                <c:pt idx="12834">
                  <c:v>152313</c:v>
                </c:pt>
                <c:pt idx="12835">
                  <c:v>152308</c:v>
                </c:pt>
                <c:pt idx="12836">
                  <c:v>152307</c:v>
                </c:pt>
                <c:pt idx="12837">
                  <c:v>152289</c:v>
                </c:pt>
                <c:pt idx="12838">
                  <c:v>152285</c:v>
                </c:pt>
                <c:pt idx="12839">
                  <c:v>152269</c:v>
                </c:pt>
                <c:pt idx="12840">
                  <c:v>152263</c:v>
                </c:pt>
                <c:pt idx="12841">
                  <c:v>152262</c:v>
                </c:pt>
                <c:pt idx="12842">
                  <c:v>152256</c:v>
                </c:pt>
                <c:pt idx="12843">
                  <c:v>152245</c:v>
                </c:pt>
                <c:pt idx="12844">
                  <c:v>152240</c:v>
                </c:pt>
                <c:pt idx="12845">
                  <c:v>152233</c:v>
                </c:pt>
                <c:pt idx="12846">
                  <c:v>152229</c:v>
                </c:pt>
                <c:pt idx="12847">
                  <c:v>152226</c:v>
                </c:pt>
                <c:pt idx="12848">
                  <c:v>152222</c:v>
                </c:pt>
                <c:pt idx="12849">
                  <c:v>152210</c:v>
                </c:pt>
                <c:pt idx="12850">
                  <c:v>152206</c:v>
                </c:pt>
                <c:pt idx="12851">
                  <c:v>152178</c:v>
                </c:pt>
                <c:pt idx="12852">
                  <c:v>152175</c:v>
                </c:pt>
                <c:pt idx="12853">
                  <c:v>152162</c:v>
                </c:pt>
                <c:pt idx="12854">
                  <c:v>152159</c:v>
                </c:pt>
                <c:pt idx="12855">
                  <c:v>152158</c:v>
                </c:pt>
                <c:pt idx="12856">
                  <c:v>152156</c:v>
                </c:pt>
                <c:pt idx="12857">
                  <c:v>152146</c:v>
                </c:pt>
                <c:pt idx="12858">
                  <c:v>152122</c:v>
                </c:pt>
                <c:pt idx="12859">
                  <c:v>152118</c:v>
                </c:pt>
                <c:pt idx="12860">
                  <c:v>152115</c:v>
                </c:pt>
                <c:pt idx="12861">
                  <c:v>152115</c:v>
                </c:pt>
                <c:pt idx="12862">
                  <c:v>152110</c:v>
                </c:pt>
                <c:pt idx="12863">
                  <c:v>152107</c:v>
                </c:pt>
                <c:pt idx="12864">
                  <c:v>152104</c:v>
                </c:pt>
                <c:pt idx="12865">
                  <c:v>152093</c:v>
                </c:pt>
                <c:pt idx="12866">
                  <c:v>152092</c:v>
                </c:pt>
                <c:pt idx="12867">
                  <c:v>152090</c:v>
                </c:pt>
                <c:pt idx="12868">
                  <c:v>152074</c:v>
                </c:pt>
                <c:pt idx="12869">
                  <c:v>152065</c:v>
                </c:pt>
                <c:pt idx="12870">
                  <c:v>152061</c:v>
                </c:pt>
                <c:pt idx="12871">
                  <c:v>152053</c:v>
                </c:pt>
                <c:pt idx="12872">
                  <c:v>152043</c:v>
                </c:pt>
                <c:pt idx="12873">
                  <c:v>152041</c:v>
                </c:pt>
                <c:pt idx="12874">
                  <c:v>152028</c:v>
                </c:pt>
                <c:pt idx="12875">
                  <c:v>152021</c:v>
                </c:pt>
                <c:pt idx="12876">
                  <c:v>152016</c:v>
                </c:pt>
                <c:pt idx="12877">
                  <c:v>152014</c:v>
                </c:pt>
                <c:pt idx="12878">
                  <c:v>152011</c:v>
                </c:pt>
                <c:pt idx="12879">
                  <c:v>152010</c:v>
                </c:pt>
                <c:pt idx="12880">
                  <c:v>152008</c:v>
                </c:pt>
                <c:pt idx="12881">
                  <c:v>152003</c:v>
                </c:pt>
                <c:pt idx="12882">
                  <c:v>151988</c:v>
                </c:pt>
                <c:pt idx="12883">
                  <c:v>151985</c:v>
                </c:pt>
                <c:pt idx="12884">
                  <c:v>151972</c:v>
                </c:pt>
                <c:pt idx="12885">
                  <c:v>151972</c:v>
                </c:pt>
                <c:pt idx="12886">
                  <c:v>151967</c:v>
                </c:pt>
                <c:pt idx="12887">
                  <c:v>151956</c:v>
                </c:pt>
                <c:pt idx="12888">
                  <c:v>151954</c:v>
                </c:pt>
                <c:pt idx="12889">
                  <c:v>151951</c:v>
                </c:pt>
                <c:pt idx="12890">
                  <c:v>151950</c:v>
                </c:pt>
                <c:pt idx="12891">
                  <c:v>151948</c:v>
                </c:pt>
                <c:pt idx="12892">
                  <c:v>151937</c:v>
                </c:pt>
                <c:pt idx="12893">
                  <c:v>151928</c:v>
                </c:pt>
                <c:pt idx="12894">
                  <c:v>151920</c:v>
                </c:pt>
                <c:pt idx="12895">
                  <c:v>151912</c:v>
                </c:pt>
                <c:pt idx="12896">
                  <c:v>151903</c:v>
                </c:pt>
                <c:pt idx="12897">
                  <c:v>151889</c:v>
                </c:pt>
                <c:pt idx="12898">
                  <c:v>151880</c:v>
                </c:pt>
                <c:pt idx="12899">
                  <c:v>151878</c:v>
                </c:pt>
                <c:pt idx="12900">
                  <c:v>151873</c:v>
                </c:pt>
                <c:pt idx="12901">
                  <c:v>151867</c:v>
                </c:pt>
                <c:pt idx="12902">
                  <c:v>151853</c:v>
                </c:pt>
                <c:pt idx="12903">
                  <c:v>151848</c:v>
                </c:pt>
                <c:pt idx="12904">
                  <c:v>151844</c:v>
                </c:pt>
                <c:pt idx="12905">
                  <c:v>151833</c:v>
                </c:pt>
                <c:pt idx="12906">
                  <c:v>151830</c:v>
                </c:pt>
                <c:pt idx="12907">
                  <c:v>151806</c:v>
                </c:pt>
                <c:pt idx="12908">
                  <c:v>151804</c:v>
                </c:pt>
                <c:pt idx="12909">
                  <c:v>151803</c:v>
                </c:pt>
                <c:pt idx="12910">
                  <c:v>151781</c:v>
                </c:pt>
                <c:pt idx="12911">
                  <c:v>151769</c:v>
                </c:pt>
                <c:pt idx="12912">
                  <c:v>151762</c:v>
                </c:pt>
                <c:pt idx="12913">
                  <c:v>151754</c:v>
                </c:pt>
                <c:pt idx="12914">
                  <c:v>151752</c:v>
                </c:pt>
                <c:pt idx="12915">
                  <c:v>151751</c:v>
                </c:pt>
                <c:pt idx="12916">
                  <c:v>151748</c:v>
                </c:pt>
                <c:pt idx="12917">
                  <c:v>151746</c:v>
                </c:pt>
                <c:pt idx="12918">
                  <c:v>151738</c:v>
                </c:pt>
                <c:pt idx="12919">
                  <c:v>151735</c:v>
                </c:pt>
                <c:pt idx="12920">
                  <c:v>151729</c:v>
                </c:pt>
                <c:pt idx="12921">
                  <c:v>151720</c:v>
                </c:pt>
                <c:pt idx="12922">
                  <c:v>151713</c:v>
                </c:pt>
                <c:pt idx="12923">
                  <c:v>151712</c:v>
                </c:pt>
                <c:pt idx="12924">
                  <c:v>151711</c:v>
                </c:pt>
                <c:pt idx="12925">
                  <c:v>151710</c:v>
                </c:pt>
                <c:pt idx="12926">
                  <c:v>151703</c:v>
                </c:pt>
                <c:pt idx="12927">
                  <c:v>151685</c:v>
                </c:pt>
                <c:pt idx="12928">
                  <c:v>151682</c:v>
                </c:pt>
                <c:pt idx="12929">
                  <c:v>151680</c:v>
                </c:pt>
                <c:pt idx="12930">
                  <c:v>151674</c:v>
                </c:pt>
                <c:pt idx="12931">
                  <c:v>151669</c:v>
                </c:pt>
                <c:pt idx="12932">
                  <c:v>151656</c:v>
                </c:pt>
                <c:pt idx="12933">
                  <c:v>151655</c:v>
                </c:pt>
                <c:pt idx="12934">
                  <c:v>151632</c:v>
                </c:pt>
                <c:pt idx="12935">
                  <c:v>151624</c:v>
                </c:pt>
                <c:pt idx="12936">
                  <c:v>151621</c:v>
                </c:pt>
                <c:pt idx="12937">
                  <c:v>151616</c:v>
                </c:pt>
                <c:pt idx="12938">
                  <c:v>151611</c:v>
                </c:pt>
                <c:pt idx="12939">
                  <c:v>151608</c:v>
                </c:pt>
                <c:pt idx="12940">
                  <c:v>151606</c:v>
                </c:pt>
                <c:pt idx="12941">
                  <c:v>151603</c:v>
                </c:pt>
                <c:pt idx="12942">
                  <c:v>151598</c:v>
                </c:pt>
                <c:pt idx="12943">
                  <c:v>151592</c:v>
                </c:pt>
                <c:pt idx="12944">
                  <c:v>151546</c:v>
                </c:pt>
                <c:pt idx="12945">
                  <c:v>151541</c:v>
                </c:pt>
                <c:pt idx="12946">
                  <c:v>151536</c:v>
                </c:pt>
                <c:pt idx="12947">
                  <c:v>151536</c:v>
                </c:pt>
                <c:pt idx="12948">
                  <c:v>151525</c:v>
                </c:pt>
                <c:pt idx="12949">
                  <c:v>151501</c:v>
                </c:pt>
                <c:pt idx="12950">
                  <c:v>151463</c:v>
                </c:pt>
                <c:pt idx="12951">
                  <c:v>151463</c:v>
                </c:pt>
                <c:pt idx="12952">
                  <c:v>151461</c:v>
                </c:pt>
                <c:pt idx="12953">
                  <c:v>151451</c:v>
                </c:pt>
                <c:pt idx="12954">
                  <c:v>151445</c:v>
                </c:pt>
                <c:pt idx="12955">
                  <c:v>151440</c:v>
                </c:pt>
                <c:pt idx="12956">
                  <c:v>151439</c:v>
                </c:pt>
                <c:pt idx="12957">
                  <c:v>151433</c:v>
                </c:pt>
                <c:pt idx="12958">
                  <c:v>151430</c:v>
                </c:pt>
                <c:pt idx="12959">
                  <c:v>151421</c:v>
                </c:pt>
                <c:pt idx="12960">
                  <c:v>151410</c:v>
                </c:pt>
                <c:pt idx="12961">
                  <c:v>151394</c:v>
                </c:pt>
                <c:pt idx="12962">
                  <c:v>151387</c:v>
                </c:pt>
                <c:pt idx="12963">
                  <c:v>151363</c:v>
                </c:pt>
                <c:pt idx="12964">
                  <c:v>151359</c:v>
                </c:pt>
                <c:pt idx="12965">
                  <c:v>151355</c:v>
                </c:pt>
                <c:pt idx="12966">
                  <c:v>151346</c:v>
                </c:pt>
                <c:pt idx="12967">
                  <c:v>151336</c:v>
                </c:pt>
                <c:pt idx="12968">
                  <c:v>151336</c:v>
                </c:pt>
                <c:pt idx="12969">
                  <c:v>151335</c:v>
                </c:pt>
                <c:pt idx="12970">
                  <c:v>151331</c:v>
                </c:pt>
                <c:pt idx="12971">
                  <c:v>151330</c:v>
                </c:pt>
                <c:pt idx="12972">
                  <c:v>151326</c:v>
                </c:pt>
                <c:pt idx="12973">
                  <c:v>151325</c:v>
                </c:pt>
                <c:pt idx="12974">
                  <c:v>151324</c:v>
                </c:pt>
                <c:pt idx="12975">
                  <c:v>151317</c:v>
                </c:pt>
                <c:pt idx="12976">
                  <c:v>151303</c:v>
                </c:pt>
                <c:pt idx="12977">
                  <c:v>151300</c:v>
                </c:pt>
                <c:pt idx="12978">
                  <c:v>151287</c:v>
                </c:pt>
                <c:pt idx="12979">
                  <c:v>151267</c:v>
                </c:pt>
                <c:pt idx="12980">
                  <c:v>151263</c:v>
                </c:pt>
                <c:pt idx="12981">
                  <c:v>151258</c:v>
                </c:pt>
                <c:pt idx="12982">
                  <c:v>151255</c:v>
                </c:pt>
                <c:pt idx="12983">
                  <c:v>151251</c:v>
                </c:pt>
                <c:pt idx="12984">
                  <c:v>151228</c:v>
                </c:pt>
                <c:pt idx="12985">
                  <c:v>151225</c:v>
                </c:pt>
                <c:pt idx="12986">
                  <c:v>151225</c:v>
                </c:pt>
                <c:pt idx="12987">
                  <c:v>151210</c:v>
                </c:pt>
                <c:pt idx="12988">
                  <c:v>151201</c:v>
                </c:pt>
                <c:pt idx="12989">
                  <c:v>151190</c:v>
                </c:pt>
                <c:pt idx="12990">
                  <c:v>151185</c:v>
                </c:pt>
                <c:pt idx="12991">
                  <c:v>151185</c:v>
                </c:pt>
                <c:pt idx="12992">
                  <c:v>151176</c:v>
                </c:pt>
                <c:pt idx="12993">
                  <c:v>151173</c:v>
                </c:pt>
                <c:pt idx="12994">
                  <c:v>151154</c:v>
                </c:pt>
                <c:pt idx="12995">
                  <c:v>151142</c:v>
                </c:pt>
                <c:pt idx="12996">
                  <c:v>151135</c:v>
                </c:pt>
                <c:pt idx="12997">
                  <c:v>151127</c:v>
                </c:pt>
                <c:pt idx="12998">
                  <c:v>151123</c:v>
                </c:pt>
                <c:pt idx="12999">
                  <c:v>151121</c:v>
                </c:pt>
                <c:pt idx="13000">
                  <c:v>151114</c:v>
                </c:pt>
                <c:pt idx="13001">
                  <c:v>151103</c:v>
                </c:pt>
                <c:pt idx="13002">
                  <c:v>151095</c:v>
                </c:pt>
                <c:pt idx="13003">
                  <c:v>151094</c:v>
                </c:pt>
                <c:pt idx="13004">
                  <c:v>151090</c:v>
                </c:pt>
                <c:pt idx="13005">
                  <c:v>151085</c:v>
                </c:pt>
                <c:pt idx="13006">
                  <c:v>151065</c:v>
                </c:pt>
                <c:pt idx="13007">
                  <c:v>151061</c:v>
                </c:pt>
                <c:pt idx="13008">
                  <c:v>151059</c:v>
                </c:pt>
                <c:pt idx="13009">
                  <c:v>151053</c:v>
                </c:pt>
                <c:pt idx="13010">
                  <c:v>151044</c:v>
                </c:pt>
                <c:pt idx="13011">
                  <c:v>151044</c:v>
                </c:pt>
                <c:pt idx="13012">
                  <c:v>151042</c:v>
                </c:pt>
                <c:pt idx="13013">
                  <c:v>151034</c:v>
                </c:pt>
                <c:pt idx="13014">
                  <c:v>151027</c:v>
                </c:pt>
                <c:pt idx="13015">
                  <c:v>151022</c:v>
                </c:pt>
                <c:pt idx="13016">
                  <c:v>151021</c:v>
                </c:pt>
                <c:pt idx="13017">
                  <c:v>151012</c:v>
                </c:pt>
                <c:pt idx="13018">
                  <c:v>151002</c:v>
                </c:pt>
                <c:pt idx="13019">
                  <c:v>150990</c:v>
                </c:pt>
                <c:pt idx="13020">
                  <c:v>150984</c:v>
                </c:pt>
                <c:pt idx="13021">
                  <c:v>150970</c:v>
                </c:pt>
                <c:pt idx="13022">
                  <c:v>150958</c:v>
                </c:pt>
                <c:pt idx="13023">
                  <c:v>150945</c:v>
                </c:pt>
                <c:pt idx="13024">
                  <c:v>150941</c:v>
                </c:pt>
                <c:pt idx="13025">
                  <c:v>150940</c:v>
                </c:pt>
                <c:pt idx="13026">
                  <c:v>150939</c:v>
                </c:pt>
                <c:pt idx="13027">
                  <c:v>150936</c:v>
                </c:pt>
                <c:pt idx="13028">
                  <c:v>150935</c:v>
                </c:pt>
                <c:pt idx="13029">
                  <c:v>150934</c:v>
                </c:pt>
                <c:pt idx="13030">
                  <c:v>150917</c:v>
                </c:pt>
                <c:pt idx="13031">
                  <c:v>150903</c:v>
                </c:pt>
                <c:pt idx="13032">
                  <c:v>150901</c:v>
                </c:pt>
                <c:pt idx="13033">
                  <c:v>150896</c:v>
                </c:pt>
                <c:pt idx="13034">
                  <c:v>150887</c:v>
                </c:pt>
                <c:pt idx="13035">
                  <c:v>150879</c:v>
                </c:pt>
                <c:pt idx="13036">
                  <c:v>150868</c:v>
                </c:pt>
                <c:pt idx="13037">
                  <c:v>150852</c:v>
                </c:pt>
                <c:pt idx="13038">
                  <c:v>150851</c:v>
                </c:pt>
                <c:pt idx="13039">
                  <c:v>150843</c:v>
                </c:pt>
                <c:pt idx="13040">
                  <c:v>150838</c:v>
                </c:pt>
                <c:pt idx="13041">
                  <c:v>150836</c:v>
                </c:pt>
                <c:pt idx="13042">
                  <c:v>150826</c:v>
                </c:pt>
                <c:pt idx="13043">
                  <c:v>150826</c:v>
                </c:pt>
                <c:pt idx="13044">
                  <c:v>150820</c:v>
                </c:pt>
                <c:pt idx="13045">
                  <c:v>150808</c:v>
                </c:pt>
                <c:pt idx="13046">
                  <c:v>150807</c:v>
                </c:pt>
                <c:pt idx="13047">
                  <c:v>150805</c:v>
                </c:pt>
                <c:pt idx="13048">
                  <c:v>150782</c:v>
                </c:pt>
                <c:pt idx="13049">
                  <c:v>150775</c:v>
                </c:pt>
                <c:pt idx="13050">
                  <c:v>150770</c:v>
                </c:pt>
                <c:pt idx="13051">
                  <c:v>150759</c:v>
                </c:pt>
                <c:pt idx="13052">
                  <c:v>150757</c:v>
                </c:pt>
                <c:pt idx="13053">
                  <c:v>150746</c:v>
                </c:pt>
                <c:pt idx="13054">
                  <c:v>150744</c:v>
                </c:pt>
                <c:pt idx="13055">
                  <c:v>150743</c:v>
                </c:pt>
                <c:pt idx="13056">
                  <c:v>150738</c:v>
                </c:pt>
                <c:pt idx="13057">
                  <c:v>150728</c:v>
                </c:pt>
                <c:pt idx="13058">
                  <c:v>150727</c:v>
                </c:pt>
                <c:pt idx="13059">
                  <c:v>150719</c:v>
                </c:pt>
                <c:pt idx="13060">
                  <c:v>150717</c:v>
                </c:pt>
                <c:pt idx="13061">
                  <c:v>150716</c:v>
                </c:pt>
                <c:pt idx="13062">
                  <c:v>150704</c:v>
                </c:pt>
                <c:pt idx="13063">
                  <c:v>150701</c:v>
                </c:pt>
                <c:pt idx="13064">
                  <c:v>150701</c:v>
                </c:pt>
                <c:pt idx="13065">
                  <c:v>150678</c:v>
                </c:pt>
                <c:pt idx="13066">
                  <c:v>150675</c:v>
                </c:pt>
                <c:pt idx="13067">
                  <c:v>150644</c:v>
                </c:pt>
                <c:pt idx="13068">
                  <c:v>150644</c:v>
                </c:pt>
                <c:pt idx="13069">
                  <c:v>150643</c:v>
                </c:pt>
                <c:pt idx="13070">
                  <c:v>150631</c:v>
                </c:pt>
                <c:pt idx="13071">
                  <c:v>150621</c:v>
                </c:pt>
                <c:pt idx="13072">
                  <c:v>150620</c:v>
                </c:pt>
                <c:pt idx="13073">
                  <c:v>150592</c:v>
                </c:pt>
                <c:pt idx="13074">
                  <c:v>150583</c:v>
                </c:pt>
                <c:pt idx="13075">
                  <c:v>150577</c:v>
                </c:pt>
                <c:pt idx="13076">
                  <c:v>150575</c:v>
                </c:pt>
                <c:pt idx="13077">
                  <c:v>150565</c:v>
                </c:pt>
                <c:pt idx="13078">
                  <c:v>150559</c:v>
                </c:pt>
                <c:pt idx="13079">
                  <c:v>150552</c:v>
                </c:pt>
                <c:pt idx="13080">
                  <c:v>150549</c:v>
                </c:pt>
                <c:pt idx="13081">
                  <c:v>150545</c:v>
                </c:pt>
                <c:pt idx="13082">
                  <c:v>150537</c:v>
                </c:pt>
                <c:pt idx="13083">
                  <c:v>150516</c:v>
                </c:pt>
                <c:pt idx="13084">
                  <c:v>150513</c:v>
                </c:pt>
                <c:pt idx="13085">
                  <c:v>150512</c:v>
                </c:pt>
                <c:pt idx="13086">
                  <c:v>150508</c:v>
                </c:pt>
                <c:pt idx="13087">
                  <c:v>150507</c:v>
                </c:pt>
                <c:pt idx="13088">
                  <c:v>150497</c:v>
                </c:pt>
                <c:pt idx="13089">
                  <c:v>150491</c:v>
                </c:pt>
                <c:pt idx="13090">
                  <c:v>150482</c:v>
                </c:pt>
                <c:pt idx="13091">
                  <c:v>150481</c:v>
                </c:pt>
                <c:pt idx="13092">
                  <c:v>150480</c:v>
                </c:pt>
                <c:pt idx="13093">
                  <c:v>150472</c:v>
                </c:pt>
                <c:pt idx="13094">
                  <c:v>150462</c:v>
                </c:pt>
                <c:pt idx="13095">
                  <c:v>150447</c:v>
                </c:pt>
                <c:pt idx="13096">
                  <c:v>150437</c:v>
                </c:pt>
                <c:pt idx="13097">
                  <c:v>150437</c:v>
                </c:pt>
                <c:pt idx="13098">
                  <c:v>150421</c:v>
                </c:pt>
                <c:pt idx="13099">
                  <c:v>150412</c:v>
                </c:pt>
                <c:pt idx="13100">
                  <c:v>150404</c:v>
                </c:pt>
                <c:pt idx="13101">
                  <c:v>150403</c:v>
                </c:pt>
                <c:pt idx="13102">
                  <c:v>150387</c:v>
                </c:pt>
                <c:pt idx="13103">
                  <c:v>150381</c:v>
                </c:pt>
                <c:pt idx="13104">
                  <c:v>150375</c:v>
                </c:pt>
                <c:pt idx="13105">
                  <c:v>150361</c:v>
                </c:pt>
                <c:pt idx="13106">
                  <c:v>150359</c:v>
                </c:pt>
                <c:pt idx="13107">
                  <c:v>150355</c:v>
                </c:pt>
                <c:pt idx="13108">
                  <c:v>150351</c:v>
                </c:pt>
                <c:pt idx="13109">
                  <c:v>150348</c:v>
                </c:pt>
                <c:pt idx="13110">
                  <c:v>150347</c:v>
                </c:pt>
                <c:pt idx="13111">
                  <c:v>150338</c:v>
                </c:pt>
                <c:pt idx="13112">
                  <c:v>150327</c:v>
                </c:pt>
                <c:pt idx="13113">
                  <c:v>150311</c:v>
                </c:pt>
                <c:pt idx="13114">
                  <c:v>150292</c:v>
                </c:pt>
                <c:pt idx="13115">
                  <c:v>150284</c:v>
                </c:pt>
                <c:pt idx="13116">
                  <c:v>150273</c:v>
                </c:pt>
                <c:pt idx="13117">
                  <c:v>150273</c:v>
                </c:pt>
                <c:pt idx="13118">
                  <c:v>150272</c:v>
                </c:pt>
                <c:pt idx="13119">
                  <c:v>150270</c:v>
                </c:pt>
                <c:pt idx="13120">
                  <c:v>150251</c:v>
                </c:pt>
                <c:pt idx="13121">
                  <c:v>150250</c:v>
                </c:pt>
                <c:pt idx="13122">
                  <c:v>150245</c:v>
                </c:pt>
                <c:pt idx="13123">
                  <c:v>150240</c:v>
                </c:pt>
                <c:pt idx="13124">
                  <c:v>150238</c:v>
                </c:pt>
                <c:pt idx="13125">
                  <c:v>150221</c:v>
                </c:pt>
                <c:pt idx="13126">
                  <c:v>150215</c:v>
                </c:pt>
                <c:pt idx="13127">
                  <c:v>150197</c:v>
                </c:pt>
                <c:pt idx="13128">
                  <c:v>150172</c:v>
                </c:pt>
                <c:pt idx="13129">
                  <c:v>150164</c:v>
                </c:pt>
                <c:pt idx="13130">
                  <c:v>150164</c:v>
                </c:pt>
                <c:pt idx="13131">
                  <c:v>150147</c:v>
                </c:pt>
                <c:pt idx="13132">
                  <c:v>150144</c:v>
                </c:pt>
                <c:pt idx="13133">
                  <c:v>150138</c:v>
                </c:pt>
                <c:pt idx="13134">
                  <c:v>150137</c:v>
                </c:pt>
                <c:pt idx="13135">
                  <c:v>150135</c:v>
                </c:pt>
                <c:pt idx="13136">
                  <c:v>150133</c:v>
                </c:pt>
                <c:pt idx="13137">
                  <c:v>150124</c:v>
                </c:pt>
                <c:pt idx="13138">
                  <c:v>150122</c:v>
                </c:pt>
                <c:pt idx="13139">
                  <c:v>150119</c:v>
                </c:pt>
                <c:pt idx="13140">
                  <c:v>150114</c:v>
                </c:pt>
                <c:pt idx="13141">
                  <c:v>150114</c:v>
                </c:pt>
                <c:pt idx="13142">
                  <c:v>150112</c:v>
                </c:pt>
                <c:pt idx="13143">
                  <c:v>150102</c:v>
                </c:pt>
                <c:pt idx="13144">
                  <c:v>150094</c:v>
                </c:pt>
                <c:pt idx="13145">
                  <c:v>150093</c:v>
                </c:pt>
                <c:pt idx="13146">
                  <c:v>150091</c:v>
                </c:pt>
                <c:pt idx="13147">
                  <c:v>150081</c:v>
                </c:pt>
                <c:pt idx="13148">
                  <c:v>150080</c:v>
                </c:pt>
                <c:pt idx="13149">
                  <c:v>150077</c:v>
                </c:pt>
                <c:pt idx="13150">
                  <c:v>150068</c:v>
                </c:pt>
                <c:pt idx="13151">
                  <c:v>150053</c:v>
                </c:pt>
                <c:pt idx="13152">
                  <c:v>150050</c:v>
                </c:pt>
                <c:pt idx="13153">
                  <c:v>150047</c:v>
                </c:pt>
                <c:pt idx="13154">
                  <c:v>150041</c:v>
                </c:pt>
                <c:pt idx="13155">
                  <c:v>150041</c:v>
                </c:pt>
                <c:pt idx="13156">
                  <c:v>150025</c:v>
                </c:pt>
                <c:pt idx="13157">
                  <c:v>150012</c:v>
                </c:pt>
                <c:pt idx="13158">
                  <c:v>149993</c:v>
                </c:pt>
                <c:pt idx="13159">
                  <c:v>149992</c:v>
                </c:pt>
                <c:pt idx="13160">
                  <c:v>149992</c:v>
                </c:pt>
                <c:pt idx="13161">
                  <c:v>149988</c:v>
                </c:pt>
                <c:pt idx="13162">
                  <c:v>149988</c:v>
                </c:pt>
                <c:pt idx="13163">
                  <c:v>149987</c:v>
                </c:pt>
                <c:pt idx="13164">
                  <c:v>149985</c:v>
                </c:pt>
                <c:pt idx="13165">
                  <c:v>149972</c:v>
                </c:pt>
                <c:pt idx="13166">
                  <c:v>149972</c:v>
                </c:pt>
                <c:pt idx="13167">
                  <c:v>149972</c:v>
                </c:pt>
                <c:pt idx="13168">
                  <c:v>149969</c:v>
                </c:pt>
                <c:pt idx="13169">
                  <c:v>149966</c:v>
                </c:pt>
                <c:pt idx="13170">
                  <c:v>149954</c:v>
                </c:pt>
                <c:pt idx="13171">
                  <c:v>149954</c:v>
                </c:pt>
                <c:pt idx="13172">
                  <c:v>149953</c:v>
                </c:pt>
                <c:pt idx="13173">
                  <c:v>149945</c:v>
                </c:pt>
                <c:pt idx="13174">
                  <c:v>149944</c:v>
                </c:pt>
                <c:pt idx="13175">
                  <c:v>149939</c:v>
                </c:pt>
                <c:pt idx="13176">
                  <c:v>149938</c:v>
                </c:pt>
                <c:pt idx="13177">
                  <c:v>149934</c:v>
                </c:pt>
                <c:pt idx="13178">
                  <c:v>149933</c:v>
                </c:pt>
                <c:pt idx="13179">
                  <c:v>149932</c:v>
                </c:pt>
                <c:pt idx="13180">
                  <c:v>149928</c:v>
                </c:pt>
                <c:pt idx="13181">
                  <c:v>149912</c:v>
                </c:pt>
                <c:pt idx="13182">
                  <c:v>149912</c:v>
                </c:pt>
                <c:pt idx="13183">
                  <c:v>149909</c:v>
                </c:pt>
                <c:pt idx="13184">
                  <c:v>149905</c:v>
                </c:pt>
                <c:pt idx="13185">
                  <c:v>149883</c:v>
                </c:pt>
                <c:pt idx="13186">
                  <c:v>149877</c:v>
                </c:pt>
                <c:pt idx="13187">
                  <c:v>149869</c:v>
                </c:pt>
                <c:pt idx="13188">
                  <c:v>149858</c:v>
                </c:pt>
                <c:pt idx="13189">
                  <c:v>149853</c:v>
                </c:pt>
                <c:pt idx="13190">
                  <c:v>149848</c:v>
                </c:pt>
                <c:pt idx="13191">
                  <c:v>149846</c:v>
                </c:pt>
                <c:pt idx="13192">
                  <c:v>149844</c:v>
                </c:pt>
                <c:pt idx="13193">
                  <c:v>149840</c:v>
                </c:pt>
                <c:pt idx="13194">
                  <c:v>149835</c:v>
                </c:pt>
                <c:pt idx="13195">
                  <c:v>149831</c:v>
                </c:pt>
                <c:pt idx="13196">
                  <c:v>149813</c:v>
                </c:pt>
                <c:pt idx="13197">
                  <c:v>149811</c:v>
                </c:pt>
                <c:pt idx="13198">
                  <c:v>149797</c:v>
                </c:pt>
                <c:pt idx="13199">
                  <c:v>149796</c:v>
                </c:pt>
                <c:pt idx="13200">
                  <c:v>149793</c:v>
                </c:pt>
                <c:pt idx="13201">
                  <c:v>149792</c:v>
                </c:pt>
                <c:pt idx="13202">
                  <c:v>149792</c:v>
                </c:pt>
                <c:pt idx="13203">
                  <c:v>149768</c:v>
                </c:pt>
                <c:pt idx="13204">
                  <c:v>149767</c:v>
                </c:pt>
                <c:pt idx="13205">
                  <c:v>149762</c:v>
                </c:pt>
                <c:pt idx="13206">
                  <c:v>149741</c:v>
                </c:pt>
                <c:pt idx="13207">
                  <c:v>149741</c:v>
                </c:pt>
                <c:pt idx="13208">
                  <c:v>149732</c:v>
                </c:pt>
                <c:pt idx="13209">
                  <c:v>149731</c:v>
                </c:pt>
                <c:pt idx="13210">
                  <c:v>149719</c:v>
                </c:pt>
                <c:pt idx="13211">
                  <c:v>149707</c:v>
                </c:pt>
                <c:pt idx="13212">
                  <c:v>149706</c:v>
                </c:pt>
                <c:pt idx="13213">
                  <c:v>149695</c:v>
                </c:pt>
                <c:pt idx="13214">
                  <c:v>149693</c:v>
                </c:pt>
                <c:pt idx="13215">
                  <c:v>149683</c:v>
                </c:pt>
                <c:pt idx="13216">
                  <c:v>149677</c:v>
                </c:pt>
                <c:pt idx="13217">
                  <c:v>149676</c:v>
                </c:pt>
                <c:pt idx="13218">
                  <c:v>149675</c:v>
                </c:pt>
                <c:pt idx="13219">
                  <c:v>149667</c:v>
                </c:pt>
                <c:pt idx="13220">
                  <c:v>149667</c:v>
                </c:pt>
                <c:pt idx="13221">
                  <c:v>149649</c:v>
                </c:pt>
                <c:pt idx="13222">
                  <c:v>149645</c:v>
                </c:pt>
                <c:pt idx="13223">
                  <c:v>149644</c:v>
                </c:pt>
                <c:pt idx="13224">
                  <c:v>149638</c:v>
                </c:pt>
                <c:pt idx="13225">
                  <c:v>149630</c:v>
                </c:pt>
                <c:pt idx="13226">
                  <c:v>149630</c:v>
                </c:pt>
                <c:pt idx="13227">
                  <c:v>149621</c:v>
                </c:pt>
                <c:pt idx="13228">
                  <c:v>149620</c:v>
                </c:pt>
                <c:pt idx="13229">
                  <c:v>149617</c:v>
                </c:pt>
                <c:pt idx="13230">
                  <c:v>149615</c:v>
                </c:pt>
                <c:pt idx="13231">
                  <c:v>149600</c:v>
                </c:pt>
                <c:pt idx="13232">
                  <c:v>149600</c:v>
                </c:pt>
                <c:pt idx="13233">
                  <c:v>149597</c:v>
                </c:pt>
                <c:pt idx="13234">
                  <c:v>149596</c:v>
                </c:pt>
                <c:pt idx="13235">
                  <c:v>149586</c:v>
                </c:pt>
                <c:pt idx="13236">
                  <c:v>149583</c:v>
                </c:pt>
                <c:pt idx="13237">
                  <c:v>149581</c:v>
                </c:pt>
                <c:pt idx="13238">
                  <c:v>149570</c:v>
                </c:pt>
                <c:pt idx="13239">
                  <c:v>149559</c:v>
                </c:pt>
                <c:pt idx="13240">
                  <c:v>149559</c:v>
                </c:pt>
                <c:pt idx="13241">
                  <c:v>149556</c:v>
                </c:pt>
                <c:pt idx="13242">
                  <c:v>149553</c:v>
                </c:pt>
                <c:pt idx="13243">
                  <c:v>149521</c:v>
                </c:pt>
                <c:pt idx="13244">
                  <c:v>149519</c:v>
                </c:pt>
                <c:pt idx="13245">
                  <c:v>149518</c:v>
                </c:pt>
                <c:pt idx="13246">
                  <c:v>149514</c:v>
                </c:pt>
                <c:pt idx="13247">
                  <c:v>149505</c:v>
                </c:pt>
                <c:pt idx="13248">
                  <c:v>149494</c:v>
                </c:pt>
                <c:pt idx="13249">
                  <c:v>149494</c:v>
                </c:pt>
                <c:pt idx="13250">
                  <c:v>149494</c:v>
                </c:pt>
                <c:pt idx="13251">
                  <c:v>149468</c:v>
                </c:pt>
                <c:pt idx="13252">
                  <c:v>149465</c:v>
                </c:pt>
                <c:pt idx="13253">
                  <c:v>149455</c:v>
                </c:pt>
                <c:pt idx="13254">
                  <c:v>149452</c:v>
                </c:pt>
                <c:pt idx="13255">
                  <c:v>149448</c:v>
                </c:pt>
                <c:pt idx="13256">
                  <c:v>149443</c:v>
                </c:pt>
                <c:pt idx="13257">
                  <c:v>149435</c:v>
                </c:pt>
                <c:pt idx="13258">
                  <c:v>149414</c:v>
                </c:pt>
                <c:pt idx="13259">
                  <c:v>149410</c:v>
                </c:pt>
                <c:pt idx="13260">
                  <c:v>149398</c:v>
                </c:pt>
                <c:pt idx="13261">
                  <c:v>149396</c:v>
                </c:pt>
                <c:pt idx="13262">
                  <c:v>149391</c:v>
                </c:pt>
                <c:pt idx="13263">
                  <c:v>149390</c:v>
                </c:pt>
                <c:pt idx="13264">
                  <c:v>149369</c:v>
                </c:pt>
                <c:pt idx="13265">
                  <c:v>149369</c:v>
                </c:pt>
                <c:pt idx="13266">
                  <c:v>149360</c:v>
                </c:pt>
                <c:pt idx="13267">
                  <c:v>149353</c:v>
                </c:pt>
                <c:pt idx="13268">
                  <c:v>149350</c:v>
                </c:pt>
                <c:pt idx="13269">
                  <c:v>149346</c:v>
                </c:pt>
                <c:pt idx="13270">
                  <c:v>149335</c:v>
                </c:pt>
                <c:pt idx="13271">
                  <c:v>149326</c:v>
                </c:pt>
                <c:pt idx="13272">
                  <c:v>149325</c:v>
                </c:pt>
                <c:pt idx="13273">
                  <c:v>149324</c:v>
                </c:pt>
                <c:pt idx="13274">
                  <c:v>149318</c:v>
                </c:pt>
                <c:pt idx="13275">
                  <c:v>149310</c:v>
                </c:pt>
                <c:pt idx="13276">
                  <c:v>149307</c:v>
                </c:pt>
                <c:pt idx="13277">
                  <c:v>149298</c:v>
                </c:pt>
                <c:pt idx="13278">
                  <c:v>149284</c:v>
                </c:pt>
                <c:pt idx="13279">
                  <c:v>149283</c:v>
                </c:pt>
                <c:pt idx="13280">
                  <c:v>149274</c:v>
                </c:pt>
                <c:pt idx="13281">
                  <c:v>149262</c:v>
                </c:pt>
                <c:pt idx="13282">
                  <c:v>149249</c:v>
                </c:pt>
                <c:pt idx="13283">
                  <c:v>149246</c:v>
                </c:pt>
                <c:pt idx="13284">
                  <c:v>149218</c:v>
                </c:pt>
                <c:pt idx="13285">
                  <c:v>149213</c:v>
                </c:pt>
                <c:pt idx="13286">
                  <c:v>149207</c:v>
                </c:pt>
                <c:pt idx="13287">
                  <c:v>149181</c:v>
                </c:pt>
                <c:pt idx="13288">
                  <c:v>149175</c:v>
                </c:pt>
                <c:pt idx="13289">
                  <c:v>149172</c:v>
                </c:pt>
                <c:pt idx="13290">
                  <c:v>149170</c:v>
                </c:pt>
                <c:pt idx="13291">
                  <c:v>149164</c:v>
                </c:pt>
                <c:pt idx="13292">
                  <c:v>149161</c:v>
                </c:pt>
                <c:pt idx="13293">
                  <c:v>149160</c:v>
                </c:pt>
                <c:pt idx="13294">
                  <c:v>149155</c:v>
                </c:pt>
                <c:pt idx="13295">
                  <c:v>149129</c:v>
                </c:pt>
                <c:pt idx="13296">
                  <c:v>149129</c:v>
                </c:pt>
                <c:pt idx="13297">
                  <c:v>149126</c:v>
                </c:pt>
                <c:pt idx="13298">
                  <c:v>149121</c:v>
                </c:pt>
                <c:pt idx="13299">
                  <c:v>149116</c:v>
                </c:pt>
                <c:pt idx="13300">
                  <c:v>149115</c:v>
                </c:pt>
                <c:pt idx="13301">
                  <c:v>149107</c:v>
                </c:pt>
                <c:pt idx="13302">
                  <c:v>149104</c:v>
                </c:pt>
                <c:pt idx="13303">
                  <c:v>149100</c:v>
                </c:pt>
                <c:pt idx="13304">
                  <c:v>149095</c:v>
                </c:pt>
                <c:pt idx="13305">
                  <c:v>149085</c:v>
                </c:pt>
                <c:pt idx="13306">
                  <c:v>149081</c:v>
                </c:pt>
                <c:pt idx="13307">
                  <c:v>149078</c:v>
                </c:pt>
                <c:pt idx="13308">
                  <c:v>149075</c:v>
                </c:pt>
                <c:pt idx="13309">
                  <c:v>149073</c:v>
                </c:pt>
                <c:pt idx="13310">
                  <c:v>149066</c:v>
                </c:pt>
                <c:pt idx="13311">
                  <c:v>149060</c:v>
                </c:pt>
                <c:pt idx="13312">
                  <c:v>149052</c:v>
                </c:pt>
                <c:pt idx="13313">
                  <c:v>149050</c:v>
                </c:pt>
                <c:pt idx="13314">
                  <c:v>149049</c:v>
                </c:pt>
                <c:pt idx="13315">
                  <c:v>149048</c:v>
                </c:pt>
                <c:pt idx="13316">
                  <c:v>149041</c:v>
                </c:pt>
                <c:pt idx="13317">
                  <c:v>149040</c:v>
                </c:pt>
                <c:pt idx="13318">
                  <c:v>149021</c:v>
                </c:pt>
                <c:pt idx="13319">
                  <c:v>149019</c:v>
                </c:pt>
                <c:pt idx="13320">
                  <c:v>149018</c:v>
                </c:pt>
                <c:pt idx="13321">
                  <c:v>149012</c:v>
                </c:pt>
                <c:pt idx="13322">
                  <c:v>149009</c:v>
                </c:pt>
                <c:pt idx="13323">
                  <c:v>149004</c:v>
                </c:pt>
                <c:pt idx="13324">
                  <c:v>149001</c:v>
                </c:pt>
                <c:pt idx="13325">
                  <c:v>148996</c:v>
                </c:pt>
                <c:pt idx="13326">
                  <c:v>148980</c:v>
                </c:pt>
                <c:pt idx="13327">
                  <c:v>148978</c:v>
                </c:pt>
                <c:pt idx="13328">
                  <c:v>148975</c:v>
                </c:pt>
                <c:pt idx="13329">
                  <c:v>148973</c:v>
                </c:pt>
                <c:pt idx="13330">
                  <c:v>148971</c:v>
                </c:pt>
                <c:pt idx="13331">
                  <c:v>148968</c:v>
                </c:pt>
                <c:pt idx="13332">
                  <c:v>148966</c:v>
                </c:pt>
                <c:pt idx="13333">
                  <c:v>148965</c:v>
                </c:pt>
                <c:pt idx="13334">
                  <c:v>148952</c:v>
                </c:pt>
                <c:pt idx="13335">
                  <c:v>148951</c:v>
                </c:pt>
                <c:pt idx="13336">
                  <c:v>148921</c:v>
                </c:pt>
                <c:pt idx="13337">
                  <c:v>148918</c:v>
                </c:pt>
                <c:pt idx="13338">
                  <c:v>148907</c:v>
                </c:pt>
                <c:pt idx="13339">
                  <c:v>148892</c:v>
                </c:pt>
                <c:pt idx="13340">
                  <c:v>148888</c:v>
                </c:pt>
                <c:pt idx="13341">
                  <c:v>148886</c:v>
                </c:pt>
                <c:pt idx="13342">
                  <c:v>148883</c:v>
                </c:pt>
                <c:pt idx="13343">
                  <c:v>148877</c:v>
                </c:pt>
                <c:pt idx="13344">
                  <c:v>148856</c:v>
                </c:pt>
                <c:pt idx="13345">
                  <c:v>148849</c:v>
                </c:pt>
                <c:pt idx="13346">
                  <c:v>148841</c:v>
                </c:pt>
                <c:pt idx="13347">
                  <c:v>148840</c:v>
                </c:pt>
                <c:pt idx="13348">
                  <c:v>148817</c:v>
                </c:pt>
                <c:pt idx="13349">
                  <c:v>148804</c:v>
                </c:pt>
                <c:pt idx="13350">
                  <c:v>148800</c:v>
                </c:pt>
                <c:pt idx="13351">
                  <c:v>148786</c:v>
                </c:pt>
                <c:pt idx="13352">
                  <c:v>148772</c:v>
                </c:pt>
                <c:pt idx="13353">
                  <c:v>148769</c:v>
                </c:pt>
                <c:pt idx="13354">
                  <c:v>148765</c:v>
                </c:pt>
                <c:pt idx="13355">
                  <c:v>148761</c:v>
                </c:pt>
                <c:pt idx="13356">
                  <c:v>148759</c:v>
                </c:pt>
                <c:pt idx="13357">
                  <c:v>148759</c:v>
                </c:pt>
                <c:pt idx="13358">
                  <c:v>148755</c:v>
                </c:pt>
                <c:pt idx="13359">
                  <c:v>148745</c:v>
                </c:pt>
                <c:pt idx="13360">
                  <c:v>148743</c:v>
                </c:pt>
                <c:pt idx="13361">
                  <c:v>148741</c:v>
                </c:pt>
                <c:pt idx="13362">
                  <c:v>148732</c:v>
                </c:pt>
                <c:pt idx="13363">
                  <c:v>148731</c:v>
                </c:pt>
                <c:pt idx="13364">
                  <c:v>148710</c:v>
                </c:pt>
                <c:pt idx="13365">
                  <c:v>148706</c:v>
                </c:pt>
                <c:pt idx="13366">
                  <c:v>148693</c:v>
                </c:pt>
                <c:pt idx="13367">
                  <c:v>148693</c:v>
                </c:pt>
                <c:pt idx="13368">
                  <c:v>148673</c:v>
                </c:pt>
                <c:pt idx="13369">
                  <c:v>148664</c:v>
                </c:pt>
                <c:pt idx="13370">
                  <c:v>148653</c:v>
                </c:pt>
                <c:pt idx="13371">
                  <c:v>148646</c:v>
                </c:pt>
                <c:pt idx="13372">
                  <c:v>148645</c:v>
                </c:pt>
                <c:pt idx="13373">
                  <c:v>148638</c:v>
                </c:pt>
                <c:pt idx="13374">
                  <c:v>148636</c:v>
                </c:pt>
                <c:pt idx="13375">
                  <c:v>148628</c:v>
                </c:pt>
                <c:pt idx="13376">
                  <c:v>148620</c:v>
                </c:pt>
                <c:pt idx="13377">
                  <c:v>148599</c:v>
                </c:pt>
                <c:pt idx="13378">
                  <c:v>148597</c:v>
                </c:pt>
                <c:pt idx="13379">
                  <c:v>148594</c:v>
                </c:pt>
                <c:pt idx="13380">
                  <c:v>148593</c:v>
                </c:pt>
                <c:pt idx="13381">
                  <c:v>148589</c:v>
                </c:pt>
                <c:pt idx="13382">
                  <c:v>148574</c:v>
                </c:pt>
                <c:pt idx="13383">
                  <c:v>148573</c:v>
                </c:pt>
                <c:pt idx="13384">
                  <c:v>148546</c:v>
                </c:pt>
                <c:pt idx="13385">
                  <c:v>148541</c:v>
                </c:pt>
                <c:pt idx="13386">
                  <c:v>148540</c:v>
                </c:pt>
                <c:pt idx="13387">
                  <c:v>148534</c:v>
                </c:pt>
                <c:pt idx="13388">
                  <c:v>148509</c:v>
                </c:pt>
                <c:pt idx="13389">
                  <c:v>148500</c:v>
                </c:pt>
                <c:pt idx="13390">
                  <c:v>148499</c:v>
                </c:pt>
                <c:pt idx="13391">
                  <c:v>148471</c:v>
                </c:pt>
                <c:pt idx="13392">
                  <c:v>148469</c:v>
                </c:pt>
                <c:pt idx="13393">
                  <c:v>148469</c:v>
                </c:pt>
                <c:pt idx="13394">
                  <c:v>148467</c:v>
                </c:pt>
                <c:pt idx="13395">
                  <c:v>148467</c:v>
                </c:pt>
                <c:pt idx="13396">
                  <c:v>148457</c:v>
                </c:pt>
                <c:pt idx="13397">
                  <c:v>148453</c:v>
                </c:pt>
                <c:pt idx="13398">
                  <c:v>148451</c:v>
                </c:pt>
                <c:pt idx="13399">
                  <c:v>148445</c:v>
                </c:pt>
                <c:pt idx="13400">
                  <c:v>148443</c:v>
                </c:pt>
                <c:pt idx="13401">
                  <c:v>148441</c:v>
                </c:pt>
                <c:pt idx="13402">
                  <c:v>148440</c:v>
                </c:pt>
                <c:pt idx="13403">
                  <c:v>148434</c:v>
                </c:pt>
                <c:pt idx="13404">
                  <c:v>148433</c:v>
                </c:pt>
                <c:pt idx="13405">
                  <c:v>148400</c:v>
                </c:pt>
                <c:pt idx="13406">
                  <c:v>148397</c:v>
                </c:pt>
                <c:pt idx="13407">
                  <c:v>148392</c:v>
                </c:pt>
                <c:pt idx="13408">
                  <c:v>148390</c:v>
                </c:pt>
                <c:pt idx="13409">
                  <c:v>148379</c:v>
                </c:pt>
                <c:pt idx="13410">
                  <c:v>148378</c:v>
                </c:pt>
                <c:pt idx="13411">
                  <c:v>148366</c:v>
                </c:pt>
                <c:pt idx="13412">
                  <c:v>148359</c:v>
                </c:pt>
                <c:pt idx="13413">
                  <c:v>148352</c:v>
                </c:pt>
                <c:pt idx="13414">
                  <c:v>148351</c:v>
                </c:pt>
                <c:pt idx="13415">
                  <c:v>148350</c:v>
                </c:pt>
                <c:pt idx="13416">
                  <c:v>148335</c:v>
                </c:pt>
                <c:pt idx="13417">
                  <c:v>148327</c:v>
                </c:pt>
                <c:pt idx="13418">
                  <c:v>148323</c:v>
                </c:pt>
                <c:pt idx="13419">
                  <c:v>148322</c:v>
                </c:pt>
                <c:pt idx="13420">
                  <c:v>148322</c:v>
                </c:pt>
                <c:pt idx="13421">
                  <c:v>148319</c:v>
                </c:pt>
                <c:pt idx="13422">
                  <c:v>148317</c:v>
                </c:pt>
                <c:pt idx="13423">
                  <c:v>148312</c:v>
                </c:pt>
                <c:pt idx="13424">
                  <c:v>148312</c:v>
                </c:pt>
                <c:pt idx="13425">
                  <c:v>148308</c:v>
                </c:pt>
                <c:pt idx="13426">
                  <c:v>148295</c:v>
                </c:pt>
                <c:pt idx="13427">
                  <c:v>148277</c:v>
                </c:pt>
                <c:pt idx="13428">
                  <c:v>148274</c:v>
                </c:pt>
                <c:pt idx="13429">
                  <c:v>148270</c:v>
                </c:pt>
                <c:pt idx="13430">
                  <c:v>148252</c:v>
                </c:pt>
                <c:pt idx="13431">
                  <c:v>148247</c:v>
                </c:pt>
                <c:pt idx="13432">
                  <c:v>148245</c:v>
                </c:pt>
                <c:pt idx="13433">
                  <c:v>148229</c:v>
                </c:pt>
                <c:pt idx="13434">
                  <c:v>148216</c:v>
                </c:pt>
                <c:pt idx="13435">
                  <c:v>148209</c:v>
                </c:pt>
                <c:pt idx="13436">
                  <c:v>148203</c:v>
                </c:pt>
                <c:pt idx="13437">
                  <c:v>148200</c:v>
                </c:pt>
                <c:pt idx="13438">
                  <c:v>148198</c:v>
                </c:pt>
                <c:pt idx="13439">
                  <c:v>148195</c:v>
                </c:pt>
                <c:pt idx="13440">
                  <c:v>148191</c:v>
                </c:pt>
                <c:pt idx="13441">
                  <c:v>148190</c:v>
                </c:pt>
                <c:pt idx="13442">
                  <c:v>148188</c:v>
                </c:pt>
                <c:pt idx="13443">
                  <c:v>148179</c:v>
                </c:pt>
                <c:pt idx="13444">
                  <c:v>148177</c:v>
                </c:pt>
                <c:pt idx="13445">
                  <c:v>148174</c:v>
                </c:pt>
                <c:pt idx="13446">
                  <c:v>148170</c:v>
                </c:pt>
                <c:pt idx="13447">
                  <c:v>148167</c:v>
                </c:pt>
                <c:pt idx="13448">
                  <c:v>148162</c:v>
                </c:pt>
                <c:pt idx="13449">
                  <c:v>148155</c:v>
                </c:pt>
                <c:pt idx="13450">
                  <c:v>148151</c:v>
                </c:pt>
                <c:pt idx="13451">
                  <c:v>148128</c:v>
                </c:pt>
                <c:pt idx="13452">
                  <c:v>148122</c:v>
                </c:pt>
                <c:pt idx="13453">
                  <c:v>148115</c:v>
                </c:pt>
                <c:pt idx="13454">
                  <c:v>148111</c:v>
                </c:pt>
                <c:pt idx="13455">
                  <c:v>148098</c:v>
                </c:pt>
                <c:pt idx="13456">
                  <c:v>148089</c:v>
                </c:pt>
                <c:pt idx="13457">
                  <c:v>148087</c:v>
                </c:pt>
                <c:pt idx="13458">
                  <c:v>148086</c:v>
                </c:pt>
                <c:pt idx="13459">
                  <c:v>148073</c:v>
                </c:pt>
                <c:pt idx="13460">
                  <c:v>148073</c:v>
                </c:pt>
                <c:pt idx="13461">
                  <c:v>148073</c:v>
                </c:pt>
                <c:pt idx="13462">
                  <c:v>148066</c:v>
                </c:pt>
                <c:pt idx="13463">
                  <c:v>148065</c:v>
                </c:pt>
                <c:pt idx="13464">
                  <c:v>148062</c:v>
                </c:pt>
                <c:pt idx="13465">
                  <c:v>148050</c:v>
                </c:pt>
                <c:pt idx="13466">
                  <c:v>148031</c:v>
                </c:pt>
                <c:pt idx="13467">
                  <c:v>148029</c:v>
                </c:pt>
                <c:pt idx="13468">
                  <c:v>148020</c:v>
                </c:pt>
                <c:pt idx="13469">
                  <c:v>148017</c:v>
                </c:pt>
                <c:pt idx="13470">
                  <c:v>148008</c:v>
                </c:pt>
                <c:pt idx="13471">
                  <c:v>147993</c:v>
                </c:pt>
                <c:pt idx="13472">
                  <c:v>147988</c:v>
                </c:pt>
                <c:pt idx="13473">
                  <c:v>147981</c:v>
                </c:pt>
                <c:pt idx="13474">
                  <c:v>147969</c:v>
                </c:pt>
                <c:pt idx="13475">
                  <c:v>147968</c:v>
                </c:pt>
                <c:pt idx="13476">
                  <c:v>147959</c:v>
                </c:pt>
                <c:pt idx="13477">
                  <c:v>147948</c:v>
                </c:pt>
                <c:pt idx="13478">
                  <c:v>147947</c:v>
                </c:pt>
                <c:pt idx="13479">
                  <c:v>147933</c:v>
                </c:pt>
                <c:pt idx="13480">
                  <c:v>147928</c:v>
                </c:pt>
                <c:pt idx="13481">
                  <c:v>147907</c:v>
                </c:pt>
                <c:pt idx="13482">
                  <c:v>147895</c:v>
                </c:pt>
                <c:pt idx="13483">
                  <c:v>147878</c:v>
                </c:pt>
                <c:pt idx="13484">
                  <c:v>147868</c:v>
                </c:pt>
                <c:pt idx="13485">
                  <c:v>147864</c:v>
                </c:pt>
                <c:pt idx="13486">
                  <c:v>147855</c:v>
                </c:pt>
                <c:pt idx="13487">
                  <c:v>147850</c:v>
                </c:pt>
                <c:pt idx="13488">
                  <c:v>147839</c:v>
                </c:pt>
                <c:pt idx="13489">
                  <c:v>147834</c:v>
                </c:pt>
                <c:pt idx="13490">
                  <c:v>147830</c:v>
                </c:pt>
                <c:pt idx="13491">
                  <c:v>147829</c:v>
                </c:pt>
                <c:pt idx="13492">
                  <c:v>147823</c:v>
                </c:pt>
                <c:pt idx="13493">
                  <c:v>147822</c:v>
                </c:pt>
                <c:pt idx="13494">
                  <c:v>147813</c:v>
                </c:pt>
                <c:pt idx="13495">
                  <c:v>147807</c:v>
                </c:pt>
                <c:pt idx="13496">
                  <c:v>147807</c:v>
                </c:pt>
                <c:pt idx="13497">
                  <c:v>147802</c:v>
                </c:pt>
                <c:pt idx="13498">
                  <c:v>147785</c:v>
                </c:pt>
                <c:pt idx="13499">
                  <c:v>147773</c:v>
                </c:pt>
                <c:pt idx="13500">
                  <c:v>147773</c:v>
                </c:pt>
                <c:pt idx="13501">
                  <c:v>147768</c:v>
                </c:pt>
                <c:pt idx="13502">
                  <c:v>147764</c:v>
                </c:pt>
                <c:pt idx="13503">
                  <c:v>147762</c:v>
                </c:pt>
                <c:pt idx="13504">
                  <c:v>147759</c:v>
                </c:pt>
                <c:pt idx="13505">
                  <c:v>147752</c:v>
                </c:pt>
                <c:pt idx="13506">
                  <c:v>147745</c:v>
                </c:pt>
                <c:pt idx="13507">
                  <c:v>147744</c:v>
                </c:pt>
                <c:pt idx="13508">
                  <c:v>147731</c:v>
                </c:pt>
                <c:pt idx="13509">
                  <c:v>147726</c:v>
                </c:pt>
                <c:pt idx="13510">
                  <c:v>147726</c:v>
                </c:pt>
                <c:pt idx="13511">
                  <c:v>147723</c:v>
                </c:pt>
                <c:pt idx="13512">
                  <c:v>147719</c:v>
                </c:pt>
                <c:pt idx="13513">
                  <c:v>147717</c:v>
                </c:pt>
                <c:pt idx="13514">
                  <c:v>147691</c:v>
                </c:pt>
                <c:pt idx="13515">
                  <c:v>147687</c:v>
                </c:pt>
                <c:pt idx="13516">
                  <c:v>147685</c:v>
                </c:pt>
                <c:pt idx="13517">
                  <c:v>147667</c:v>
                </c:pt>
                <c:pt idx="13518">
                  <c:v>147663</c:v>
                </c:pt>
                <c:pt idx="13519">
                  <c:v>147661</c:v>
                </c:pt>
                <c:pt idx="13520">
                  <c:v>147658</c:v>
                </c:pt>
                <c:pt idx="13521">
                  <c:v>147654</c:v>
                </c:pt>
                <c:pt idx="13522">
                  <c:v>147654</c:v>
                </c:pt>
                <c:pt idx="13523">
                  <c:v>147654</c:v>
                </c:pt>
                <c:pt idx="13524">
                  <c:v>147652</c:v>
                </c:pt>
                <c:pt idx="13525">
                  <c:v>147649</c:v>
                </c:pt>
                <c:pt idx="13526">
                  <c:v>147647</c:v>
                </c:pt>
                <c:pt idx="13527">
                  <c:v>147645</c:v>
                </c:pt>
                <c:pt idx="13528">
                  <c:v>147640</c:v>
                </c:pt>
                <c:pt idx="13529">
                  <c:v>147635</c:v>
                </c:pt>
                <c:pt idx="13530">
                  <c:v>147628</c:v>
                </c:pt>
                <c:pt idx="13531">
                  <c:v>147625</c:v>
                </c:pt>
                <c:pt idx="13532">
                  <c:v>147612</c:v>
                </c:pt>
                <c:pt idx="13533">
                  <c:v>147611</c:v>
                </c:pt>
                <c:pt idx="13534">
                  <c:v>147603</c:v>
                </c:pt>
                <c:pt idx="13535">
                  <c:v>147600</c:v>
                </c:pt>
                <c:pt idx="13536">
                  <c:v>147595</c:v>
                </c:pt>
                <c:pt idx="13537">
                  <c:v>147595</c:v>
                </c:pt>
                <c:pt idx="13538">
                  <c:v>147595</c:v>
                </c:pt>
                <c:pt idx="13539">
                  <c:v>147595</c:v>
                </c:pt>
                <c:pt idx="13540">
                  <c:v>147593</c:v>
                </c:pt>
                <c:pt idx="13541">
                  <c:v>147588</c:v>
                </c:pt>
                <c:pt idx="13542">
                  <c:v>147584</c:v>
                </c:pt>
                <c:pt idx="13543">
                  <c:v>147525</c:v>
                </c:pt>
                <c:pt idx="13544">
                  <c:v>147520</c:v>
                </c:pt>
                <c:pt idx="13545">
                  <c:v>147495</c:v>
                </c:pt>
                <c:pt idx="13546">
                  <c:v>147493</c:v>
                </c:pt>
                <c:pt idx="13547">
                  <c:v>147486</c:v>
                </c:pt>
                <c:pt idx="13548">
                  <c:v>147463</c:v>
                </c:pt>
                <c:pt idx="13549">
                  <c:v>147458</c:v>
                </c:pt>
                <c:pt idx="13550">
                  <c:v>147452</c:v>
                </c:pt>
                <c:pt idx="13551">
                  <c:v>147445</c:v>
                </c:pt>
                <c:pt idx="13552">
                  <c:v>147442</c:v>
                </c:pt>
                <c:pt idx="13553">
                  <c:v>147438</c:v>
                </c:pt>
                <c:pt idx="13554">
                  <c:v>147434</c:v>
                </c:pt>
                <c:pt idx="13555">
                  <c:v>147433</c:v>
                </c:pt>
                <c:pt idx="13556">
                  <c:v>147430</c:v>
                </c:pt>
                <c:pt idx="13557">
                  <c:v>147425</c:v>
                </c:pt>
                <c:pt idx="13558">
                  <c:v>147424</c:v>
                </c:pt>
                <c:pt idx="13559">
                  <c:v>147418</c:v>
                </c:pt>
                <c:pt idx="13560">
                  <c:v>147414</c:v>
                </c:pt>
                <c:pt idx="13561">
                  <c:v>147412</c:v>
                </c:pt>
                <c:pt idx="13562">
                  <c:v>147412</c:v>
                </c:pt>
                <c:pt idx="13563">
                  <c:v>147406</c:v>
                </c:pt>
                <c:pt idx="13564">
                  <c:v>147406</c:v>
                </c:pt>
                <c:pt idx="13565">
                  <c:v>147404</c:v>
                </c:pt>
                <c:pt idx="13566">
                  <c:v>147397</c:v>
                </c:pt>
                <c:pt idx="13567">
                  <c:v>147373</c:v>
                </c:pt>
                <c:pt idx="13568">
                  <c:v>147370</c:v>
                </c:pt>
                <c:pt idx="13569">
                  <c:v>147359</c:v>
                </c:pt>
                <c:pt idx="13570">
                  <c:v>147351</c:v>
                </c:pt>
                <c:pt idx="13571">
                  <c:v>147348</c:v>
                </c:pt>
                <c:pt idx="13572">
                  <c:v>147338</c:v>
                </c:pt>
                <c:pt idx="13573">
                  <c:v>147336</c:v>
                </c:pt>
                <c:pt idx="13574">
                  <c:v>147336</c:v>
                </c:pt>
                <c:pt idx="13575">
                  <c:v>147335</c:v>
                </c:pt>
                <c:pt idx="13576">
                  <c:v>147333</c:v>
                </c:pt>
                <c:pt idx="13577">
                  <c:v>147329</c:v>
                </c:pt>
                <c:pt idx="13578">
                  <c:v>147327</c:v>
                </c:pt>
                <c:pt idx="13579">
                  <c:v>147325</c:v>
                </c:pt>
                <c:pt idx="13580">
                  <c:v>147325</c:v>
                </c:pt>
                <c:pt idx="13581">
                  <c:v>147313</c:v>
                </c:pt>
                <c:pt idx="13582">
                  <c:v>147311</c:v>
                </c:pt>
                <c:pt idx="13583">
                  <c:v>147296</c:v>
                </c:pt>
                <c:pt idx="13584">
                  <c:v>147296</c:v>
                </c:pt>
                <c:pt idx="13585">
                  <c:v>147292</c:v>
                </c:pt>
                <c:pt idx="13586">
                  <c:v>147285</c:v>
                </c:pt>
                <c:pt idx="13587">
                  <c:v>147271</c:v>
                </c:pt>
                <c:pt idx="13588">
                  <c:v>147265</c:v>
                </c:pt>
                <c:pt idx="13589">
                  <c:v>147242</c:v>
                </c:pt>
                <c:pt idx="13590">
                  <c:v>147241</c:v>
                </c:pt>
                <c:pt idx="13591">
                  <c:v>147238</c:v>
                </c:pt>
                <c:pt idx="13592">
                  <c:v>147217</c:v>
                </c:pt>
                <c:pt idx="13593">
                  <c:v>147202</c:v>
                </c:pt>
                <c:pt idx="13594">
                  <c:v>147193</c:v>
                </c:pt>
                <c:pt idx="13595">
                  <c:v>147183</c:v>
                </c:pt>
                <c:pt idx="13596">
                  <c:v>147183</c:v>
                </c:pt>
                <c:pt idx="13597">
                  <c:v>147175</c:v>
                </c:pt>
                <c:pt idx="13598">
                  <c:v>147171</c:v>
                </c:pt>
                <c:pt idx="13599">
                  <c:v>147169</c:v>
                </c:pt>
                <c:pt idx="13600">
                  <c:v>147169</c:v>
                </c:pt>
                <c:pt idx="13601">
                  <c:v>147161</c:v>
                </c:pt>
                <c:pt idx="13602">
                  <c:v>147158</c:v>
                </c:pt>
                <c:pt idx="13603">
                  <c:v>147157</c:v>
                </c:pt>
                <c:pt idx="13604">
                  <c:v>147150</c:v>
                </c:pt>
                <c:pt idx="13605">
                  <c:v>147144</c:v>
                </c:pt>
                <c:pt idx="13606">
                  <c:v>147142</c:v>
                </c:pt>
                <c:pt idx="13607">
                  <c:v>147141</c:v>
                </c:pt>
                <c:pt idx="13608">
                  <c:v>147137</c:v>
                </c:pt>
                <c:pt idx="13609">
                  <c:v>147132</c:v>
                </c:pt>
                <c:pt idx="13610">
                  <c:v>147130</c:v>
                </c:pt>
                <c:pt idx="13611">
                  <c:v>147126</c:v>
                </c:pt>
                <c:pt idx="13612">
                  <c:v>147123</c:v>
                </c:pt>
                <c:pt idx="13613">
                  <c:v>147105</c:v>
                </c:pt>
                <c:pt idx="13614">
                  <c:v>147105</c:v>
                </c:pt>
                <c:pt idx="13615">
                  <c:v>147105</c:v>
                </c:pt>
                <c:pt idx="13616">
                  <c:v>147098</c:v>
                </c:pt>
                <c:pt idx="13617">
                  <c:v>147094</c:v>
                </c:pt>
                <c:pt idx="13618">
                  <c:v>147083</c:v>
                </c:pt>
                <c:pt idx="13619">
                  <c:v>147082</c:v>
                </c:pt>
                <c:pt idx="13620">
                  <c:v>147081</c:v>
                </c:pt>
                <c:pt idx="13621">
                  <c:v>147079</c:v>
                </c:pt>
                <c:pt idx="13622">
                  <c:v>147068</c:v>
                </c:pt>
                <c:pt idx="13623">
                  <c:v>147066</c:v>
                </c:pt>
                <c:pt idx="13624">
                  <c:v>147059</c:v>
                </c:pt>
                <c:pt idx="13625">
                  <c:v>147055</c:v>
                </c:pt>
                <c:pt idx="13626">
                  <c:v>147053</c:v>
                </c:pt>
                <c:pt idx="13627">
                  <c:v>147053</c:v>
                </c:pt>
                <c:pt idx="13628">
                  <c:v>147047</c:v>
                </c:pt>
                <c:pt idx="13629">
                  <c:v>147027</c:v>
                </c:pt>
                <c:pt idx="13630">
                  <c:v>147023</c:v>
                </c:pt>
                <c:pt idx="13631">
                  <c:v>147010</c:v>
                </c:pt>
                <c:pt idx="13632">
                  <c:v>147007</c:v>
                </c:pt>
                <c:pt idx="13633">
                  <c:v>147002</c:v>
                </c:pt>
                <c:pt idx="13634">
                  <c:v>146989</c:v>
                </c:pt>
                <c:pt idx="13635">
                  <c:v>146974</c:v>
                </c:pt>
                <c:pt idx="13636">
                  <c:v>146950</c:v>
                </c:pt>
                <c:pt idx="13637">
                  <c:v>146943</c:v>
                </c:pt>
                <c:pt idx="13638">
                  <c:v>146938</c:v>
                </c:pt>
                <c:pt idx="13639">
                  <c:v>146937</c:v>
                </c:pt>
                <c:pt idx="13640">
                  <c:v>146930</c:v>
                </c:pt>
                <c:pt idx="13641">
                  <c:v>146909</c:v>
                </c:pt>
                <c:pt idx="13642">
                  <c:v>146906</c:v>
                </c:pt>
                <c:pt idx="13643">
                  <c:v>146900</c:v>
                </c:pt>
                <c:pt idx="13644">
                  <c:v>146899</c:v>
                </c:pt>
                <c:pt idx="13645">
                  <c:v>146899</c:v>
                </c:pt>
                <c:pt idx="13646">
                  <c:v>146894</c:v>
                </c:pt>
                <c:pt idx="13647">
                  <c:v>146890</c:v>
                </c:pt>
                <c:pt idx="13648">
                  <c:v>146883</c:v>
                </c:pt>
                <c:pt idx="13649">
                  <c:v>146874</c:v>
                </c:pt>
                <c:pt idx="13650">
                  <c:v>146864</c:v>
                </c:pt>
                <c:pt idx="13651">
                  <c:v>146849</c:v>
                </c:pt>
                <c:pt idx="13652">
                  <c:v>146844</c:v>
                </c:pt>
                <c:pt idx="13653">
                  <c:v>146836</c:v>
                </c:pt>
                <c:pt idx="13654">
                  <c:v>146835</c:v>
                </c:pt>
                <c:pt idx="13655">
                  <c:v>146825</c:v>
                </c:pt>
                <c:pt idx="13656">
                  <c:v>146815</c:v>
                </c:pt>
                <c:pt idx="13657">
                  <c:v>146809</c:v>
                </c:pt>
                <c:pt idx="13658">
                  <c:v>146806</c:v>
                </c:pt>
                <c:pt idx="13659">
                  <c:v>146804</c:v>
                </c:pt>
                <c:pt idx="13660">
                  <c:v>146804</c:v>
                </c:pt>
                <c:pt idx="13661">
                  <c:v>146803</c:v>
                </c:pt>
                <c:pt idx="13662">
                  <c:v>146796</c:v>
                </c:pt>
                <c:pt idx="13663">
                  <c:v>146791</c:v>
                </c:pt>
                <c:pt idx="13664">
                  <c:v>146780</c:v>
                </c:pt>
                <c:pt idx="13665">
                  <c:v>146778</c:v>
                </c:pt>
                <c:pt idx="13666">
                  <c:v>146778</c:v>
                </c:pt>
                <c:pt idx="13667">
                  <c:v>146776</c:v>
                </c:pt>
                <c:pt idx="13668">
                  <c:v>146776</c:v>
                </c:pt>
                <c:pt idx="13669">
                  <c:v>146772</c:v>
                </c:pt>
                <c:pt idx="13670">
                  <c:v>146766</c:v>
                </c:pt>
                <c:pt idx="13671">
                  <c:v>146765</c:v>
                </c:pt>
                <c:pt idx="13672">
                  <c:v>146763</c:v>
                </c:pt>
                <c:pt idx="13673">
                  <c:v>146760</c:v>
                </c:pt>
                <c:pt idx="13674">
                  <c:v>146758</c:v>
                </c:pt>
                <c:pt idx="13675">
                  <c:v>146752</c:v>
                </c:pt>
                <c:pt idx="13676">
                  <c:v>146745</c:v>
                </c:pt>
                <c:pt idx="13677">
                  <c:v>146742</c:v>
                </c:pt>
                <c:pt idx="13678">
                  <c:v>146736</c:v>
                </c:pt>
                <c:pt idx="13679">
                  <c:v>146735</c:v>
                </c:pt>
                <c:pt idx="13680">
                  <c:v>146734</c:v>
                </c:pt>
                <c:pt idx="13681">
                  <c:v>146731</c:v>
                </c:pt>
                <c:pt idx="13682">
                  <c:v>146731</c:v>
                </c:pt>
                <c:pt idx="13683">
                  <c:v>146729</c:v>
                </c:pt>
                <c:pt idx="13684">
                  <c:v>146726</c:v>
                </c:pt>
                <c:pt idx="13685">
                  <c:v>146705</c:v>
                </c:pt>
                <c:pt idx="13686">
                  <c:v>146688</c:v>
                </c:pt>
                <c:pt idx="13687">
                  <c:v>146676</c:v>
                </c:pt>
                <c:pt idx="13688">
                  <c:v>146672</c:v>
                </c:pt>
                <c:pt idx="13689">
                  <c:v>146652</c:v>
                </c:pt>
                <c:pt idx="13690">
                  <c:v>146651</c:v>
                </c:pt>
                <c:pt idx="13691">
                  <c:v>146647</c:v>
                </c:pt>
                <c:pt idx="13692">
                  <c:v>146644</c:v>
                </c:pt>
                <c:pt idx="13693">
                  <c:v>146642</c:v>
                </c:pt>
                <c:pt idx="13694">
                  <c:v>146639</c:v>
                </c:pt>
                <c:pt idx="13695">
                  <c:v>146637</c:v>
                </c:pt>
                <c:pt idx="13696">
                  <c:v>146632</c:v>
                </c:pt>
                <c:pt idx="13697">
                  <c:v>146630</c:v>
                </c:pt>
                <c:pt idx="13698">
                  <c:v>146609</c:v>
                </c:pt>
                <c:pt idx="13699">
                  <c:v>146603</c:v>
                </c:pt>
                <c:pt idx="13700">
                  <c:v>146593</c:v>
                </c:pt>
                <c:pt idx="13701">
                  <c:v>146592</c:v>
                </c:pt>
                <c:pt idx="13702">
                  <c:v>146585</c:v>
                </c:pt>
                <c:pt idx="13703">
                  <c:v>146584</c:v>
                </c:pt>
                <c:pt idx="13704">
                  <c:v>146583</c:v>
                </c:pt>
                <c:pt idx="13705">
                  <c:v>146576</c:v>
                </c:pt>
                <c:pt idx="13706">
                  <c:v>146572</c:v>
                </c:pt>
                <c:pt idx="13707">
                  <c:v>146569</c:v>
                </c:pt>
                <c:pt idx="13708">
                  <c:v>146566</c:v>
                </c:pt>
                <c:pt idx="13709">
                  <c:v>146564</c:v>
                </c:pt>
                <c:pt idx="13710">
                  <c:v>146553</c:v>
                </c:pt>
                <c:pt idx="13711">
                  <c:v>146552</c:v>
                </c:pt>
                <c:pt idx="13712">
                  <c:v>146552</c:v>
                </c:pt>
                <c:pt idx="13713">
                  <c:v>146547</c:v>
                </c:pt>
                <c:pt idx="13714">
                  <c:v>146543</c:v>
                </c:pt>
                <c:pt idx="13715">
                  <c:v>146539</c:v>
                </c:pt>
                <c:pt idx="13716">
                  <c:v>146538</c:v>
                </c:pt>
                <c:pt idx="13717">
                  <c:v>146537</c:v>
                </c:pt>
                <c:pt idx="13718">
                  <c:v>146534</c:v>
                </c:pt>
                <c:pt idx="13719">
                  <c:v>146528</c:v>
                </c:pt>
                <c:pt idx="13720">
                  <c:v>146518</c:v>
                </c:pt>
                <c:pt idx="13721">
                  <c:v>146516</c:v>
                </c:pt>
                <c:pt idx="13722">
                  <c:v>146513</c:v>
                </c:pt>
                <c:pt idx="13723">
                  <c:v>146506</c:v>
                </c:pt>
                <c:pt idx="13724">
                  <c:v>146504</c:v>
                </c:pt>
                <c:pt idx="13725">
                  <c:v>146503</c:v>
                </c:pt>
                <c:pt idx="13726">
                  <c:v>146500</c:v>
                </c:pt>
                <c:pt idx="13727">
                  <c:v>146498</c:v>
                </c:pt>
                <c:pt idx="13728">
                  <c:v>146491</c:v>
                </c:pt>
                <c:pt idx="13729">
                  <c:v>146490</c:v>
                </c:pt>
                <c:pt idx="13730">
                  <c:v>146471</c:v>
                </c:pt>
                <c:pt idx="13731">
                  <c:v>146465</c:v>
                </c:pt>
                <c:pt idx="13732">
                  <c:v>146463</c:v>
                </c:pt>
                <c:pt idx="13733">
                  <c:v>146460</c:v>
                </c:pt>
                <c:pt idx="13734">
                  <c:v>146454</c:v>
                </c:pt>
                <c:pt idx="13735">
                  <c:v>146454</c:v>
                </c:pt>
                <c:pt idx="13736">
                  <c:v>146453</c:v>
                </c:pt>
                <c:pt idx="13737">
                  <c:v>146445</c:v>
                </c:pt>
                <c:pt idx="13738">
                  <c:v>146443</c:v>
                </c:pt>
                <c:pt idx="13739">
                  <c:v>146433</c:v>
                </c:pt>
                <c:pt idx="13740">
                  <c:v>146421</c:v>
                </c:pt>
                <c:pt idx="13741">
                  <c:v>146418</c:v>
                </c:pt>
                <c:pt idx="13742">
                  <c:v>146418</c:v>
                </c:pt>
                <c:pt idx="13743">
                  <c:v>146418</c:v>
                </c:pt>
                <c:pt idx="13744">
                  <c:v>146414</c:v>
                </c:pt>
                <c:pt idx="13745">
                  <c:v>146398</c:v>
                </c:pt>
                <c:pt idx="13746">
                  <c:v>146386</c:v>
                </c:pt>
                <c:pt idx="13747">
                  <c:v>146385</c:v>
                </c:pt>
                <c:pt idx="13748">
                  <c:v>146379</c:v>
                </c:pt>
                <c:pt idx="13749">
                  <c:v>146361</c:v>
                </c:pt>
                <c:pt idx="13750">
                  <c:v>146357</c:v>
                </c:pt>
                <c:pt idx="13751">
                  <c:v>146350</c:v>
                </c:pt>
                <c:pt idx="13752">
                  <c:v>146341</c:v>
                </c:pt>
                <c:pt idx="13753">
                  <c:v>146335</c:v>
                </c:pt>
                <c:pt idx="13754">
                  <c:v>146333</c:v>
                </c:pt>
                <c:pt idx="13755">
                  <c:v>146331</c:v>
                </c:pt>
                <c:pt idx="13756">
                  <c:v>146324</c:v>
                </c:pt>
                <c:pt idx="13757">
                  <c:v>146314</c:v>
                </c:pt>
                <c:pt idx="13758">
                  <c:v>146309</c:v>
                </c:pt>
                <c:pt idx="13759">
                  <c:v>146309</c:v>
                </c:pt>
                <c:pt idx="13760">
                  <c:v>146300</c:v>
                </c:pt>
                <c:pt idx="13761">
                  <c:v>146295</c:v>
                </c:pt>
                <c:pt idx="13762">
                  <c:v>146294</c:v>
                </c:pt>
                <c:pt idx="13763">
                  <c:v>146264</c:v>
                </c:pt>
                <c:pt idx="13764">
                  <c:v>146252</c:v>
                </c:pt>
                <c:pt idx="13765">
                  <c:v>146242</c:v>
                </c:pt>
                <c:pt idx="13766">
                  <c:v>146232</c:v>
                </c:pt>
                <c:pt idx="13767">
                  <c:v>146223</c:v>
                </c:pt>
                <c:pt idx="13768">
                  <c:v>146219</c:v>
                </c:pt>
                <c:pt idx="13769">
                  <c:v>146206</c:v>
                </c:pt>
                <c:pt idx="13770">
                  <c:v>146200</c:v>
                </c:pt>
                <c:pt idx="13771">
                  <c:v>146192</c:v>
                </c:pt>
                <c:pt idx="13772">
                  <c:v>146181</c:v>
                </c:pt>
                <c:pt idx="13773">
                  <c:v>146177</c:v>
                </c:pt>
                <c:pt idx="13774">
                  <c:v>146176</c:v>
                </c:pt>
                <c:pt idx="13775">
                  <c:v>146172</c:v>
                </c:pt>
                <c:pt idx="13776">
                  <c:v>146169</c:v>
                </c:pt>
                <c:pt idx="13777">
                  <c:v>146166</c:v>
                </c:pt>
                <c:pt idx="13778">
                  <c:v>146155</c:v>
                </c:pt>
                <c:pt idx="13779">
                  <c:v>146146</c:v>
                </c:pt>
                <c:pt idx="13780">
                  <c:v>146140</c:v>
                </c:pt>
                <c:pt idx="13781">
                  <c:v>146127</c:v>
                </c:pt>
                <c:pt idx="13782">
                  <c:v>146113</c:v>
                </c:pt>
                <c:pt idx="13783">
                  <c:v>146113</c:v>
                </c:pt>
                <c:pt idx="13784">
                  <c:v>146092</c:v>
                </c:pt>
                <c:pt idx="13785">
                  <c:v>146088</c:v>
                </c:pt>
                <c:pt idx="13786">
                  <c:v>146087</c:v>
                </c:pt>
                <c:pt idx="13787">
                  <c:v>146086</c:v>
                </c:pt>
                <c:pt idx="13788">
                  <c:v>146082</c:v>
                </c:pt>
                <c:pt idx="13789">
                  <c:v>146067</c:v>
                </c:pt>
                <c:pt idx="13790">
                  <c:v>146063</c:v>
                </c:pt>
                <c:pt idx="13791">
                  <c:v>146042</c:v>
                </c:pt>
                <c:pt idx="13792">
                  <c:v>146040</c:v>
                </c:pt>
                <c:pt idx="13793">
                  <c:v>146029</c:v>
                </c:pt>
                <c:pt idx="13794">
                  <c:v>146026</c:v>
                </c:pt>
                <c:pt idx="13795">
                  <c:v>146021</c:v>
                </c:pt>
                <c:pt idx="13796">
                  <c:v>146017</c:v>
                </c:pt>
                <c:pt idx="13797">
                  <c:v>146008</c:v>
                </c:pt>
                <c:pt idx="13798">
                  <c:v>146007</c:v>
                </c:pt>
                <c:pt idx="13799">
                  <c:v>146007</c:v>
                </c:pt>
                <c:pt idx="13800">
                  <c:v>146006</c:v>
                </c:pt>
                <c:pt idx="13801">
                  <c:v>145996</c:v>
                </c:pt>
                <c:pt idx="13802">
                  <c:v>145996</c:v>
                </c:pt>
                <c:pt idx="13803">
                  <c:v>145996</c:v>
                </c:pt>
                <c:pt idx="13804">
                  <c:v>145995</c:v>
                </c:pt>
                <c:pt idx="13805">
                  <c:v>145988</c:v>
                </c:pt>
                <c:pt idx="13806">
                  <c:v>145984</c:v>
                </c:pt>
                <c:pt idx="13807">
                  <c:v>145976</c:v>
                </c:pt>
                <c:pt idx="13808">
                  <c:v>145967</c:v>
                </c:pt>
                <c:pt idx="13809">
                  <c:v>145967</c:v>
                </c:pt>
                <c:pt idx="13810">
                  <c:v>145964</c:v>
                </c:pt>
                <c:pt idx="13811">
                  <c:v>145959</c:v>
                </c:pt>
                <c:pt idx="13812">
                  <c:v>145959</c:v>
                </c:pt>
                <c:pt idx="13813">
                  <c:v>145957</c:v>
                </c:pt>
                <c:pt idx="13814">
                  <c:v>145948</c:v>
                </c:pt>
                <c:pt idx="13815">
                  <c:v>145930</c:v>
                </c:pt>
                <c:pt idx="13816">
                  <c:v>145928</c:v>
                </c:pt>
                <c:pt idx="13817">
                  <c:v>145926</c:v>
                </c:pt>
                <c:pt idx="13818">
                  <c:v>145924</c:v>
                </c:pt>
                <c:pt idx="13819">
                  <c:v>145924</c:v>
                </c:pt>
                <c:pt idx="13820">
                  <c:v>145913</c:v>
                </c:pt>
                <c:pt idx="13821">
                  <c:v>145911</c:v>
                </c:pt>
                <c:pt idx="13822">
                  <c:v>145909</c:v>
                </c:pt>
                <c:pt idx="13823">
                  <c:v>145909</c:v>
                </c:pt>
                <c:pt idx="13824">
                  <c:v>145905</c:v>
                </c:pt>
                <c:pt idx="13825">
                  <c:v>145900</c:v>
                </c:pt>
                <c:pt idx="13826">
                  <c:v>145881</c:v>
                </c:pt>
                <c:pt idx="13827">
                  <c:v>145871</c:v>
                </c:pt>
                <c:pt idx="13828">
                  <c:v>145863</c:v>
                </c:pt>
                <c:pt idx="13829">
                  <c:v>145855</c:v>
                </c:pt>
                <c:pt idx="13830">
                  <c:v>145847</c:v>
                </c:pt>
                <c:pt idx="13831">
                  <c:v>145833</c:v>
                </c:pt>
                <c:pt idx="13832">
                  <c:v>145831</c:v>
                </c:pt>
                <c:pt idx="13833">
                  <c:v>145831</c:v>
                </c:pt>
                <c:pt idx="13834">
                  <c:v>145826</c:v>
                </c:pt>
                <c:pt idx="13835">
                  <c:v>145823</c:v>
                </c:pt>
                <c:pt idx="13836">
                  <c:v>145821</c:v>
                </c:pt>
                <c:pt idx="13837">
                  <c:v>145817</c:v>
                </c:pt>
                <c:pt idx="13838">
                  <c:v>145811</c:v>
                </c:pt>
                <c:pt idx="13839">
                  <c:v>145802</c:v>
                </c:pt>
                <c:pt idx="13840">
                  <c:v>145791</c:v>
                </c:pt>
                <c:pt idx="13841">
                  <c:v>145788</c:v>
                </c:pt>
                <c:pt idx="13842">
                  <c:v>145781</c:v>
                </c:pt>
                <c:pt idx="13843">
                  <c:v>145773</c:v>
                </c:pt>
                <c:pt idx="13844">
                  <c:v>145760</c:v>
                </c:pt>
                <c:pt idx="13845">
                  <c:v>145759</c:v>
                </c:pt>
                <c:pt idx="13846">
                  <c:v>145735</c:v>
                </c:pt>
                <c:pt idx="13847">
                  <c:v>145729</c:v>
                </c:pt>
                <c:pt idx="13848">
                  <c:v>145728</c:v>
                </c:pt>
                <c:pt idx="13849">
                  <c:v>145722</c:v>
                </c:pt>
                <c:pt idx="13850">
                  <c:v>145722</c:v>
                </c:pt>
                <c:pt idx="13851">
                  <c:v>145714</c:v>
                </c:pt>
                <c:pt idx="13852">
                  <c:v>145699</c:v>
                </c:pt>
                <c:pt idx="13853">
                  <c:v>145698</c:v>
                </c:pt>
                <c:pt idx="13854">
                  <c:v>145695</c:v>
                </c:pt>
                <c:pt idx="13855">
                  <c:v>145687</c:v>
                </c:pt>
                <c:pt idx="13856">
                  <c:v>145681</c:v>
                </c:pt>
                <c:pt idx="13857">
                  <c:v>145677</c:v>
                </c:pt>
                <c:pt idx="13858">
                  <c:v>145676</c:v>
                </c:pt>
                <c:pt idx="13859">
                  <c:v>145673</c:v>
                </c:pt>
                <c:pt idx="13860">
                  <c:v>145669</c:v>
                </c:pt>
                <c:pt idx="13861">
                  <c:v>145654</c:v>
                </c:pt>
                <c:pt idx="13862">
                  <c:v>145650</c:v>
                </c:pt>
                <c:pt idx="13863">
                  <c:v>145649</c:v>
                </c:pt>
                <c:pt idx="13864">
                  <c:v>145648</c:v>
                </c:pt>
                <c:pt idx="13865">
                  <c:v>145645</c:v>
                </c:pt>
                <c:pt idx="13866">
                  <c:v>145642</c:v>
                </c:pt>
                <c:pt idx="13867">
                  <c:v>145636</c:v>
                </c:pt>
                <c:pt idx="13868">
                  <c:v>145628</c:v>
                </c:pt>
                <c:pt idx="13869">
                  <c:v>145624</c:v>
                </c:pt>
                <c:pt idx="13870">
                  <c:v>145622</c:v>
                </c:pt>
                <c:pt idx="13871">
                  <c:v>145603</c:v>
                </c:pt>
                <c:pt idx="13872">
                  <c:v>145572</c:v>
                </c:pt>
                <c:pt idx="13873">
                  <c:v>145571</c:v>
                </c:pt>
                <c:pt idx="13874">
                  <c:v>145570</c:v>
                </c:pt>
                <c:pt idx="13875">
                  <c:v>145563</c:v>
                </c:pt>
                <c:pt idx="13876">
                  <c:v>145562</c:v>
                </c:pt>
                <c:pt idx="13877">
                  <c:v>145551</c:v>
                </c:pt>
                <c:pt idx="13878">
                  <c:v>145541</c:v>
                </c:pt>
                <c:pt idx="13879">
                  <c:v>145538</c:v>
                </c:pt>
                <c:pt idx="13880">
                  <c:v>145532</c:v>
                </c:pt>
                <c:pt idx="13881">
                  <c:v>145514</c:v>
                </c:pt>
                <c:pt idx="13882">
                  <c:v>145512</c:v>
                </c:pt>
                <c:pt idx="13883">
                  <c:v>145504</c:v>
                </c:pt>
                <c:pt idx="13884">
                  <c:v>145499</c:v>
                </c:pt>
                <c:pt idx="13885">
                  <c:v>145489</c:v>
                </c:pt>
                <c:pt idx="13886">
                  <c:v>145489</c:v>
                </c:pt>
                <c:pt idx="13887">
                  <c:v>145482</c:v>
                </c:pt>
                <c:pt idx="13888">
                  <c:v>145479</c:v>
                </c:pt>
                <c:pt idx="13889">
                  <c:v>145478</c:v>
                </c:pt>
                <c:pt idx="13890">
                  <c:v>145478</c:v>
                </c:pt>
                <c:pt idx="13891">
                  <c:v>145476</c:v>
                </c:pt>
                <c:pt idx="13892">
                  <c:v>145473</c:v>
                </c:pt>
                <c:pt idx="13893">
                  <c:v>145466</c:v>
                </c:pt>
                <c:pt idx="13894">
                  <c:v>145456</c:v>
                </c:pt>
                <c:pt idx="13895">
                  <c:v>145455</c:v>
                </c:pt>
                <c:pt idx="13896">
                  <c:v>145448</c:v>
                </c:pt>
                <c:pt idx="13897">
                  <c:v>145446</c:v>
                </c:pt>
                <c:pt idx="13898">
                  <c:v>145440</c:v>
                </c:pt>
                <c:pt idx="13899">
                  <c:v>145439</c:v>
                </c:pt>
                <c:pt idx="13900">
                  <c:v>145436</c:v>
                </c:pt>
                <c:pt idx="13901">
                  <c:v>145430</c:v>
                </c:pt>
                <c:pt idx="13902">
                  <c:v>145428</c:v>
                </c:pt>
                <c:pt idx="13903">
                  <c:v>145416</c:v>
                </c:pt>
                <c:pt idx="13904">
                  <c:v>145408</c:v>
                </c:pt>
                <c:pt idx="13905">
                  <c:v>145406</c:v>
                </c:pt>
                <c:pt idx="13906">
                  <c:v>145404</c:v>
                </c:pt>
                <c:pt idx="13907">
                  <c:v>145396</c:v>
                </c:pt>
                <c:pt idx="13908">
                  <c:v>145393</c:v>
                </c:pt>
                <c:pt idx="13909">
                  <c:v>145391</c:v>
                </c:pt>
                <c:pt idx="13910">
                  <c:v>145389</c:v>
                </c:pt>
                <c:pt idx="13911">
                  <c:v>145383</c:v>
                </c:pt>
                <c:pt idx="13912">
                  <c:v>145381</c:v>
                </c:pt>
                <c:pt idx="13913">
                  <c:v>145365</c:v>
                </c:pt>
                <c:pt idx="13914">
                  <c:v>145350</c:v>
                </c:pt>
                <c:pt idx="13915">
                  <c:v>145345</c:v>
                </c:pt>
                <c:pt idx="13916">
                  <c:v>145335</c:v>
                </c:pt>
                <c:pt idx="13917">
                  <c:v>145334</c:v>
                </c:pt>
                <c:pt idx="13918">
                  <c:v>145332</c:v>
                </c:pt>
                <c:pt idx="13919">
                  <c:v>145326</c:v>
                </c:pt>
                <c:pt idx="13920">
                  <c:v>145324</c:v>
                </c:pt>
                <c:pt idx="13921">
                  <c:v>145320</c:v>
                </c:pt>
                <c:pt idx="13922">
                  <c:v>145314</c:v>
                </c:pt>
                <c:pt idx="13923">
                  <c:v>145311</c:v>
                </c:pt>
                <c:pt idx="13924">
                  <c:v>145309</c:v>
                </c:pt>
                <c:pt idx="13925">
                  <c:v>145298</c:v>
                </c:pt>
                <c:pt idx="13926">
                  <c:v>145295</c:v>
                </c:pt>
                <c:pt idx="13927">
                  <c:v>145295</c:v>
                </c:pt>
                <c:pt idx="13928">
                  <c:v>145274</c:v>
                </c:pt>
                <c:pt idx="13929">
                  <c:v>145270</c:v>
                </c:pt>
                <c:pt idx="13930">
                  <c:v>145268</c:v>
                </c:pt>
                <c:pt idx="13931">
                  <c:v>145267</c:v>
                </c:pt>
                <c:pt idx="13932">
                  <c:v>145262</c:v>
                </c:pt>
                <c:pt idx="13933">
                  <c:v>145259</c:v>
                </c:pt>
                <c:pt idx="13934">
                  <c:v>145257</c:v>
                </c:pt>
                <c:pt idx="13935">
                  <c:v>145257</c:v>
                </c:pt>
                <c:pt idx="13936">
                  <c:v>145247</c:v>
                </c:pt>
                <c:pt idx="13937">
                  <c:v>145236</c:v>
                </c:pt>
                <c:pt idx="13938">
                  <c:v>145226</c:v>
                </c:pt>
                <c:pt idx="13939">
                  <c:v>145223</c:v>
                </c:pt>
                <c:pt idx="13940">
                  <c:v>145221</c:v>
                </c:pt>
                <c:pt idx="13941">
                  <c:v>145210</c:v>
                </c:pt>
                <c:pt idx="13942">
                  <c:v>145208</c:v>
                </c:pt>
                <c:pt idx="13943">
                  <c:v>145206</c:v>
                </c:pt>
                <c:pt idx="13944">
                  <c:v>145205</c:v>
                </c:pt>
                <c:pt idx="13945">
                  <c:v>145194</c:v>
                </c:pt>
                <c:pt idx="13946">
                  <c:v>145193</c:v>
                </c:pt>
                <c:pt idx="13947">
                  <c:v>145190</c:v>
                </c:pt>
                <c:pt idx="13948">
                  <c:v>145187</c:v>
                </c:pt>
                <c:pt idx="13949">
                  <c:v>145185</c:v>
                </c:pt>
                <c:pt idx="13950">
                  <c:v>145185</c:v>
                </c:pt>
                <c:pt idx="13951">
                  <c:v>145177</c:v>
                </c:pt>
                <c:pt idx="13952">
                  <c:v>145176</c:v>
                </c:pt>
                <c:pt idx="13953">
                  <c:v>145175</c:v>
                </c:pt>
                <c:pt idx="13954">
                  <c:v>145165</c:v>
                </c:pt>
                <c:pt idx="13955">
                  <c:v>145157</c:v>
                </c:pt>
                <c:pt idx="13956">
                  <c:v>145155</c:v>
                </c:pt>
                <c:pt idx="13957">
                  <c:v>145155</c:v>
                </c:pt>
                <c:pt idx="13958">
                  <c:v>145154</c:v>
                </c:pt>
                <c:pt idx="13959">
                  <c:v>145153</c:v>
                </c:pt>
                <c:pt idx="13960">
                  <c:v>145152</c:v>
                </c:pt>
                <c:pt idx="13961">
                  <c:v>145152</c:v>
                </c:pt>
                <c:pt idx="13962">
                  <c:v>145144</c:v>
                </c:pt>
                <c:pt idx="13963">
                  <c:v>145143</c:v>
                </c:pt>
                <c:pt idx="13964">
                  <c:v>145142</c:v>
                </c:pt>
                <c:pt idx="13965">
                  <c:v>145142</c:v>
                </c:pt>
                <c:pt idx="13966">
                  <c:v>145131</c:v>
                </c:pt>
                <c:pt idx="13967">
                  <c:v>145129</c:v>
                </c:pt>
                <c:pt idx="13968">
                  <c:v>145129</c:v>
                </c:pt>
                <c:pt idx="13969">
                  <c:v>145126</c:v>
                </c:pt>
                <c:pt idx="13970">
                  <c:v>145124</c:v>
                </c:pt>
                <c:pt idx="13971">
                  <c:v>145114</c:v>
                </c:pt>
                <c:pt idx="13972">
                  <c:v>145107</c:v>
                </c:pt>
                <c:pt idx="13973">
                  <c:v>145102</c:v>
                </c:pt>
                <c:pt idx="13974">
                  <c:v>145099</c:v>
                </c:pt>
                <c:pt idx="13975">
                  <c:v>145094</c:v>
                </c:pt>
                <c:pt idx="13976">
                  <c:v>145094</c:v>
                </c:pt>
                <c:pt idx="13977">
                  <c:v>145093</c:v>
                </c:pt>
                <c:pt idx="13978">
                  <c:v>145091</c:v>
                </c:pt>
                <c:pt idx="13979">
                  <c:v>145084</c:v>
                </c:pt>
                <c:pt idx="13980">
                  <c:v>145076</c:v>
                </c:pt>
                <c:pt idx="13981">
                  <c:v>145075</c:v>
                </c:pt>
                <c:pt idx="13982">
                  <c:v>145071</c:v>
                </c:pt>
                <c:pt idx="13983">
                  <c:v>145071</c:v>
                </c:pt>
                <c:pt idx="13984">
                  <c:v>145069</c:v>
                </c:pt>
                <c:pt idx="13985">
                  <c:v>145067</c:v>
                </c:pt>
                <c:pt idx="13986">
                  <c:v>145066</c:v>
                </c:pt>
                <c:pt idx="13987">
                  <c:v>145064</c:v>
                </c:pt>
                <c:pt idx="13988">
                  <c:v>145059</c:v>
                </c:pt>
                <c:pt idx="13989">
                  <c:v>145051</c:v>
                </c:pt>
                <c:pt idx="13990">
                  <c:v>145048</c:v>
                </c:pt>
                <c:pt idx="13991">
                  <c:v>145048</c:v>
                </c:pt>
                <c:pt idx="13992">
                  <c:v>145033</c:v>
                </c:pt>
                <c:pt idx="13993">
                  <c:v>145025</c:v>
                </c:pt>
                <c:pt idx="13994">
                  <c:v>145017</c:v>
                </c:pt>
                <c:pt idx="13995">
                  <c:v>145006</c:v>
                </c:pt>
                <c:pt idx="13996">
                  <c:v>145003</c:v>
                </c:pt>
                <c:pt idx="13997">
                  <c:v>144998</c:v>
                </c:pt>
                <c:pt idx="13998">
                  <c:v>144993</c:v>
                </c:pt>
                <c:pt idx="13999">
                  <c:v>144991</c:v>
                </c:pt>
                <c:pt idx="14000">
                  <c:v>144990</c:v>
                </c:pt>
                <c:pt idx="14001">
                  <c:v>144976</c:v>
                </c:pt>
                <c:pt idx="14002">
                  <c:v>144974</c:v>
                </c:pt>
                <c:pt idx="14003">
                  <c:v>144964</c:v>
                </c:pt>
                <c:pt idx="14004">
                  <c:v>144963</c:v>
                </c:pt>
                <c:pt idx="14005">
                  <c:v>144959</c:v>
                </c:pt>
                <c:pt idx="14006">
                  <c:v>144952</c:v>
                </c:pt>
                <c:pt idx="14007">
                  <c:v>144949</c:v>
                </c:pt>
                <c:pt idx="14008">
                  <c:v>144944</c:v>
                </c:pt>
                <c:pt idx="14009">
                  <c:v>144941</c:v>
                </c:pt>
                <c:pt idx="14010">
                  <c:v>144941</c:v>
                </c:pt>
                <c:pt idx="14011">
                  <c:v>144934</c:v>
                </c:pt>
                <c:pt idx="14012">
                  <c:v>144927</c:v>
                </c:pt>
                <c:pt idx="14013">
                  <c:v>144913</c:v>
                </c:pt>
                <c:pt idx="14014">
                  <c:v>144911</c:v>
                </c:pt>
                <c:pt idx="14015">
                  <c:v>144909</c:v>
                </c:pt>
                <c:pt idx="14016">
                  <c:v>144908</c:v>
                </c:pt>
                <c:pt idx="14017">
                  <c:v>144907</c:v>
                </c:pt>
                <c:pt idx="14018">
                  <c:v>144902</c:v>
                </c:pt>
                <c:pt idx="14019">
                  <c:v>144900</c:v>
                </c:pt>
                <c:pt idx="14020">
                  <c:v>144896</c:v>
                </c:pt>
                <c:pt idx="14021">
                  <c:v>144896</c:v>
                </c:pt>
                <c:pt idx="14022">
                  <c:v>144895</c:v>
                </c:pt>
                <c:pt idx="14023">
                  <c:v>144893</c:v>
                </c:pt>
                <c:pt idx="14024">
                  <c:v>144883</c:v>
                </c:pt>
                <c:pt idx="14025">
                  <c:v>144880</c:v>
                </c:pt>
                <c:pt idx="14026">
                  <c:v>144865</c:v>
                </c:pt>
                <c:pt idx="14027">
                  <c:v>144865</c:v>
                </c:pt>
                <c:pt idx="14028">
                  <c:v>144854</c:v>
                </c:pt>
                <c:pt idx="14029">
                  <c:v>144850</c:v>
                </c:pt>
                <c:pt idx="14030">
                  <c:v>144847</c:v>
                </c:pt>
                <c:pt idx="14031">
                  <c:v>144833</c:v>
                </c:pt>
                <c:pt idx="14032">
                  <c:v>144831</c:v>
                </c:pt>
                <c:pt idx="14033">
                  <c:v>144829</c:v>
                </c:pt>
                <c:pt idx="14034">
                  <c:v>144821</c:v>
                </c:pt>
                <c:pt idx="14035">
                  <c:v>144815</c:v>
                </c:pt>
                <c:pt idx="14036">
                  <c:v>144811</c:v>
                </c:pt>
                <c:pt idx="14037">
                  <c:v>144809</c:v>
                </c:pt>
                <c:pt idx="14038">
                  <c:v>144808</c:v>
                </c:pt>
                <c:pt idx="14039">
                  <c:v>144807</c:v>
                </c:pt>
                <c:pt idx="14040">
                  <c:v>144802</c:v>
                </c:pt>
                <c:pt idx="14041">
                  <c:v>144800</c:v>
                </c:pt>
                <c:pt idx="14042">
                  <c:v>144798</c:v>
                </c:pt>
                <c:pt idx="14043">
                  <c:v>144797</c:v>
                </c:pt>
                <c:pt idx="14044">
                  <c:v>144795</c:v>
                </c:pt>
                <c:pt idx="14045">
                  <c:v>144794</c:v>
                </c:pt>
                <c:pt idx="14046">
                  <c:v>144792</c:v>
                </c:pt>
                <c:pt idx="14047">
                  <c:v>144788</c:v>
                </c:pt>
                <c:pt idx="14048">
                  <c:v>144785</c:v>
                </c:pt>
                <c:pt idx="14049">
                  <c:v>144782</c:v>
                </c:pt>
                <c:pt idx="14050">
                  <c:v>144776</c:v>
                </c:pt>
                <c:pt idx="14051">
                  <c:v>144768</c:v>
                </c:pt>
                <c:pt idx="14052">
                  <c:v>144763</c:v>
                </c:pt>
                <c:pt idx="14053">
                  <c:v>144761</c:v>
                </c:pt>
                <c:pt idx="14054">
                  <c:v>144754</c:v>
                </c:pt>
                <c:pt idx="14055">
                  <c:v>144741</c:v>
                </c:pt>
                <c:pt idx="14056">
                  <c:v>144736</c:v>
                </c:pt>
                <c:pt idx="14057">
                  <c:v>144711</c:v>
                </c:pt>
                <c:pt idx="14058">
                  <c:v>144704</c:v>
                </c:pt>
                <c:pt idx="14059">
                  <c:v>144702</c:v>
                </c:pt>
                <c:pt idx="14060">
                  <c:v>144696</c:v>
                </c:pt>
                <c:pt idx="14061">
                  <c:v>144687</c:v>
                </c:pt>
                <c:pt idx="14062">
                  <c:v>144679</c:v>
                </c:pt>
                <c:pt idx="14063">
                  <c:v>144674</c:v>
                </c:pt>
                <c:pt idx="14064">
                  <c:v>144666</c:v>
                </c:pt>
                <c:pt idx="14065">
                  <c:v>144664</c:v>
                </c:pt>
                <c:pt idx="14066">
                  <c:v>144661</c:v>
                </c:pt>
                <c:pt idx="14067">
                  <c:v>144660</c:v>
                </c:pt>
                <c:pt idx="14068">
                  <c:v>144657</c:v>
                </c:pt>
                <c:pt idx="14069">
                  <c:v>144647</c:v>
                </c:pt>
                <c:pt idx="14070">
                  <c:v>144643</c:v>
                </c:pt>
                <c:pt idx="14071">
                  <c:v>144643</c:v>
                </c:pt>
                <c:pt idx="14072">
                  <c:v>144636</c:v>
                </c:pt>
                <c:pt idx="14073">
                  <c:v>144636</c:v>
                </c:pt>
                <c:pt idx="14074">
                  <c:v>144631</c:v>
                </c:pt>
                <c:pt idx="14075">
                  <c:v>144631</c:v>
                </c:pt>
                <c:pt idx="14076">
                  <c:v>144619</c:v>
                </c:pt>
                <c:pt idx="14077">
                  <c:v>144615</c:v>
                </c:pt>
                <c:pt idx="14078">
                  <c:v>144610</c:v>
                </c:pt>
                <c:pt idx="14079">
                  <c:v>144590</c:v>
                </c:pt>
                <c:pt idx="14080">
                  <c:v>144584</c:v>
                </c:pt>
                <c:pt idx="14081">
                  <c:v>144574</c:v>
                </c:pt>
                <c:pt idx="14082">
                  <c:v>144573</c:v>
                </c:pt>
                <c:pt idx="14083">
                  <c:v>144564</c:v>
                </c:pt>
                <c:pt idx="14084">
                  <c:v>144542</c:v>
                </c:pt>
                <c:pt idx="14085">
                  <c:v>144540</c:v>
                </c:pt>
                <c:pt idx="14086">
                  <c:v>144533</c:v>
                </c:pt>
                <c:pt idx="14087">
                  <c:v>144527</c:v>
                </c:pt>
                <c:pt idx="14088">
                  <c:v>144523</c:v>
                </c:pt>
                <c:pt idx="14089">
                  <c:v>144518</c:v>
                </c:pt>
                <c:pt idx="14090">
                  <c:v>144511</c:v>
                </c:pt>
                <c:pt idx="14091">
                  <c:v>144510</c:v>
                </c:pt>
                <c:pt idx="14092">
                  <c:v>144509</c:v>
                </c:pt>
                <c:pt idx="14093">
                  <c:v>144508</c:v>
                </c:pt>
                <c:pt idx="14094">
                  <c:v>144503</c:v>
                </c:pt>
                <c:pt idx="14095">
                  <c:v>144493</c:v>
                </c:pt>
                <c:pt idx="14096">
                  <c:v>144484</c:v>
                </c:pt>
                <c:pt idx="14097">
                  <c:v>144479</c:v>
                </c:pt>
                <c:pt idx="14098">
                  <c:v>144473</c:v>
                </c:pt>
                <c:pt idx="14099">
                  <c:v>144472</c:v>
                </c:pt>
                <c:pt idx="14100">
                  <c:v>144462</c:v>
                </c:pt>
                <c:pt idx="14101">
                  <c:v>144461</c:v>
                </c:pt>
                <c:pt idx="14102">
                  <c:v>144456</c:v>
                </c:pt>
                <c:pt idx="14103">
                  <c:v>144447</c:v>
                </c:pt>
                <c:pt idx="14104">
                  <c:v>144447</c:v>
                </c:pt>
                <c:pt idx="14105">
                  <c:v>144436</c:v>
                </c:pt>
                <c:pt idx="14106">
                  <c:v>144436</c:v>
                </c:pt>
                <c:pt idx="14107">
                  <c:v>144434</c:v>
                </c:pt>
                <c:pt idx="14108">
                  <c:v>144429</c:v>
                </c:pt>
                <c:pt idx="14109">
                  <c:v>144424</c:v>
                </c:pt>
                <c:pt idx="14110">
                  <c:v>144420</c:v>
                </c:pt>
                <c:pt idx="14111">
                  <c:v>144411</c:v>
                </c:pt>
                <c:pt idx="14112">
                  <c:v>144403</c:v>
                </c:pt>
                <c:pt idx="14113">
                  <c:v>144402</c:v>
                </c:pt>
                <c:pt idx="14114">
                  <c:v>144398</c:v>
                </c:pt>
                <c:pt idx="14115">
                  <c:v>144393</c:v>
                </c:pt>
                <c:pt idx="14116">
                  <c:v>144383</c:v>
                </c:pt>
                <c:pt idx="14117">
                  <c:v>144365</c:v>
                </c:pt>
                <c:pt idx="14118">
                  <c:v>144353</c:v>
                </c:pt>
                <c:pt idx="14119">
                  <c:v>144346</c:v>
                </c:pt>
                <c:pt idx="14120">
                  <c:v>144346</c:v>
                </c:pt>
                <c:pt idx="14121">
                  <c:v>144337</c:v>
                </c:pt>
                <c:pt idx="14122">
                  <c:v>144335</c:v>
                </c:pt>
                <c:pt idx="14123">
                  <c:v>144324</c:v>
                </c:pt>
                <c:pt idx="14124">
                  <c:v>144321</c:v>
                </c:pt>
                <c:pt idx="14125">
                  <c:v>144321</c:v>
                </c:pt>
                <c:pt idx="14126">
                  <c:v>144318</c:v>
                </c:pt>
                <c:pt idx="14127">
                  <c:v>144303</c:v>
                </c:pt>
                <c:pt idx="14128">
                  <c:v>144302</c:v>
                </c:pt>
                <c:pt idx="14129">
                  <c:v>144299</c:v>
                </c:pt>
                <c:pt idx="14130">
                  <c:v>144288</c:v>
                </c:pt>
                <c:pt idx="14131">
                  <c:v>144285</c:v>
                </c:pt>
                <c:pt idx="14132">
                  <c:v>144279</c:v>
                </c:pt>
                <c:pt idx="14133">
                  <c:v>144257</c:v>
                </c:pt>
                <c:pt idx="14134">
                  <c:v>144255</c:v>
                </c:pt>
                <c:pt idx="14135">
                  <c:v>144253</c:v>
                </c:pt>
                <c:pt idx="14136">
                  <c:v>144252</c:v>
                </c:pt>
                <c:pt idx="14137">
                  <c:v>144244</c:v>
                </c:pt>
                <c:pt idx="14138">
                  <c:v>144243</c:v>
                </c:pt>
                <c:pt idx="14139">
                  <c:v>144235</c:v>
                </c:pt>
                <c:pt idx="14140">
                  <c:v>144232</c:v>
                </c:pt>
                <c:pt idx="14141">
                  <c:v>144227</c:v>
                </c:pt>
                <c:pt idx="14142">
                  <c:v>144226</c:v>
                </c:pt>
                <c:pt idx="14143">
                  <c:v>144224</c:v>
                </c:pt>
                <c:pt idx="14144">
                  <c:v>144223</c:v>
                </c:pt>
                <c:pt idx="14145">
                  <c:v>144213</c:v>
                </c:pt>
                <c:pt idx="14146">
                  <c:v>144202</c:v>
                </c:pt>
                <c:pt idx="14147">
                  <c:v>144198</c:v>
                </c:pt>
                <c:pt idx="14148">
                  <c:v>144190</c:v>
                </c:pt>
                <c:pt idx="14149">
                  <c:v>144187</c:v>
                </c:pt>
                <c:pt idx="14150">
                  <c:v>144185</c:v>
                </c:pt>
                <c:pt idx="14151">
                  <c:v>144180</c:v>
                </c:pt>
                <c:pt idx="14152">
                  <c:v>144180</c:v>
                </c:pt>
                <c:pt idx="14153">
                  <c:v>144179</c:v>
                </c:pt>
                <c:pt idx="14154">
                  <c:v>144164</c:v>
                </c:pt>
                <c:pt idx="14155">
                  <c:v>144162</c:v>
                </c:pt>
                <c:pt idx="14156">
                  <c:v>144155</c:v>
                </c:pt>
                <c:pt idx="14157">
                  <c:v>144146</c:v>
                </c:pt>
                <c:pt idx="14158">
                  <c:v>144143</c:v>
                </c:pt>
                <c:pt idx="14159">
                  <c:v>144139</c:v>
                </c:pt>
                <c:pt idx="14160">
                  <c:v>144127</c:v>
                </c:pt>
                <c:pt idx="14161">
                  <c:v>144127</c:v>
                </c:pt>
                <c:pt idx="14162">
                  <c:v>144124</c:v>
                </c:pt>
                <c:pt idx="14163">
                  <c:v>144123</c:v>
                </c:pt>
                <c:pt idx="14164">
                  <c:v>144119</c:v>
                </c:pt>
                <c:pt idx="14165">
                  <c:v>144112</c:v>
                </c:pt>
                <c:pt idx="14166">
                  <c:v>144108</c:v>
                </c:pt>
                <c:pt idx="14167">
                  <c:v>144103</c:v>
                </c:pt>
                <c:pt idx="14168">
                  <c:v>144085</c:v>
                </c:pt>
                <c:pt idx="14169">
                  <c:v>144083</c:v>
                </c:pt>
                <c:pt idx="14170">
                  <c:v>144069</c:v>
                </c:pt>
                <c:pt idx="14171">
                  <c:v>144068</c:v>
                </c:pt>
                <c:pt idx="14172">
                  <c:v>144059</c:v>
                </c:pt>
                <c:pt idx="14173">
                  <c:v>144048</c:v>
                </c:pt>
                <c:pt idx="14174">
                  <c:v>144042</c:v>
                </c:pt>
                <c:pt idx="14175">
                  <c:v>144042</c:v>
                </c:pt>
                <c:pt idx="14176">
                  <c:v>144036</c:v>
                </c:pt>
                <c:pt idx="14177">
                  <c:v>144031</c:v>
                </c:pt>
                <c:pt idx="14178">
                  <c:v>144025</c:v>
                </c:pt>
                <c:pt idx="14179">
                  <c:v>144022</c:v>
                </c:pt>
                <c:pt idx="14180">
                  <c:v>144015</c:v>
                </c:pt>
                <c:pt idx="14181">
                  <c:v>144014</c:v>
                </c:pt>
                <c:pt idx="14182">
                  <c:v>144014</c:v>
                </c:pt>
                <c:pt idx="14183">
                  <c:v>144003</c:v>
                </c:pt>
                <c:pt idx="14184">
                  <c:v>144003</c:v>
                </c:pt>
                <c:pt idx="14185">
                  <c:v>143998</c:v>
                </c:pt>
                <c:pt idx="14186">
                  <c:v>143995</c:v>
                </c:pt>
                <c:pt idx="14187">
                  <c:v>143984</c:v>
                </c:pt>
                <c:pt idx="14188">
                  <c:v>143983</c:v>
                </c:pt>
                <c:pt idx="14189">
                  <c:v>143954</c:v>
                </c:pt>
                <c:pt idx="14190">
                  <c:v>143945</c:v>
                </c:pt>
                <c:pt idx="14191">
                  <c:v>143945</c:v>
                </c:pt>
                <c:pt idx="14192">
                  <c:v>143943</c:v>
                </c:pt>
                <c:pt idx="14193">
                  <c:v>143940</c:v>
                </c:pt>
                <c:pt idx="14194">
                  <c:v>143934</c:v>
                </c:pt>
                <c:pt idx="14195">
                  <c:v>143932</c:v>
                </c:pt>
                <c:pt idx="14196">
                  <c:v>143929</c:v>
                </c:pt>
                <c:pt idx="14197">
                  <c:v>143929</c:v>
                </c:pt>
                <c:pt idx="14198">
                  <c:v>143925</c:v>
                </c:pt>
                <c:pt idx="14199">
                  <c:v>143925</c:v>
                </c:pt>
                <c:pt idx="14200">
                  <c:v>143920</c:v>
                </c:pt>
                <c:pt idx="14201">
                  <c:v>143912</c:v>
                </c:pt>
                <c:pt idx="14202">
                  <c:v>143908</c:v>
                </c:pt>
                <c:pt idx="14203">
                  <c:v>143905</c:v>
                </c:pt>
                <c:pt idx="14204">
                  <c:v>143899</c:v>
                </c:pt>
                <c:pt idx="14205">
                  <c:v>143897</c:v>
                </c:pt>
                <c:pt idx="14206">
                  <c:v>143893</c:v>
                </c:pt>
                <c:pt idx="14207">
                  <c:v>143892</c:v>
                </c:pt>
                <c:pt idx="14208">
                  <c:v>143891</c:v>
                </c:pt>
                <c:pt idx="14209">
                  <c:v>143889</c:v>
                </c:pt>
                <c:pt idx="14210">
                  <c:v>143882</c:v>
                </c:pt>
                <c:pt idx="14211">
                  <c:v>143881</c:v>
                </c:pt>
                <c:pt idx="14212">
                  <c:v>143878</c:v>
                </c:pt>
                <c:pt idx="14213">
                  <c:v>143867</c:v>
                </c:pt>
                <c:pt idx="14214">
                  <c:v>143863</c:v>
                </c:pt>
                <c:pt idx="14215">
                  <c:v>143859</c:v>
                </c:pt>
                <c:pt idx="14216">
                  <c:v>143859</c:v>
                </c:pt>
                <c:pt idx="14217">
                  <c:v>143853</c:v>
                </c:pt>
                <c:pt idx="14218">
                  <c:v>143845</c:v>
                </c:pt>
                <c:pt idx="14219">
                  <c:v>143843</c:v>
                </c:pt>
                <c:pt idx="14220">
                  <c:v>143843</c:v>
                </c:pt>
                <c:pt idx="14221">
                  <c:v>143824</c:v>
                </c:pt>
                <c:pt idx="14222">
                  <c:v>143821</c:v>
                </c:pt>
                <c:pt idx="14223">
                  <c:v>143820</c:v>
                </c:pt>
                <c:pt idx="14224">
                  <c:v>143815</c:v>
                </c:pt>
                <c:pt idx="14225">
                  <c:v>143805</c:v>
                </c:pt>
                <c:pt idx="14226">
                  <c:v>143801</c:v>
                </c:pt>
                <c:pt idx="14227">
                  <c:v>143796</c:v>
                </c:pt>
                <c:pt idx="14228">
                  <c:v>143795</c:v>
                </c:pt>
                <c:pt idx="14229">
                  <c:v>143794</c:v>
                </c:pt>
                <c:pt idx="14230">
                  <c:v>143790</c:v>
                </c:pt>
                <c:pt idx="14231">
                  <c:v>143783</c:v>
                </c:pt>
                <c:pt idx="14232">
                  <c:v>143778</c:v>
                </c:pt>
                <c:pt idx="14233">
                  <c:v>143778</c:v>
                </c:pt>
                <c:pt idx="14234">
                  <c:v>143777</c:v>
                </c:pt>
                <c:pt idx="14235">
                  <c:v>143773</c:v>
                </c:pt>
                <c:pt idx="14236">
                  <c:v>143771</c:v>
                </c:pt>
                <c:pt idx="14237">
                  <c:v>143770</c:v>
                </c:pt>
                <c:pt idx="14238">
                  <c:v>143748</c:v>
                </c:pt>
                <c:pt idx="14239">
                  <c:v>143727</c:v>
                </c:pt>
                <c:pt idx="14240">
                  <c:v>143726</c:v>
                </c:pt>
                <c:pt idx="14241">
                  <c:v>143722</c:v>
                </c:pt>
                <c:pt idx="14242">
                  <c:v>143720</c:v>
                </c:pt>
                <c:pt idx="14243">
                  <c:v>143714</c:v>
                </c:pt>
                <c:pt idx="14244">
                  <c:v>143714</c:v>
                </c:pt>
                <c:pt idx="14245">
                  <c:v>143703</c:v>
                </c:pt>
                <c:pt idx="14246">
                  <c:v>143700</c:v>
                </c:pt>
                <c:pt idx="14247">
                  <c:v>143694</c:v>
                </c:pt>
                <c:pt idx="14248">
                  <c:v>143694</c:v>
                </c:pt>
                <c:pt idx="14249">
                  <c:v>143684</c:v>
                </c:pt>
                <c:pt idx="14250">
                  <c:v>143680</c:v>
                </c:pt>
                <c:pt idx="14251">
                  <c:v>143677</c:v>
                </c:pt>
                <c:pt idx="14252">
                  <c:v>143671</c:v>
                </c:pt>
                <c:pt idx="14253">
                  <c:v>143670</c:v>
                </c:pt>
                <c:pt idx="14254">
                  <c:v>143659</c:v>
                </c:pt>
                <c:pt idx="14255">
                  <c:v>143655</c:v>
                </c:pt>
                <c:pt idx="14256">
                  <c:v>143654</c:v>
                </c:pt>
                <c:pt idx="14257">
                  <c:v>143653</c:v>
                </c:pt>
                <c:pt idx="14258">
                  <c:v>143649</c:v>
                </c:pt>
                <c:pt idx="14259">
                  <c:v>143646</c:v>
                </c:pt>
                <c:pt idx="14260">
                  <c:v>143644</c:v>
                </c:pt>
                <c:pt idx="14261">
                  <c:v>143644</c:v>
                </c:pt>
                <c:pt idx="14262">
                  <c:v>143634</c:v>
                </c:pt>
                <c:pt idx="14263">
                  <c:v>143632</c:v>
                </c:pt>
                <c:pt idx="14264">
                  <c:v>143630</c:v>
                </c:pt>
                <c:pt idx="14265">
                  <c:v>143627</c:v>
                </c:pt>
                <c:pt idx="14266">
                  <c:v>143625</c:v>
                </c:pt>
                <c:pt idx="14267">
                  <c:v>143619</c:v>
                </c:pt>
                <c:pt idx="14268">
                  <c:v>143618</c:v>
                </c:pt>
                <c:pt idx="14269">
                  <c:v>143611</c:v>
                </c:pt>
                <c:pt idx="14270">
                  <c:v>143602</c:v>
                </c:pt>
                <c:pt idx="14271">
                  <c:v>143596</c:v>
                </c:pt>
                <c:pt idx="14272">
                  <c:v>143585</c:v>
                </c:pt>
                <c:pt idx="14273">
                  <c:v>143585</c:v>
                </c:pt>
                <c:pt idx="14274">
                  <c:v>143582</c:v>
                </c:pt>
                <c:pt idx="14275">
                  <c:v>143577</c:v>
                </c:pt>
                <c:pt idx="14276">
                  <c:v>143576</c:v>
                </c:pt>
                <c:pt idx="14277">
                  <c:v>143573</c:v>
                </c:pt>
                <c:pt idx="14278">
                  <c:v>143572</c:v>
                </c:pt>
                <c:pt idx="14279">
                  <c:v>143570</c:v>
                </c:pt>
                <c:pt idx="14280">
                  <c:v>143566</c:v>
                </c:pt>
                <c:pt idx="14281">
                  <c:v>143564</c:v>
                </c:pt>
                <c:pt idx="14282">
                  <c:v>143556</c:v>
                </c:pt>
                <c:pt idx="14283">
                  <c:v>143551</c:v>
                </c:pt>
                <c:pt idx="14284">
                  <c:v>143539</c:v>
                </c:pt>
                <c:pt idx="14285">
                  <c:v>143529</c:v>
                </c:pt>
                <c:pt idx="14286">
                  <c:v>143528</c:v>
                </c:pt>
                <c:pt idx="14287">
                  <c:v>143523</c:v>
                </c:pt>
                <c:pt idx="14288">
                  <c:v>143521</c:v>
                </c:pt>
                <c:pt idx="14289">
                  <c:v>143515</c:v>
                </c:pt>
                <c:pt idx="14290">
                  <c:v>143514</c:v>
                </c:pt>
                <c:pt idx="14291">
                  <c:v>143509</c:v>
                </c:pt>
                <c:pt idx="14292">
                  <c:v>143503</c:v>
                </c:pt>
                <c:pt idx="14293">
                  <c:v>143500</c:v>
                </c:pt>
                <c:pt idx="14294">
                  <c:v>143495</c:v>
                </c:pt>
                <c:pt idx="14295">
                  <c:v>143483</c:v>
                </c:pt>
                <c:pt idx="14296">
                  <c:v>143482</c:v>
                </c:pt>
                <c:pt idx="14297">
                  <c:v>143481</c:v>
                </c:pt>
                <c:pt idx="14298">
                  <c:v>143480</c:v>
                </c:pt>
                <c:pt idx="14299">
                  <c:v>143476</c:v>
                </c:pt>
                <c:pt idx="14300">
                  <c:v>143472</c:v>
                </c:pt>
                <c:pt idx="14301">
                  <c:v>143472</c:v>
                </c:pt>
                <c:pt idx="14302">
                  <c:v>143471</c:v>
                </c:pt>
                <c:pt idx="14303">
                  <c:v>143468</c:v>
                </c:pt>
                <c:pt idx="14304">
                  <c:v>143466</c:v>
                </c:pt>
                <c:pt idx="14305">
                  <c:v>143457</c:v>
                </c:pt>
                <c:pt idx="14306">
                  <c:v>143455</c:v>
                </c:pt>
                <c:pt idx="14307">
                  <c:v>143454</c:v>
                </c:pt>
                <c:pt idx="14308">
                  <c:v>143450</c:v>
                </c:pt>
                <c:pt idx="14309">
                  <c:v>143442</c:v>
                </c:pt>
                <c:pt idx="14310">
                  <c:v>143431</c:v>
                </c:pt>
                <c:pt idx="14311">
                  <c:v>143427</c:v>
                </c:pt>
                <c:pt idx="14312">
                  <c:v>143425</c:v>
                </c:pt>
                <c:pt idx="14313">
                  <c:v>143424</c:v>
                </c:pt>
                <c:pt idx="14314">
                  <c:v>143388</c:v>
                </c:pt>
                <c:pt idx="14315">
                  <c:v>143385</c:v>
                </c:pt>
                <c:pt idx="14316">
                  <c:v>143377</c:v>
                </c:pt>
                <c:pt idx="14317">
                  <c:v>143369</c:v>
                </c:pt>
                <c:pt idx="14318">
                  <c:v>143366</c:v>
                </c:pt>
                <c:pt idx="14319">
                  <c:v>143366</c:v>
                </c:pt>
                <c:pt idx="14320">
                  <c:v>143362</c:v>
                </c:pt>
                <c:pt idx="14321">
                  <c:v>143361</c:v>
                </c:pt>
                <c:pt idx="14322">
                  <c:v>143354</c:v>
                </c:pt>
                <c:pt idx="14323">
                  <c:v>143354</c:v>
                </c:pt>
                <c:pt idx="14324">
                  <c:v>143341</c:v>
                </c:pt>
                <c:pt idx="14325">
                  <c:v>143338</c:v>
                </c:pt>
                <c:pt idx="14326">
                  <c:v>143335</c:v>
                </c:pt>
                <c:pt idx="14327">
                  <c:v>143334</c:v>
                </c:pt>
                <c:pt idx="14328">
                  <c:v>143333</c:v>
                </c:pt>
                <c:pt idx="14329">
                  <c:v>143329</c:v>
                </c:pt>
                <c:pt idx="14330">
                  <c:v>143328</c:v>
                </c:pt>
                <c:pt idx="14331">
                  <c:v>143326</c:v>
                </c:pt>
                <c:pt idx="14332">
                  <c:v>143322</c:v>
                </c:pt>
                <c:pt idx="14333">
                  <c:v>143321</c:v>
                </c:pt>
                <c:pt idx="14334">
                  <c:v>143316</c:v>
                </c:pt>
                <c:pt idx="14335">
                  <c:v>143315</c:v>
                </c:pt>
                <c:pt idx="14336">
                  <c:v>143305</c:v>
                </c:pt>
                <c:pt idx="14337">
                  <c:v>143301</c:v>
                </c:pt>
                <c:pt idx="14338">
                  <c:v>143300</c:v>
                </c:pt>
                <c:pt idx="14339">
                  <c:v>143296</c:v>
                </c:pt>
                <c:pt idx="14340">
                  <c:v>143294</c:v>
                </c:pt>
                <c:pt idx="14341">
                  <c:v>143281</c:v>
                </c:pt>
                <c:pt idx="14342">
                  <c:v>143266</c:v>
                </c:pt>
                <c:pt idx="14343">
                  <c:v>143266</c:v>
                </c:pt>
                <c:pt idx="14344">
                  <c:v>143243</c:v>
                </c:pt>
                <c:pt idx="14345">
                  <c:v>143235</c:v>
                </c:pt>
                <c:pt idx="14346">
                  <c:v>143225</c:v>
                </c:pt>
                <c:pt idx="14347">
                  <c:v>143221</c:v>
                </c:pt>
                <c:pt idx="14348">
                  <c:v>143218</c:v>
                </c:pt>
                <c:pt idx="14349">
                  <c:v>143200</c:v>
                </c:pt>
                <c:pt idx="14350">
                  <c:v>143187</c:v>
                </c:pt>
                <c:pt idx="14351">
                  <c:v>143183</c:v>
                </c:pt>
                <c:pt idx="14352">
                  <c:v>143180</c:v>
                </c:pt>
                <c:pt idx="14353">
                  <c:v>143172</c:v>
                </c:pt>
                <c:pt idx="14354">
                  <c:v>143167</c:v>
                </c:pt>
                <c:pt idx="14355">
                  <c:v>143156</c:v>
                </c:pt>
                <c:pt idx="14356">
                  <c:v>143154</c:v>
                </c:pt>
                <c:pt idx="14357">
                  <c:v>143136</c:v>
                </c:pt>
                <c:pt idx="14358">
                  <c:v>143131</c:v>
                </c:pt>
                <c:pt idx="14359">
                  <c:v>143125</c:v>
                </c:pt>
                <c:pt idx="14360">
                  <c:v>143122</c:v>
                </c:pt>
                <c:pt idx="14361">
                  <c:v>143108</c:v>
                </c:pt>
                <c:pt idx="14362">
                  <c:v>143108</c:v>
                </c:pt>
                <c:pt idx="14363">
                  <c:v>143106</c:v>
                </c:pt>
                <c:pt idx="14364">
                  <c:v>143102</c:v>
                </c:pt>
                <c:pt idx="14365">
                  <c:v>143093</c:v>
                </c:pt>
                <c:pt idx="14366">
                  <c:v>143093</c:v>
                </c:pt>
                <c:pt idx="14367">
                  <c:v>143090</c:v>
                </c:pt>
                <c:pt idx="14368">
                  <c:v>143085</c:v>
                </c:pt>
                <c:pt idx="14369">
                  <c:v>143081</c:v>
                </c:pt>
                <c:pt idx="14370">
                  <c:v>143058</c:v>
                </c:pt>
                <c:pt idx="14371">
                  <c:v>143055</c:v>
                </c:pt>
                <c:pt idx="14372">
                  <c:v>143046</c:v>
                </c:pt>
                <c:pt idx="14373">
                  <c:v>143037</c:v>
                </c:pt>
                <c:pt idx="14374">
                  <c:v>143031</c:v>
                </c:pt>
                <c:pt idx="14375">
                  <c:v>143030</c:v>
                </c:pt>
                <c:pt idx="14376">
                  <c:v>143029</c:v>
                </c:pt>
                <c:pt idx="14377">
                  <c:v>143018</c:v>
                </c:pt>
                <c:pt idx="14378">
                  <c:v>143014</c:v>
                </c:pt>
                <c:pt idx="14379">
                  <c:v>143013</c:v>
                </c:pt>
                <c:pt idx="14380">
                  <c:v>143008</c:v>
                </c:pt>
                <c:pt idx="14381">
                  <c:v>142991</c:v>
                </c:pt>
                <c:pt idx="14382">
                  <c:v>142985</c:v>
                </c:pt>
                <c:pt idx="14383">
                  <c:v>142974</c:v>
                </c:pt>
                <c:pt idx="14384">
                  <c:v>142973</c:v>
                </c:pt>
                <c:pt idx="14385">
                  <c:v>142968</c:v>
                </c:pt>
                <c:pt idx="14386">
                  <c:v>142967</c:v>
                </c:pt>
                <c:pt idx="14387">
                  <c:v>142956</c:v>
                </c:pt>
                <c:pt idx="14388">
                  <c:v>142952</c:v>
                </c:pt>
                <c:pt idx="14389">
                  <c:v>142952</c:v>
                </c:pt>
                <c:pt idx="14390">
                  <c:v>142935</c:v>
                </c:pt>
                <c:pt idx="14391">
                  <c:v>142934</c:v>
                </c:pt>
                <c:pt idx="14392">
                  <c:v>142934</c:v>
                </c:pt>
                <c:pt idx="14393">
                  <c:v>142933</c:v>
                </c:pt>
                <c:pt idx="14394">
                  <c:v>142915</c:v>
                </c:pt>
                <c:pt idx="14395">
                  <c:v>142914</c:v>
                </c:pt>
                <c:pt idx="14396">
                  <c:v>142912</c:v>
                </c:pt>
                <c:pt idx="14397">
                  <c:v>142908</c:v>
                </c:pt>
                <c:pt idx="14398">
                  <c:v>142892</c:v>
                </c:pt>
                <c:pt idx="14399">
                  <c:v>142891</c:v>
                </c:pt>
                <c:pt idx="14400">
                  <c:v>142891</c:v>
                </c:pt>
                <c:pt idx="14401">
                  <c:v>142887</c:v>
                </c:pt>
                <c:pt idx="14402">
                  <c:v>142883</c:v>
                </c:pt>
                <c:pt idx="14403">
                  <c:v>142879</c:v>
                </c:pt>
                <c:pt idx="14404">
                  <c:v>142878</c:v>
                </c:pt>
                <c:pt idx="14405">
                  <c:v>142869</c:v>
                </c:pt>
                <c:pt idx="14406">
                  <c:v>142859</c:v>
                </c:pt>
                <c:pt idx="14407">
                  <c:v>142853</c:v>
                </c:pt>
                <c:pt idx="14408">
                  <c:v>142853</c:v>
                </c:pt>
                <c:pt idx="14409">
                  <c:v>142851</c:v>
                </c:pt>
                <c:pt idx="14410">
                  <c:v>142841</c:v>
                </c:pt>
                <c:pt idx="14411">
                  <c:v>142835</c:v>
                </c:pt>
                <c:pt idx="14412">
                  <c:v>142831</c:v>
                </c:pt>
                <c:pt idx="14413">
                  <c:v>142828</c:v>
                </c:pt>
                <c:pt idx="14414">
                  <c:v>142812</c:v>
                </c:pt>
                <c:pt idx="14415">
                  <c:v>142808</c:v>
                </c:pt>
                <c:pt idx="14416">
                  <c:v>142801</c:v>
                </c:pt>
                <c:pt idx="14417">
                  <c:v>142798</c:v>
                </c:pt>
                <c:pt idx="14418">
                  <c:v>142795</c:v>
                </c:pt>
                <c:pt idx="14419">
                  <c:v>142792</c:v>
                </c:pt>
                <c:pt idx="14420">
                  <c:v>142784</c:v>
                </c:pt>
                <c:pt idx="14421">
                  <c:v>142772</c:v>
                </c:pt>
                <c:pt idx="14422">
                  <c:v>142767</c:v>
                </c:pt>
                <c:pt idx="14423">
                  <c:v>142761</c:v>
                </c:pt>
                <c:pt idx="14424">
                  <c:v>142751</c:v>
                </c:pt>
                <c:pt idx="14425">
                  <c:v>142748</c:v>
                </c:pt>
                <c:pt idx="14426">
                  <c:v>142740</c:v>
                </c:pt>
                <c:pt idx="14427">
                  <c:v>142722</c:v>
                </c:pt>
                <c:pt idx="14428">
                  <c:v>142722</c:v>
                </c:pt>
                <c:pt idx="14429">
                  <c:v>142720</c:v>
                </c:pt>
                <c:pt idx="14430">
                  <c:v>142720</c:v>
                </c:pt>
                <c:pt idx="14431">
                  <c:v>142715</c:v>
                </c:pt>
                <c:pt idx="14432">
                  <c:v>142706</c:v>
                </c:pt>
                <c:pt idx="14433">
                  <c:v>142706</c:v>
                </c:pt>
                <c:pt idx="14434">
                  <c:v>142704</c:v>
                </c:pt>
                <c:pt idx="14435">
                  <c:v>142686</c:v>
                </c:pt>
                <c:pt idx="14436">
                  <c:v>142682</c:v>
                </c:pt>
                <c:pt idx="14437">
                  <c:v>142679</c:v>
                </c:pt>
                <c:pt idx="14438">
                  <c:v>142667</c:v>
                </c:pt>
                <c:pt idx="14439">
                  <c:v>142665</c:v>
                </c:pt>
                <c:pt idx="14440">
                  <c:v>142662</c:v>
                </c:pt>
                <c:pt idx="14441">
                  <c:v>142659</c:v>
                </c:pt>
                <c:pt idx="14442">
                  <c:v>142654</c:v>
                </c:pt>
                <c:pt idx="14443">
                  <c:v>142653</c:v>
                </c:pt>
                <c:pt idx="14444">
                  <c:v>142652</c:v>
                </c:pt>
                <c:pt idx="14445">
                  <c:v>142639</c:v>
                </c:pt>
                <c:pt idx="14446">
                  <c:v>142634</c:v>
                </c:pt>
                <c:pt idx="14447">
                  <c:v>142628</c:v>
                </c:pt>
                <c:pt idx="14448">
                  <c:v>142627</c:v>
                </c:pt>
                <c:pt idx="14449">
                  <c:v>142625</c:v>
                </c:pt>
                <c:pt idx="14450">
                  <c:v>142617</c:v>
                </c:pt>
                <c:pt idx="14451">
                  <c:v>142613</c:v>
                </c:pt>
                <c:pt idx="14452">
                  <c:v>142610</c:v>
                </c:pt>
                <c:pt idx="14453">
                  <c:v>142610</c:v>
                </c:pt>
                <c:pt idx="14454">
                  <c:v>142602</c:v>
                </c:pt>
                <c:pt idx="14455">
                  <c:v>142600</c:v>
                </c:pt>
                <c:pt idx="14456">
                  <c:v>142586</c:v>
                </c:pt>
                <c:pt idx="14457">
                  <c:v>142584</c:v>
                </c:pt>
                <c:pt idx="14458">
                  <c:v>142563</c:v>
                </c:pt>
                <c:pt idx="14459">
                  <c:v>142562</c:v>
                </c:pt>
                <c:pt idx="14460">
                  <c:v>142559</c:v>
                </c:pt>
                <c:pt idx="14461">
                  <c:v>142557</c:v>
                </c:pt>
                <c:pt idx="14462">
                  <c:v>142557</c:v>
                </c:pt>
                <c:pt idx="14463">
                  <c:v>142549</c:v>
                </c:pt>
                <c:pt idx="14464">
                  <c:v>142548</c:v>
                </c:pt>
                <c:pt idx="14465">
                  <c:v>142537</c:v>
                </c:pt>
                <c:pt idx="14466">
                  <c:v>142531</c:v>
                </c:pt>
                <c:pt idx="14467">
                  <c:v>142530</c:v>
                </c:pt>
                <c:pt idx="14468">
                  <c:v>142522</c:v>
                </c:pt>
                <c:pt idx="14469">
                  <c:v>142519</c:v>
                </c:pt>
                <c:pt idx="14470">
                  <c:v>142511</c:v>
                </c:pt>
                <c:pt idx="14471">
                  <c:v>142505</c:v>
                </c:pt>
                <c:pt idx="14472">
                  <c:v>142505</c:v>
                </c:pt>
                <c:pt idx="14473">
                  <c:v>142502</c:v>
                </c:pt>
                <c:pt idx="14474">
                  <c:v>142492</c:v>
                </c:pt>
                <c:pt idx="14475">
                  <c:v>142485</c:v>
                </c:pt>
                <c:pt idx="14476">
                  <c:v>142484</c:v>
                </c:pt>
                <c:pt idx="14477">
                  <c:v>142465</c:v>
                </c:pt>
                <c:pt idx="14478">
                  <c:v>142462</c:v>
                </c:pt>
                <c:pt idx="14479">
                  <c:v>142456</c:v>
                </c:pt>
                <c:pt idx="14480">
                  <c:v>142455</c:v>
                </c:pt>
                <c:pt idx="14481">
                  <c:v>142452</c:v>
                </c:pt>
                <c:pt idx="14482">
                  <c:v>142448</c:v>
                </c:pt>
                <c:pt idx="14483">
                  <c:v>142432</c:v>
                </c:pt>
                <c:pt idx="14484">
                  <c:v>142431</c:v>
                </c:pt>
                <c:pt idx="14485">
                  <c:v>142423</c:v>
                </c:pt>
                <c:pt idx="14486">
                  <c:v>142416</c:v>
                </c:pt>
                <c:pt idx="14487">
                  <c:v>142415</c:v>
                </c:pt>
                <c:pt idx="14488">
                  <c:v>142410</c:v>
                </c:pt>
                <c:pt idx="14489">
                  <c:v>142404</c:v>
                </c:pt>
                <c:pt idx="14490">
                  <c:v>142400</c:v>
                </c:pt>
                <c:pt idx="14491">
                  <c:v>142398</c:v>
                </c:pt>
                <c:pt idx="14492">
                  <c:v>142393</c:v>
                </c:pt>
                <c:pt idx="14493">
                  <c:v>142389</c:v>
                </c:pt>
                <c:pt idx="14494">
                  <c:v>142385</c:v>
                </c:pt>
                <c:pt idx="14495">
                  <c:v>142382</c:v>
                </c:pt>
                <c:pt idx="14496">
                  <c:v>142373</c:v>
                </c:pt>
                <c:pt idx="14497">
                  <c:v>142366</c:v>
                </c:pt>
                <c:pt idx="14498">
                  <c:v>142365</c:v>
                </c:pt>
                <c:pt idx="14499">
                  <c:v>142362</c:v>
                </c:pt>
                <c:pt idx="14500">
                  <c:v>142359</c:v>
                </c:pt>
                <c:pt idx="14501">
                  <c:v>142357</c:v>
                </c:pt>
                <c:pt idx="14502">
                  <c:v>142354</c:v>
                </c:pt>
                <c:pt idx="14503">
                  <c:v>142353</c:v>
                </c:pt>
                <c:pt idx="14504">
                  <c:v>142341</c:v>
                </c:pt>
                <c:pt idx="14505">
                  <c:v>142341</c:v>
                </c:pt>
                <c:pt idx="14506">
                  <c:v>142338</c:v>
                </c:pt>
                <c:pt idx="14507">
                  <c:v>142337</c:v>
                </c:pt>
                <c:pt idx="14508">
                  <c:v>142337</c:v>
                </c:pt>
                <c:pt idx="14509">
                  <c:v>142320</c:v>
                </c:pt>
                <c:pt idx="14510">
                  <c:v>142311</c:v>
                </c:pt>
                <c:pt idx="14511">
                  <c:v>142298</c:v>
                </c:pt>
                <c:pt idx="14512">
                  <c:v>142297</c:v>
                </c:pt>
                <c:pt idx="14513">
                  <c:v>142290</c:v>
                </c:pt>
                <c:pt idx="14514">
                  <c:v>142288</c:v>
                </c:pt>
                <c:pt idx="14515">
                  <c:v>142286</c:v>
                </c:pt>
                <c:pt idx="14516">
                  <c:v>142272</c:v>
                </c:pt>
                <c:pt idx="14517">
                  <c:v>142272</c:v>
                </c:pt>
                <c:pt idx="14518">
                  <c:v>142255</c:v>
                </c:pt>
                <c:pt idx="14519">
                  <c:v>142252</c:v>
                </c:pt>
                <c:pt idx="14520">
                  <c:v>142251</c:v>
                </c:pt>
                <c:pt idx="14521">
                  <c:v>142246</c:v>
                </c:pt>
                <c:pt idx="14522">
                  <c:v>142245</c:v>
                </c:pt>
                <c:pt idx="14523">
                  <c:v>142244</c:v>
                </c:pt>
                <c:pt idx="14524">
                  <c:v>142244</c:v>
                </c:pt>
                <c:pt idx="14525">
                  <c:v>142243</c:v>
                </c:pt>
                <c:pt idx="14526">
                  <c:v>142237</c:v>
                </c:pt>
                <c:pt idx="14527">
                  <c:v>142215</c:v>
                </c:pt>
                <c:pt idx="14528">
                  <c:v>142202</c:v>
                </c:pt>
                <c:pt idx="14529">
                  <c:v>142196</c:v>
                </c:pt>
                <c:pt idx="14530">
                  <c:v>142195</c:v>
                </c:pt>
                <c:pt idx="14531">
                  <c:v>142195</c:v>
                </c:pt>
                <c:pt idx="14532">
                  <c:v>142193</c:v>
                </c:pt>
                <c:pt idx="14533">
                  <c:v>142193</c:v>
                </c:pt>
                <c:pt idx="14534">
                  <c:v>142192</c:v>
                </c:pt>
                <c:pt idx="14535">
                  <c:v>142178</c:v>
                </c:pt>
                <c:pt idx="14536">
                  <c:v>142175</c:v>
                </c:pt>
                <c:pt idx="14537">
                  <c:v>142171</c:v>
                </c:pt>
                <c:pt idx="14538">
                  <c:v>142164</c:v>
                </c:pt>
                <c:pt idx="14539">
                  <c:v>142164</c:v>
                </c:pt>
                <c:pt idx="14540">
                  <c:v>142162</c:v>
                </c:pt>
                <c:pt idx="14541">
                  <c:v>142160</c:v>
                </c:pt>
                <c:pt idx="14542">
                  <c:v>142154</c:v>
                </c:pt>
                <c:pt idx="14543">
                  <c:v>142150</c:v>
                </c:pt>
                <c:pt idx="14544">
                  <c:v>142150</c:v>
                </c:pt>
                <c:pt idx="14545">
                  <c:v>142147</c:v>
                </c:pt>
                <c:pt idx="14546">
                  <c:v>142141</c:v>
                </c:pt>
                <c:pt idx="14547">
                  <c:v>142128</c:v>
                </c:pt>
                <c:pt idx="14548">
                  <c:v>142119</c:v>
                </c:pt>
                <c:pt idx="14549">
                  <c:v>142115</c:v>
                </c:pt>
                <c:pt idx="14550">
                  <c:v>142112</c:v>
                </c:pt>
                <c:pt idx="14551">
                  <c:v>142107</c:v>
                </c:pt>
                <c:pt idx="14552">
                  <c:v>142102</c:v>
                </c:pt>
                <c:pt idx="14553">
                  <c:v>142102</c:v>
                </c:pt>
                <c:pt idx="14554">
                  <c:v>142096</c:v>
                </c:pt>
                <c:pt idx="14555">
                  <c:v>142094</c:v>
                </c:pt>
                <c:pt idx="14556">
                  <c:v>142093</c:v>
                </c:pt>
                <c:pt idx="14557">
                  <c:v>142085</c:v>
                </c:pt>
                <c:pt idx="14558">
                  <c:v>142078</c:v>
                </c:pt>
                <c:pt idx="14559">
                  <c:v>142076</c:v>
                </c:pt>
                <c:pt idx="14560">
                  <c:v>142075</c:v>
                </c:pt>
                <c:pt idx="14561">
                  <c:v>142061</c:v>
                </c:pt>
                <c:pt idx="14562">
                  <c:v>142058</c:v>
                </c:pt>
                <c:pt idx="14563">
                  <c:v>142051</c:v>
                </c:pt>
                <c:pt idx="14564">
                  <c:v>142048</c:v>
                </c:pt>
                <c:pt idx="14565">
                  <c:v>142047</c:v>
                </c:pt>
                <c:pt idx="14566">
                  <c:v>142043</c:v>
                </c:pt>
                <c:pt idx="14567">
                  <c:v>142039</c:v>
                </c:pt>
                <c:pt idx="14568">
                  <c:v>142033</c:v>
                </c:pt>
                <c:pt idx="14569">
                  <c:v>142019</c:v>
                </c:pt>
                <c:pt idx="14570">
                  <c:v>142007</c:v>
                </c:pt>
                <c:pt idx="14571">
                  <c:v>142007</c:v>
                </c:pt>
                <c:pt idx="14572">
                  <c:v>142007</c:v>
                </c:pt>
                <c:pt idx="14573">
                  <c:v>142006</c:v>
                </c:pt>
                <c:pt idx="14574">
                  <c:v>142005</c:v>
                </c:pt>
                <c:pt idx="14575">
                  <c:v>142004</c:v>
                </c:pt>
                <c:pt idx="14576">
                  <c:v>141997</c:v>
                </c:pt>
                <c:pt idx="14577">
                  <c:v>141989</c:v>
                </c:pt>
                <c:pt idx="14578">
                  <c:v>141977</c:v>
                </c:pt>
                <c:pt idx="14579">
                  <c:v>141973</c:v>
                </c:pt>
                <c:pt idx="14580">
                  <c:v>141967</c:v>
                </c:pt>
                <c:pt idx="14581">
                  <c:v>141964</c:v>
                </c:pt>
                <c:pt idx="14582">
                  <c:v>141958</c:v>
                </c:pt>
                <c:pt idx="14583">
                  <c:v>141956</c:v>
                </c:pt>
                <c:pt idx="14584">
                  <c:v>141955</c:v>
                </c:pt>
                <c:pt idx="14585">
                  <c:v>141950</c:v>
                </c:pt>
                <c:pt idx="14586">
                  <c:v>141942</c:v>
                </c:pt>
                <c:pt idx="14587">
                  <c:v>141930</c:v>
                </c:pt>
                <c:pt idx="14588">
                  <c:v>141926</c:v>
                </c:pt>
                <c:pt idx="14589">
                  <c:v>141915</c:v>
                </c:pt>
                <c:pt idx="14590">
                  <c:v>141914</c:v>
                </c:pt>
                <c:pt idx="14591">
                  <c:v>141909</c:v>
                </c:pt>
                <c:pt idx="14592">
                  <c:v>141906</c:v>
                </c:pt>
                <c:pt idx="14593">
                  <c:v>141901</c:v>
                </c:pt>
                <c:pt idx="14594">
                  <c:v>141894</c:v>
                </c:pt>
                <c:pt idx="14595">
                  <c:v>141885</c:v>
                </c:pt>
                <c:pt idx="14596">
                  <c:v>141885</c:v>
                </c:pt>
                <c:pt idx="14597">
                  <c:v>141874</c:v>
                </c:pt>
                <c:pt idx="14598">
                  <c:v>141869</c:v>
                </c:pt>
                <c:pt idx="14599">
                  <c:v>141868</c:v>
                </c:pt>
                <c:pt idx="14600">
                  <c:v>141862</c:v>
                </c:pt>
                <c:pt idx="14601">
                  <c:v>141861</c:v>
                </c:pt>
                <c:pt idx="14602">
                  <c:v>141861</c:v>
                </c:pt>
                <c:pt idx="14603">
                  <c:v>141859</c:v>
                </c:pt>
                <c:pt idx="14604">
                  <c:v>141856</c:v>
                </c:pt>
                <c:pt idx="14605">
                  <c:v>141850</c:v>
                </c:pt>
                <c:pt idx="14606">
                  <c:v>141848</c:v>
                </c:pt>
                <c:pt idx="14607">
                  <c:v>141845</c:v>
                </c:pt>
                <c:pt idx="14608">
                  <c:v>141844</c:v>
                </c:pt>
                <c:pt idx="14609">
                  <c:v>141843</c:v>
                </c:pt>
                <c:pt idx="14610">
                  <c:v>141830</c:v>
                </c:pt>
                <c:pt idx="14611">
                  <c:v>141828</c:v>
                </c:pt>
                <c:pt idx="14612">
                  <c:v>141818</c:v>
                </c:pt>
                <c:pt idx="14613">
                  <c:v>141812</c:v>
                </c:pt>
                <c:pt idx="14614">
                  <c:v>141808</c:v>
                </c:pt>
                <c:pt idx="14615">
                  <c:v>141802</c:v>
                </c:pt>
                <c:pt idx="14616">
                  <c:v>141800</c:v>
                </c:pt>
                <c:pt idx="14617">
                  <c:v>141794</c:v>
                </c:pt>
                <c:pt idx="14618">
                  <c:v>141792</c:v>
                </c:pt>
                <c:pt idx="14619">
                  <c:v>141775</c:v>
                </c:pt>
                <c:pt idx="14620">
                  <c:v>141774</c:v>
                </c:pt>
                <c:pt idx="14621">
                  <c:v>141774</c:v>
                </c:pt>
                <c:pt idx="14622">
                  <c:v>141774</c:v>
                </c:pt>
                <c:pt idx="14623">
                  <c:v>141771</c:v>
                </c:pt>
                <c:pt idx="14624">
                  <c:v>141757</c:v>
                </c:pt>
                <c:pt idx="14625">
                  <c:v>141756</c:v>
                </c:pt>
                <c:pt idx="14626">
                  <c:v>141748</c:v>
                </c:pt>
                <c:pt idx="14627">
                  <c:v>141742</c:v>
                </c:pt>
                <c:pt idx="14628">
                  <c:v>141741</c:v>
                </c:pt>
                <c:pt idx="14629">
                  <c:v>141740</c:v>
                </c:pt>
                <c:pt idx="14630">
                  <c:v>141739</c:v>
                </c:pt>
                <c:pt idx="14631">
                  <c:v>141726</c:v>
                </c:pt>
                <c:pt idx="14632">
                  <c:v>141725</c:v>
                </c:pt>
                <c:pt idx="14633">
                  <c:v>141725</c:v>
                </c:pt>
                <c:pt idx="14634">
                  <c:v>141725</c:v>
                </c:pt>
                <c:pt idx="14635">
                  <c:v>141721</c:v>
                </c:pt>
                <c:pt idx="14636">
                  <c:v>141721</c:v>
                </c:pt>
                <c:pt idx="14637">
                  <c:v>141720</c:v>
                </c:pt>
                <c:pt idx="14638">
                  <c:v>141720</c:v>
                </c:pt>
                <c:pt idx="14639">
                  <c:v>141716</c:v>
                </c:pt>
                <c:pt idx="14640">
                  <c:v>141704</c:v>
                </c:pt>
                <c:pt idx="14641">
                  <c:v>141702</c:v>
                </c:pt>
                <c:pt idx="14642">
                  <c:v>141701</c:v>
                </c:pt>
                <c:pt idx="14643">
                  <c:v>141696</c:v>
                </c:pt>
                <c:pt idx="14644">
                  <c:v>141696</c:v>
                </c:pt>
                <c:pt idx="14645">
                  <c:v>141694</c:v>
                </c:pt>
                <c:pt idx="14646">
                  <c:v>141692</c:v>
                </c:pt>
                <c:pt idx="14647">
                  <c:v>141680</c:v>
                </c:pt>
                <c:pt idx="14648">
                  <c:v>141679</c:v>
                </c:pt>
                <c:pt idx="14649">
                  <c:v>141673</c:v>
                </c:pt>
                <c:pt idx="14650">
                  <c:v>141667</c:v>
                </c:pt>
                <c:pt idx="14651">
                  <c:v>141659</c:v>
                </c:pt>
                <c:pt idx="14652">
                  <c:v>141655</c:v>
                </c:pt>
                <c:pt idx="14653">
                  <c:v>141655</c:v>
                </c:pt>
                <c:pt idx="14654">
                  <c:v>141650</c:v>
                </c:pt>
                <c:pt idx="14655">
                  <c:v>141646</c:v>
                </c:pt>
                <c:pt idx="14656">
                  <c:v>141645</c:v>
                </c:pt>
                <c:pt idx="14657">
                  <c:v>141642</c:v>
                </c:pt>
                <c:pt idx="14658">
                  <c:v>141642</c:v>
                </c:pt>
                <c:pt idx="14659">
                  <c:v>141642</c:v>
                </c:pt>
                <c:pt idx="14660">
                  <c:v>141641</c:v>
                </c:pt>
                <c:pt idx="14661">
                  <c:v>141634</c:v>
                </c:pt>
                <c:pt idx="14662">
                  <c:v>141633</c:v>
                </c:pt>
                <c:pt idx="14663">
                  <c:v>141633</c:v>
                </c:pt>
                <c:pt idx="14664">
                  <c:v>141622</c:v>
                </c:pt>
                <c:pt idx="14665">
                  <c:v>141618</c:v>
                </c:pt>
                <c:pt idx="14666">
                  <c:v>141618</c:v>
                </c:pt>
                <c:pt idx="14667">
                  <c:v>141616</c:v>
                </c:pt>
                <c:pt idx="14668">
                  <c:v>141607</c:v>
                </c:pt>
                <c:pt idx="14669">
                  <c:v>141605</c:v>
                </c:pt>
                <c:pt idx="14670">
                  <c:v>141591</c:v>
                </c:pt>
                <c:pt idx="14671">
                  <c:v>141589</c:v>
                </c:pt>
                <c:pt idx="14672">
                  <c:v>141588</c:v>
                </c:pt>
                <c:pt idx="14673">
                  <c:v>141587</c:v>
                </c:pt>
                <c:pt idx="14674">
                  <c:v>141584</c:v>
                </c:pt>
                <c:pt idx="14675">
                  <c:v>141567</c:v>
                </c:pt>
                <c:pt idx="14676">
                  <c:v>141559</c:v>
                </c:pt>
                <c:pt idx="14677">
                  <c:v>141559</c:v>
                </c:pt>
                <c:pt idx="14678">
                  <c:v>141557</c:v>
                </c:pt>
                <c:pt idx="14679">
                  <c:v>141555</c:v>
                </c:pt>
                <c:pt idx="14680">
                  <c:v>141555</c:v>
                </c:pt>
                <c:pt idx="14681">
                  <c:v>141545</c:v>
                </c:pt>
                <c:pt idx="14682">
                  <c:v>141537</c:v>
                </c:pt>
                <c:pt idx="14683">
                  <c:v>141533</c:v>
                </c:pt>
                <c:pt idx="14684">
                  <c:v>141523</c:v>
                </c:pt>
                <c:pt idx="14685">
                  <c:v>141512</c:v>
                </c:pt>
                <c:pt idx="14686">
                  <c:v>141508</c:v>
                </c:pt>
                <c:pt idx="14687">
                  <c:v>141497</c:v>
                </c:pt>
                <c:pt idx="14688">
                  <c:v>141487</c:v>
                </c:pt>
                <c:pt idx="14689">
                  <c:v>141481</c:v>
                </c:pt>
                <c:pt idx="14690">
                  <c:v>141480</c:v>
                </c:pt>
                <c:pt idx="14691">
                  <c:v>141477</c:v>
                </c:pt>
                <c:pt idx="14692">
                  <c:v>141468</c:v>
                </c:pt>
                <c:pt idx="14693">
                  <c:v>141456</c:v>
                </c:pt>
                <c:pt idx="14694">
                  <c:v>141456</c:v>
                </c:pt>
                <c:pt idx="14695">
                  <c:v>141450</c:v>
                </c:pt>
                <c:pt idx="14696">
                  <c:v>141450</c:v>
                </c:pt>
                <c:pt idx="14697">
                  <c:v>141448</c:v>
                </c:pt>
                <c:pt idx="14698">
                  <c:v>141446</c:v>
                </c:pt>
                <c:pt idx="14699">
                  <c:v>141444</c:v>
                </c:pt>
                <c:pt idx="14700">
                  <c:v>141441</c:v>
                </c:pt>
                <c:pt idx="14701">
                  <c:v>141440</c:v>
                </c:pt>
                <c:pt idx="14702">
                  <c:v>141433</c:v>
                </c:pt>
                <c:pt idx="14703">
                  <c:v>141427</c:v>
                </c:pt>
                <c:pt idx="14704">
                  <c:v>141422</c:v>
                </c:pt>
                <c:pt idx="14705">
                  <c:v>141422</c:v>
                </c:pt>
                <c:pt idx="14706">
                  <c:v>141415</c:v>
                </c:pt>
                <c:pt idx="14707">
                  <c:v>141402</c:v>
                </c:pt>
                <c:pt idx="14708">
                  <c:v>141394</c:v>
                </c:pt>
                <c:pt idx="14709">
                  <c:v>141388</c:v>
                </c:pt>
                <c:pt idx="14710">
                  <c:v>141385</c:v>
                </c:pt>
                <c:pt idx="14711">
                  <c:v>141383</c:v>
                </c:pt>
                <c:pt idx="14712">
                  <c:v>141373</c:v>
                </c:pt>
                <c:pt idx="14713">
                  <c:v>141359</c:v>
                </c:pt>
                <c:pt idx="14714">
                  <c:v>141355</c:v>
                </c:pt>
                <c:pt idx="14715">
                  <c:v>141348</c:v>
                </c:pt>
                <c:pt idx="14716">
                  <c:v>141348</c:v>
                </c:pt>
                <c:pt idx="14717">
                  <c:v>141345</c:v>
                </c:pt>
                <c:pt idx="14718">
                  <c:v>141342</c:v>
                </c:pt>
                <c:pt idx="14719">
                  <c:v>141342</c:v>
                </c:pt>
                <c:pt idx="14720">
                  <c:v>141339</c:v>
                </c:pt>
                <c:pt idx="14721">
                  <c:v>141337</c:v>
                </c:pt>
                <c:pt idx="14722">
                  <c:v>141334</c:v>
                </c:pt>
                <c:pt idx="14723">
                  <c:v>141322</c:v>
                </c:pt>
                <c:pt idx="14724">
                  <c:v>141317</c:v>
                </c:pt>
                <c:pt idx="14725">
                  <c:v>141316</c:v>
                </c:pt>
                <c:pt idx="14726">
                  <c:v>141296</c:v>
                </c:pt>
                <c:pt idx="14727">
                  <c:v>141296</c:v>
                </c:pt>
                <c:pt idx="14728">
                  <c:v>141288</c:v>
                </c:pt>
                <c:pt idx="14729">
                  <c:v>141284</c:v>
                </c:pt>
                <c:pt idx="14730">
                  <c:v>141281</c:v>
                </c:pt>
                <c:pt idx="14731">
                  <c:v>141277</c:v>
                </c:pt>
                <c:pt idx="14732">
                  <c:v>141266</c:v>
                </c:pt>
                <c:pt idx="14733">
                  <c:v>141264</c:v>
                </c:pt>
                <c:pt idx="14734">
                  <c:v>141258</c:v>
                </c:pt>
                <c:pt idx="14735">
                  <c:v>141254</c:v>
                </c:pt>
                <c:pt idx="14736">
                  <c:v>141253</c:v>
                </c:pt>
                <c:pt idx="14737">
                  <c:v>141250</c:v>
                </c:pt>
                <c:pt idx="14738">
                  <c:v>141247</c:v>
                </c:pt>
                <c:pt idx="14739">
                  <c:v>141243</c:v>
                </c:pt>
                <c:pt idx="14740">
                  <c:v>141239</c:v>
                </c:pt>
                <c:pt idx="14741">
                  <c:v>141238</c:v>
                </c:pt>
                <c:pt idx="14742">
                  <c:v>141238</c:v>
                </c:pt>
                <c:pt idx="14743">
                  <c:v>141233</c:v>
                </c:pt>
                <c:pt idx="14744">
                  <c:v>141223</c:v>
                </c:pt>
                <c:pt idx="14745">
                  <c:v>141223</c:v>
                </c:pt>
                <c:pt idx="14746">
                  <c:v>141220</c:v>
                </c:pt>
                <c:pt idx="14747">
                  <c:v>141211</c:v>
                </c:pt>
                <c:pt idx="14748">
                  <c:v>141200</c:v>
                </c:pt>
                <c:pt idx="14749">
                  <c:v>141199</c:v>
                </c:pt>
                <c:pt idx="14750">
                  <c:v>141191</c:v>
                </c:pt>
                <c:pt idx="14751">
                  <c:v>141185</c:v>
                </c:pt>
                <c:pt idx="14752">
                  <c:v>141185</c:v>
                </c:pt>
                <c:pt idx="14753">
                  <c:v>141168</c:v>
                </c:pt>
                <c:pt idx="14754">
                  <c:v>141165</c:v>
                </c:pt>
                <c:pt idx="14755">
                  <c:v>141165</c:v>
                </c:pt>
                <c:pt idx="14756">
                  <c:v>141163</c:v>
                </c:pt>
                <c:pt idx="14757">
                  <c:v>141149</c:v>
                </c:pt>
                <c:pt idx="14758">
                  <c:v>141128</c:v>
                </c:pt>
                <c:pt idx="14759">
                  <c:v>141123</c:v>
                </c:pt>
                <c:pt idx="14760">
                  <c:v>141082</c:v>
                </c:pt>
                <c:pt idx="14761">
                  <c:v>141082</c:v>
                </c:pt>
                <c:pt idx="14762">
                  <c:v>141076</c:v>
                </c:pt>
                <c:pt idx="14763">
                  <c:v>141076</c:v>
                </c:pt>
                <c:pt idx="14764">
                  <c:v>141059</c:v>
                </c:pt>
                <c:pt idx="14765">
                  <c:v>141050</c:v>
                </c:pt>
                <c:pt idx="14766">
                  <c:v>141049</c:v>
                </c:pt>
                <c:pt idx="14767">
                  <c:v>141048</c:v>
                </c:pt>
                <c:pt idx="14768">
                  <c:v>141047</c:v>
                </c:pt>
                <c:pt idx="14769">
                  <c:v>141047</c:v>
                </c:pt>
                <c:pt idx="14770">
                  <c:v>141047</c:v>
                </c:pt>
                <c:pt idx="14771">
                  <c:v>141042</c:v>
                </c:pt>
                <c:pt idx="14772">
                  <c:v>141041</c:v>
                </c:pt>
                <c:pt idx="14773">
                  <c:v>141025</c:v>
                </c:pt>
                <c:pt idx="14774">
                  <c:v>141025</c:v>
                </c:pt>
                <c:pt idx="14775">
                  <c:v>141022</c:v>
                </c:pt>
                <c:pt idx="14776">
                  <c:v>141013</c:v>
                </c:pt>
                <c:pt idx="14777">
                  <c:v>141006</c:v>
                </c:pt>
                <c:pt idx="14778">
                  <c:v>140994</c:v>
                </c:pt>
                <c:pt idx="14779">
                  <c:v>140991</c:v>
                </c:pt>
                <c:pt idx="14780">
                  <c:v>140985</c:v>
                </c:pt>
                <c:pt idx="14781">
                  <c:v>140984</c:v>
                </c:pt>
                <c:pt idx="14782">
                  <c:v>140982</c:v>
                </c:pt>
                <c:pt idx="14783">
                  <c:v>140978</c:v>
                </c:pt>
                <c:pt idx="14784">
                  <c:v>140973</c:v>
                </c:pt>
                <c:pt idx="14785">
                  <c:v>140972</c:v>
                </c:pt>
                <c:pt idx="14786">
                  <c:v>140965</c:v>
                </c:pt>
                <c:pt idx="14787">
                  <c:v>140957</c:v>
                </c:pt>
                <c:pt idx="14788">
                  <c:v>140950</c:v>
                </c:pt>
                <c:pt idx="14789">
                  <c:v>140941</c:v>
                </c:pt>
                <c:pt idx="14790">
                  <c:v>140935</c:v>
                </c:pt>
                <c:pt idx="14791">
                  <c:v>140934</c:v>
                </c:pt>
                <c:pt idx="14792">
                  <c:v>140934</c:v>
                </c:pt>
                <c:pt idx="14793">
                  <c:v>140931</c:v>
                </c:pt>
                <c:pt idx="14794">
                  <c:v>140927</c:v>
                </c:pt>
                <c:pt idx="14795">
                  <c:v>140925</c:v>
                </c:pt>
                <c:pt idx="14796">
                  <c:v>140923</c:v>
                </c:pt>
                <c:pt idx="14797">
                  <c:v>140914</c:v>
                </c:pt>
                <c:pt idx="14798">
                  <c:v>140912</c:v>
                </c:pt>
                <c:pt idx="14799">
                  <c:v>140911</c:v>
                </c:pt>
                <c:pt idx="14800">
                  <c:v>140896</c:v>
                </c:pt>
                <c:pt idx="14801">
                  <c:v>140892</c:v>
                </c:pt>
                <c:pt idx="14802">
                  <c:v>140889</c:v>
                </c:pt>
                <c:pt idx="14803">
                  <c:v>140879</c:v>
                </c:pt>
                <c:pt idx="14804">
                  <c:v>140879</c:v>
                </c:pt>
                <c:pt idx="14805">
                  <c:v>140878</c:v>
                </c:pt>
                <c:pt idx="14806">
                  <c:v>140878</c:v>
                </c:pt>
                <c:pt idx="14807">
                  <c:v>140872</c:v>
                </c:pt>
                <c:pt idx="14808">
                  <c:v>140871</c:v>
                </c:pt>
                <c:pt idx="14809">
                  <c:v>140866</c:v>
                </c:pt>
                <c:pt idx="14810">
                  <c:v>140857</c:v>
                </c:pt>
                <c:pt idx="14811">
                  <c:v>140850</c:v>
                </c:pt>
                <c:pt idx="14812">
                  <c:v>140840</c:v>
                </c:pt>
                <c:pt idx="14813">
                  <c:v>140839</c:v>
                </c:pt>
                <c:pt idx="14814">
                  <c:v>140834</c:v>
                </c:pt>
                <c:pt idx="14815">
                  <c:v>140834</c:v>
                </c:pt>
                <c:pt idx="14816">
                  <c:v>140827</c:v>
                </c:pt>
                <c:pt idx="14817">
                  <c:v>140824</c:v>
                </c:pt>
                <c:pt idx="14818">
                  <c:v>140820</c:v>
                </c:pt>
                <c:pt idx="14819">
                  <c:v>140788</c:v>
                </c:pt>
                <c:pt idx="14820">
                  <c:v>140780</c:v>
                </c:pt>
                <c:pt idx="14821">
                  <c:v>140777</c:v>
                </c:pt>
                <c:pt idx="14822">
                  <c:v>140777</c:v>
                </c:pt>
                <c:pt idx="14823">
                  <c:v>140767</c:v>
                </c:pt>
                <c:pt idx="14824">
                  <c:v>140766</c:v>
                </c:pt>
                <c:pt idx="14825">
                  <c:v>140759</c:v>
                </c:pt>
                <c:pt idx="14826">
                  <c:v>140758</c:v>
                </c:pt>
                <c:pt idx="14827">
                  <c:v>140739</c:v>
                </c:pt>
                <c:pt idx="14828">
                  <c:v>140739</c:v>
                </c:pt>
                <c:pt idx="14829">
                  <c:v>140737</c:v>
                </c:pt>
                <c:pt idx="14830">
                  <c:v>140733</c:v>
                </c:pt>
                <c:pt idx="14831">
                  <c:v>140727</c:v>
                </c:pt>
                <c:pt idx="14832">
                  <c:v>140719</c:v>
                </c:pt>
                <c:pt idx="14833">
                  <c:v>140718</c:v>
                </c:pt>
                <c:pt idx="14834">
                  <c:v>140709</c:v>
                </c:pt>
                <c:pt idx="14835">
                  <c:v>140697</c:v>
                </c:pt>
                <c:pt idx="14836">
                  <c:v>140697</c:v>
                </c:pt>
                <c:pt idx="14837">
                  <c:v>140689</c:v>
                </c:pt>
                <c:pt idx="14838">
                  <c:v>140689</c:v>
                </c:pt>
                <c:pt idx="14839">
                  <c:v>140687</c:v>
                </c:pt>
                <c:pt idx="14840">
                  <c:v>140662</c:v>
                </c:pt>
                <c:pt idx="14841">
                  <c:v>140660</c:v>
                </c:pt>
                <c:pt idx="14842">
                  <c:v>140652</c:v>
                </c:pt>
                <c:pt idx="14843">
                  <c:v>140652</c:v>
                </c:pt>
                <c:pt idx="14844">
                  <c:v>140648</c:v>
                </c:pt>
                <c:pt idx="14845">
                  <c:v>140647</c:v>
                </c:pt>
                <c:pt idx="14846">
                  <c:v>140644</c:v>
                </c:pt>
                <c:pt idx="14847">
                  <c:v>140634</c:v>
                </c:pt>
                <c:pt idx="14848">
                  <c:v>140633</c:v>
                </c:pt>
                <c:pt idx="14849">
                  <c:v>140624</c:v>
                </c:pt>
                <c:pt idx="14850">
                  <c:v>140623</c:v>
                </c:pt>
                <c:pt idx="14851">
                  <c:v>140620</c:v>
                </c:pt>
                <c:pt idx="14852">
                  <c:v>140610</c:v>
                </c:pt>
                <c:pt idx="14853">
                  <c:v>140595</c:v>
                </c:pt>
                <c:pt idx="14854">
                  <c:v>140595</c:v>
                </c:pt>
                <c:pt idx="14855">
                  <c:v>140594</c:v>
                </c:pt>
                <c:pt idx="14856">
                  <c:v>140588</c:v>
                </c:pt>
                <c:pt idx="14857">
                  <c:v>140588</c:v>
                </c:pt>
                <c:pt idx="14858">
                  <c:v>140584</c:v>
                </c:pt>
                <c:pt idx="14859">
                  <c:v>140580</c:v>
                </c:pt>
                <c:pt idx="14860">
                  <c:v>140575</c:v>
                </c:pt>
                <c:pt idx="14861">
                  <c:v>140573</c:v>
                </c:pt>
                <c:pt idx="14862">
                  <c:v>140570</c:v>
                </c:pt>
                <c:pt idx="14863">
                  <c:v>140569</c:v>
                </c:pt>
                <c:pt idx="14864">
                  <c:v>140560</c:v>
                </c:pt>
                <c:pt idx="14865">
                  <c:v>140555</c:v>
                </c:pt>
                <c:pt idx="14866">
                  <c:v>140548</c:v>
                </c:pt>
                <c:pt idx="14867">
                  <c:v>140546</c:v>
                </c:pt>
                <c:pt idx="14868">
                  <c:v>140541</c:v>
                </c:pt>
                <c:pt idx="14869">
                  <c:v>140538</c:v>
                </c:pt>
                <c:pt idx="14870">
                  <c:v>140536</c:v>
                </c:pt>
                <c:pt idx="14871">
                  <c:v>140535</c:v>
                </c:pt>
                <c:pt idx="14872">
                  <c:v>140532</c:v>
                </c:pt>
                <c:pt idx="14873">
                  <c:v>140523</c:v>
                </c:pt>
                <c:pt idx="14874">
                  <c:v>140506</c:v>
                </c:pt>
                <c:pt idx="14875">
                  <c:v>140499</c:v>
                </c:pt>
                <c:pt idx="14876">
                  <c:v>140498</c:v>
                </c:pt>
                <c:pt idx="14877">
                  <c:v>140485</c:v>
                </c:pt>
                <c:pt idx="14878">
                  <c:v>140477</c:v>
                </c:pt>
                <c:pt idx="14879">
                  <c:v>140473</c:v>
                </c:pt>
                <c:pt idx="14880">
                  <c:v>140466</c:v>
                </c:pt>
                <c:pt idx="14881">
                  <c:v>140462</c:v>
                </c:pt>
                <c:pt idx="14882">
                  <c:v>140455</c:v>
                </c:pt>
                <c:pt idx="14883">
                  <c:v>140451</c:v>
                </c:pt>
                <c:pt idx="14884">
                  <c:v>140444</c:v>
                </c:pt>
                <c:pt idx="14885">
                  <c:v>140440</c:v>
                </c:pt>
                <c:pt idx="14886">
                  <c:v>140439</c:v>
                </c:pt>
                <c:pt idx="14887">
                  <c:v>140408</c:v>
                </c:pt>
                <c:pt idx="14888">
                  <c:v>140408</c:v>
                </c:pt>
                <c:pt idx="14889">
                  <c:v>140407</c:v>
                </c:pt>
                <c:pt idx="14890">
                  <c:v>140406</c:v>
                </c:pt>
                <c:pt idx="14891">
                  <c:v>140399</c:v>
                </c:pt>
                <c:pt idx="14892">
                  <c:v>140390</c:v>
                </c:pt>
                <c:pt idx="14893">
                  <c:v>140380</c:v>
                </c:pt>
                <c:pt idx="14894">
                  <c:v>140380</c:v>
                </c:pt>
                <c:pt idx="14895">
                  <c:v>140380</c:v>
                </c:pt>
                <c:pt idx="14896">
                  <c:v>140373</c:v>
                </c:pt>
                <c:pt idx="14897">
                  <c:v>140370</c:v>
                </c:pt>
                <c:pt idx="14898">
                  <c:v>140359</c:v>
                </c:pt>
                <c:pt idx="14899">
                  <c:v>140340</c:v>
                </c:pt>
                <c:pt idx="14900">
                  <c:v>140340</c:v>
                </c:pt>
                <c:pt idx="14901">
                  <c:v>140339</c:v>
                </c:pt>
                <c:pt idx="14902">
                  <c:v>140338</c:v>
                </c:pt>
                <c:pt idx="14903">
                  <c:v>140329</c:v>
                </c:pt>
                <c:pt idx="14904">
                  <c:v>140329</c:v>
                </c:pt>
                <c:pt idx="14905">
                  <c:v>140328</c:v>
                </c:pt>
                <c:pt idx="14906">
                  <c:v>140322</c:v>
                </c:pt>
                <c:pt idx="14907">
                  <c:v>140320</c:v>
                </c:pt>
                <c:pt idx="14908">
                  <c:v>140317</c:v>
                </c:pt>
                <c:pt idx="14909">
                  <c:v>140314</c:v>
                </c:pt>
                <c:pt idx="14910">
                  <c:v>140311</c:v>
                </c:pt>
                <c:pt idx="14911">
                  <c:v>140311</c:v>
                </c:pt>
                <c:pt idx="14912">
                  <c:v>140309</c:v>
                </c:pt>
                <c:pt idx="14913">
                  <c:v>140303</c:v>
                </c:pt>
                <c:pt idx="14914">
                  <c:v>140301</c:v>
                </c:pt>
                <c:pt idx="14915">
                  <c:v>140297</c:v>
                </c:pt>
                <c:pt idx="14916">
                  <c:v>140286</c:v>
                </c:pt>
                <c:pt idx="14917">
                  <c:v>140280</c:v>
                </c:pt>
                <c:pt idx="14918">
                  <c:v>140275</c:v>
                </c:pt>
                <c:pt idx="14919">
                  <c:v>140267</c:v>
                </c:pt>
                <c:pt idx="14920">
                  <c:v>140258</c:v>
                </c:pt>
                <c:pt idx="14921">
                  <c:v>140250</c:v>
                </c:pt>
                <c:pt idx="14922">
                  <c:v>140247</c:v>
                </c:pt>
                <c:pt idx="14923">
                  <c:v>140242</c:v>
                </c:pt>
                <c:pt idx="14924">
                  <c:v>140240</c:v>
                </c:pt>
                <c:pt idx="14925">
                  <c:v>140231</c:v>
                </c:pt>
                <c:pt idx="14926">
                  <c:v>140227</c:v>
                </c:pt>
                <c:pt idx="14927">
                  <c:v>140226</c:v>
                </c:pt>
                <c:pt idx="14928">
                  <c:v>140223</c:v>
                </c:pt>
                <c:pt idx="14929">
                  <c:v>140218</c:v>
                </c:pt>
                <c:pt idx="14930">
                  <c:v>140213</c:v>
                </c:pt>
                <c:pt idx="14931">
                  <c:v>140205</c:v>
                </c:pt>
                <c:pt idx="14932">
                  <c:v>140202</c:v>
                </c:pt>
                <c:pt idx="14933">
                  <c:v>140202</c:v>
                </c:pt>
                <c:pt idx="14934">
                  <c:v>140199</c:v>
                </c:pt>
                <c:pt idx="14935">
                  <c:v>140196</c:v>
                </c:pt>
                <c:pt idx="14936">
                  <c:v>140189</c:v>
                </c:pt>
                <c:pt idx="14937">
                  <c:v>140180</c:v>
                </c:pt>
                <c:pt idx="14938">
                  <c:v>140180</c:v>
                </c:pt>
                <c:pt idx="14939">
                  <c:v>140178</c:v>
                </c:pt>
                <c:pt idx="14940">
                  <c:v>140172</c:v>
                </c:pt>
                <c:pt idx="14941">
                  <c:v>140169</c:v>
                </c:pt>
                <c:pt idx="14942">
                  <c:v>140168</c:v>
                </c:pt>
                <c:pt idx="14943">
                  <c:v>140149</c:v>
                </c:pt>
                <c:pt idx="14944">
                  <c:v>140149</c:v>
                </c:pt>
                <c:pt idx="14945">
                  <c:v>140148</c:v>
                </c:pt>
                <c:pt idx="14946">
                  <c:v>140141</c:v>
                </c:pt>
                <c:pt idx="14947">
                  <c:v>140137</c:v>
                </c:pt>
                <c:pt idx="14948">
                  <c:v>140136</c:v>
                </c:pt>
                <c:pt idx="14949">
                  <c:v>140135</c:v>
                </c:pt>
                <c:pt idx="14950">
                  <c:v>140135</c:v>
                </c:pt>
                <c:pt idx="14951">
                  <c:v>140122</c:v>
                </c:pt>
                <c:pt idx="14952">
                  <c:v>140122</c:v>
                </c:pt>
                <c:pt idx="14953">
                  <c:v>140120</c:v>
                </c:pt>
                <c:pt idx="14954">
                  <c:v>140119</c:v>
                </c:pt>
                <c:pt idx="14955">
                  <c:v>140113</c:v>
                </c:pt>
                <c:pt idx="14956">
                  <c:v>140106</c:v>
                </c:pt>
                <c:pt idx="14957">
                  <c:v>140106</c:v>
                </c:pt>
                <c:pt idx="14958">
                  <c:v>140101</c:v>
                </c:pt>
                <c:pt idx="14959">
                  <c:v>140099</c:v>
                </c:pt>
                <c:pt idx="14960">
                  <c:v>140099</c:v>
                </c:pt>
                <c:pt idx="14961">
                  <c:v>140097</c:v>
                </c:pt>
                <c:pt idx="14962">
                  <c:v>140092</c:v>
                </c:pt>
                <c:pt idx="14963">
                  <c:v>140091</c:v>
                </c:pt>
                <c:pt idx="14964">
                  <c:v>140088</c:v>
                </c:pt>
                <c:pt idx="14965">
                  <c:v>140087</c:v>
                </c:pt>
                <c:pt idx="14966">
                  <c:v>140086</c:v>
                </c:pt>
                <c:pt idx="14967">
                  <c:v>140084</c:v>
                </c:pt>
                <c:pt idx="14968">
                  <c:v>140084</c:v>
                </c:pt>
                <c:pt idx="14969">
                  <c:v>140082</c:v>
                </c:pt>
                <c:pt idx="14970">
                  <c:v>140080</c:v>
                </c:pt>
                <c:pt idx="14971">
                  <c:v>140075</c:v>
                </c:pt>
                <c:pt idx="14972">
                  <c:v>140075</c:v>
                </c:pt>
                <c:pt idx="14973">
                  <c:v>140062</c:v>
                </c:pt>
                <c:pt idx="14974">
                  <c:v>140059</c:v>
                </c:pt>
                <c:pt idx="14975">
                  <c:v>140052</c:v>
                </c:pt>
                <c:pt idx="14976">
                  <c:v>140046</c:v>
                </c:pt>
                <c:pt idx="14977">
                  <c:v>140045</c:v>
                </c:pt>
                <c:pt idx="14978">
                  <c:v>140043</c:v>
                </c:pt>
                <c:pt idx="14979">
                  <c:v>140021</c:v>
                </c:pt>
                <c:pt idx="14980">
                  <c:v>140011</c:v>
                </c:pt>
                <c:pt idx="14981">
                  <c:v>140006</c:v>
                </c:pt>
                <c:pt idx="14982">
                  <c:v>139998</c:v>
                </c:pt>
                <c:pt idx="14983">
                  <c:v>139989</c:v>
                </c:pt>
                <c:pt idx="14984">
                  <c:v>139978</c:v>
                </c:pt>
                <c:pt idx="14985">
                  <c:v>139965</c:v>
                </c:pt>
                <c:pt idx="14986">
                  <c:v>139955</c:v>
                </c:pt>
                <c:pt idx="14987">
                  <c:v>139948</c:v>
                </c:pt>
                <c:pt idx="14988">
                  <c:v>139946</c:v>
                </c:pt>
                <c:pt idx="14989">
                  <c:v>139946</c:v>
                </c:pt>
                <c:pt idx="14990">
                  <c:v>139943</c:v>
                </c:pt>
                <c:pt idx="14991">
                  <c:v>139924</c:v>
                </c:pt>
                <c:pt idx="14992">
                  <c:v>139918</c:v>
                </c:pt>
                <c:pt idx="14993">
                  <c:v>139912</c:v>
                </c:pt>
                <c:pt idx="14994">
                  <c:v>139911</c:v>
                </c:pt>
                <c:pt idx="14995">
                  <c:v>139908</c:v>
                </c:pt>
                <c:pt idx="14996">
                  <c:v>139906</c:v>
                </c:pt>
                <c:pt idx="14997">
                  <c:v>139901</c:v>
                </c:pt>
                <c:pt idx="14998">
                  <c:v>139894</c:v>
                </c:pt>
                <c:pt idx="14999">
                  <c:v>139892</c:v>
                </c:pt>
                <c:pt idx="15000">
                  <c:v>139892</c:v>
                </c:pt>
                <c:pt idx="15001">
                  <c:v>139892</c:v>
                </c:pt>
                <c:pt idx="15002">
                  <c:v>139869</c:v>
                </c:pt>
                <c:pt idx="15003">
                  <c:v>139866</c:v>
                </c:pt>
                <c:pt idx="15004">
                  <c:v>139860</c:v>
                </c:pt>
                <c:pt idx="15005">
                  <c:v>139855</c:v>
                </c:pt>
                <c:pt idx="15006">
                  <c:v>139852</c:v>
                </c:pt>
                <c:pt idx="15007">
                  <c:v>139851</c:v>
                </c:pt>
                <c:pt idx="15008">
                  <c:v>139849</c:v>
                </c:pt>
                <c:pt idx="15009">
                  <c:v>139826</c:v>
                </c:pt>
                <c:pt idx="15010">
                  <c:v>139819</c:v>
                </c:pt>
                <c:pt idx="15011">
                  <c:v>139805</c:v>
                </c:pt>
                <c:pt idx="15012">
                  <c:v>139800</c:v>
                </c:pt>
                <c:pt idx="15013">
                  <c:v>139784</c:v>
                </c:pt>
                <c:pt idx="15014">
                  <c:v>139773</c:v>
                </c:pt>
                <c:pt idx="15015">
                  <c:v>139767</c:v>
                </c:pt>
                <c:pt idx="15016">
                  <c:v>139763</c:v>
                </c:pt>
                <c:pt idx="15017">
                  <c:v>139763</c:v>
                </c:pt>
                <c:pt idx="15018">
                  <c:v>139754</c:v>
                </c:pt>
                <c:pt idx="15019">
                  <c:v>139749</c:v>
                </c:pt>
                <c:pt idx="15020">
                  <c:v>139747</c:v>
                </c:pt>
                <c:pt idx="15021">
                  <c:v>139744</c:v>
                </c:pt>
                <c:pt idx="15022">
                  <c:v>139742</c:v>
                </c:pt>
                <c:pt idx="15023">
                  <c:v>139740</c:v>
                </c:pt>
                <c:pt idx="15024">
                  <c:v>139738</c:v>
                </c:pt>
                <c:pt idx="15025">
                  <c:v>139737</c:v>
                </c:pt>
                <c:pt idx="15026">
                  <c:v>139731</c:v>
                </c:pt>
                <c:pt idx="15027">
                  <c:v>139728</c:v>
                </c:pt>
                <c:pt idx="15028">
                  <c:v>139726</c:v>
                </c:pt>
                <c:pt idx="15029">
                  <c:v>139723</c:v>
                </c:pt>
                <c:pt idx="15030">
                  <c:v>139720</c:v>
                </c:pt>
                <c:pt idx="15031">
                  <c:v>139720</c:v>
                </c:pt>
                <c:pt idx="15032">
                  <c:v>139719</c:v>
                </c:pt>
                <c:pt idx="15033">
                  <c:v>139704</c:v>
                </c:pt>
                <c:pt idx="15034">
                  <c:v>139699</c:v>
                </c:pt>
                <c:pt idx="15035">
                  <c:v>139696</c:v>
                </c:pt>
                <c:pt idx="15036">
                  <c:v>139696</c:v>
                </c:pt>
                <c:pt idx="15037">
                  <c:v>139693</c:v>
                </c:pt>
                <c:pt idx="15038">
                  <c:v>139690</c:v>
                </c:pt>
                <c:pt idx="15039">
                  <c:v>139686</c:v>
                </c:pt>
                <c:pt idx="15040">
                  <c:v>139685</c:v>
                </c:pt>
                <c:pt idx="15041">
                  <c:v>139684</c:v>
                </c:pt>
                <c:pt idx="15042">
                  <c:v>139666</c:v>
                </c:pt>
                <c:pt idx="15043">
                  <c:v>139664</c:v>
                </c:pt>
                <c:pt idx="15044">
                  <c:v>139663</c:v>
                </c:pt>
                <c:pt idx="15045">
                  <c:v>139660</c:v>
                </c:pt>
                <c:pt idx="15046">
                  <c:v>139655</c:v>
                </c:pt>
                <c:pt idx="15047">
                  <c:v>139645</c:v>
                </c:pt>
                <c:pt idx="15048">
                  <c:v>139643</c:v>
                </c:pt>
                <c:pt idx="15049">
                  <c:v>139642</c:v>
                </c:pt>
                <c:pt idx="15050">
                  <c:v>139641</c:v>
                </c:pt>
                <c:pt idx="15051">
                  <c:v>139637</c:v>
                </c:pt>
                <c:pt idx="15052">
                  <c:v>139623</c:v>
                </c:pt>
                <c:pt idx="15053">
                  <c:v>139617</c:v>
                </c:pt>
                <c:pt idx="15054">
                  <c:v>139614</c:v>
                </c:pt>
                <c:pt idx="15055">
                  <c:v>139613</c:v>
                </c:pt>
                <c:pt idx="15056">
                  <c:v>139604</c:v>
                </c:pt>
                <c:pt idx="15057">
                  <c:v>139603</c:v>
                </c:pt>
                <c:pt idx="15058">
                  <c:v>139601</c:v>
                </c:pt>
                <c:pt idx="15059">
                  <c:v>139599</c:v>
                </c:pt>
                <c:pt idx="15060">
                  <c:v>139592</c:v>
                </c:pt>
                <c:pt idx="15061">
                  <c:v>139591</c:v>
                </c:pt>
                <c:pt idx="15062">
                  <c:v>139589</c:v>
                </c:pt>
                <c:pt idx="15063">
                  <c:v>139580</c:v>
                </c:pt>
                <c:pt idx="15064">
                  <c:v>139579</c:v>
                </c:pt>
                <c:pt idx="15065">
                  <c:v>139568</c:v>
                </c:pt>
                <c:pt idx="15066">
                  <c:v>139566</c:v>
                </c:pt>
                <c:pt idx="15067">
                  <c:v>139561</c:v>
                </c:pt>
                <c:pt idx="15068">
                  <c:v>139556</c:v>
                </c:pt>
                <c:pt idx="15069">
                  <c:v>139555</c:v>
                </c:pt>
                <c:pt idx="15070">
                  <c:v>139553</c:v>
                </c:pt>
                <c:pt idx="15071">
                  <c:v>139537</c:v>
                </c:pt>
                <c:pt idx="15072">
                  <c:v>139536</c:v>
                </c:pt>
                <c:pt idx="15073">
                  <c:v>139532</c:v>
                </c:pt>
                <c:pt idx="15074">
                  <c:v>139528</c:v>
                </c:pt>
                <c:pt idx="15075">
                  <c:v>139525</c:v>
                </c:pt>
                <c:pt idx="15076">
                  <c:v>139519</c:v>
                </c:pt>
                <c:pt idx="15077">
                  <c:v>139502</c:v>
                </c:pt>
                <c:pt idx="15078">
                  <c:v>139496</c:v>
                </c:pt>
                <c:pt idx="15079">
                  <c:v>139491</c:v>
                </c:pt>
                <c:pt idx="15080">
                  <c:v>139482</c:v>
                </c:pt>
                <c:pt idx="15081">
                  <c:v>139481</c:v>
                </c:pt>
                <c:pt idx="15082">
                  <c:v>139478</c:v>
                </c:pt>
                <c:pt idx="15083">
                  <c:v>139468</c:v>
                </c:pt>
                <c:pt idx="15084">
                  <c:v>139467</c:v>
                </c:pt>
                <c:pt idx="15085">
                  <c:v>139463</c:v>
                </c:pt>
                <c:pt idx="15086">
                  <c:v>139461</c:v>
                </c:pt>
                <c:pt idx="15087">
                  <c:v>139456</c:v>
                </c:pt>
                <c:pt idx="15088">
                  <c:v>139455</c:v>
                </c:pt>
                <c:pt idx="15089">
                  <c:v>139453</c:v>
                </c:pt>
                <c:pt idx="15090">
                  <c:v>139446</c:v>
                </c:pt>
                <c:pt idx="15091">
                  <c:v>139445</c:v>
                </c:pt>
                <c:pt idx="15092">
                  <c:v>139430</c:v>
                </c:pt>
                <c:pt idx="15093">
                  <c:v>139427</c:v>
                </c:pt>
                <c:pt idx="15094">
                  <c:v>139417</c:v>
                </c:pt>
                <c:pt idx="15095">
                  <c:v>139407</c:v>
                </c:pt>
                <c:pt idx="15096">
                  <c:v>139405</c:v>
                </c:pt>
                <c:pt idx="15097">
                  <c:v>139402</c:v>
                </c:pt>
                <c:pt idx="15098">
                  <c:v>139401</c:v>
                </c:pt>
                <c:pt idx="15099">
                  <c:v>139400</c:v>
                </c:pt>
                <c:pt idx="15100">
                  <c:v>139399</c:v>
                </c:pt>
                <c:pt idx="15101">
                  <c:v>139398</c:v>
                </c:pt>
                <c:pt idx="15102">
                  <c:v>139377</c:v>
                </c:pt>
                <c:pt idx="15103">
                  <c:v>139370</c:v>
                </c:pt>
                <c:pt idx="15104">
                  <c:v>139367</c:v>
                </c:pt>
                <c:pt idx="15105">
                  <c:v>139366</c:v>
                </c:pt>
                <c:pt idx="15106">
                  <c:v>139363</c:v>
                </c:pt>
                <c:pt idx="15107">
                  <c:v>139358</c:v>
                </c:pt>
                <c:pt idx="15108">
                  <c:v>139345</c:v>
                </c:pt>
                <c:pt idx="15109">
                  <c:v>139338</c:v>
                </c:pt>
                <c:pt idx="15110">
                  <c:v>139335</c:v>
                </c:pt>
                <c:pt idx="15111">
                  <c:v>139318</c:v>
                </c:pt>
                <c:pt idx="15112">
                  <c:v>139317</c:v>
                </c:pt>
                <c:pt idx="15113">
                  <c:v>139311</c:v>
                </c:pt>
                <c:pt idx="15114">
                  <c:v>139304</c:v>
                </c:pt>
                <c:pt idx="15115">
                  <c:v>139300</c:v>
                </c:pt>
                <c:pt idx="15116">
                  <c:v>139296</c:v>
                </c:pt>
                <c:pt idx="15117">
                  <c:v>139290</c:v>
                </c:pt>
                <c:pt idx="15118">
                  <c:v>139283</c:v>
                </c:pt>
                <c:pt idx="15119">
                  <c:v>139283</c:v>
                </c:pt>
                <c:pt idx="15120">
                  <c:v>139282</c:v>
                </c:pt>
                <c:pt idx="15121">
                  <c:v>139280</c:v>
                </c:pt>
                <c:pt idx="15122">
                  <c:v>139278</c:v>
                </c:pt>
                <c:pt idx="15123">
                  <c:v>139278</c:v>
                </c:pt>
                <c:pt idx="15124">
                  <c:v>139274</c:v>
                </c:pt>
                <c:pt idx="15125">
                  <c:v>139273</c:v>
                </c:pt>
                <c:pt idx="15126">
                  <c:v>139270</c:v>
                </c:pt>
                <c:pt idx="15127">
                  <c:v>139261</c:v>
                </c:pt>
                <c:pt idx="15128">
                  <c:v>139252</c:v>
                </c:pt>
                <c:pt idx="15129">
                  <c:v>139244</c:v>
                </c:pt>
                <c:pt idx="15130">
                  <c:v>139240</c:v>
                </c:pt>
                <c:pt idx="15131">
                  <c:v>139240</c:v>
                </c:pt>
                <c:pt idx="15132">
                  <c:v>139238</c:v>
                </c:pt>
                <c:pt idx="15133">
                  <c:v>139235</c:v>
                </c:pt>
                <c:pt idx="15134">
                  <c:v>139235</c:v>
                </c:pt>
                <c:pt idx="15135">
                  <c:v>139233</c:v>
                </c:pt>
                <c:pt idx="15136">
                  <c:v>139226</c:v>
                </c:pt>
                <c:pt idx="15137">
                  <c:v>139221</c:v>
                </c:pt>
                <c:pt idx="15138">
                  <c:v>139221</c:v>
                </c:pt>
                <c:pt idx="15139">
                  <c:v>139213</c:v>
                </c:pt>
                <c:pt idx="15140">
                  <c:v>139209</c:v>
                </c:pt>
                <c:pt idx="15141">
                  <c:v>139208</c:v>
                </c:pt>
                <c:pt idx="15142">
                  <c:v>139191</c:v>
                </c:pt>
                <c:pt idx="15143">
                  <c:v>139189</c:v>
                </c:pt>
                <c:pt idx="15144">
                  <c:v>139186</c:v>
                </c:pt>
                <c:pt idx="15145">
                  <c:v>139184</c:v>
                </c:pt>
                <c:pt idx="15146">
                  <c:v>139171</c:v>
                </c:pt>
                <c:pt idx="15147">
                  <c:v>139169</c:v>
                </c:pt>
                <c:pt idx="15148">
                  <c:v>139168</c:v>
                </c:pt>
                <c:pt idx="15149">
                  <c:v>139167</c:v>
                </c:pt>
                <c:pt idx="15150">
                  <c:v>139164</c:v>
                </c:pt>
                <c:pt idx="15151">
                  <c:v>139163</c:v>
                </c:pt>
                <c:pt idx="15152">
                  <c:v>139151</c:v>
                </c:pt>
                <c:pt idx="15153">
                  <c:v>139132</c:v>
                </c:pt>
                <c:pt idx="15154">
                  <c:v>139124</c:v>
                </c:pt>
                <c:pt idx="15155">
                  <c:v>139120</c:v>
                </c:pt>
                <c:pt idx="15156">
                  <c:v>139117</c:v>
                </c:pt>
                <c:pt idx="15157">
                  <c:v>139115</c:v>
                </c:pt>
                <c:pt idx="15158">
                  <c:v>139111</c:v>
                </c:pt>
                <c:pt idx="15159">
                  <c:v>139102</c:v>
                </c:pt>
                <c:pt idx="15160">
                  <c:v>139100</c:v>
                </c:pt>
                <c:pt idx="15161">
                  <c:v>139088</c:v>
                </c:pt>
                <c:pt idx="15162">
                  <c:v>139086</c:v>
                </c:pt>
                <c:pt idx="15163">
                  <c:v>139081</c:v>
                </c:pt>
                <c:pt idx="15164">
                  <c:v>139078</c:v>
                </c:pt>
                <c:pt idx="15165">
                  <c:v>139076</c:v>
                </c:pt>
                <c:pt idx="15166">
                  <c:v>139062</c:v>
                </c:pt>
                <c:pt idx="15167">
                  <c:v>139054</c:v>
                </c:pt>
                <c:pt idx="15168">
                  <c:v>139048</c:v>
                </c:pt>
                <c:pt idx="15169">
                  <c:v>139044</c:v>
                </c:pt>
                <c:pt idx="15170">
                  <c:v>139040</c:v>
                </c:pt>
                <c:pt idx="15171">
                  <c:v>139038</c:v>
                </c:pt>
                <c:pt idx="15172">
                  <c:v>139034</c:v>
                </c:pt>
                <c:pt idx="15173">
                  <c:v>139029</c:v>
                </c:pt>
                <c:pt idx="15174">
                  <c:v>139028</c:v>
                </c:pt>
                <c:pt idx="15175">
                  <c:v>139026</c:v>
                </c:pt>
                <c:pt idx="15176">
                  <c:v>139021</c:v>
                </c:pt>
                <c:pt idx="15177">
                  <c:v>139015</c:v>
                </c:pt>
                <c:pt idx="15178">
                  <c:v>139012</c:v>
                </c:pt>
                <c:pt idx="15179">
                  <c:v>139005</c:v>
                </c:pt>
                <c:pt idx="15180">
                  <c:v>139000</c:v>
                </c:pt>
                <c:pt idx="15181">
                  <c:v>138999</c:v>
                </c:pt>
                <c:pt idx="15182">
                  <c:v>138987</c:v>
                </c:pt>
                <c:pt idx="15183">
                  <c:v>138981</c:v>
                </c:pt>
                <c:pt idx="15184">
                  <c:v>138971</c:v>
                </c:pt>
                <c:pt idx="15185">
                  <c:v>138965</c:v>
                </c:pt>
                <c:pt idx="15186">
                  <c:v>138962</c:v>
                </c:pt>
                <c:pt idx="15187">
                  <c:v>138959</c:v>
                </c:pt>
                <c:pt idx="15188">
                  <c:v>138955</c:v>
                </c:pt>
                <c:pt idx="15189">
                  <c:v>138945</c:v>
                </c:pt>
                <c:pt idx="15190">
                  <c:v>138944</c:v>
                </c:pt>
                <c:pt idx="15191">
                  <c:v>138943</c:v>
                </c:pt>
                <c:pt idx="15192">
                  <c:v>138933</c:v>
                </c:pt>
                <c:pt idx="15193">
                  <c:v>138928</c:v>
                </c:pt>
                <c:pt idx="15194">
                  <c:v>138922</c:v>
                </c:pt>
                <c:pt idx="15195">
                  <c:v>138922</c:v>
                </c:pt>
                <c:pt idx="15196">
                  <c:v>138920</c:v>
                </c:pt>
                <c:pt idx="15197">
                  <c:v>138905</c:v>
                </c:pt>
                <c:pt idx="15198">
                  <c:v>138903</c:v>
                </c:pt>
                <c:pt idx="15199">
                  <c:v>138897</c:v>
                </c:pt>
                <c:pt idx="15200">
                  <c:v>138895</c:v>
                </c:pt>
                <c:pt idx="15201">
                  <c:v>138893</c:v>
                </c:pt>
                <c:pt idx="15202">
                  <c:v>138891</c:v>
                </c:pt>
                <c:pt idx="15203">
                  <c:v>138888</c:v>
                </c:pt>
                <c:pt idx="15204">
                  <c:v>138887</c:v>
                </c:pt>
                <c:pt idx="15205">
                  <c:v>138885</c:v>
                </c:pt>
                <c:pt idx="15206">
                  <c:v>138882</c:v>
                </c:pt>
                <c:pt idx="15207">
                  <c:v>138867</c:v>
                </c:pt>
                <c:pt idx="15208">
                  <c:v>138866</c:v>
                </c:pt>
                <c:pt idx="15209">
                  <c:v>138865</c:v>
                </c:pt>
                <c:pt idx="15210">
                  <c:v>138864</c:v>
                </c:pt>
                <c:pt idx="15211">
                  <c:v>138862</c:v>
                </c:pt>
                <c:pt idx="15212">
                  <c:v>138860</c:v>
                </c:pt>
                <c:pt idx="15213">
                  <c:v>138858</c:v>
                </c:pt>
                <c:pt idx="15214">
                  <c:v>138849</c:v>
                </c:pt>
                <c:pt idx="15215">
                  <c:v>138848</c:v>
                </c:pt>
                <c:pt idx="15216">
                  <c:v>138847</c:v>
                </c:pt>
                <c:pt idx="15217">
                  <c:v>138842</c:v>
                </c:pt>
                <c:pt idx="15218">
                  <c:v>138841</c:v>
                </c:pt>
                <c:pt idx="15219">
                  <c:v>138841</c:v>
                </c:pt>
                <c:pt idx="15220">
                  <c:v>138841</c:v>
                </c:pt>
                <c:pt idx="15221">
                  <c:v>138840</c:v>
                </c:pt>
                <c:pt idx="15222">
                  <c:v>138840</c:v>
                </c:pt>
                <c:pt idx="15223">
                  <c:v>138836</c:v>
                </c:pt>
                <c:pt idx="15224">
                  <c:v>138825</c:v>
                </c:pt>
                <c:pt idx="15225">
                  <c:v>138824</c:v>
                </c:pt>
                <c:pt idx="15226">
                  <c:v>138822</c:v>
                </c:pt>
                <c:pt idx="15227">
                  <c:v>138822</c:v>
                </c:pt>
                <c:pt idx="15228">
                  <c:v>138817</c:v>
                </c:pt>
                <c:pt idx="15229">
                  <c:v>138800</c:v>
                </c:pt>
                <c:pt idx="15230">
                  <c:v>138799</c:v>
                </c:pt>
                <c:pt idx="15231">
                  <c:v>138795</c:v>
                </c:pt>
                <c:pt idx="15232">
                  <c:v>138794</c:v>
                </c:pt>
                <c:pt idx="15233">
                  <c:v>138792</c:v>
                </c:pt>
                <c:pt idx="15234">
                  <c:v>138785</c:v>
                </c:pt>
                <c:pt idx="15235">
                  <c:v>138784</c:v>
                </c:pt>
                <c:pt idx="15236">
                  <c:v>138780</c:v>
                </c:pt>
                <c:pt idx="15237">
                  <c:v>138780</c:v>
                </c:pt>
                <c:pt idx="15238">
                  <c:v>138774</c:v>
                </c:pt>
                <c:pt idx="15239">
                  <c:v>138770</c:v>
                </c:pt>
                <c:pt idx="15240">
                  <c:v>138768</c:v>
                </c:pt>
                <c:pt idx="15241">
                  <c:v>138768</c:v>
                </c:pt>
                <c:pt idx="15242">
                  <c:v>138750</c:v>
                </c:pt>
                <c:pt idx="15243">
                  <c:v>138747</c:v>
                </c:pt>
                <c:pt idx="15244">
                  <c:v>138746</c:v>
                </c:pt>
                <c:pt idx="15245">
                  <c:v>138744</c:v>
                </c:pt>
                <c:pt idx="15246">
                  <c:v>138742</c:v>
                </c:pt>
                <c:pt idx="15247">
                  <c:v>138741</c:v>
                </c:pt>
                <c:pt idx="15248">
                  <c:v>138737</c:v>
                </c:pt>
                <c:pt idx="15249">
                  <c:v>138734</c:v>
                </c:pt>
                <c:pt idx="15250">
                  <c:v>138732</c:v>
                </c:pt>
                <c:pt idx="15251">
                  <c:v>138729</c:v>
                </c:pt>
                <c:pt idx="15252">
                  <c:v>138728</c:v>
                </c:pt>
                <c:pt idx="15253">
                  <c:v>138717</c:v>
                </c:pt>
                <c:pt idx="15254">
                  <c:v>138711</c:v>
                </c:pt>
                <c:pt idx="15255">
                  <c:v>138708</c:v>
                </c:pt>
                <c:pt idx="15256">
                  <c:v>138706</c:v>
                </c:pt>
                <c:pt idx="15257">
                  <c:v>138705</c:v>
                </c:pt>
                <c:pt idx="15258">
                  <c:v>138702</c:v>
                </c:pt>
                <c:pt idx="15259">
                  <c:v>138688</c:v>
                </c:pt>
                <c:pt idx="15260">
                  <c:v>138681</c:v>
                </c:pt>
                <c:pt idx="15261">
                  <c:v>138680</c:v>
                </c:pt>
                <c:pt idx="15262">
                  <c:v>138678</c:v>
                </c:pt>
                <c:pt idx="15263">
                  <c:v>138675</c:v>
                </c:pt>
                <c:pt idx="15264">
                  <c:v>138670</c:v>
                </c:pt>
                <c:pt idx="15265">
                  <c:v>138663</c:v>
                </c:pt>
                <c:pt idx="15266">
                  <c:v>138661</c:v>
                </c:pt>
                <c:pt idx="15267">
                  <c:v>138658</c:v>
                </c:pt>
                <c:pt idx="15268">
                  <c:v>138654</c:v>
                </c:pt>
                <c:pt idx="15269">
                  <c:v>138653</c:v>
                </c:pt>
                <c:pt idx="15270">
                  <c:v>138649</c:v>
                </c:pt>
                <c:pt idx="15271">
                  <c:v>138646</c:v>
                </c:pt>
                <c:pt idx="15272">
                  <c:v>138645</c:v>
                </c:pt>
                <c:pt idx="15273">
                  <c:v>138636</c:v>
                </c:pt>
                <c:pt idx="15274">
                  <c:v>138624</c:v>
                </c:pt>
                <c:pt idx="15275">
                  <c:v>138618</c:v>
                </c:pt>
                <c:pt idx="15276">
                  <c:v>138612</c:v>
                </c:pt>
                <c:pt idx="15277">
                  <c:v>138603</c:v>
                </c:pt>
                <c:pt idx="15278">
                  <c:v>138585</c:v>
                </c:pt>
                <c:pt idx="15279">
                  <c:v>138584</c:v>
                </c:pt>
                <c:pt idx="15280">
                  <c:v>138582</c:v>
                </c:pt>
                <c:pt idx="15281">
                  <c:v>138566</c:v>
                </c:pt>
                <c:pt idx="15282">
                  <c:v>138562</c:v>
                </c:pt>
                <c:pt idx="15283">
                  <c:v>138561</c:v>
                </c:pt>
                <c:pt idx="15284">
                  <c:v>138558</c:v>
                </c:pt>
                <c:pt idx="15285">
                  <c:v>138557</c:v>
                </c:pt>
                <c:pt idx="15286">
                  <c:v>138556</c:v>
                </c:pt>
                <c:pt idx="15287">
                  <c:v>138553</c:v>
                </c:pt>
                <c:pt idx="15288">
                  <c:v>138552</c:v>
                </c:pt>
                <c:pt idx="15289">
                  <c:v>138549</c:v>
                </c:pt>
                <c:pt idx="15290">
                  <c:v>138540</c:v>
                </c:pt>
                <c:pt idx="15291">
                  <c:v>138532</c:v>
                </c:pt>
                <c:pt idx="15292">
                  <c:v>138517</c:v>
                </c:pt>
                <c:pt idx="15293">
                  <c:v>138508</c:v>
                </c:pt>
                <c:pt idx="15294">
                  <c:v>138506</c:v>
                </c:pt>
                <c:pt idx="15295">
                  <c:v>138489</c:v>
                </c:pt>
                <c:pt idx="15296">
                  <c:v>138471</c:v>
                </c:pt>
                <c:pt idx="15297">
                  <c:v>138465</c:v>
                </c:pt>
                <c:pt idx="15298">
                  <c:v>138465</c:v>
                </c:pt>
                <c:pt idx="15299">
                  <c:v>138461</c:v>
                </c:pt>
                <c:pt idx="15300">
                  <c:v>138452</c:v>
                </c:pt>
                <c:pt idx="15301">
                  <c:v>138429</c:v>
                </c:pt>
                <c:pt idx="15302">
                  <c:v>138422</c:v>
                </c:pt>
                <c:pt idx="15303">
                  <c:v>138418</c:v>
                </c:pt>
                <c:pt idx="15304">
                  <c:v>138412</c:v>
                </c:pt>
                <c:pt idx="15305">
                  <c:v>138411</c:v>
                </c:pt>
                <c:pt idx="15306">
                  <c:v>138408</c:v>
                </c:pt>
                <c:pt idx="15307">
                  <c:v>138406</c:v>
                </c:pt>
                <c:pt idx="15308">
                  <c:v>138402</c:v>
                </c:pt>
                <c:pt idx="15309">
                  <c:v>138401</c:v>
                </c:pt>
                <c:pt idx="15310">
                  <c:v>138400</c:v>
                </c:pt>
                <c:pt idx="15311">
                  <c:v>138393</c:v>
                </c:pt>
                <c:pt idx="15312">
                  <c:v>138387</c:v>
                </c:pt>
                <c:pt idx="15313">
                  <c:v>138371</c:v>
                </c:pt>
                <c:pt idx="15314">
                  <c:v>138370</c:v>
                </c:pt>
                <c:pt idx="15315">
                  <c:v>138370</c:v>
                </c:pt>
                <c:pt idx="15316">
                  <c:v>138367</c:v>
                </c:pt>
                <c:pt idx="15317">
                  <c:v>138365</c:v>
                </c:pt>
                <c:pt idx="15318">
                  <c:v>138362</c:v>
                </c:pt>
                <c:pt idx="15319">
                  <c:v>138361</c:v>
                </c:pt>
                <c:pt idx="15320">
                  <c:v>138347</c:v>
                </c:pt>
                <c:pt idx="15321">
                  <c:v>138344</c:v>
                </c:pt>
                <c:pt idx="15322">
                  <c:v>138344</c:v>
                </c:pt>
                <c:pt idx="15323">
                  <c:v>138342</c:v>
                </c:pt>
                <c:pt idx="15324">
                  <c:v>138336</c:v>
                </c:pt>
                <c:pt idx="15325">
                  <c:v>138335</c:v>
                </c:pt>
                <c:pt idx="15326">
                  <c:v>138329</c:v>
                </c:pt>
                <c:pt idx="15327">
                  <c:v>138328</c:v>
                </c:pt>
                <c:pt idx="15328">
                  <c:v>138322</c:v>
                </c:pt>
                <c:pt idx="15329">
                  <c:v>138318</c:v>
                </c:pt>
                <c:pt idx="15330">
                  <c:v>138317</c:v>
                </c:pt>
                <c:pt idx="15331">
                  <c:v>138308</c:v>
                </c:pt>
                <c:pt idx="15332">
                  <c:v>138306</c:v>
                </c:pt>
                <c:pt idx="15333">
                  <c:v>138302</c:v>
                </c:pt>
                <c:pt idx="15334">
                  <c:v>138301</c:v>
                </c:pt>
                <c:pt idx="15335">
                  <c:v>138297</c:v>
                </c:pt>
                <c:pt idx="15336">
                  <c:v>138294</c:v>
                </c:pt>
                <c:pt idx="15337">
                  <c:v>138293</c:v>
                </c:pt>
                <c:pt idx="15338">
                  <c:v>138285</c:v>
                </c:pt>
                <c:pt idx="15339">
                  <c:v>138279</c:v>
                </c:pt>
                <c:pt idx="15340">
                  <c:v>138275</c:v>
                </c:pt>
                <c:pt idx="15341">
                  <c:v>138271</c:v>
                </c:pt>
                <c:pt idx="15342">
                  <c:v>138270</c:v>
                </c:pt>
                <c:pt idx="15343">
                  <c:v>138268</c:v>
                </c:pt>
                <c:pt idx="15344">
                  <c:v>138264</c:v>
                </c:pt>
                <c:pt idx="15345">
                  <c:v>138264</c:v>
                </c:pt>
                <c:pt idx="15346">
                  <c:v>138263</c:v>
                </c:pt>
                <c:pt idx="15347">
                  <c:v>138263</c:v>
                </c:pt>
                <c:pt idx="15348">
                  <c:v>138246</c:v>
                </c:pt>
                <c:pt idx="15349">
                  <c:v>138244</c:v>
                </c:pt>
                <c:pt idx="15350">
                  <c:v>138242</c:v>
                </c:pt>
                <c:pt idx="15351">
                  <c:v>138235</c:v>
                </c:pt>
                <c:pt idx="15352">
                  <c:v>138225</c:v>
                </c:pt>
                <c:pt idx="15353">
                  <c:v>138214</c:v>
                </c:pt>
                <c:pt idx="15354">
                  <c:v>138210</c:v>
                </c:pt>
                <c:pt idx="15355">
                  <c:v>138206</c:v>
                </c:pt>
                <c:pt idx="15356">
                  <c:v>138203</c:v>
                </c:pt>
                <c:pt idx="15357">
                  <c:v>138194</c:v>
                </c:pt>
                <c:pt idx="15358">
                  <c:v>138190</c:v>
                </c:pt>
                <c:pt idx="15359">
                  <c:v>138187</c:v>
                </c:pt>
                <c:pt idx="15360">
                  <c:v>138181</c:v>
                </c:pt>
                <c:pt idx="15361">
                  <c:v>138176</c:v>
                </c:pt>
                <c:pt idx="15362">
                  <c:v>138174</c:v>
                </c:pt>
                <c:pt idx="15363">
                  <c:v>138157</c:v>
                </c:pt>
                <c:pt idx="15364">
                  <c:v>138149</c:v>
                </c:pt>
                <c:pt idx="15365">
                  <c:v>138144</c:v>
                </c:pt>
                <c:pt idx="15366">
                  <c:v>138136</c:v>
                </c:pt>
                <c:pt idx="15367">
                  <c:v>138132</c:v>
                </c:pt>
                <c:pt idx="15368">
                  <c:v>138128</c:v>
                </c:pt>
                <c:pt idx="15369">
                  <c:v>138126</c:v>
                </c:pt>
                <c:pt idx="15370">
                  <c:v>138121</c:v>
                </c:pt>
                <c:pt idx="15371">
                  <c:v>138116</c:v>
                </c:pt>
                <c:pt idx="15372">
                  <c:v>138109</c:v>
                </c:pt>
                <c:pt idx="15373">
                  <c:v>138107</c:v>
                </c:pt>
                <c:pt idx="15374">
                  <c:v>138101</c:v>
                </c:pt>
                <c:pt idx="15375">
                  <c:v>138097</c:v>
                </c:pt>
                <c:pt idx="15376">
                  <c:v>138097</c:v>
                </c:pt>
                <c:pt idx="15377">
                  <c:v>138096</c:v>
                </c:pt>
                <c:pt idx="15378">
                  <c:v>138094</c:v>
                </c:pt>
                <c:pt idx="15379">
                  <c:v>138089</c:v>
                </c:pt>
                <c:pt idx="15380">
                  <c:v>138084</c:v>
                </c:pt>
                <c:pt idx="15381">
                  <c:v>138064</c:v>
                </c:pt>
                <c:pt idx="15382">
                  <c:v>138059</c:v>
                </c:pt>
                <c:pt idx="15383">
                  <c:v>138050</c:v>
                </c:pt>
                <c:pt idx="15384">
                  <c:v>138047</c:v>
                </c:pt>
                <c:pt idx="15385">
                  <c:v>138045</c:v>
                </c:pt>
                <c:pt idx="15386">
                  <c:v>138044</c:v>
                </c:pt>
                <c:pt idx="15387">
                  <c:v>138044</c:v>
                </c:pt>
                <c:pt idx="15388">
                  <c:v>138043</c:v>
                </c:pt>
                <c:pt idx="15389">
                  <c:v>138019</c:v>
                </c:pt>
                <c:pt idx="15390">
                  <c:v>138018</c:v>
                </c:pt>
                <c:pt idx="15391">
                  <c:v>138018</c:v>
                </c:pt>
                <c:pt idx="15392">
                  <c:v>138012</c:v>
                </c:pt>
                <c:pt idx="15393">
                  <c:v>138011</c:v>
                </c:pt>
                <c:pt idx="15394">
                  <c:v>138000</c:v>
                </c:pt>
                <c:pt idx="15395">
                  <c:v>137998</c:v>
                </c:pt>
                <c:pt idx="15396">
                  <c:v>137997</c:v>
                </c:pt>
                <c:pt idx="15397">
                  <c:v>137995</c:v>
                </c:pt>
                <c:pt idx="15398">
                  <c:v>137990</c:v>
                </c:pt>
                <c:pt idx="15399">
                  <c:v>137988</c:v>
                </c:pt>
                <c:pt idx="15400">
                  <c:v>137984</c:v>
                </c:pt>
                <c:pt idx="15401">
                  <c:v>137982</c:v>
                </c:pt>
                <c:pt idx="15402">
                  <c:v>137977</c:v>
                </c:pt>
                <c:pt idx="15403">
                  <c:v>137976</c:v>
                </c:pt>
                <c:pt idx="15404">
                  <c:v>137976</c:v>
                </c:pt>
                <c:pt idx="15405">
                  <c:v>137974</c:v>
                </c:pt>
                <c:pt idx="15406">
                  <c:v>137974</c:v>
                </c:pt>
                <c:pt idx="15407">
                  <c:v>137955</c:v>
                </c:pt>
                <c:pt idx="15408">
                  <c:v>137953</c:v>
                </c:pt>
                <c:pt idx="15409">
                  <c:v>137951</c:v>
                </c:pt>
                <c:pt idx="15410">
                  <c:v>137948</c:v>
                </c:pt>
                <c:pt idx="15411">
                  <c:v>137948</c:v>
                </c:pt>
                <c:pt idx="15412">
                  <c:v>137945</c:v>
                </c:pt>
                <c:pt idx="15413">
                  <c:v>137941</c:v>
                </c:pt>
                <c:pt idx="15414">
                  <c:v>137937</c:v>
                </c:pt>
                <c:pt idx="15415">
                  <c:v>137932</c:v>
                </c:pt>
                <c:pt idx="15416">
                  <c:v>137931</c:v>
                </c:pt>
                <c:pt idx="15417">
                  <c:v>137930</c:v>
                </c:pt>
                <c:pt idx="15418">
                  <c:v>137928</c:v>
                </c:pt>
                <c:pt idx="15419">
                  <c:v>137922</c:v>
                </c:pt>
                <c:pt idx="15420">
                  <c:v>137920</c:v>
                </c:pt>
                <c:pt idx="15421">
                  <c:v>137919</c:v>
                </c:pt>
                <c:pt idx="15422">
                  <c:v>137917</c:v>
                </c:pt>
                <c:pt idx="15423">
                  <c:v>137916</c:v>
                </c:pt>
                <c:pt idx="15424">
                  <c:v>137915</c:v>
                </c:pt>
                <c:pt idx="15425">
                  <c:v>137908</c:v>
                </c:pt>
                <c:pt idx="15426">
                  <c:v>137903</c:v>
                </c:pt>
                <c:pt idx="15427">
                  <c:v>137899</c:v>
                </c:pt>
                <c:pt idx="15428">
                  <c:v>137899</c:v>
                </c:pt>
                <c:pt idx="15429">
                  <c:v>137888</c:v>
                </c:pt>
                <c:pt idx="15430">
                  <c:v>137885</c:v>
                </c:pt>
                <c:pt idx="15431">
                  <c:v>137885</c:v>
                </c:pt>
                <c:pt idx="15432">
                  <c:v>137884</c:v>
                </c:pt>
                <c:pt idx="15433">
                  <c:v>137879</c:v>
                </c:pt>
                <c:pt idx="15434">
                  <c:v>137879</c:v>
                </c:pt>
                <c:pt idx="15435">
                  <c:v>137878</c:v>
                </c:pt>
                <c:pt idx="15436">
                  <c:v>137872</c:v>
                </c:pt>
                <c:pt idx="15437">
                  <c:v>137865</c:v>
                </c:pt>
                <c:pt idx="15438">
                  <c:v>137858</c:v>
                </c:pt>
                <c:pt idx="15439">
                  <c:v>137855</c:v>
                </c:pt>
                <c:pt idx="15440">
                  <c:v>137855</c:v>
                </c:pt>
                <c:pt idx="15441">
                  <c:v>137855</c:v>
                </c:pt>
                <c:pt idx="15442">
                  <c:v>137854</c:v>
                </c:pt>
                <c:pt idx="15443">
                  <c:v>137853</c:v>
                </c:pt>
                <c:pt idx="15444">
                  <c:v>137851</c:v>
                </c:pt>
                <c:pt idx="15445">
                  <c:v>137844</c:v>
                </c:pt>
                <c:pt idx="15446">
                  <c:v>137844</c:v>
                </c:pt>
                <c:pt idx="15447">
                  <c:v>137844</c:v>
                </c:pt>
                <c:pt idx="15448">
                  <c:v>137836</c:v>
                </c:pt>
                <c:pt idx="15449">
                  <c:v>137834</c:v>
                </c:pt>
                <c:pt idx="15450">
                  <c:v>137833</c:v>
                </c:pt>
                <c:pt idx="15451">
                  <c:v>137821</c:v>
                </c:pt>
                <c:pt idx="15452">
                  <c:v>137820</c:v>
                </c:pt>
                <c:pt idx="15453">
                  <c:v>137820</c:v>
                </c:pt>
                <c:pt idx="15454">
                  <c:v>137820</c:v>
                </c:pt>
                <c:pt idx="15455">
                  <c:v>137818</c:v>
                </c:pt>
                <c:pt idx="15456">
                  <c:v>137818</c:v>
                </c:pt>
                <c:pt idx="15457">
                  <c:v>137811</c:v>
                </c:pt>
                <c:pt idx="15458">
                  <c:v>137810</c:v>
                </c:pt>
                <c:pt idx="15459">
                  <c:v>137809</c:v>
                </c:pt>
                <c:pt idx="15460">
                  <c:v>137805</c:v>
                </c:pt>
                <c:pt idx="15461">
                  <c:v>137804</c:v>
                </c:pt>
                <c:pt idx="15462">
                  <c:v>137799</c:v>
                </c:pt>
                <c:pt idx="15463">
                  <c:v>137798</c:v>
                </c:pt>
                <c:pt idx="15464">
                  <c:v>137777</c:v>
                </c:pt>
                <c:pt idx="15465">
                  <c:v>137776</c:v>
                </c:pt>
                <c:pt idx="15466">
                  <c:v>137762</c:v>
                </c:pt>
                <c:pt idx="15467">
                  <c:v>137761</c:v>
                </c:pt>
                <c:pt idx="15468">
                  <c:v>137757</c:v>
                </c:pt>
                <c:pt idx="15469">
                  <c:v>137754</c:v>
                </c:pt>
                <c:pt idx="15470">
                  <c:v>137748</c:v>
                </c:pt>
                <c:pt idx="15471">
                  <c:v>137740</c:v>
                </c:pt>
                <c:pt idx="15472">
                  <c:v>137736</c:v>
                </c:pt>
                <c:pt idx="15473">
                  <c:v>137728</c:v>
                </c:pt>
                <c:pt idx="15474">
                  <c:v>137727</c:v>
                </c:pt>
                <c:pt idx="15475">
                  <c:v>137723</c:v>
                </c:pt>
                <c:pt idx="15476">
                  <c:v>137703</c:v>
                </c:pt>
                <c:pt idx="15477">
                  <c:v>137701</c:v>
                </c:pt>
                <c:pt idx="15478">
                  <c:v>137698</c:v>
                </c:pt>
                <c:pt idx="15479">
                  <c:v>137696</c:v>
                </c:pt>
                <c:pt idx="15480">
                  <c:v>137695</c:v>
                </c:pt>
                <c:pt idx="15481">
                  <c:v>137692</c:v>
                </c:pt>
                <c:pt idx="15482">
                  <c:v>137682</c:v>
                </c:pt>
                <c:pt idx="15483">
                  <c:v>137682</c:v>
                </c:pt>
                <c:pt idx="15484">
                  <c:v>137678</c:v>
                </c:pt>
                <c:pt idx="15485">
                  <c:v>137677</c:v>
                </c:pt>
                <c:pt idx="15486">
                  <c:v>137658</c:v>
                </c:pt>
                <c:pt idx="15487">
                  <c:v>137657</c:v>
                </c:pt>
                <c:pt idx="15488">
                  <c:v>137649</c:v>
                </c:pt>
                <c:pt idx="15489">
                  <c:v>137641</c:v>
                </c:pt>
                <c:pt idx="15490">
                  <c:v>137640</c:v>
                </c:pt>
                <c:pt idx="15491">
                  <c:v>137640</c:v>
                </c:pt>
                <c:pt idx="15492">
                  <c:v>137636</c:v>
                </c:pt>
                <c:pt idx="15493">
                  <c:v>137635</c:v>
                </c:pt>
                <c:pt idx="15494">
                  <c:v>137614</c:v>
                </c:pt>
                <c:pt idx="15495">
                  <c:v>137614</c:v>
                </c:pt>
                <c:pt idx="15496">
                  <c:v>137611</c:v>
                </c:pt>
                <c:pt idx="15497">
                  <c:v>137607</c:v>
                </c:pt>
                <c:pt idx="15498">
                  <c:v>137606</c:v>
                </c:pt>
                <c:pt idx="15499">
                  <c:v>137606</c:v>
                </c:pt>
                <c:pt idx="15500">
                  <c:v>137605</c:v>
                </c:pt>
                <c:pt idx="15501">
                  <c:v>137604</c:v>
                </c:pt>
                <c:pt idx="15502">
                  <c:v>137593</c:v>
                </c:pt>
                <c:pt idx="15503">
                  <c:v>137590</c:v>
                </c:pt>
                <c:pt idx="15504">
                  <c:v>137584</c:v>
                </c:pt>
                <c:pt idx="15505">
                  <c:v>137579</c:v>
                </c:pt>
                <c:pt idx="15506">
                  <c:v>137575</c:v>
                </c:pt>
                <c:pt idx="15507">
                  <c:v>137575</c:v>
                </c:pt>
                <c:pt idx="15508">
                  <c:v>137570</c:v>
                </c:pt>
                <c:pt idx="15509">
                  <c:v>137570</c:v>
                </c:pt>
                <c:pt idx="15510">
                  <c:v>137567</c:v>
                </c:pt>
                <c:pt idx="15511">
                  <c:v>137565</c:v>
                </c:pt>
                <c:pt idx="15512">
                  <c:v>137553</c:v>
                </c:pt>
                <c:pt idx="15513">
                  <c:v>137549</c:v>
                </c:pt>
                <c:pt idx="15514">
                  <c:v>137543</c:v>
                </c:pt>
                <c:pt idx="15515">
                  <c:v>137538</c:v>
                </c:pt>
                <c:pt idx="15516">
                  <c:v>137533</c:v>
                </c:pt>
                <c:pt idx="15517">
                  <c:v>137530</c:v>
                </c:pt>
                <c:pt idx="15518">
                  <c:v>137529</c:v>
                </c:pt>
                <c:pt idx="15519">
                  <c:v>137525</c:v>
                </c:pt>
                <c:pt idx="15520">
                  <c:v>137525</c:v>
                </c:pt>
                <c:pt idx="15521">
                  <c:v>137521</c:v>
                </c:pt>
                <c:pt idx="15522">
                  <c:v>137520</c:v>
                </c:pt>
                <c:pt idx="15523">
                  <c:v>137516</c:v>
                </c:pt>
                <c:pt idx="15524">
                  <c:v>137515</c:v>
                </c:pt>
                <c:pt idx="15525">
                  <c:v>137514</c:v>
                </c:pt>
                <c:pt idx="15526">
                  <c:v>137513</c:v>
                </c:pt>
                <c:pt idx="15527">
                  <c:v>137512</c:v>
                </c:pt>
                <c:pt idx="15528">
                  <c:v>137510</c:v>
                </c:pt>
                <c:pt idx="15529">
                  <c:v>137503</c:v>
                </c:pt>
                <c:pt idx="15530">
                  <c:v>137503</c:v>
                </c:pt>
                <c:pt idx="15531">
                  <c:v>137502</c:v>
                </c:pt>
                <c:pt idx="15532">
                  <c:v>137501</c:v>
                </c:pt>
                <c:pt idx="15533">
                  <c:v>137500</c:v>
                </c:pt>
                <c:pt idx="15534">
                  <c:v>137497</c:v>
                </c:pt>
                <c:pt idx="15535">
                  <c:v>137497</c:v>
                </c:pt>
                <c:pt idx="15536">
                  <c:v>137495</c:v>
                </c:pt>
                <c:pt idx="15537">
                  <c:v>137494</c:v>
                </c:pt>
                <c:pt idx="15538">
                  <c:v>137492</c:v>
                </c:pt>
                <c:pt idx="15539">
                  <c:v>137491</c:v>
                </c:pt>
                <c:pt idx="15540">
                  <c:v>137490</c:v>
                </c:pt>
                <c:pt idx="15541">
                  <c:v>137486</c:v>
                </c:pt>
                <c:pt idx="15542">
                  <c:v>137485</c:v>
                </c:pt>
                <c:pt idx="15543">
                  <c:v>137483</c:v>
                </c:pt>
                <c:pt idx="15544">
                  <c:v>137479</c:v>
                </c:pt>
                <c:pt idx="15545">
                  <c:v>137473</c:v>
                </c:pt>
                <c:pt idx="15546">
                  <c:v>137470</c:v>
                </c:pt>
                <c:pt idx="15547">
                  <c:v>137462</c:v>
                </c:pt>
                <c:pt idx="15548">
                  <c:v>137461</c:v>
                </c:pt>
                <c:pt idx="15549">
                  <c:v>137459</c:v>
                </c:pt>
                <c:pt idx="15550">
                  <c:v>137445</c:v>
                </c:pt>
                <c:pt idx="15551">
                  <c:v>137439</c:v>
                </c:pt>
                <c:pt idx="15552">
                  <c:v>137431</c:v>
                </c:pt>
                <c:pt idx="15553">
                  <c:v>137426</c:v>
                </c:pt>
                <c:pt idx="15554">
                  <c:v>137421</c:v>
                </c:pt>
                <c:pt idx="15555">
                  <c:v>137412</c:v>
                </c:pt>
                <c:pt idx="15556">
                  <c:v>137405</c:v>
                </c:pt>
                <c:pt idx="15557">
                  <c:v>137404</c:v>
                </c:pt>
                <c:pt idx="15558">
                  <c:v>137400</c:v>
                </c:pt>
                <c:pt idx="15559">
                  <c:v>137389</c:v>
                </c:pt>
                <c:pt idx="15560">
                  <c:v>137387</c:v>
                </c:pt>
                <c:pt idx="15561">
                  <c:v>137386</c:v>
                </c:pt>
                <c:pt idx="15562">
                  <c:v>137386</c:v>
                </c:pt>
                <c:pt idx="15563">
                  <c:v>137377</c:v>
                </c:pt>
                <c:pt idx="15564">
                  <c:v>137372</c:v>
                </c:pt>
                <c:pt idx="15565">
                  <c:v>137371</c:v>
                </c:pt>
                <c:pt idx="15566">
                  <c:v>137365</c:v>
                </c:pt>
                <c:pt idx="15567">
                  <c:v>137353</c:v>
                </c:pt>
                <c:pt idx="15568">
                  <c:v>137349</c:v>
                </c:pt>
                <c:pt idx="15569">
                  <c:v>137348</c:v>
                </c:pt>
                <c:pt idx="15570">
                  <c:v>137345</c:v>
                </c:pt>
                <c:pt idx="15571">
                  <c:v>137342</c:v>
                </c:pt>
                <c:pt idx="15572">
                  <c:v>137332</c:v>
                </c:pt>
                <c:pt idx="15573">
                  <c:v>137332</c:v>
                </c:pt>
                <c:pt idx="15574">
                  <c:v>137327</c:v>
                </c:pt>
                <c:pt idx="15575">
                  <c:v>137325</c:v>
                </c:pt>
                <c:pt idx="15576">
                  <c:v>137324</c:v>
                </c:pt>
                <c:pt idx="15577">
                  <c:v>137323</c:v>
                </c:pt>
                <c:pt idx="15578">
                  <c:v>137322</c:v>
                </c:pt>
                <c:pt idx="15579">
                  <c:v>137311</c:v>
                </c:pt>
                <c:pt idx="15580">
                  <c:v>137295</c:v>
                </c:pt>
                <c:pt idx="15581">
                  <c:v>137293</c:v>
                </c:pt>
                <c:pt idx="15582">
                  <c:v>137293</c:v>
                </c:pt>
                <c:pt idx="15583">
                  <c:v>137290</c:v>
                </c:pt>
                <c:pt idx="15584">
                  <c:v>137284</c:v>
                </c:pt>
                <c:pt idx="15585">
                  <c:v>137282</c:v>
                </c:pt>
                <c:pt idx="15586">
                  <c:v>137277</c:v>
                </c:pt>
                <c:pt idx="15587">
                  <c:v>137270</c:v>
                </c:pt>
                <c:pt idx="15588">
                  <c:v>137259</c:v>
                </c:pt>
                <c:pt idx="15589">
                  <c:v>137258</c:v>
                </c:pt>
                <c:pt idx="15590">
                  <c:v>137257</c:v>
                </c:pt>
                <c:pt idx="15591">
                  <c:v>137241</c:v>
                </c:pt>
                <c:pt idx="15592">
                  <c:v>137232</c:v>
                </c:pt>
                <c:pt idx="15593">
                  <c:v>137231</c:v>
                </c:pt>
                <c:pt idx="15594">
                  <c:v>137231</c:v>
                </c:pt>
                <c:pt idx="15595">
                  <c:v>137227</c:v>
                </c:pt>
                <c:pt idx="15596">
                  <c:v>137223</c:v>
                </c:pt>
                <c:pt idx="15597">
                  <c:v>137218</c:v>
                </c:pt>
                <c:pt idx="15598">
                  <c:v>137206</c:v>
                </c:pt>
                <c:pt idx="15599">
                  <c:v>137204</c:v>
                </c:pt>
                <c:pt idx="15600">
                  <c:v>137200</c:v>
                </c:pt>
                <c:pt idx="15601">
                  <c:v>137199</c:v>
                </c:pt>
                <c:pt idx="15602">
                  <c:v>137192</c:v>
                </c:pt>
                <c:pt idx="15603">
                  <c:v>137192</c:v>
                </c:pt>
                <c:pt idx="15604">
                  <c:v>137185</c:v>
                </c:pt>
                <c:pt idx="15605">
                  <c:v>137182</c:v>
                </c:pt>
                <c:pt idx="15606">
                  <c:v>137181</c:v>
                </c:pt>
                <c:pt idx="15607">
                  <c:v>137179</c:v>
                </c:pt>
                <c:pt idx="15608">
                  <c:v>137177</c:v>
                </c:pt>
                <c:pt idx="15609">
                  <c:v>137175</c:v>
                </c:pt>
                <c:pt idx="15610">
                  <c:v>137173</c:v>
                </c:pt>
                <c:pt idx="15611">
                  <c:v>137172</c:v>
                </c:pt>
                <c:pt idx="15612">
                  <c:v>137169</c:v>
                </c:pt>
                <c:pt idx="15613">
                  <c:v>137165</c:v>
                </c:pt>
                <c:pt idx="15614">
                  <c:v>137162</c:v>
                </c:pt>
                <c:pt idx="15615">
                  <c:v>137162</c:v>
                </c:pt>
                <c:pt idx="15616">
                  <c:v>137157</c:v>
                </c:pt>
                <c:pt idx="15617">
                  <c:v>137157</c:v>
                </c:pt>
                <c:pt idx="15618">
                  <c:v>137157</c:v>
                </c:pt>
                <c:pt idx="15619">
                  <c:v>137150</c:v>
                </c:pt>
                <c:pt idx="15620">
                  <c:v>137149</c:v>
                </c:pt>
                <c:pt idx="15621">
                  <c:v>137144</c:v>
                </c:pt>
                <c:pt idx="15622">
                  <c:v>137140</c:v>
                </c:pt>
                <c:pt idx="15623">
                  <c:v>137124</c:v>
                </c:pt>
                <c:pt idx="15624">
                  <c:v>137121</c:v>
                </c:pt>
                <c:pt idx="15625">
                  <c:v>137116</c:v>
                </c:pt>
                <c:pt idx="15626">
                  <c:v>137116</c:v>
                </c:pt>
                <c:pt idx="15627">
                  <c:v>137111</c:v>
                </c:pt>
                <c:pt idx="15628">
                  <c:v>137103</c:v>
                </c:pt>
                <c:pt idx="15629">
                  <c:v>137102</c:v>
                </c:pt>
                <c:pt idx="15630">
                  <c:v>137099</c:v>
                </c:pt>
                <c:pt idx="15631">
                  <c:v>137090</c:v>
                </c:pt>
                <c:pt idx="15632">
                  <c:v>137089</c:v>
                </c:pt>
                <c:pt idx="15633">
                  <c:v>137087</c:v>
                </c:pt>
                <c:pt idx="15634">
                  <c:v>137086</c:v>
                </c:pt>
                <c:pt idx="15635">
                  <c:v>137077</c:v>
                </c:pt>
                <c:pt idx="15636">
                  <c:v>137076</c:v>
                </c:pt>
                <c:pt idx="15637">
                  <c:v>137072</c:v>
                </c:pt>
                <c:pt idx="15638">
                  <c:v>137070</c:v>
                </c:pt>
                <c:pt idx="15639">
                  <c:v>137066</c:v>
                </c:pt>
                <c:pt idx="15640">
                  <c:v>137064</c:v>
                </c:pt>
                <c:pt idx="15641">
                  <c:v>137062</c:v>
                </c:pt>
                <c:pt idx="15642">
                  <c:v>137054</c:v>
                </c:pt>
                <c:pt idx="15643">
                  <c:v>137051</c:v>
                </c:pt>
                <c:pt idx="15644">
                  <c:v>137048</c:v>
                </c:pt>
                <c:pt idx="15645">
                  <c:v>137047</c:v>
                </c:pt>
                <c:pt idx="15646">
                  <c:v>137041</c:v>
                </c:pt>
                <c:pt idx="15647">
                  <c:v>137031</c:v>
                </c:pt>
                <c:pt idx="15648">
                  <c:v>137030</c:v>
                </c:pt>
                <c:pt idx="15649">
                  <c:v>137029</c:v>
                </c:pt>
                <c:pt idx="15650">
                  <c:v>137025</c:v>
                </c:pt>
                <c:pt idx="15651">
                  <c:v>137024</c:v>
                </c:pt>
                <c:pt idx="15652">
                  <c:v>137018</c:v>
                </c:pt>
                <c:pt idx="15653">
                  <c:v>137016</c:v>
                </c:pt>
                <c:pt idx="15654">
                  <c:v>137005</c:v>
                </c:pt>
                <c:pt idx="15655">
                  <c:v>136993</c:v>
                </c:pt>
                <c:pt idx="15656">
                  <c:v>136993</c:v>
                </c:pt>
                <c:pt idx="15657">
                  <c:v>136990</c:v>
                </c:pt>
                <c:pt idx="15658">
                  <c:v>136987</c:v>
                </c:pt>
                <c:pt idx="15659">
                  <c:v>136987</c:v>
                </c:pt>
                <c:pt idx="15660">
                  <c:v>136984</c:v>
                </c:pt>
                <c:pt idx="15661">
                  <c:v>136984</c:v>
                </c:pt>
                <c:pt idx="15662">
                  <c:v>136966</c:v>
                </c:pt>
                <c:pt idx="15663">
                  <c:v>136963</c:v>
                </c:pt>
                <c:pt idx="15664">
                  <c:v>136962</c:v>
                </c:pt>
                <c:pt idx="15665">
                  <c:v>136962</c:v>
                </c:pt>
                <c:pt idx="15666">
                  <c:v>136961</c:v>
                </c:pt>
                <c:pt idx="15667">
                  <c:v>136959</c:v>
                </c:pt>
                <c:pt idx="15668">
                  <c:v>136949</c:v>
                </c:pt>
                <c:pt idx="15669">
                  <c:v>136944</c:v>
                </c:pt>
                <c:pt idx="15670">
                  <c:v>136939</c:v>
                </c:pt>
                <c:pt idx="15671">
                  <c:v>136937</c:v>
                </c:pt>
                <c:pt idx="15672">
                  <c:v>136936</c:v>
                </c:pt>
                <c:pt idx="15673">
                  <c:v>136925</c:v>
                </c:pt>
                <c:pt idx="15674">
                  <c:v>136923</c:v>
                </c:pt>
                <c:pt idx="15675">
                  <c:v>136921</c:v>
                </c:pt>
                <c:pt idx="15676">
                  <c:v>136920</c:v>
                </c:pt>
                <c:pt idx="15677">
                  <c:v>136911</c:v>
                </c:pt>
                <c:pt idx="15678">
                  <c:v>136908</c:v>
                </c:pt>
                <c:pt idx="15679">
                  <c:v>136902</c:v>
                </c:pt>
                <c:pt idx="15680">
                  <c:v>136901</c:v>
                </c:pt>
                <c:pt idx="15681">
                  <c:v>136899</c:v>
                </c:pt>
                <c:pt idx="15682">
                  <c:v>136888</c:v>
                </c:pt>
                <c:pt idx="15683">
                  <c:v>136866</c:v>
                </c:pt>
                <c:pt idx="15684">
                  <c:v>136862</c:v>
                </c:pt>
                <c:pt idx="15685">
                  <c:v>136861</c:v>
                </c:pt>
                <c:pt idx="15686">
                  <c:v>136861</c:v>
                </c:pt>
                <c:pt idx="15687">
                  <c:v>136859</c:v>
                </c:pt>
                <c:pt idx="15688">
                  <c:v>136857</c:v>
                </c:pt>
                <c:pt idx="15689">
                  <c:v>136852</c:v>
                </c:pt>
                <c:pt idx="15690">
                  <c:v>136844</c:v>
                </c:pt>
                <c:pt idx="15691">
                  <c:v>136837</c:v>
                </c:pt>
                <c:pt idx="15692">
                  <c:v>136836</c:v>
                </c:pt>
                <c:pt idx="15693">
                  <c:v>136836</c:v>
                </c:pt>
                <c:pt idx="15694">
                  <c:v>136834</c:v>
                </c:pt>
                <c:pt idx="15695">
                  <c:v>136827</c:v>
                </c:pt>
                <c:pt idx="15696">
                  <c:v>136821</c:v>
                </c:pt>
                <c:pt idx="15697">
                  <c:v>136820</c:v>
                </c:pt>
                <c:pt idx="15698">
                  <c:v>136819</c:v>
                </c:pt>
                <c:pt idx="15699">
                  <c:v>136809</c:v>
                </c:pt>
                <c:pt idx="15700">
                  <c:v>136808</c:v>
                </c:pt>
                <c:pt idx="15701">
                  <c:v>136806</c:v>
                </c:pt>
                <c:pt idx="15702">
                  <c:v>136804</c:v>
                </c:pt>
                <c:pt idx="15703">
                  <c:v>136799</c:v>
                </c:pt>
                <c:pt idx="15704">
                  <c:v>136791</c:v>
                </c:pt>
                <c:pt idx="15705">
                  <c:v>136776</c:v>
                </c:pt>
                <c:pt idx="15706">
                  <c:v>136775</c:v>
                </c:pt>
                <c:pt idx="15707">
                  <c:v>136774</c:v>
                </c:pt>
                <c:pt idx="15708">
                  <c:v>136773</c:v>
                </c:pt>
                <c:pt idx="15709">
                  <c:v>136766</c:v>
                </c:pt>
                <c:pt idx="15710">
                  <c:v>136761</c:v>
                </c:pt>
                <c:pt idx="15711">
                  <c:v>136760</c:v>
                </c:pt>
                <c:pt idx="15712">
                  <c:v>136747</c:v>
                </c:pt>
                <c:pt idx="15713">
                  <c:v>136718</c:v>
                </c:pt>
                <c:pt idx="15714">
                  <c:v>136712</c:v>
                </c:pt>
                <c:pt idx="15715">
                  <c:v>136697</c:v>
                </c:pt>
                <c:pt idx="15716">
                  <c:v>136696</c:v>
                </c:pt>
                <c:pt idx="15717">
                  <c:v>136693</c:v>
                </c:pt>
                <c:pt idx="15718">
                  <c:v>136691</c:v>
                </c:pt>
                <c:pt idx="15719">
                  <c:v>136690</c:v>
                </c:pt>
                <c:pt idx="15720">
                  <c:v>136676</c:v>
                </c:pt>
                <c:pt idx="15721">
                  <c:v>136675</c:v>
                </c:pt>
                <c:pt idx="15722">
                  <c:v>136673</c:v>
                </c:pt>
                <c:pt idx="15723">
                  <c:v>136667</c:v>
                </c:pt>
                <c:pt idx="15724">
                  <c:v>136666</c:v>
                </c:pt>
                <c:pt idx="15725">
                  <c:v>136664</c:v>
                </c:pt>
                <c:pt idx="15726">
                  <c:v>136663</c:v>
                </c:pt>
                <c:pt idx="15727">
                  <c:v>136656</c:v>
                </c:pt>
                <c:pt idx="15728">
                  <c:v>136654</c:v>
                </c:pt>
                <c:pt idx="15729">
                  <c:v>136649</c:v>
                </c:pt>
                <c:pt idx="15730">
                  <c:v>136642</c:v>
                </c:pt>
                <c:pt idx="15731">
                  <c:v>136642</c:v>
                </c:pt>
                <c:pt idx="15732">
                  <c:v>136640</c:v>
                </c:pt>
                <c:pt idx="15733">
                  <c:v>136638</c:v>
                </c:pt>
                <c:pt idx="15734">
                  <c:v>136631</c:v>
                </c:pt>
                <c:pt idx="15735">
                  <c:v>136629</c:v>
                </c:pt>
                <c:pt idx="15736">
                  <c:v>136622</c:v>
                </c:pt>
                <c:pt idx="15737">
                  <c:v>136618</c:v>
                </c:pt>
                <c:pt idx="15738">
                  <c:v>136616</c:v>
                </c:pt>
                <c:pt idx="15739">
                  <c:v>136615</c:v>
                </c:pt>
                <c:pt idx="15740">
                  <c:v>136614</c:v>
                </c:pt>
                <c:pt idx="15741">
                  <c:v>136610</c:v>
                </c:pt>
                <c:pt idx="15742">
                  <c:v>136608</c:v>
                </c:pt>
                <c:pt idx="15743">
                  <c:v>136605</c:v>
                </c:pt>
                <c:pt idx="15744">
                  <c:v>136604</c:v>
                </c:pt>
                <c:pt idx="15745">
                  <c:v>136599</c:v>
                </c:pt>
                <c:pt idx="15746">
                  <c:v>136592</c:v>
                </c:pt>
                <c:pt idx="15747">
                  <c:v>136585</c:v>
                </c:pt>
                <c:pt idx="15748">
                  <c:v>136571</c:v>
                </c:pt>
                <c:pt idx="15749">
                  <c:v>136569</c:v>
                </c:pt>
                <c:pt idx="15750">
                  <c:v>136569</c:v>
                </c:pt>
                <c:pt idx="15751">
                  <c:v>136569</c:v>
                </c:pt>
                <c:pt idx="15752">
                  <c:v>136566</c:v>
                </c:pt>
                <c:pt idx="15753">
                  <c:v>136563</c:v>
                </c:pt>
                <c:pt idx="15754">
                  <c:v>136561</c:v>
                </c:pt>
                <c:pt idx="15755">
                  <c:v>136551</c:v>
                </c:pt>
                <c:pt idx="15756">
                  <c:v>136549</c:v>
                </c:pt>
                <c:pt idx="15757">
                  <c:v>136538</c:v>
                </c:pt>
                <c:pt idx="15758">
                  <c:v>136510</c:v>
                </c:pt>
                <c:pt idx="15759">
                  <c:v>136502</c:v>
                </c:pt>
                <c:pt idx="15760">
                  <c:v>136500</c:v>
                </c:pt>
                <c:pt idx="15761">
                  <c:v>136498</c:v>
                </c:pt>
                <c:pt idx="15762">
                  <c:v>136496</c:v>
                </c:pt>
                <c:pt idx="15763">
                  <c:v>136496</c:v>
                </c:pt>
                <c:pt idx="15764">
                  <c:v>136495</c:v>
                </c:pt>
                <c:pt idx="15765">
                  <c:v>136495</c:v>
                </c:pt>
                <c:pt idx="15766">
                  <c:v>136493</c:v>
                </c:pt>
                <c:pt idx="15767">
                  <c:v>136489</c:v>
                </c:pt>
                <c:pt idx="15768">
                  <c:v>136489</c:v>
                </c:pt>
                <c:pt idx="15769">
                  <c:v>136486</c:v>
                </c:pt>
                <c:pt idx="15770">
                  <c:v>136480</c:v>
                </c:pt>
                <c:pt idx="15771">
                  <c:v>136475</c:v>
                </c:pt>
                <c:pt idx="15772">
                  <c:v>136474</c:v>
                </c:pt>
                <c:pt idx="15773">
                  <c:v>136471</c:v>
                </c:pt>
                <c:pt idx="15774">
                  <c:v>136470</c:v>
                </c:pt>
                <c:pt idx="15775">
                  <c:v>136462</c:v>
                </c:pt>
                <c:pt idx="15776">
                  <c:v>136455</c:v>
                </c:pt>
                <c:pt idx="15777">
                  <c:v>136450</c:v>
                </c:pt>
                <c:pt idx="15778">
                  <c:v>136446</c:v>
                </c:pt>
                <c:pt idx="15779">
                  <c:v>136438</c:v>
                </c:pt>
                <c:pt idx="15780">
                  <c:v>136435</c:v>
                </c:pt>
                <c:pt idx="15781">
                  <c:v>136420</c:v>
                </c:pt>
                <c:pt idx="15782">
                  <c:v>136403</c:v>
                </c:pt>
                <c:pt idx="15783">
                  <c:v>136402</c:v>
                </c:pt>
                <c:pt idx="15784">
                  <c:v>136397</c:v>
                </c:pt>
                <c:pt idx="15785">
                  <c:v>136393</c:v>
                </c:pt>
                <c:pt idx="15786">
                  <c:v>136393</c:v>
                </c:pt>
                <c:pt idx="15787">
                  <c:v>136390</c:v>
                </c:pt>
                <c:pt idx="15788">
                  <c:v>136381</c:v>
                </c:pt>
                <c:pt idx="15789">
                  <c:v>136381</c:v>
                </c:pt>
                <c:pt idx="15790">
                  <c:v>136379</c:v>
                </c:pt>
                <c:pt idx="15791">
                  <c:v>136372</c:v>
                </c:pt>
                <c:pt idx="15792">
                  <c:v>136371</c:v>
                </c:pt>
                <c:pt idx="15793">
                  <c:v>136368</c:v>
                </c:pt>
                <c:pt idx="15794">
                  <c:v>136364</c:v>
                </c:pt>
                <c:pt idx="15795">
                  <c:v>136362</c:v>
                </c:pt>
                <c:pt idx="15796">
                  <c:v>136357</c:v>
                </c:pt>
                <c:pt idx="15797">
                  <c:v>136357</c:v>
                </c:pt>
                <c:pt idx="15798">
                  <c:v>136355</c:v>
                </c:pt>
                <c:pt idx="15799">
                  <c:v>136353</c:v>
                </c:pt>
                <c:pt idx="15800">
                  <c:v>136348</c:v>
                </c:pt>
                <c:pt idx="15801">
                  <c:v>136348</c:v>
                </c:pt>
                <c:pt idx="15802">
                  <c:v>136345</c:v>
                </c:pt>
                <c:pt idx="15803">
                  <c:v>136339</c:v>
                </c:pt>
                <c:pt idx="15804">
                  <c:v>136338</c:v>
                </c:pt>
                <c:pt idx="15805">
                  <c:v>136337</c:v>
                </c:pt>
                <c:pt idx="15806">
                  <c:v>136336</c:v>
                </c:pt>
                <c:pt idx="15807">
                  <c:v>136330</c:v>
                </c:pt>
                <c:pt idx="15808">
                  <c:v>136329</c:v>
                </c:pt>
                <c:pt idx="15809">
                  <c:v>136327</c:v>
                </c:pt>
                <c:pt idx="15810">
                  <c:v>136315</c:v>
                </c:pt>
                <c:pt idx="15811">
                  <c:v>136313</c:v>
                </c:pt>
                <c:pt idx="15812">
                  <c:v>136306</c:v>
                </c:pt>
                <c:pt idx="15813">
                  <c:v>136302</c:v>
                </c:pt>
                <c:pt idx="15814">
                  <c:v>136288</c:v>
                </c:pt>
                <c:pt idx="15815">
                  <c:v>136285</c:v>
                </c:pt>
                <c:pt idx="15816">
                  <c:v>136279</c:v>
                </c:pt>
                <c:pt idx="15817">
                  <c:v>136278</c:v>
                </c:pt>
                <c:pt idx="15818">
                  <c:v>136259</c:v>
                </c:pt>
                <c:pt idx="15819">
                  <c:v>136258</c:v>
                </c:pt>
                <c:pt idx="15820">
                  <c:v>136258</c:v>
                </c:pt>
                <c:pt idx="15821">
                  <c:v>136249</c:v>
                </c:pt>
                <c:pt idx="15822">
                  <c:v>136247</c:v>
                </c:pt>
                <c:pt idx="15823">
                  <c:v>136245</c:v>
                </c:pt>
                <c:pt idx="15824">
                  <c:v>136238</c:v>
                </c:pt>
                <c:pt idx="15825">
                  <c:v>136232</c:v>
                </c:pt>
                <c:pt idx="15826">
                  <c:v>136220</c:v>
                </c:pt>
                <c:pt idx="15827">
                  <c:v>136214</c:v>
                </c:pt>
                <c:pt idx="15828">
                  <c:v>136210</c:v>
                </c:pt>
                <c:pt idx="15829">
                  <c:v>136209</c:v>
                </c:pt>
                <c:pt idx="15830">
                  <c:v>136206</c:v>
                </c:pt>
                <c:pt idx="15831">
                  <c:v>136203</c:v>
                </c:pt>
                <c:pt idx="15832">
                  <c:v>136178</c:v>
                </c:pt>
                <c:pt idx="15833">
                  <c:v>136177</c:v>
                </c:pt>
                <c:pt idx="15834">
                  <c:v>136173</c:v>
                </c:pt>
                <c:pt idx="15835">
                  <c:v>136165</c:v>
                </c:pt>
                <c:pt idx="15836">
                  <c:v>136155</c:v>
                </c:pt>
                <c:pt idx="15837">
                  <c:v>136151</c:v>
                </c:pt>
                <c:pt idx="15838">
                  <c:v>136131</c:v>
                </c:pt>
                <c:pt idx="15839">
                  <c:v>136129</c:v>
                </c:pt>
                <c:pt idx="15840">
                  <c:v>136128</c:v>
                </c:pt>
                <c:pt idx="15841">
                  <c:v>136114</c:v>
                </c:pt>
                <c:pt idx="15842">
                  <c:v>136110</c:v>
                </c:pt>
                <c:pt idx="15843">
                  <c:v>136104</c:v>
                </c:pt>
                <c:pt idx="15844">
                  <c:v>136100</c:v>
                </c:pt>
                <c:pt idx="15845">
                  <c:v>136087</c:v>
                </c:pt>
                <c:pt idx="15846">
                  <c:v>136086</c:v>
                </c:pt>
                <c:pt idx="15847">
                  <c:v>136086</c:v>
                </c:pt>
                <c:pt idx="15848">
                  <c:v>136080</c:v>
                </c:pt>
                <c:pt idx="15849">
                  <c:v>136075</c:v>
                </c:pt>
                <c:pt idx="15850">
                  <c:v>136072</c:v>
                </c:pt>
                <c:pt idx="15851">
                  <c:v>136072</c:v>
                </c:pt>
                <c:pt idx="15852">
                  <c:v>136068</c:v>
                </c:pt>
                <c:pt idx="15853">
                  <c:v>136068</c:v>
                </c:pt>
                <c:pt idx="15854">
                  <c:v>136066</c:v>
                </c:pt>
                <c:pt idx="15855">
                  <c:v>136061</c:v>
                </c:pt>
                <c:pt idx="15856">
                  <c:v>136035</c:v>
                </c:pt>
                <c:pt idx="15857">
                  <c:v>136027</c:v>
                </c:pt>
                <c:pt idx="15858">
                  <c:v>136026</c:v>
                </c:pt>
                <c:pt idx="15859">
                  <c:v>136022</c:v>
                </c:pt>
                <c:pt idx="15860">
                  <c:v>136020</c:v>
                </c:pt>
                <c:pt idx="15861">
                  <c:v>136020</c:v>
                </c:pt>
                <c:pt idx="15862">
                  <c:v>136019</c:v>
                </c:pt>
                <c:pt idx="15863">
                  <c:v>136016</c:v>
                </c:pt>
                <c:pt idx="15864">
                  <c:v>136016</c:v>
                </c:pt>
                <c:pt idx="15865">
                  <c:v>136014</c:v>
                </c:pt>
                <c:pt idx="15866">
                  <c:v>136011</c:v>
                </c:pt>
                <c:pt idx="15867">
                  <c:v>136009</c:v>
                </c:pt>
                <c:pt idx="15868">
                  <c:v>136003</c:v>
                </c:pt>
                <c:pt idx="15869">
                  <c:v>135999</c:v>
                </c:pt>
                <c:pt idx="15870">
                  <c:v>135998</c:v>
                </c:pt>
                <c:pt idx="15871">
                  <c:v>135994</c:v>
                </c:pt>
                <c:pt idx="15872">
                  <c:v>135994</c:v>
                </c:pt>
                <c:pt idx="15873">
                  <c:v>135989</c:v>
                </c:pt>
                <c:pt idx="15874">
                  <c:v>135989</c:v>
                </c:pt>
                <c:pt idx="15875">
                  <c:v>135984</c:v>
                </c:pt>
                <c:pt idx="15876">
                  <c:v>135982</c:v>
                </c:pt>
                <c:pt idx="15877">
                  <c:v>135982</c:v>
                </c:pt>
                <c:pt idx="15878">
                  <c:v>135978</c:v>
                </c:pt>
                <c:pt idx="15879">
                  <c:v>135977</c:v>
                </c:pt>
                <c:pt idx="15880">
                  <c:v>135972</c:v>
                </c:pt>
                <c:pt idx="15881">
                  <c:v>135971</c:v>
                </c:pt>
                <c:pt idx="15882">
                  <c:v>135968</c:v>
                </c:pt>
                <c:pt idx="15883">
                  <c:v>135963</c:v>
                </c:pt>
                <c:pt idx="15884">
                  <c:v>135960</c:v>
                </c:pt>
                <c:pt idx="15885">
                  <c:v>135953</c:v>
                </c:pt>
                <c:pt idx="15886">
                  <c:v>135951</c:v>
                </c:pt>
                <c:pt idx="15887">
                  <c:v>135951</c:v>
                </c:pt>
                <c:pt idx="15888">
                  <c:v>135950</c:v>
                </c:pt>
                <c:pt idx="15889">
                  <c:v>135947</c:v>
                </c:pt>
                <c:pt idx="15890">
                  <c:v>135944</c:v>
                </c:pt>
                <c:pt idx="15891">
                  <c:v>135939</c:v>
                </c:pt>
                <c:pt idx="15892">
                  <c:v>135937</c:v>
                </c:pt>
                <c:pt idx="15893">
                  <c:v>135934</c:v>
                </c:pt>
                <c:pt idx="15894">
                  <c:v>135933</c:v>
                </c:pt>
                <c:pt idx="15895">
                  <c:v>135933</c:v>
                </c:pt>
                <c:pt idx="15896">
                  <c:v>135926</c:v>
                </c:pt>
                <c:pt idx="15897">
                  <c:v>135920</c:v>
                </c:pt>
                <c:pt idx="15898">
                  <c:v>135918</c:v>
                </c:pt>
                <c:pt idx="15899">
                  <c:v>135915</c:v>
                </c:pt>
                <c:pt idx="15900">
                  <c:v>135914</c:v>
                </c:pt>
                <c:pt idx="15901">
                  <c:v>135913</c:v>
                </c:pt>
                <c:pt idx="15902">
                  <c:v>135897</c:v>
                </c:pt>
                <c:pt idx="15903">
                  <c:v>135897</c:v>
                </c:pt>
                <c:pt idx="15904">
                  <c:v>135892</c:v>
                </c:pt>
                <c:pt idx="15905">
                  <c:v>135890</c:v>
                </c:pt>
                <c:pt idx="15906">
                  <c:v>135887</c:v>
                </c:pt>
                <c:pt idx="15907">
                  <c:v>135876</c:v>
                </c:pt>
                <c:pt idx="15908">
                  <c:v>135876</c:v>
                </c:pt>
                <c:pt idx="15909">
                  <c:v>135871</c:v>
                </c:pt>
                <c:pt idx="15910">
                  <c:v>135863</c:v>
                </c:pt>
                <c:pt idx="15911">
                  <c:v>135854</c:v>
                </c:pt>
                <c:pt idx="15912">
                  <c:v>135852</c:v>
                </c:pt>
                <c:pt idx="15913">
                  <c:v>135851</c:v>
                </c:pt>
                <c:pt idx="15914">
                  <c:v>135849</c:v>
                </c:pt>
                <c:pt idx="15915">
                  <c:v>135843</c:v>
                </c:pt>
                <c:pt idx="15916">
                  <c:v>135840</c:v>
                </c:pt>
                <c:pt idx="15917">
                  <c:v>135840</c:v>
                </c:pt>
                <c:pt idx="15918">
                  <c:v>135832</c:v>
                </c:pt>
                <c:pt idx="15919">
                  <c:v>135820</c:v>
                </c:pt>
                <c:pt idx="15920">
                  <c:v>135817</c:v>
                </c:pt>
                <c:pt idx="15921">
                  <c:v>135814</c:v>
                </c:pt>
                <c:pt idx="15922">
                  <c:v>135813</c:v>
                </c:pt>
                <c:pt idx="15923">
                  <c:v>135810</c:v>
                </c:pt>
                <c:pt idx="15924">
                  <c:v>135809</c:v>
                </c:pt>
                <c:pt idx="15925">
                  <c:v>135807</c:v>
                </c:pt>
                <c:pt idx="15926">
                  <c:v>135807</c:v>
                </c:pt>
                <c:pt idx="15927">
                  <c:v>135807</c:v>
                </c:pt>
                <c:pt idx="15928">
                  <c:v>135803</c:v>
                </c:pt>
                <c:pt idx="15929">
                  <c:v>135801</c:v>
                </c:pt>
                <c:pt idx="15930">
                  <c:v>135800</c:v>
                </c:pt>
                <c:pt idx="15931">
                  <c:v>135794</c:v>
                </c:pt>
                <c:pt idx="15932">
                  <c:v>135794</c:v>
                </c:pt>
                <c:pt idx="15933">
                  <c:v>135793</c:v>
                </c:pt>
                <c:pt idx="15934">
                  <c:v>135776</c:v>
                </c:pt>
                <c:pt idx="15935">
                  <c:v>135775</c:v>
                </c:pt>
                <c:pt idx="15936">
                  <c:v>135774</c:v>
                </c:pt>
                <c:pt idx="15937">
                  <c:v>135774</c:v>
                </c:pt>
                <c:pt idx="15938">
                  <c:v>135773</c:v>
                </c:pt>
                <c:pt idx="15939">
                  <c:v>135759</c:v>
                </c:pt>
                <c:pt idx="15940">
                  <c:v>135757</c:v>
                </c:pt>
                <c:pt idx="15941">
                  <c:v>135751</c:v>
                </c:pt>
                <c:pt idx="15942">
                  <c:v>135737</c:v>
                </c:pt>
                <c:pt idx="15943">
                  <c:v>135735</c:v>
                </c:pt>
                <c:pt idx="15944">
                  <c:v>135729</c:v>
                </c:pt>
                <c:pt idx="15945">
                  <c:v>135719</c:v>
                </c:pt>
                <c:pt idx="15946">
                  <c:v>135719</c:v>
                </c:pt>
                <c:pt idx="15947">
                  <c:v>135717</c:v>
                </c:pt>
                <c:pt idx="15948">
                  <c:v>135716</c:v>
                </c:pt>
                <c:pt idx="15949">
                  <c:v>135716</c:v>
                </c:pt>
                <c:pt idx="15950">
                  <c:v>135713</c:v>
                </c:pt>
                <c:pt idx="15951">
                  <c:v>135712</c:v>
                </c:pt>
                <c:pt idx="15952">
                  <c:v>135711</c:v>
                </c:pt>
                <c:pt idx="15953">
                  <c:v>135703</c:v>
                </c:pt>
                <c:pt idx="15954">
                  <c:v>135702</c:v>
                </c:pt>
                <c:pt idx="15955">
                  <c:v>135702</c:v>
                </c:pt>
                <c:pt idx="15956">
                  <c:v>135694</c:v>
                </c:pt>
                <c:pt idx="15957">
                  <c:v>135694</c:v>
                </c:pt>
                <c:pt idx="15958">
                  <c:v>135690</c:v>
                </c:pt>
                <c:pt idx="15959">
                  <c:v>135688</c:v>
                </c:pt>
                <c:pt idx="15960">
                  <c:v>135679</c:v>
                </c:pt>
                <c:pt idx="15961">
                  <c:v>135678</c:v>
                </c:pt>
                <c:pt idx="15962">
                  <c:v>135672</c:v>
                </c:pt>
                <c:pt idx="15963">
                  <c:v>135663</c:v>
                </c:pt>
                <c:pt idx="15964">
                  <c:v>135662</c:v>
                </c:pt>
                <c:pt idx="15965">
                  <c:v>135660</c:v>
                </c:pt>
                <c:pt idx="15966">
                  <c:v>135656</c:v>
                </c:pt>
                <c:pt idx="15967">
                  <c:v>135655</c:v>
                </c:pt>
                <c:pt idx="15968">
                  <c:v>135653</c:v>
                </c:pt>
                <c:pt idx="15969">
                  <c:v>135638</c:v>
                </c:pt>
                <c:pt idx="15970">
                  <c:v>135637</c:v>
                </c:pt>
                <c:pt idx="15971">
                  <c:v>135629</c:v>
                </c:pt>
                <c:pt idx="15972">
                  <c:v>135624</c:v>
                </c:pt>
                <c:pt idx="15973">
                  <c:v>135623</c:v>
                </c:pt>
                <c:pt idx="15974">
                  <c:v>135622</c:v>
                </c:pt>
                <c:pt idx="15975">
                  <c:v>135622</c:v>
                </c:pt>
                <c:pt idx="15976">
                  <c:v>135619</c:v>
                </c:pt>
                <c:pt idx="15977">
                  <c:v>135619</c:v>
                </c:pt>
                <c:pt idx="15978">
                  <c:v>135609</c:v>
                </c:pt>
                <c:pt idx="15979">
                  <c:v>135606</c:v>
                </c:pt>
                <c:pt idx="15980">
                  <c:v>135604</c:v>
                </c:pt>
                <c:pt idx="15981">
                  <c:v>135602</c:v>
                </c:pt>
                <c:pt idx="15982">
                  <c:v>135602</c:v>
                </c:pt>
                <c:pt idx="15983">
                  <c:v>135592</c:v>
                </c:pt>
                <c:pt idx="15984">
                  <c:v>135591</c:v>
                </c:pt>
                <c:pt idx="15985">
                  <c:v>135591</c:v>
                </c:pt>
                <c:pt idx="15986">
                  <c:v>135578</c:v>
                </c:pt>
                <c:pt idx="15987">
                  <c:v>135578</c:v>
                </c:pt>
                <c:pt idx="15988">
                  <c:v>135577</c:v>
                </c:pt>
                <c:pt idx="15989">
                  <c:v>135573</c:v>
                </c:pt>
                <c:pt idx="15990">
                  <c:v>135568</c:v>
                </c:pt>
                <c:pt idx="15991">
                  <c:v>135568</c:v>
                </c:pt>
                <c:pt idx="15992">
                  <c:v>135564</c:v>
                </c:pt>
                <c:pt idx="15993">
                  <c:v>135562</c:v>
                </c:pt>
                <c:pt idx="15994">
                  <c:v>135554</c:v>
                </c:pt>
                <c:pt idx="15995">
                  <c:v>135549</c:v>
                </c:pt>
                <c:pt idx="15996">
                  <c:v>135545</c:v>
                </c:pt>
                <c:pt idx="15997">
                  <c:v>135539</c:v>
                </c:pt>
                <c:pt idx="15998">
                  <c:v>135535</c:v>
                </c:pt>
                <c:pt idx="15999">
                  <c:v>135530</c:v>
                </c:pt>
                <c:pt idx="16000">
                  <c:v>135525</c:v>
                </c:pt>
                <c:pt idx="16001">
                  <c:v>135520</c:v>
                </c:pt>
                <c:pt idx="16002">
                  <c:v>135517</c:v>
                </c:pt>
                <c:pt idx="16003">
                  <c:v>135508</c:v>
                </c:pt>
                <c:pt idx="16004">
                  <c:v>135500</c:v>
                </c:pt>
                <c:pt idx="16005">
                  <c:v>135496</c:v>
                </c:pt>
                <c:pt idx="16006">
                  <c:v>135489</c:v>
                </c:pt>
                <c:pt idx="16007">
                  <c:v>135489</c:v>
                </c:pt>
                <c:pt idx="16008">
                  <c:v>135476</c:v>
                </c:pt>
                <c:pt idx="16009">
                  <c:v>135464</c:v>
                </c:pt>
                <c:pt idx="16010">
                  <c:v>135460</c:v>
                </c:pt>
                <c:pt idx="16011">
                  <c:v>135455</c:v>
                </c:pt>
                <c:pt idx="16012">
                  <c:v>135450</c:v>
                </c:pt>
                <c:pt idx="16013">
                  <c:v>135448</c:v>
                </c:pt>
                <c:pt idx="16014">
                  <c:v>135447</c:v>
                </c:pt>
                <c:pt idx="16015">
                  <c:v>135445</c:v>
                </c:pt>
                <c:pt idx="16016">
                  <c:v>135442</c:v>
                </c:pt>
                <c:pt idx="16017">
                  <c:v>135441</c:v>
                </c:pt>
                <c:pt idx="16018">
                  <c:v>135440</c:v>
                </c:pt>
                <c:pt idx="16019">
                  <c:v>135439</c:v>
                </c:pt>
                <c:pt idx="16020">
                  <c:v>135434</c:v>
                </c:pt>
                <c:pt idx="16021">
                  <c:v>135432</c:v>
                </c:pt>
                <c:pt idx="16022">
                  <c:v>135430</c:v>
                </c:pt>
                <c:pt idx="16023">
                  <c:v>135429</c:v>
                </c:pt>
                <c:pt idx="16024">
                  <c:v>135426</c:v>
                </c:pt>
                <c:pt idx="16025">
                  <c:v>135423</c:v>
                </c:pt>
                <c:pt idx="16026">
                  <c:v>135421</c:v>
                </c:pt>
                <c:pt idx="16027">
                  <c:v>135421</c:v>
                </c:pt>
                <c:pt idx="16028">
                  <c:v>135418</c:v>
                </c:pt>
                <c:pt idx="16029">
                  <c:v>135414</c:v>
                </c:pt>
                <c:pt idx="16030">
                  <c:v>135404</c:v>
                </c:pt>
                <c:pt idx="16031">
                  <c:v>135393</c:v>
                </c:pt>
                <c:pt idx="16032">
                  <c:v>135391</c:v>
                </c:pt>
                <c:pt idx="16033">
                  <c:v>135387</c:v>
                </c:pt>
                <c:pt idx="16034">
                  <c:v>135386</c:v>
                </c:pt>
                <c:pt idx="16035">
                  <c:v>135385</c:v>
                </c:pt>
                <c:pt idx="16036">
                  <c:v>135371</c:v>
                </c:pt>
                <c:pt idx="16037">
                  <c:v>135365</c:v>
                </c:pt>
                <c:pt idx="16038">
                  <c:v>135348</c:v>
                </c:pt>
                <c:pt idx="16039">
                  <c:v>135345</c:v>
                </c:pt>
                <c:pt idx="16040">
                  <c:v>135343</c:v>
                </c:pt>
                <c:pt idx="16041">
                  <c:v>135333</c:v>
                </c:pt>
                <c:pt idx="16042">
                  <c:v>135327</c:v>
                </c:pt>
                <c:pt idx="16043">
                  <c:v>135322</c:v>
                </c:pt>
                <c:pt idx="16044">
                  <c:v>135322</c:v>
                </c:pt>
                <c:pt idx="16045">
                  <c:v>135322</c:v>
                </c:pt>
                <c:pt idx="16046">
                  <c:v>135314</c:v>
                </c:pt>
                <c:pt idx="16047">
                  <c:v>135314</c:v>
                </c:pt>
                <c:pt idx="16048">
                  <c:v>135313</c:v>
                </c:pt>
                <c:pt idx="16049">
                  <c:v>135313</c:v>
                </c:pt>
                <c:pt idx="16050">
                  <c:v>135298</c:v>
                </c:pt>
                <c:pt idx="16051">
                  <c:v>135293</c:v>
                </c:pt>
                <c:pt idx="16052">
                  <c:v>135284</c:v>
                </c:pt>
                <c:pt idx="16053">
                  <c:v>135283</c:v>
                </c:pt>
                <c:pt idx="16054">
                  <c:v>135282</c:v>
                </c:pt>
                <c:pt idx="16055">
                  <c:v>135282</c:v>
                </c:pt>
                <c:pt idx="16056">
                  <c:v>135280</c:v>
                </c:pt>
                <c:pt idx="16057">
                  <c:v>135264</c:v>
                </c:pt>
                <c:pt idx="16058">
                  <c:v>135264</c:v>
                </c:pt>
                <c:pt idx="16059">
                  <c:v>135264</c:v>
                </c:pt>
                <c:pt idx="16060">
                  <c:v>135256</c:v>
                </c:pt>
                <c:pt idx="16061">
                  <c:v>135254</c:v>
                </c:pt>
                <c:pt idx="16062">
                  <c:v>135251</c:v>
                </c:pt>
                <c:pt idx="16063">
                  <c:v>135251</c:v>
                </c:pt>
                <c:pt idx="16064">
                  <c:v>135249</c:v>
                </c:pt>
                <c:pt idx="16065">
                  <c:v>135249</c:v>
                </c:pt>
                <c:pt idx="16066">
                  <c:v>135245</c:v>
                </c:pt>
                <c:pt idx="16067">
                  <c:v>135244</c:v>
                </c:pt>
                <c:pt idx="16068">
                  <c:v>135243</c:v>
                </c:pt>
                <c:pt idx="16069">
                  <c:v>135232</c:v>
                </c:pt>
                <c:pt idx="16070">
                  <c:v>135231</c:v>
                </c:pt>
                <c:pt idx="16071">
                  <c:v>135226</c:v>
                </c:pt>
                <c:pt idx="16072">
                  <c:v>135220</c:v>
                </c:pt>
                <c:pt idx="16073">
                  <c:v>135209</c:v>
                </c:pt>
                <c:pt idx="16074">
                  <c:v>135207</c:v>
                </c:pt>
                <c:pt idx="16075">
                  <c:v>135207</c:v>
                </c:pt>
                <c:pt idx="16076">
                  <c:v>135196</c:v>
                </c:pt>
                <c:pt idx="16077">
                  <c:v>135191</c:v>
                </c:pt>
                <c:pt idx="16078">
                  <c:v>135189</c:v>
                </c:pt>
                <c:pt idx="16079">
                  <c:v>135185</c:v>
                </c:pt>
                <c:pt idx="16080">
                  <c:v>135184</c:v>
                </c:pt>
                <c:pt idx="16081">
                  <c:v>135183</c:v>
                </c:pt>
                <c:pt idx="16082">
                  <c:v>135172</c:v>
                </c:pt>
                <c:pt idx="16083">
                  <c:v>135167</c:v>
                </c:pt>
                <c:pt idx="16084">
                  <c:v>135161</c:v>
                </c:pt>
                <c:pt idx="16085">
                  <c:v>135157</c:v>
                </c:pt>
                <c:pt idx="16086">
                  <c:v>135156</c:v>
                </c:pt>
                <c:pt idx="16087">
                  <c:v>135151</c:v>
                </c:pt>
                <c:pt idx="16088">
                  <c:v>135146</c:v>
                </c:pt>
                <c:pt idx="16089">
                  <c:v>135144</c:v>
                </c:pt>
                <c:pt idx="16090">
                  <c:v>135140</c:v>
                </c:pt>
                <c:pt idx="16091">
                  <c:v>135135</c:v>
                </c:pt>
                <c:pt idx="16092">
                  <c:v>135133</c:v>
                </c:pt>
                <c:pt idx="16093">
                  <c:v>135132</c:v>
                </c:pt>
                <c:pt idx="16094">
                  <c:v>135129</c:v>
                </c:pt>
                <c:pt idx="16095">
                  <c:v>135123</c:v>
                </c:pt>
                <c:pt idx="16096">
                  <c:v>135120</c:v>
                </c:pt>
                <c:pt idx="16097">
                  <c:v>135120</c:v>
                </c:pt>
                <c:pt idx="16098">
                  <c:v>135116</c:v>
                </c:pt>
                <c:pt idx="16099">
                  <c:v>135116</c:v>
                </c:pt>
                <c:pt idx="16100">
                  <c:v>135111</c:v>
                </c:pt>
                <c:pt idx="16101">
                  <c:v>135090</c:v>
                </c:pt>
                <c:pt idx="16102">
                  <c:v>135081</c:v>
                </c:pt>
                <c:pt idx="16103">
                  <c:v>135070</c:v>
                </c:pt>
                <c:pt idx="16104">
                  <c:v>135064</c:v>
                </c:pt>
                <c:pt idx="16105">
                  <c:v>135056</c:v>
                </c:pt>
                <c:pt idx="16106">
                  <c:v>135050</c:v>
                </c:pt>
                <c:pt idx="16107">
                  <c:v>135048</c:v>
                </c:pt>
                <c:pt idx="16108">
                  <c:v>135048</c:v>
                </c:pt>
                <c:pt idx="16109">
                  <c:v>135047</c:v>
                </c:pt>
                <c:pt idx="16110">
                  <c:v>135034</c:v>
                </c:pt>
                <c:pt idx="16111">
                  <c:v>135033</c:v>
                </c:pt>
                <c:pt idx="16112">
                  <c:v>135029</c:v>
                </c:pt>
                <c:pt idx="16113">
                  <c:v>135028</c:v>
                </c:pt>
                <c:pt idx="16114">
                  <c:v>135013</c:v>
                </c:pt>
                <c:pt idx="16115">
                  <c:v>135010</c:v>
                </c:pt>
                <c:pt idx="16116">
                  <c:v>135010</c:v>
                </c:pt>
                <c:pt idx="16117">
                  <c:v>135004</c:v>
                </c:pt>
                <c:pt idx="16118">
                  <c:v>135001</c:v>
                </c:pt>
                <c:pt idx="16119">
                  <c:v>134993</c:v>
                </c:pt>
                <c:pt idx="16120">
                  <c:v>134985</c:v>
                </c:pt>
                <c:pt idx="16121">
                  <c:v>134984</c:v>
                </c:pt>
                <c:pt idx="16122">
                  <c:v>134978</c:v>
                </c:pt>
                <c:pt idx="16123">
                  <c:v>134975</c:v>
                </c:pt>
                <c:pt idx="16124">
                  <c:v>134966</c:v>
                </c:pt>
                <c:pt idx="16125">
                  <c:v>134963</c:v>
                </c:pt>
                <c:pt idx="16126">
                  <c:v>134960</c:v>
                </c:pt>
                <c:pt idx="16127">
                  <c:v>134949</c:v>
                </c:pt>
                <c:pt idx="16128">
                  <c:v>134944</c:v>
                </c:pt>
                <c:pt idx="16129">
                  <c:v>134934</c:v>
                </c:pt>
                <c:pt idx="16130">
                  <c:v>134933</c:v>
                </c:pt>
                <c:pt idx="16131">
                  <c:v>134932</c:v>
                </c:pt>
                <c:pt idx="16132">
                  <c:v>134926</c:v>
                </c:pt>
                <c:pt idx="16133">
                  <c:v>134922</c:v>
                </c:pt>
                <c:pt idx="16134">
                  <c:v>134917</c:v>
                </c:pt>
                <c:pt idx="16135">
                  <c:v>134914</c:v>
                </c:pt>
                <c:pt idx="16136">
                  <c:v>134911</c:v>
                </c:pt>
                <c:pt idx="16137">
                  <c:v>134905</c:v>
                </c:pt>
                <c:pt idx="16138">
                  <c:v>134899</c:v>
                </c:pt>
                <c:pt idx="16139">
                  <c:v>134892</c:v>
                </c:pt>
                <c:pt idx="16140">
                  <c:v>134892</c:v>
                </c:pt>
                <c:pt idx="16141">
                  <c:v>134882</c:v>
                </c:pt>
                <c:pt idx="16142">
                  <c:v>134879</c:v>
                </c:pt>
                <c:pt idx="16143">
                  <c:v>134876</c:v>
                </c:pt>
                <c:pt idx="16144">
                  <c:v>134876</c:v>
                </c:pt>
                <c:pt idx="16145">
                  <c:v>134868</c:v>
                </c:pt>
                <c:pt idx="16146">
                  <c:v>134865</c:v>
                </c:pt>
                <c:pt idx="16147">
                  <c:v>134859</c:v>
                </c:pt>
                <c:pt idx="16148">
                  <c:v>134856</c:v>
                </c:pt>
                <c:pt idx="16149">
                  <c:v>134854</c:v>
                </c:pt>
                <c:pt idx="16150">
                  <c:v>134850</c:v>
                </c:pt>
                <c:pt idx="16151">
                  <c:v>134849</c:v>
                </c:pt>
                <c:pt idx="16152">
                  <c:v>134846</c:v>
                </c:pt>
                <c:pt idx="16153">
                  <c:v>134842</c:v>
                </c:pt>
                <c:pt idx="16154">
                  <c:v>134841</c:v>
                </c:pt>
                <c:pt idx="16155">
                  <c:v>134835</c:v>
                </c:pt>
                <c:pt idx="16156">
                  <c:v>134835</c:v>
                </c:pt>
                <c:pt idx="16157">
                  <c:v>134834</c:v>
                </c:pt>
                <c:pt idx="16158">
                  <c:v>134831</c:v>
                </c:pt>
                <c:pt idx="16159">
                  <c:v>134829</c:v>
                </c:pt>
                <c:pt idx="16160">
                  <c:v>134825</c:v>
                </c:pt>
                <c:pt idx="16161">
                  <c:v>134821</c:v>
                </c:pt>
                <c:pt idx="16162">
                  <c:v>134812</c:v>
                </c:pt>
                <c:pt idx="16163">
                  <c:v>134811</c:v>
                </c:pt>
                <c:pt idx="16164">
                  <c:v>134811</c:v>
                </c:pt>
                <c:pt idx="16165">
                  <c:v>134807</c:v>
                </c:pt>
                <c:pt idx="16166">
                  <c:v>134803</c:v>
                </c:pt>
                <c:pt idx="16167">
                  <c:v>134800</c:v>
                </c:pt>
                <c:pt idx="16168">
                  <c:v>134772</c:v>
                </c:pt>
                <c:pt idx="16169">
                  <c:v>134765</c:v>
                </c:pt>
                <c:pt idx="16170">
                  <c:v>134764</c:v>
                </c:pt>
                <c:pt idx="16171">
                  <c:v>134757</c:v>
                </c:pt>
                <c:pt idx="16172">
                  <c:v>134748</c:v>
                </c:pt>
                <c:pt idx="16173">
                  <c:v>134748</c:v>
                </c:pt>
                <c:pt idx="16174">
                  <c:v>134747</c:v>
                </c:pt>
                <c:pt idx="16175">
                  <c:v>134745</c:v>
                </c:pt>
                <c:pt idx="16176">
                  <c:v>134744</c:v>
                </c:pt>
                <c:pt idx="16177">
                  <c:v>134730</c:v>
                </c:pt>
                <c:pt idx="16178">
                  <c:v>134729</c:v>
                </c:pt>
                <c:pt idx="16179">
                  <c:v>134729</c:v>
                </c:pt>
                <c:pt idx="16180">
                  <c:v>134725</c:v>
                </c:pt>
                <c:pt idx="16181">
                  <c:v>134709</c:v>
                </c:pt>
                <c:pt idx="16182">
                  <c:v>134701</c:v>
                </c:pt>
                <c:pt idx="16183">
                  <c:v>134689</c:v>
                </c:pt>
                <c:pt idx="16184">
                  <c:v>134687</c:v>
                </c:pt>
                <c:pt idx="16185">
                  <c:v>134682</c:v>
                </c:pt>
                <c:pt idx="16186">
                  <c:v>134681</c:v>
                </c:pt>
                <c:pt idx="16187">
                  <c:v>134680</c:v>
                </c:pt>
                <c:pt idx="16188">
                  <c:v>134676</c:v>
                </c:pt>
                <c:pt idx="16189">
                  <c:v>134673</c:v>
                </c:pt>
                <c:pt idx="16190">
                  <c:v>134671</c:v>
                </c:pt>
                <c:pt idx="16191">
                  <c:v>134671</c:v>
                </c:pt>
                <c:pt idx="16192">
                  <c:v>134668</c:v>
                </c:pt>
                <c:pt idx="16193">
                  <c:v>134663</c:v>
                </c:pt>
                <c:pt idx="16194">
                  <c:v>134661</c:v>
                </c:pt>
                <c:pt idx="16195">
                  <c:v>134661</c:v>
                </c:pt>
                <c:pt idx="16196">
                  <c:v>134654</c:v>
                </c:pt>
                <c:pt idx="16197">
                  <c:v>134650</c:v>
                </c:pt>
                <c:pt idx="16198">
                  <c:v>134646</c:v>
                </c:pt>
                <c:pt idx="16199">
                  <c:v>134637</c:v>
                </c:pt>
                <c:pt idx="16200">
                  <c:v>134625</c:v>
                </c:pt>
                <c:pt idx="16201">
                  <c:v>134622</c:v>
                </c:pt>
                <c:pt idx="16202">
                  <c:v>134616</c:v>
                </c:pt>
                <c:pt idx="16203">
                  <c:v>134613</c:v>
                </c:pt>
                <c:pt idx="16204">
                  <c:v>134609</c:v>
                </c:pt>
                <c:pt idx="16205">
                  <c:v>134594</c:v>
                </c:pt>
                <c:pt idx="16206">
                  <c:v>134588</c:v>
                </c:pt>
                <c:pt idx="16207">
                  <c:v>134582</c:v>
                </c:pt>
                <c:pt idx="16208">
                  <c:v>134581</c:v>
                </c:pt>
                <c:pt idx="16209">
                  <c:v>134573</c:v>
                </c:pt>
                <c:pt idx="16210">
                  <c:v>134572</c:v>
                </c:pt>
                <c:pt idx="16211">
                  <c:v>134564</c:v>
                </c:pt>
                <c:pt idx="16212">
                  <c:v>134561</c:v>
                </c:pt>
                <c:pt idx="16213">
                  <c:v>134558</c:v>
                </c:pt>
                <c:pt idx="16214">
                  <c:v>134557</c:v>
                </c:pt>
                <c:pt idx="16215">
                  <c:v>134554</c:v>
                </c:pt>
                <c:pt idx="16216">
                  <c:v>134549</c:v>
                </c:pt>
                <c:pt idx="16217">
                  <c:v>134536</c:v>
                </c:pt>
                <c:pt idx="16218">
                  <c:v>134534</c:v>
                </c:pt>
                <c:pt idx="16219">
                  <c:v>134520</c:v>
                </c:pt>
                <c:pt idx="16220">
                  <c:v>134518</c:v>
                </c:pt>
                <c:pt idx="16221">
                  <c:v>134517</c:v>
                </c:pt>
                <c:pt idx="16222">
                  <c:v>134516</c:v>
                </c:pt>
                <c:pt idx="16223">
                  <c:v>134516</c:v>
                </c:pt>
                <c:pt idx="16224">
                  <c:v>134513</c:v>
                </c:pt>
                <c:pt idx="16225">
                  <c:v>134513</c:v>
                </c:pt>
                <c:pt idx="16226">
                  <c:v>134507</c:v>
                </c:pt>
                <c:pt idx="16227">
                  <c:v>134507</c:v>
                </c:pt>
                <c:pt idx="16228">
                  <c:v>134504</c:v>
                </c:pt>
                <c:pt idx="16229">
                  <c:v>134503</c:v>
                </c:pt>
                <c:pt idx="16230">
                  <c:v>134500</c:v>
                </c:pt>
                <c:pt idx="16231">
                  <c:v>134496</c:v>
                </c:pt>
                <c:pt idx="16232">
                  <c:v>134492</c:v>
                </c:pt>
                <c:pt idx="16233">
                  <c:v>134487</c:v>
                </c:pt>
                <c:pt idx="16234">
                  <c:v>134484</c:v>
                </c:pt>
                <c:pt idx="16235">
                  <c:v>134480</c:v>
                </c:pt>
                <c:pt idx="16236">
                  <c:v>134478</c:v>
                </c:pt>
                <c:pt idx="16237">
                  <c:v>134476</c:v>
                </c:pt>
                <c:pt idx="16238">
                  <c:v>134474</c:v>
                </c:pt>
                <c:pt idx="16239">
                  <c:v>134472</c:v>
                </c:pt>
                <c:pt idx="16240">
                  <c:v>134468</c:v>
                </c:pt>
                <c:pt idx="16241">
                  <c:v>134457</c:v>
                </c:pt>
                <c:pt idx="16242">
                  <c:v>134455</c:v>
                </c:pt>
                <c:pt idx="16243">
                  <c:v>134453</c:v>
                </c:pt>
                <c:pt idx="16244">
                  <c:v>134450</c:v>
                </c:pt>
                <c:pt idx="16245">
                  <c:v>134449</c:v>
                </c:pt>
                <c:pt idx="16246">
                  <c:v>134441</c:v>
                </c:pt>
                <c:pt idx="16247">
                  <c:v>134440</c:v>
                </c:pt>
                <c:pt idx="16248">
                  <c:v>134438</c:v>
                </c:pt>
                <c:pt idx="16249">
                  <c:v>134435</c:v>
                </c:pt>
                <c:pt idx="16250">
                  <c:v>134430</c:v>
                </c:pt>
                <c:pt idx="16251">
                  <c:v>134428</c:v>
                </c:pt>
                <c:pt idx="16252">
                  <c:v>134417</c:v>
                </c:pt>
                <c:pt idx="16253">
                  <c:v>134409</c:v>
                </c:pt>
                <c:pt idx="16254">
                  <c:v>134403</c:v>
                </c:pt>
                <c:pt idx="16255">
                  <c:v>134403</c:v>
                </c:pt>
                <c:pt idx="16256">
                  <c:v>134401</c:v>
                </c:pt>
                <c:pt idx="16257">
                  <c:v>134400</c:v>
                </c:pt>
                <c:pt idx="16258">
                  <c:v>134399</c:v>
                </c:pt>
                <c:pt idx="16259">
                  <c:v>134398</c:v>
                </c:pt>
                <c:pt idx="16260">
                  <c:v>134386</c:v>
                </c:pt>
                <c:pt idx="16261">
                  <c:v>134385</c:v>
                </c:pt>
                <c:pt idx="16262">
                  <c:v>134381</c:v>
                </c:pt>
                <c:pt idx="16263">
                  <c:v>134379</c:v>
                </c:pt>
                <c:pt idx="16264">
                  <c:v>134373</c:v>
                </c:pt>
                <c:pt idx="16265">
                  <c:v>134368</c:v>
                </c:pt>
                <c:pt idx="16266">
                  <c:v>134365</c:v>
                </c:pt>
                <c:pt idx="16267">
                  <c:v>134365</c:v>
                </c:pt>
                <c:pt idx="16268">
                  <c:v>134364</c:v>
                </c:pt>
                <c:pt idx="16269">
                  <c:v>134361</c:v>
                </c:pt>
                <c:pt idx="16270">
                  <c:v>134355</c:v>
                </c:pt>
                <c:pt idx="16271">
                  <c:v>134346</c:v>
                </c:pt>
                <c:pt idx="16272">
                  <c:v>134332</c:v>
                </c:pt>
                <c:pt idx="16273">
                  <c:v>134325</c:v>
                </c:pt>
                <c:pt idx="16274">
                  <c:v>134323</c:v>
                </c:pt>
                <c:pt idx="16275">
                  <c:v>134322</c:v>
                </c:pt>
                <c:pt idx="16276">
                  <c:v>134315</c:v>
                </c:pt>
                <c:pt idx="16277">
                  <c:v>134303</c:v>
                </c:pt>
                <c:pt idx="16278">
                  <c:v>134300</c:v>
                </c:pt>
                <c:pt idx="16279">
                  <c:v>134300</c:v>
                </c:pt>
                <c:pt idx="16280">
                  <c:v>134299</c:v>
                </c:pt>
                <c:pt idx="16281">
                  <c:v>134289</c:v>
                </c:pt>
                <c:pt idx="16282">
                  <c:v>134288</c:v>
                </c:pt>
                <c:pt idx="16283">
                  <c:v>134287</c:v>
                </c:pt>
                <c:pt idx="16284">
                  <c:v>134287</c:v>
                </c:pt>
                <c:pt idx="16285">
                  <c:v>134279</c:v>
                </c:pt>
                <c:pt idx="16286">
                  <c:v>134272</c:v>
                </c:pt>
                <c:pt idx="16287">
                  <c:v>134269</c:v>
                </c:pt>
                <c:pt idx="16288">
                  <c:v>134267</c:v>
                </c:pt>
                <c:pt idx="16289">
                  <c:v>134266</c:v>
                </c:pt>
                <c:pt idx="16290">
                  <c:v>134266</c:v>
                </c:pt>
                <c:pt idx="16291">
                  <c:v>134263</c:v>
                </c:pt>
                <c:pt idx="16292">
                  <c:v>134260</c:v>
                </c:pt>
                <c:pt idx="16293">
                  <c:v>134255</c:v>
                </c:pt>
                <c:pt idx="16294">
                  <c:v>134244</c:v>
                </c:pt>
                <c:pt idx="16295">
                  <c:v>134237</c:v>
                </c:pt>
                <c:pt idx="16296">
                  <c:v>134232</c:v>
                </c:pt>
                <c:pt idx="16297">
                  <c:v>134230</c:v>
                </c:pt>
                <c:pt idx="16298">
                  <c:v>134223</c:v>
                </c:pt>
                <c:pt idx="16299">
                  <c:v>134208</c:v>
                </c:pt>
                <c:pt idx="16300">
                  <c:v>134201</c:v>
                </c:pt>
                <c:pt idx="16301">
                  <c:v>134201</c:v>
                </c:pt>
                <c:pt idx="16302">
                  <c:v>134200</c:v>
                </c:pt>
                <c:pt idx="16303">
                  <c:v>134198</c:v>
                </c:pt>
                <c:pt idx="16304">
                  <c:v>134197</c:v>
                </c:pt>
                <c:pt idx="16305">
                  <c:v>134195</c:v>
                </c:pt>
                <c:pt idx="16306">
                  <c:v>134191</c:v>
                </c:pt>
                <c:pt idx="16307">
                  <c:v>134191</c:v>
                </c:pt>
                <c:pt idx="16308">
                  <c:v>134190</c:v>
                </c:pt>
                <c:pt idx="16309">
                  <c:v>134175</c:v>
                </c:pt>
                <c:pt idx="16310">
                  <c:v>134166</c:v>
                </c:pt>
                <c:pt idx="16311">
                  <c:v>134161</c:v>
                </c:pt>
                <c:pt idx="16312">
                  <c:v>134161</c:v>
                </c:pt>
                <c:pt idx="16313">
                  <c:v>134160</c:v>
                </c:pt>
                <c:pt idx="16314">
                  <c:v>134155</c:v>
                </c:pt>
                <c:pt idx="16315">
                  <c:v>134153</c:v>
                </c:pt>
                <c:pt idx="16316">
                  <c:v>134152</c:v>
                </c:pt>
                <c:pt idx="16317">
                  <c:v>134143</c:v>
                </c:pt>
                <c:pt idx="16318">
                  <c:v>134135</c:v>
                </c:pt>
                <c:pt idx="16319">
                  <c:v>134134</c:v>
                </c:pt>
                <c:pt idx="16320">
                  <c:v>134132</c:v>
                </c:pt>
                <c:pt idx="16321">
                  <c:v>134128</c:v>
                </c:pt>
                <c:pt idx="16322">
                  <c:v>134123</c:v>
                </c:pt>
                <c:pt idx="16323">
                  <c:v>134122</c:v>
                </c:pt>
                <c:pt idx="16324">
                  <c:v>134119</c:v>
                </c:pt>
                <c:pt idx="16325">
                  <c:v>134115</c:v>
                </c:pt>
                <c:pt idx="16326">
                  <c:v>134115</c:v>
                </c:pt>
                <c:pt idx="16327">
                  <c:v>134113</c:v>
                </c:pt>
                <c:pt idx="16328">
                  <c:v>134092</c:v>
                </c:pt>
                <c:pt idx="16329">
                  <c:v>134084</c:v>
                </c:pt>
                <c:pt idx="16330">
                  <c:v>134084</c:v>
                </c:pt>
                <c:pt idx="16331">
                  <c:v>134084</c:v>
                </c:pt>
                <c:pt idx="16332">
                  <c:v>134070</c:v>
                </c:pt>
                <c:pt idx="16333">
                  <c:v>134067</c:v>
                </c:pt>
                <c:pt idx="16334">
                  <c:v>134064</c:v>
                </c:pt>
                <c:pt idx="16335">
                  <c:v>134062</c:v>
                </c:pt>
                <c:pt idx="16336">
                  <c:v>134060</c:v>
                </c:pt>
                <c:pt idx="16337">
                  <c:v>134052</c:v>
                </c:pt>
                <c:pt idx="16338">
                  <c:v>134043</c:v>
                </c:pt>
                <c:pt idx="16339">
                  <c:v>134039</c:v>
                </c:pt>
                <c:pt idx="16340">
                  <c:v>134036</c:v>
                </c:pt>
                <c:pt idx="16341">
                  <c:v>134033</c:v>
                </c:pt>
                <c:pt idx="16342">
                  <c:v>134028</c:v>
                </c:pt>
                <c:pt idx="16343">
                  <c:v>134018</c:v>
                </c:pt>
                <c:pt idx="16344">
                  <c:v>134012</c:v>
                </c:pt>
                <c:pt idx="16345">
                  <c:v>134010</c:v>
                </c:pt>
                <c:pt idx="16346">
                  <c:v>134009</c:v>
                </c:pt>
                <c:pt idx="16347">
                  <c:v>134006</c:v>
                </c:pt>
                <c:pt idx="16348">
                  <c:v>134005</c:v>
                </c:pt>
                <c:pt idx="16349">
                  <c:v>134002</c:v>
                </c:pt>
                <c:pt idx="16350">
                  <c:v>133995</c:v>
                </c:pt>
                <c:pt idx="16351">
                  <c:v>133977</c:v>
                </c:pt>
                <c:pt idx="16352">
                  <c:v>133970</c:v>
                </c:pt>
                <c:pt idx="16353">
                  <c:v>133969</c:v>
                </c:pt>
                <c:pt idx="16354">
                  <c:v>133958</c:v>
                </c:pt>
                <c:pt idx="16355">
                  <c:v>133957</c:v>
                </c:pt>
                <c:pt idx="16356">
                  <c:v>133945</c:v>
                </c:pt>
                <c:pt idx="16357">
                  <c:v>133944</c:v>
                </c:pt>
                <c:pt idx="16358">
                  <c:v>133937</c:v>
                </c:pt>
                <c:pt idx="16359">
                  <c:v>133937</c:v>
                </c:pt>
                <c:pt idx="16360">
                  <c:v>133936</c:v>
                </c:pt>
                <c:pt idx="16361">
                  <c:v>133932</c:v>
                </c:pt>
                <c:pt idx="16362">
                  <c:v>133932</c:v>
                </c:pt>
                <c:pt idx="16363">
                  <c:v>133929</c:v>
                </c:pt>
                <c:pt idx="16364">
                  <c:v>133925</c:v>
                </c:pt>
                <c:pt idx="16365">
                  <c:v>133924</c:v>
                </c:pt>
                <c:pt idx="16366">
                  <c:v>133923</c:v>
                </c:pt>
                <c:pt idx="16367">
                  <c:v>133903</c:v>
                </c:pt>
                <c:pt idx="16368">
                  <c:v>133903</c:v>
                </c:pt>
                <c:pt idx="16369">
                  <c:v>133900</c:v>
                </c:pt>
                <c:pt idx="16370">
                  <c:v>133899</c:v>
                </c:pt>
                <c:pt idx="16371">
                  <c:v>133889</c:v>
                </c:pt>
                <c:pt idx="16372">
                  <c:v>133885</c:v>
                </c:pt>
                <c:pt idx="16373">
                  <c:v>133882</c:v>
                </c:pt>
                <c:pt idx="16374">
                  <c:v>133882</c:v>
                </c:pt>
                <c:pt idx="16375">
                  <c:v>133872</c:v>
                </c:pt>
                <c:pt idx="16376">
                  <c:v>133865</c:v>
                </c:pt>
                <c:pt idx="16377">
                  <c:v>133851</c:v>
                </c:pt>
                <c:pt idx="16378">
                  <c:v>133849</c:v>
                </c:pt>
                <c:pt idx="16379">
                  <c:v>133842</c:v>
                </c:pt>
                <c:pt idx="16380">
                  <c:v>133833</c:v>
                </c:pt>
                <c:pt idx="16381">
                  <c:v>133824</c:v>
                </c:pt>
                <c:pt idx="16382">
                  <c:v>133821</c:v>
                </c:pt>
                <c:pt idx="16383">
                  <c:v>133817</c:v>
                </c:pt>
                <c:pt idx="16384">
                  <c:v>133814</c:v>
                </c:pt>
                <c:pt idx="16385">
                  <c:v>133812</c:v>
                </c:pt>
                <c:pt idx="16386">
                  <c:v>133810</c:v>
                </c:pt>
                <c:pt idx="16387">
                  <c:v>133810</c:v>
                </c:pt>
                <c:pt idx="16388">
                  <c:v>133808</c:v>
                </c:pt>
                <c:pt idx="16389">
                  <c:v>133792</c:v>
                </c:pt>
                <c:pt idx="16390">
                  <c:v>133792</c:v>
                </c:pt>
                <c:pt idx="16391">
                  <c:v>133790</c:v>
                </c:pt>
                <c:pt idx="16392">
                  <c:v>133788</c:v>
                </c:pt>
                <c:pt idx="16393">
                  <c:v>133786</c:v>
                </c:pt>
                <c:pt idx="16394">
                  <c:v>133786</c:v>
                </c:pt>
                <c:pt idx="16395">
                  <c:v>133783</c:v>
                </c:pt>
                <c:pt idx="16396">
                  <c:v>133783</c:v>
                </c:pt>
                <c:pt idx="16397">
                  <c:v>133782</c:v>
                </c:pt>
                <c:pt idx="16398">
                  <c:v>133780</c:v>
                </c:pt>
                <c:pt idx="16399">
                  <c:v>133768</c:v>
                </c:pt>
                <c:pt idx="16400">
                  <c:v>133765</c:v>
                </c:pt>
                <c:pt idx="16401">
                  <c:v>133765</c:v>
                </c:pt>
                <c:pt idx="16402">
                  <c:v>133764</c:v>
                </c:pt>
                <c:pt idx="16403">
                  <c:v>133752</c:v>
                </c:pt>
                <c:pt idx="16404">
                  <c:v>133750</c:v>
                </c:pt>
                <c:pt idx="16405">
                  <c:v>133746</c:v>
                </c:pt>
                <c:pt idx="16406">
                  <c:v>133740</c:v>
                </c:pt>
                <c:pt idx="16407">
                  <c:v>133737</c:v>
                </c:pt>
                <c:pt idx="16408">
                  <c:v>133730</c:v>
                </c:pt>
                <c:pt idx="16409">
                  <c:v>133729</c:v>
                </c:pt>
                <c:pt idx="16410">
                  <c:v>133725</c:v>
                </c:pt>
                <c:pt idx="16411">
                  <c:v>133722</c:v>
                </c:pt>
                <c:pt idx="16412">
                  <c:v>133715</c:v>
                </c:pt>
                <c:pt idx="16413">
                  <c:v>133713</c:v>
                </c:pt>
                <c:pt idx="16414">
                  <c:v>133707</c:v>
                </c:pt>
                <c:pt idx="16415">
                  <c:v>133703</c:v>
                </c:pt>
                <c:pt idx="16416">
                  <c:v>133700</c:v>
                </c:pt>
                <c:pt idx="16417">
                  <c:v>133695</c:v>
                </c:pt>
                <c:pt idx="16418">
                  <c:v>133692</c:v>
                </c:pt>
                <c:pt idx="16419">
                  <c:v>133681</c:v>
                </c:pt>
                <c:pt idx="16420">
                  <c:v>133674</c:v>
                </c:pt>
                <c:pt idx="16421">
                  <c:v>133667</c:v>
                </c:pt>
                <c:pt idx="16422">
                  <c:v>133660</c:v>
                </c:pt>
                <c:pt idx="16423">
                  <c:v>133657</c:v>
                </c:pt>
                <c:pt idx="16424">
                  <c:v>133655</c:v>
                </c:pt>
                <c:pt idx="16425">
                  <c:v>133645</c:v>
                </c:pt>
                <c:pt idx="16426">
                  <c:v>133643</c:v>
                </c:pt>
                <c:pt idx="16427">
                  <c:v>133639</c:v>
                </c:pt>
                <c:pt idx="16428">
                  <c:v>133633</c:v>
                </c:pt>
                <c:pt idx="16429">
                  <c:v>133632</c:v>
                </c:pt>
                <c:pt idx="16430">
                  <c:v>133630</c:v>
                </c:pt>
                <c:pt idx="16431">
                  <c:v>133621</c:v>
                </c:pt>
                <c:pt idx="16432">
                  <c:v>133620</c:v>
                </c:pt>
                <c:pt idx="16433">
                  <c:v>133618</c:v>
                </c:pt>
                <c:pt idx="16434">
                  <c:v>133617</c:v>
                </c:pt>
                <c:pt idx="16435">
                  <c:v>133616</c:v>
                </c:pt>
                <c:pt idx="16436">
                  <c:v>133608</c:v>
                </c:pt>
                <c:pt idx="16437">
                  <c:v>133606</c:v>
                </c:pt>
                <c:pt idx="16438">
                  <c:v>133605</c:v>
                </c:pt>
                <c:pt idx="16439">
                  <c:v>133602</c:v>
                </c:pt>
                <c:pt idx="16440">
                  <c:v>133599</c:v>
                </c:pt>
                <c:pt idx="16441">
                  <c:v>133594</c:v>
                </c:pt>
                <c:pt idx="16442">
                  <c:v>133589</c:v>
                </c:pt>
                <c:pt idx="16443">
                  <c:v>133576</c:v>
                </c:pt>
                <c:pt idx="16444">
                  <c:v>133575</c:v>
                </c:pt>
                <c:pt idx="16445">
                  <c:v>133575</c:v>
                </c:pt>
                <c:pt idx="16446">
                  <c:v>133568</c:v>
                </c:pt>
                <c:pt idx="16447">
                  <c:v>133559</c:v>
                </c:pt>
                <c:pt idx="16448">
                  <c:v>133558</c:v>
                </c:pt>
                <c:pt idx="16449">
                  <c:v>133547</c:v>
                </c:pt>
                <c:pt idx="16450">
                  <c:v>133539</c:v>
                </c:pt>
                <c:pt idx="16451">
                  <c:v>133521</c:v>
                </c:pt>
                <c:pt idx="16452">
                  <c:v>133509</c:v>
                </c:pt>
                <c:pt idx="16453">
                  <c:v>133509</c:v>
                </c:pt>
                <c:pt idx="16454">
                  <c:v>133509</c:v>
                </c:pt>
                <c:pt idx="16455">
                  <c:v>133507</c:v>
                </c:pt>
                <c:pt idx="16456">
                  <c:v>133506</c:v>
                </c:pt>
                <c:pt idx="16457">
                  <c:v>133505</c:v>
                </c:pt>
                <c:pt idx="16458">
                  <c:v>133498</c:v>
                </c:pt>
                <c:pt idx="16459">
                  <c:v>133498</c:v>
                </c:pt>
                <c:pt idx="16460">
                  <c:v>133493</c:v>
                </c:pt>
                <c:pt idx="16461">
                  <c:v>133491</c:v>
                </c:pt>
                <c:pt idx="16462">
                  <c:v>133486</c:v>
                </c:pt>
                <c:pt idx="16463">
                  <c:v>133480</c:v>
                </c:pt>
                <c:pt idx="16464">
                  <c:v>133478</c:v>
                </c:pt>
                <c:pt idx="16465">
                  <c:v>133476</c:v>
                </c:pt>
                <c:pt idx="16466">
                  <c:v>133474</c:v>
                </c:pt>
                <c:pt idx="16467">
                  <c:v>133474</c:v>
                </c:pt>
                <c:pt idx="16468">
                  <c:v>133467</c:v>
                </c:pt>
                <c:pt idx="16469">
                  <c:v>133467</c:v>
                </c:pt>
                <c:pt idx="16470">
                  <c:v>133465</c:v>
                </c:pt>
                <c:pt idx="16471">
                  <c:v>133463</c:v>
                </c:pt>
                <c:pt idx="16472">
                  <c:v>133445</c:v>
                </c:pt>
                <c:pt idx="16473">
                  <c:v>133445</c:v>
                </c:pt>
                <c:pt idx="16474">
                  <c:v>133437</c:v>
                </c:pt>
                <c:pt idx="16475">
                  <c:v>133437</c:v>
                </c:pt>
                <c:pt idx="16476">
                  <c:v>133436</c:v>
                </c:pt>
                <c:pt idx="16477">
                  <c:v>133420</c:v>
                </c:pt>
                <c:pt idx="16478">
                  <c:v>133403</c:v>
                </c:pt>
                <c:pt idx="16479">
                  <c:v>133397</c:v>
                </c:pt>
                <c:pt idx="16480">
                  <c:v>133394</c:v>
                </c:pt>
                <c:pt idx="16481">
                  <c:v>133392</c:v>
                </c:pt>
                <c:pt idx="16482">
                  <c:v>133389</c:v>
                </c:pt>
                <c:pt idx="16483">
                  <c:v>133387</c:v>
                </c:pt>
                <c:pt idx="16484">
                  <c:v>133386</c:v>
                </c:pt>
                <c:pt idx="16485">
                  <c:v>133386</c:v>
                </c:pt>
                <c:pt idx="16486">
                  <c:v>133382</c:v>
                </c:pt>
                <c:pt idx="16487">
                  <c:v>133378</c:v>
                </c:pt>
                <c:pt idx="16488">
                  <c:v>133376</c:v>
                </c:pt>
                <c:pt idx="16489">
                  <c:v>133369</c:v>
                </c:pt>
                <c:pt idx="16490">
                  <c:v>133369</c:v>
                </c:pt>
                <c:pt idx="16491">
                  <c:v>133364</c:v>
                </c:pt>
                <c:pt idx="16492">
                  <c:v>133354</c:v>
                </c:pt>
                <c:pt idx="16493">
                  <c:v>133351</c:v>
                </c:pt>
                <c:pt idx="16494">
                  <c:v>133339</c:v>
                </c:pt>
                <c:pt idx="16495">
                  <c:v>133338</c:v>
                </c:pt>
                <c:pt idx="16496">
                  <c:v>133335</c:v>
                </c:pt>
                <c:pt idx="16497">
                  <c:v>133335</c:v>
                </c:pt>
                <c:pt idx="16498">
                  <c:v>133329</c:v>
                </c:pt>
                <c:pt idx="16499">
                  <c:v>133327</c:v>
                </c:pt>
                <c:pt idx="16500">
                  <c:v>133325</c:v>
                </c:pt>
                <c:pt idx="16501">
                  <c:v>133319</c:v>
                </c:pt>
                <c:pt idx="16502">
                  <c:v>133314</c:v>
                </c:pt>
                <c:pt idx="16503">
                  <c:v>133311</c:v>
                </c:pt>
                <c:pt idx="16504">
                  <c:v>133307</c:v>
                </c:pt>
                <c:pt idx="16505">
                  <c:v>133307</c:v>
                </c:pt>
                <c:pt idx="16506">
                  <c:v>133304</c:v>
                </c:pt>
                <c:pt idx="16507">
                  <c:v>133303</c:v>
                </c:pt>
                <c:pt idx="16508">
                  <c:v>133286</c:v>
                </c:pt>
                <c:pt idx="16509">
                  <c:v>133282</c:v>
                </c:pt>
                <c:pt idx="16510">
                  <c:v>133281</c:v>
                </c:pt>
                <c:pt idx="16511">
                  <c:v>133281</c:v>
                </c:pt>
                <c:pt idx="16512">
                  <c:v>133264</c:v>
                </c:pt>
                <c:pt idx="16513">
                  <c:v>133254</c:v>
                </c:pt>
                <c:pt idx="16514">
                  <c:v>133242</c:v>
                </c:pt>
                <c:pt idx="16515">
                  <c:v>133238</c:v>
                </c:pt>
                <c:pt idx="16516">
                  <c:v>133236</c:v>
                </c:pt>
                <c:pt idx="16517">
                  <c:v>133235</c:v>
                </c:pt>
                <c:pt idx="16518">
                  <c:v>133229</c:v>
                </c:pt>
                <c:pt idx="16519">
                  <c:v>133228</c:v>
                </c:pt>
                <c:pt idx="16520">
                  <c:v>133228</c:v>
                </c:pt>
                <c:pt idx="16521">
                  <c:v>133227</c:v>
                </c:pt>
                <c:pt idx="16522">
                  <c:v>133220</c:v>
                </c:pt>
                <c:pt idx="16523">
                  <c:v>133218</c:v>
                </c:pt>
                <c:pt idx="16524">
                  <c:v>133203</c:v>
                </c:pt>
                <c:pt idx="16525">
                  <c:v>133201</c:v>
                </c:pt>
                <c:pt idx="16526">
                  <c:v>133199</c:v>
                </c:pt>
                <c:pt idx="16527">
                  <c:v>133174</c:v>
                </c:pt>
                <c:pt idx="16528">
                  <c:v>133172</c:v>
                </c:pt>
                <c:pt idx="16529">
                  <c:v>133170</c:v>
                </c:pt>
                <c:pt idx="16530">
                  <c:v>133168</c:v>
                </c:pt>
                <c:pt idx="16531">
                  <c:v>133167</c:v>
                </c:pt>
                <c:pt idx="16532">
                  <c:v>133161</c:v>
                </c:pt>
                <c:pt idx="16533">
                  <c:v>133154</c:v>
                </c:pt>
                <c:pt idx="16534">
                  <c:v>133154</c:v>
                </c:pt>
                <c:pt idx="16535">
                  <c:v>133153</c:v>
                </c:pt>
                <c:pt idx="16536">
                  <c:v>133150</c:v>
                </c:pt>
                <c:pt idx="16537">
                  <c:v>133149</c:v>
                </c:pt>
                <c:pt idx="16538">
                  <c:v>133148</c:v>
                </c:pt>
                <c:pt idx="16539">
                  <c:v>133145</c:v>
                </c:pt>
                <c:pt idx="16540">
                  <c:v>133143</c:v>
                </c:pt>
                <c:pt idx="16541">
                  <c:v>133139</c:v>
                </c:pt>
                <c:pt idx="16542">
                  <c:v>133135</c:v>
                </c:pt>
                <c:pt idx="16543">
                  <c:v>133134</c:v>
                </c:pt>
                <c:pt idx="16544">
                  <c:v>133132</c:v>
                </c:pt>
                <c:pt idx="16545">
                  <c:v>133126</c:v>
                </c:pt>
                <c:pt idx="16546">
                  <c:v>133118</c:v>
                </c:pt>
                <c:pt idx="16547">
                  <c:v>133116</c:v>
                </c:pt>
                <c:pt idx="16548">
                  <c:v>133092</c:v>
                </c:pt>
                <c:pt idx="16549">
                  <c:v>133088</c:v>
                </c:pt>
                <c:pt idx="16550">
                  <c:v>133081</c:v>
                </c:pt>
                <c:pt idx="16551">
                  <c:v>133071</c:v>
                </c:pt>
                <c:pt idx="16552">
                  <c:v>133065</c:v>
                </c:pt>
                <c:pt idx="16553">
                  <c:v>133064</c:v>
                </c:pt>
                <c:pt idx="16554">
                  <c:v>133058</c:v>
                </c:pt>
                <c:pt idx="16555">
                  <c:v>133053</c:v>
                </c:pt>
                <c:pt idx="16556">
                  <c:v>133050</c:v>
                </c:pt>
                <c:pt idx="16557">
                  <c:v>133040</c:v>
                </c:pt>
                <c:pt idx="16558">
                  <c:v>133039</c:v>
                </c:pt>
                <c:pt idx="16559">
                  <c:v>133039</c:v>
                </c:pt>
                <c:pt idx="16560">
                  <c:v>133032</c:v>
                </c:pt>
                <c:pt idx="16561">
                  <c:v>133032</c:v>
                </c:pt>
                <c:pt idx="16562">
                  <c:v>133026</c:v>
                </c:pt>
                <c:pt idx="16563">
                  <c:v>133025</c:v>
                </c:pt>
                <c:pt idx="16564">
                  <c:v>133021</c:v>
                </c:pt>
                <c:pt idx="16565">
                  <c:v>133016</c:v>
                </c:pt>
                <c:pt idx="16566">
                  <c:v>133006</c:v>
                </c:pt>
                <c:pt idx="16567">
                  <c:v>132992</c:v>
                </c:pt>
                <c:pt idx="16568">
                  <c:v>132987</c:v>
                </c:pt>
                <c:pt idx="16569">
                  <c:v>132979</c:v>
                </c:pt>
                <c:pt idx="16570">
                  <c:v>132977</c:v>
                </c:pt>
                <c:pt idx="16571">
                  <c:v>132973</c:v>
                </c:pt>
                <c:pt idx="16572">
                  <c:v>132972</c:v>
                </c:pt>
                <c:pt idx="16573">
                  <c:v>132969</c:v>
                </c:pt>
                <c:pt idx="16574">
                  <c:v>132968</c:v>
                </c:pt>
                <c:pt idx="16575">
                  <c:v>132964</c:v>
                </c:pt>
                <c:pt idx="16576">
                  <c:v>132962</c:v>
                </c:pt>
                <c:pt idx="16577">
                  <c:v>132962</c:v>
                </c:pt>
                <c:pt idx="16578">
                  <c:v>132957</c:v>
                </c:pt>
                <c:pt idx="16579">
                  <c:v>132943</c:v>
                </c:pt>
                <c:pt idx="16580">
                  <c:v>132939</c:v>
                </c:pt>
                <c:pt idx="16581">
                  <c:v>132930</c:v>
                </c:pt>
                <c:pt idx="16582">
                  <c:v>132920</c:v>
                </c:pt>
                <c:pt idx="16583">
                  <c:v>132918</c:v>
                </c:pt>
                <c:pt idx="16584">
                  <c:v>132915</c:v>
                </c:pt>
                <c:pt idx="16585">
                  <c:v>132911</c:v>
                </c:pt>
                <c:pt idx="16586">
                  <c:v>132910</c:v>
                </c:pt>
                <c:pt idx="16587">
                  <c:v>132908</c:v>
                </c:pt>
                <c:pt idx="16588">
                  <c:v>132908</c:v>
                </c:pt>
                <c:pt idx="16589">
                  <c:v>132898</c:v>
                </c:pt>
                <c:pt idx="16590">
                  <c:v>132896</c:v>
                </c:pt>
                <c:pt idx="16591">
                  <c:v>132892</c:v>
                </c:pt>
                <c:pt idx="16592">
                  <c:v>132886</c:v>
                </c:pt>
                <c:pt idx="16593">
                  <c:v>132884</c:v>
                </c:pt>
                <c:pt idx="16594">
                  <c:v>132879</c:v>
                </c:pt>
                <c:pt idx="16595">
                  <c:v>132879</c:v>
                </c:pt>
                <c:pt idx="16596">
                  <c:v>132876</c:v>
                </c:pt>
                <c:pt idx="16597">
                  <c:v>132876</c:v>
                </c:pt>
                <c:pt idx="16598">
                  <c:v>132876</c:v>
                </c:pt>
                <c:pt idx="16599">
                  <c:v>132874</c:v>
                </c:pt>
                <c:pt idx="16600">
                  <c:v>132871</c:v>
                </c:pt>
                <c:pt idx="16601">
                  <c:v>132847</c:v>
                </c:pt>
                <c:pt idx="16602">
                  <c:v>132844</c:v>
                </c:pt>
                <c:pt idx="16603">
                  <c:v>132836</c:v>
                </c:pt>
                <c:pt idx="16604">
                  <c:v>132834</c:v>
                </c:pt>
                <c:pt idx="16605">
                  <c:v>132831</c:v>
                </c:pt>
                <c:pt idx="16606">
                  <c:v>132831</c:v>
                </c:pt>
                <c:pt idx="16607">
                  <c:v>132823</c:v>
                </c:pt>
                <c:pt idx="16608">
                  <c:v>132816</c:v>
                </c:pt>
                <c:pt idx="16609">
                  <c:v>132814</c:v>
                </c:pt>
                <c:pt idx="16610">
                  <c:v>132805</c:v>
                </c:pt>
                <c:pt idx="16611">
                  <c:v>132788</c:v>
                </c:pt>
                <c:pt idx="16612">
                  <c:v>132784</c:v>
                </c:pt>
                <c:pt idx="16613">
                  <c:v>132777</c:v>
                </c:pt>
                <c:pt idx="16614">
                  <c:v>132774</c:v>
                </c:pt>
                <c:pt idx="16615">
                  <c:v>132771</c:v>
                </c:pt>
                <c:pt idx="16616">
                  <c:v>132764</c:v>
                </c:pt>
                <c:pt idx="16617">
                  <c:v>132757</c:v>
                </c:pt>
                <c:pt idx="16618">
                  <c:v>132756</c:v>
                </c:pt>
                <c:pt idx="16619">
                  <c:v>132755</c:v>
                </c:pt>
                <c:pt idx="16620">
                  <c:v>132749</c:v>
                </c:pt>
                <c:pt idx="16621">
                  <c:v>132747</c:v>
                </c:pt>
                <c:pt idx="16622">
                  <c:v>132740</c:v>
                </c:pt>
                <c:pt idx="16623">
                  <c:v>132738</c:v>
                </c:pt>
                <c:pt idx="16624">
                  <c:v>132737</c:v>
                </c:pt>
                <c:pt idx="16625">
                  <c:v>132735</c:v>
                </c:pt>
                <c:pt idx="16626">
                  <c:v>132731</c:v>
                </c:pt>
                <c:pt idx="16627">
                  <c:v>132727</c:v>
                </c:pt>
                <c:pt idx="16628">
                  <c:v>132705</c:v>
                </c:pt>
                <c:pt idx="16629">
                  <c:v>132704</c:v>
                </c:pt>
                <c:pt idx="16630">
                  <c:v>132703</c:v>
                </c:pt>
                <c:pt idx="16631">
                  <c:v>132701</c:v>
                </c:pt>
                <c:pt idx="16632">
                  <c:v>132698</c:v>
                </c:pt>
                <c:pt idx="16633">
                  <c:v>132695</c:v>
                </c:pt>
                <c:pt idx="16634">
                  <c:v>132694</c:v>
                </c:pt>
                <c:pt idx="16635">
                  <c:v>132692</c:v>
                </c:pt>
                <c:pt idx="16636">
                  <c:v>132690</c:v>
                </c:pt>
                <c:pt idx="16637">
                  <c:v>132689</c:v>
                </c:pt>
                <c:pt idx="16638">
                  <c:v>132686</c:v>
                </c:pt>
                <c:pt idx="16639">
                  <c:v>132685</c:v>
                </c:pt>
                <c:pt idx="16640">
                  <c:v>132682</c:v>
                </c:pt>
                <c:pt idx="16641">
                  <c:v>132674</c:v>
                </c:pt>
                <c:pt idx="16642">
                  <c:v>132674</c:v>
                </c:pt>
                <c:pt idx="16643">
                  <c:v>132666</c:v>
                </c:pt>
                <c:pt idx="16644">
                  <c:v>132662</c:v>
                </c:pt>
                <c:pt idx="16645">
                  <c:v>132657</c:v>
                </c:pt>
                <c:pt idx="16646">
                  <c:v>132653</c:v>
                </c:pt>
                <c:pt idx="16647">
                  <c:v>132645</c:v>
                </c:pt>
                <c:pt idx="16648">
                  <c:v>132639</c:v>
                </c:pt>
                <c:pt idx="16649">
                  <c:v>132635</c:v>
                </c:pt>
                <c:pt idx="16650">
                  <c:v>132631</c:v>
                </c:pt>
                <c:pt idx="16651">
                  <c:v>132631</c:v>
                </c:pt>
                <c:pt idx="16652">
                  <c:v>132625</c:v>
                </c:pt>
                <c:pt idx="16653">
                  <c:v>132617</c:v>
                </c:pt>
                <c:pt idx="16654">
                  <c:v>132611</c:v>
                </c:pt>
                <c:pt idx="16655">
                  <c:v>132607</c:v>
                </c:pt>
                <c:pt idx="16656">
                  <c:v>132606</c:v>
                </c:pt>
                <c:pt idx="16657">
                  <c:v>132598</c:v>
                </c:pt>
                <c:pt idx="16658">
                  <c:v>132597</c:v>
                </c:pt>
                <c:pt idx="16659">
                  <c:v>132597</c:v>
                </c:pt>
                <c:pt idx="16660">
                  <c:v>132596</c:v>
                </c:pt>
                <c:pt idx="16661">
                  <c:v>132589</c:v>
                </c:pt>
                <c:pt idx="16662">
                  <c:v>132586</c:v>
                </c:pt>
                <c:pt idx="16663">
                  <c:v>132577</c:v>
                </c:pt>
                <c:pt idx="16664">
                  <c:v>132572</c:v>
                </c:pt>
                <c:pt idx="16665">
                  <c:v>132572</c:v>
                </c:pt>
                <c:pt idx="16666">
                  <c:v>132564</c:v>
                </c:pt>
                <c:pt idx="16667">
                  <c:v>132559</c:v>
                </c:pt>
                <c:pt idx="16668">
                  <c:v>132553</c:v>
                </c:pt>
                <c:pt idx="16669">
                  <c:v>132552</c:v>
                </c:pt>
                <c:pt idx="16670">
                  <c:v>132550</c:v>
                </c:pt>
                <c:pt idx="16671">
                  <c:v>132548</c:v>
                </c:pt>
                <c:pt idx="16672">
                  <c:v>132547</c:v>
                </c:pt>
                <c:pt idx="16673">
                  <c:v>132546</c:v>
                </c:pt>
                <c:pt idx="16674">
                  <c:v>132546</c:v>
                </c:pt>
                <c:pt idx="16675">
                  <c:v>132544</c:v>
                </c:pt>
                <c:pt idx="16676">
                  <c:v>132544</c:v>
                </c:pt>
                <c:pt idx="16677">
                  <c:v>132543</c:v>
                </c:pt>
                <c:pt idx="16678">
                  <c:v>132534</c:v>
                </c:pt>
                <c:pt idx="16679">
                  <c:v>132532</c:v>
                </c:pt>
                <c:pt idx="16680">
                  <c:v>132527</c:v>
                </c:pt>
                <c:pt idx="16681">
                  <c:v>132527</c:v>
                </c:pt>
                <c:pt idx="16682">
                  <c:v>132521</c:v>
                </c:pt>
                <c:pt idx="16683">
                  <c:v>132514</c:v>
                </c:pt>
                <c:pt idx="16684">
                  <c:v>132513</c:v>
                </c:pt>
                <c:pt idx="16685">
                  <c:v>132513</c:v>
                </c:pt>
                <c:pt idx="16686">
                  <c:v>132510</c:v>
                </c:pt>
                <c:pt idx="16687">
                  <c:v>132509</c:v>
                </c:pt>
                <c:pt idx="16688">
                  <c:v>132497</c:v>
                </c:pt>
                <c:pt idx="16689">
                  <c:v>132489</c:v>
                </c:pt>
                <c:pt idx="16690">
                  <c:v>132484</c:v>
                </c:pt>
                <c:pt idx="16691">
                  <c:v>132483</c:v>
                </c:pt>
                <c:pt idx="16692">
                  <c:v>132471</c:v>
                </c:pt>
                <c:pt idx="16693">
                  <c:v>132462</c:v>
                </c:pt>
                <c:pt idx="16694">
                  <c:v>132460</c:v>
                </c:pt>
                <c:pt idx="16695">
                  <c:v>132458</c:v>
                </c:pt>
                <c:pt idx="16696">
                  <c:v>132447</c:v>
                </c:pt>
                <c:pt idx="16697">
                  <c:v>132439</c:v>
                </c:pt>
                <c:pt idx="16698">
                  <c:v>132438</c:v>
                </c:pt>
                <c:pt idx="16699">
                  <c:v>132435</c:v>
                </c:pt>
                <c:pt idx="16700">
                  <c:v>132426</c:v>
                </c:pt>
                <c:pt idx="16701">
                  <c:v>132425</c:v>
                </c:pt>
                <c:pt idx="16702">
                  <c:v>132424</c:v>
                </c:pt>
                <c:pt idx="16703">
                  <c:v>132423</c:v>
                </c:pt>
                <c:pt idx="16704">
                  <c:v>132422</c:v>
                </c:pt>
                <c:pt idx="16705">
                  <c:v>132416</c:v>
                </c:pt>
                <c:pt idx="16706">
                  <c:v>132413</c:v>
                </c:pt>
                <c:pt idx="16707">
                  <c:v>132412</c:v>
                </c:pt>
                <c:pt idx="16708">
                  <c:v>132409</c:v>
                </c:pt>
                <c:pt idx="16709">
                  <c:v>132408</c:v>
                </c:pt>
                <c:pt idx="16710">
                  <c:v>132398</c:v>
                </c:pt>
                <c:pt idx="16711">
                  <c:v>132397</c:v>
                </c:pt>
                <c:pt idx="16712">
                  <c:v>132394</c:v>
                </c:pt>
                <c:pt idx="16713">
                  <c:v>132390</c:v>
                </c:pt>
                <c:pt idx="16714">
                  <c:v>132389</c:v>
                </c:pt>
                <c:pt idx="16715">
                  <c:v>132384</c:v>
                </c:pt>
                <c:pt idx="16716">
                  <c:v>132372</c:v>
                </c:pt>
                <c:pt idx="16717">
                  <c:v>132366</c:v>
                </c:pt>
                <c:pt idx="16718">
                  <c:v>132361</c:v>
                </c:pt>
                <c:pt idx="16719">
                  <c:v>132357</c:v>
                </c:pt>
                <c:pt idx="16720">
                  <c:v>132356</c:v>
                </c:pt>
                <c:pt idx="16721">
                  <c:v>132348</c:v>
                </c:pt>
                <c:pt idx="16722">
                  <c:v>132346</c:v>
                </c:pt>
                <c:pt idx="16723">
                  <c:v>132335</c:v>
                </c:pt>
                <c:pt idx="16724">
                  <c:v>132328</c:v>
                </c:pt>
                <c:pt idx="16725">
                  <c:v>132324</c:v>
                </c:pt>
                <c:pt idx="16726">
                  <c:v>132321</c:v>
                </c:pt>
                <c:pt idx="16727">
                  <c:v>132305</c:v>
                </c:pt>
                <c:pt idx="16728">
                  <c:v>132304</c:v>
                </c:pt>
                <c:pt idx="16729">
                  <c:v>132304</c:v>
                </c:pt>
                <c:pt idx="16730">
                  <c:v>132298</c:v>
                </c:pt>
                <c:pt idx="16731">
                  <c:v>132295</c:v>
                </c:pt>
                <c:pt idx="16732">
                  <c:v>132290</c:v>
                </c:pt>
                <c:pt idx="16733">
                  <c:v>132289</c:v>
                </c:pt>
                <c:pt idx="16734">
                  <c:v>132289</c:v>
                </c:pt>
                <c:pt idx="16735">
                  <c:v>132289</c:v>
                </c:pt>
                <c:pt idx="16736">
                  <c:v>132287</c:v>
                </c:pt>
                <c:pt idx="16737">
                  <c:v>132284</c:v>
                </c:pt>
                <c:pt idx="16738">
                  <c:v>132280</c:v>
                </c:pt>
                <c:pt idx="16739">
                  <c:v>132274</c:v>
                </c:pt>
                <c:pt idx="16740">
                  <c:v>132273</c:v>
                </c:pt>
                <c:pt idx="16741">
                  <c:v>132273</c:v>
                </c:pt>
                <c:pt idx="16742">
                  <c:v>132270</c:v>
                </c:pt>
                <c:pt idx="16743">
                  <c:v>132267</c:v>
                </c:pt>
                <c:pt idx="16744">
                  <c:v>132263</c:v>
                </c:pt>
                <c:pt idx="16745">
                  <c:v>132262</c:v>
                </c:pt>
                <c:pt idx="16746">
                  <c:v>132258</c:v>
                </c:pt>
                <c:pt idx="16747">
                  <c:v>132247</c:v>
                </c:pt>
                <c:pt idx="16748">
                  <c:v>132242</c:v>
                </c:pt>
                <c:pt idx="16749">
                  <c:v>132242</c:v>
                </c:pt>
                <c:pt idx="16750">
                  <c:v>132228</c:v>
                </c:pt>
                <c:pt idx="16751">
                  <c:v>132209</c:v>
                </c:pt>
                <c:pt idx="16752">
                  <c:v>132207</c:v>
                </c:pt>
                <c:pt idx="16753">
                  <c:v>132205</c:v>
                </c:pt>
                <c:pt idx="16754">
                  <c:v>132205</c:v>
                </c:pt>
                <c:pt idx="16755">
                  <c:v>132200</c:v>
                </c:pt>
                <c:pt idx="16756">
                  <c:v>132195</c:v>
                </c:pt>
                <c:pt idx="16757">
                  <c:v>132190</c:v>
                </c:pt>
                <c:pt idx="16758">
                  <c:v>132184</c:v>
                </c:pt>
                <c:pt idx="16759">
                  <c:v>132180</c:v>
                </c:pt>
                <c:pt idx="16760">
                  <c:v>132169</c:v>
                </c:pt>
                <c:pt idx="16761">
                  <c:v>132169</c:v>
                </c:pt>
                <c:pt idx="16762">
                  <c:v>132164</c:v>
                </c:pt>
                <c:pt idx="16763">
                  <c:v>132163</c:v>
                </c:pt>
                <c:pt idx="16764">
                  <c:v>132160</c:v>
                </c:pt>
                <c:pt idx="16765">
                  <c:v>132150</c:v>
                </c:pt>
                <c:pt idx="16766">
                  <c:v>132148</c:v>
                </c:pt>
                <c:pt idx="16767">
                  <c:v>132147</c:v>
                </c:pt>
                <c:pt idx="16768">
                  <c:v>132139</c:v>
                </c:pt>
                <c:pt idx="16769">
                  <c:v>132128</c:v>
                </c:pt>
                <c:pt idx="16770">
                  <c:v>132128</c:v>
                </c:pt>
                <c:pt idx="16771">
                  <c:v>132125</c:v>
                </c:pt>
                <c:pt idx="16772">
                  <c:v>132109</c:v>
                </c:pt>
                <c:pt idx="16773">
                  <c:v>132108</c:v>
                </c:pt>
                <c:pt idx="16774">
                  <c:v>132104</c:v>
                </c:pt>
                <c:pt idx="16775">
                  <c:v>132098</c:v>
                </c:pt>
                <c:pt idx="16776">
                  <c:v>132096</c:v>
                </c:pt>
                <c:pt idx="16777">
                  <c:v>132095</c:v>
                </c:pt>
                <c:pt idx="16778">
                  <c:v>132093</c:v>
                </c:pt>
                <c:pt idx="16779">
                  <c:v>132092</c:v>
                </c:pt>
                <c:pt idx="16780">
                  <c:v>132092</c:v>
                </c:pt>
                <c:pt idx="16781">
                  <c:v>132084</c:v>
                </c:pt>
                <c:pt idx="16782">
                  <c:v>132083</c:v>
                </c:pt>
                <c:pt idx="16783">
                  <c:v>132082</c:v>
                </c:pt>
                <c:pt idx="16784">
                  <c:v>132082</c:v>
                </c:pt>
                <c:pt idx="16785">
                  <c:v>132077</c:v>
                </c:pt>
                <c:pt idx="16786">
                  <c:v>132077</c:v>
                </c:pt>
                <c:pt idx="16787">
                  <c:v>132075</c:v>
                </c:pt>
                <c:pt idx="16788">
                  <c:v>132068</c:v>
                </c:pt>
                <c:pt idx="16789">
                  <c:v>132066</c:v>
                </c:pt>
                <c:pt idx="16790">
                  <c:v>132062</c:v>
                </c:pt>
                <c:pt idx="16791">
                  <c:v>132059</c:v>
                </c:pt>
                <c:pt idx="16792">
                  <c:v>132051</c:v>
                </c:pt>
                <c:pt idx="16793">
                  <c:v>132050</c:v>
                </c:pt>
                <c:pt idx="16794">
                  <c:v>132044</c:v>
                </c:pt>
                <c:pt idx="16795">
                  <c:v>132043</c:v>
                </c:pt>
                <c:pt idx="16796">
                  <c:v>132039</c:v>
                </c:pt>
                <c:pt idx="16797">
                  <c:v>132030</c:v>
                </c:pt>
                <c:pt idx="16798">
                  <c:v>132028</c:v>
                </c:pt>
                <c:pt idx="16799">
                  <c:v>132026</c:v>
                </c:pt>
                <c:pt idx="16800">
                  <c:v>132022</c:v>
                </c:pt>
                <c:pt idx="16801">
                  <c:v>132014</c:v>
                </c:pt>
                <c:pt idx="16802">
                  <c:v>132012</c:v>
                </c:pt>
                <c:pt idx="16803">
                  <c:v>132006</c:v>
                </c:pt>
                <c:pt idx="16804">
                  <c:v>132000</c:v>
                </c:pt>
                <c:pt idx="16805">
                  <c:v>131994</c:v>
                </c:pt>
                <c:pt idx="16806">
                  <c:v>131989</c:v>
                </c:pt>
                <c:pt idx="16807">
                  <c:v>131987</c:v>
                </c:pt>
                <c:pt idx="16808">
                  <c:v>131981</c:v>
                </c:pt>
                <c:pt idx="16809">
                  <c:v>131972</c:v>
                </c:pt>
                <c:pt idx="16810">
                  <c:v>131965</c:v>
                </c:pt>
                <c:pt idx="16811">
                  <c:v>131960</c:v>
                </c:pt>
                <c:pt idx="16812">
                  <c:v>131960</c:v>
                </c:pt>
                <c:pt idx="16813">
                  <c:v>131959</c:v>
                </c:pt>
                <c:pt idx="16814">
                  <c:v>131936</c:v>
                </c:pt>
                <c:pt idx="16815">
                  <c:v>131935</c:v>
                </c:pt>
                <c:pt idx="16816">
                  <c:v>131935</c:v>
                </c:pt>
                <c:pt idx="16817">
                  <c:v>131935</c:v>
                </c:pt>
                <c:pt idx="16818">
                  <c:v>131933</c:v>
                </c:pt>
                <c:pt idx="16819">
                  <c:v>131921</c:v>
                </c:pt>
                <c:pt idx="16820">
                  <c:v>131911</c:v>
                </c:pt>
                <c:pt idx="16821">
                  <c:v>131910</c:v>
                </c:pt>
                <c:pt idx="16822">
                  <c:v>131895</c:v>
                </c:pt>
                <c:pt idx="16823">
                  <c:v>131881</c:v>
                </c:pt>
                <c:pt idx="16824">
                  <c:v>131867</c:v>
                </c:pt>
                <c:pt idx="16825">
                  <c:v>131862</c:v>
                </c:pt>
                <c:pt idx="16826">
                  <c:v>131860</c:v>
                </c:pt>
                <c:pt idx="16827">
                  <c:v>131859</c:v>
                </c:pt>
                <c:pt idx="16828">
                  <c:v>131853</c:v>
                </c:pt>
                <c:pt idx="16829">
                  <c:v>131847</c:v>
                </c:pt>
                <c:pt idx="16830">
                  <c:v>131836</c:v>
                </c:pt>
                <c:pt idx="16831">
                  <c:v>131835</c:v>
                </c:pt>
                <c:pt idx="16832">
                  <c:v>131832</c:v>
                </c:pt>
                <c:pt idx="16833">
                  <c:v>131827</c:v>
                </c:pt>
                <c:pt idx="16834">
                  <c:v>131821</c:v>
                </c:pt>
                <c:pt idx="16835">
                  <c:v>131819</c:v>
                </c:pt>
                <c:pt idx="16836">
                  <c:v>131817</c:v>
                </c:pt>
                <c:pt idx="16837">
                  <c:v>131817</c:v>
                </c:pt>
                <c:pt idx="16838">
                  <c:v>131799</c:v>
                </c:pt>
                <c:pt idx="16839">
                  <c:v>131795</c:v>
                </c:pt>
                <c:pt idx="16840">
                  <c:v>131795</c:v>
                </c:pt>
                <c:pt idx="16841">
                  <c:v>131790</c:v>
                </c:pt>
                <c:pt idx="16842">
                  <c:v>131785</c:v>
                </c:pt>
                <c:pt idx="16843">
                  <c:v>131778</c:v>
                </c:pt>
                <c:pt idx="16844">
                  <c:v>131777</c:v>
                </c:pt>
                <c:pt idx="16845">
                  <c:v>131772</c:v>
                </c:pt>
                <c:pt idx="16846">
                  <c:v>131771</c:v>
                </c:pt>
                <c:pt idx="16847">
                  <c:v>131769</c:v>
                </c:pt>
                <c:pt idx="16848">
                  <c:v>131768</c:v>
                </c:pt>
                <c:pt idx="16849">
                  <c:v>131766</c:v>
                </c:pt>
                <c:pt idx="16850">
                  <c:v>131759</c:v>
                </c:pt>
                <c:pt idx="16851">
                  <c:v>131755</c:v>
                </c:pt>
                <c:pt idx="16852">
                  <c:v>131753</c:v>
                </c:pt>
                <c:pt idx="16853">
                  <c:v>131745</c:v>
                </c:pt>
                <c:pt idx="16854">
                  <c:v>131738</c:v>
                </c:pt>
                <c:pt idx="16855">
                  <c:v>131735</c:v>
                </c:pt>
                <c:pt idx="16856">
                  <c:v>131733</c:v>
                </c:pt>
                <c:pt idx="16857">
                  <c:v>131730</c:v>
                </c:pt>
                <c:pt idx="16858">
                  <c:v>131728</c:v>
                </c:pt>
                <c:pt idx="16859">
                  <c:v>131728</c:v>
                </c:pt>
                <c:pt idx="16860">
                  <c:v>131724</c:v>
                </c:pt>
                <c:pt idx="16861">
                  <c:v>131715</c:v>
                </c:pt>
                <c:pt idx="16862">
                  <c:v>131713</c:v>
                </c:pt>
                <c:pt idx="16863">
                  <c:v>131710</c:v>
                </c:pt>
                <c:pt idx="16864">
                  <c:v>131707</c:v>
                </c:pt>
                <c:pt idx="16865">
                  <c:v>131696</c:v>
                </c:pt>
                <c:pt idx="16866">
                  <c:v>131694</c:v>
                </c:pt>
                <c:pt idx="16867">
                  <c:v>131690</c:v>
                </c:pt>
                <c:pt idx="16868">
                  <c:v>131688</c:v>
                </c:pt>
                <c:pt idx="16869">
                  <c:v>131685</c:v>
                </c:pt>
                <c:pt idx="16870">
                  <c:v>131649</c:v>
                </c:pt>
                <c:pt idx="16871">
                  <c:v>131648</c:v>
                </c:pt>
                <c:pt idx="16872">
                  <c:v>131635</c:v>
                </c:pt>
                <c:pt idx="16873">
                  <c:v>131633</c:v>
                </c:pt>
                <c:pt idx="16874">
                  <c:v>131622</c:v>
                </c:pt>
                <c:pt idx="16875">
                  <c:v>131601</c:v>
                </c:pt>
                <c:pt idx="16876">
                  <c:v>131600</c:v>
                </c:pt>
                <c:pt idx="16877">
                  <c:v>131592</c:v>
                </c:pt>
                <c:pt idx="16878">
                  <c:v>131581</c:v>
                </c:pt>
                <c:pt idx="16879">
                  <c:v>131577</c:v>
                </c:pt>
                <c:pt idx="16880">
                  <c:v>131577</c:v>
                </c:pt>
                <c:pt idx="16881">
                  <c:v>131576</c:v>
                </c:pt>
                <c:pt idx="16882">
                  <c:v>131575</c:v>
                </c:pt>
                <c:pt idx="16883">
                  <c:v>131570</c:v>
                </c:pt>
                <c:pt idx="16884">
                  <c:v>131554</c:v>
                </c:pt>
                <c:pt idx="16885">
                  <c:v>131553</c:v>
                </c:pt>
                <c:pt idx="16886">
                  <c:v>131551</c:v>
                </c:pt>
                <c:pt idx="16887">
                  <c:v>131549</c:v>
                </c:pt>
                <c:pt idx="16888">
                  <c:v>131542</c:v>
                </c:pt>
                <c:pt idx="16889">
                  <c:v>131540</c:v>
                </c:pt>
                <c:pt idx="16890">
                  <c:v>131535</c:v>
                </c:pt>
                <c:pt idx="16891">
                  <c:v>131529</c:v>
                </c:pt>
                <c:pt idx="16892">
                  <c:v>131520</c:v>
                </c:pt>
                <c:pt idx="16893">
                  <c:v>131512</c:v>
                </c:pt>
                <c:pt idx="16894">
                  <c:v>131509</c:v>
                </c:pt>
                <c:pt idx="16895">
                  <c:v>131507</c:v>
                </c:pt>
                <c:pt idx="16896">
                  <c:v>131496</c:v>
                </c:pt>
                <c:pt idx="16897">
                  <c:v>131495</c:v>
                </c:pt>
                <c:pt idx="16898">
                  <c:v>131493</c:v>
                </c:pt>
                <c:pt idx="16899">
                  <c:v>131486</c:v>
                </c:pt>
                <c:pt idx="16900">
                  <c:v>131484</c:v>
                </c:pt>
                <c:pt idx="16901">
                  <c:v>131483</c:v>
                </c:pt>
                <c:pt idx="16902">
                  <c:v>131480</c:v>
                </c:pt>
                <c:pt idx="16903">
                  <c:v>131473</c:v>
                </c:pt>
                <c:pt idx="16904">
                  <c:v>131472</c:v>
                </c:pt>
                <c:pt idx="16905">
                  <c:v>131471</c:v>
                </c:pt>
                <c:pt idx="16906">
                  <c:v>131471</c:v>
                </c:pt>
                <c:pt idx="16907">
                  <c:v>131468</c:v>
                </c:pt>
                <c:pt idx="16908">
                  <c:v>131468</c:v>
                </c:pt>
                <c:pt idx="16909">
                  <c:v>131464</c:v>
                </c:pt>
                <c:pt idx="16910">
                  <c:v>131462</c:v>
                </c:pt>
                <c:pt idx="16911">
                  <c:v>131456</c:v>
                </c:pt>
                <c:pt idx="16912">
                  <c:v>131449</c:v>
                </c:pt>
                <c:pt idx="16913">
                  <c:v>131446</c:v>
                </c:pt>
                <c:pt idx="16914">
                  <c:v>131439</c:v>
                </c:pt>
                <c:pt idx="16915">
                  <c:v>131437</c:v>
                </c:pt>
                <c:pt idx="16916">
                  <c:v>131428</c:v>
                </c:pt>
                <c:pt idx="16917">
                  <c:v>131424</c:v>
                </c:pt>
                <c:pt idx="16918">
                  <c:v>131423</c:v>
                </c:pt>
                <c:pt idx="16919">
                  <c:v>131409</c:v>
                </c:pt>
                <c:pt idx="16920">
                  <c:v>131399</c:v>
                </c:pt>
                <c:pt idx="16921">
                  <c:v>131399</c:v>
                </c:pt>
                <c:pt idx="16922">
                  <c:v>131396</c:v>
                </c:pt>
                <c:pt idx="16923">
                  <c:v>131394</c:v>
                </c:pt>
                <c:pt idx="16924">
                  <c:v>131392</c:v>
                </c:pt>
                <c:pt idx="16925">
                  <c:v>131391</c:v>
                </c:pt>
                <c:pt idx="16926">
                  <c:v>131383</c:v>
                </c:pt>
                <c:pt idx="16927">
                  <c:v>131377</c:v>
                </c:pt>
                <c:pt idx="16928">
                  <c:v>131375</c:v>
                </c:pt>
                <c:pt idx="16929">
                  <c:v>131374</c:v>
                </c:pt>
                <c:pt idx="16930">
                  <c:v>131373</c:v>
                </c:pt>
                <c:pt idx="16931">
                  <c:v>131358</c:v>
                </c:pt>
                <c:pt idx="16932">
                  <c:v>131357</c:v>
                </c:pt>
                <c:pt idx="16933">
                  <c:v>131353</c:v>
                </c:pt>
                <c:pt idx="16934">
                  <c:v>131352</c:v>
                </c:pt>
                <c:pt idx="16935">
                  <c:v>131342</c:v>
                </c:pt>
                <c:pt idx="16936">
                  <c:v>131340</c:v>
                </c:pt>
                <c:pt idx="16937">
                  <c:v>131339</c:v>
                </c:pt>
                <c:pt idx="16938">
                  <c:v>131338</c:v>
                </c:pt>
                <c:pt idx="16939">
                  <c:v>131336</c:v>
                </c:pt>
                <c:pt idx="16940">
                  <c:v>131335</c:v>
                </c:pt>
                <c:pt idx="16941">
                  <c:v>131330</c:v>
                </c:pt>
                <c:pt idx="16942">
                  <c:v>131321</c:v>
                </c:pt>
                <c:pt idx="16943">
                  <c:v>131319</c:v>
                </c:pt>
                <c:pt idx="16944">
                  <c:v>131317</c:v>
                </c:pt>
                <c:pt idx="16945">
                  <c:v>131310</c:v>
                </c:pt>
                <c:pt idx="16946">
                  <c:v>131308</c:v>
                </c:pt>
                <c:pt idx="16947">
                  <c:v>131307</c:v>
                </c:pt>
                <c:pt idx="16948">
                  <c:v>131289</c:v>
                </c:pt>
                <c:pt idx="16949">
                  <c:v>131285</c:v>
                </c:pt>
                <c:pt idx="16950">
                  <c:v>131284</c:v>
                </c:pt>
                <c:pt idx="16951">
                  <c:v>131281</c:v>
                </c:pt>
                <c:pt idx="16952">
                  <c:v>131275</c:v>
                </c:pt>
                <c:pt idx="16953">
                  <c:v>131275</c:v>
                </c:pt>
                <c:pt idx="16954">
                  <c:v>131268</c:v>
                </c:pt>
                <c:pt idx="16955">
                  <c:v>131267</c:v>
                </c:pt>
                <c:pt idx="16956">
                  <c:v>131258</c:v>
                </c:pt>
                <c:pt idx="16957">
                  <c:v>131257</c:v>
                </c:pt>
                <c:pt idx="16958">
                  <c:v>131256</c:v>
                </c:pt>
                <c:pt idx="16959">
                  <c:v>131255</c:v>
                </c:pt>
                <c:pt idx="16960">
                  <c:v>131254</c:v>
                </c:pt>
                <c:pt idx="16961">
                  <c:v>131234</c:v>
                </c:pt>
                <c:pt idx="16962">
                  <c:v>131230</c:v>
                </c:pt>
                <c:pt idx="16963">
                  <c:v>131230</c:v>
                </c:pt>
                <c:pt idx="16964">
                  <c:v>131217</c:v>
                </c:pt>
                <c:pt idx="16965">
                  <c:v>131214</c:v>
                </c:pt>
                <c:pt idx="16966">
                  <c:v>131214</c:v>
                </c:pt>
                <c:pt idx="16967">
                  <c:v>131213</c:v>
                </c:pt>
                <c:pt idx="16968">
                  <c:v>131212</c:v>
                </c:pt>
                <c:pt idx="16969">
                  <c:v>131209</c:v>
                </c:pt>
                <c:pt idx="16970">
                  <c:v>131208</c:v>
                </c:pt>
                <c:pt idx="16971">
                  <c:v>131203</c:v>
                </c:pt>
                <c:pt idx="16972">
                  <c:v>131186</c:v>
                </c:pt>
                <c:pt idx="16973">
                  <c:v>131182</c:v>
                </c:pt>
                <c:pt idx="16974">
                  <c:v>131180</c:v>
                </c:pt>
                <c:pt idx="16975">
                  <c:v>131169</c:v>
                </c:pt>
                <c:pt idx="16976">
                  <c:v>131166</c:v>
                </c:pt>
                <c:pt idx="16977">
                  <c:v>131155</c:v>
                </c:pt>
                <c:pt idx="16978">
                  <c:v>131152</c:v>
                </c:pt>
                <c:pt idx="16979">
                  <c:v>131150</c:v>
                </c:pt>
                <c:pt idx="16980">
                  <c:v>131146</c:v>
                </c:pt>
                <c:pt idx="16981">
                  <c:v>131140</c:v>
                </c:pt>
                <c:pt idx="16982">
                  <c:v>131140</c:v>
                </c:pt>
                <c:pt idx="16983">
                  <c:v>131140</c:v>
                </c:pt>
                <c:pt idx="16984">
                  <c:v>131136</c:v>
                </c:pt>
                <c:pt idx="16985">
                  <c:v>131134</c:v>
                </c:pt>
                <c:pt idx="16986">
                  <c:v>131133</c:v>
                </c:pt>
                <c:pt idx="16987">
                  <c:v>131133</c:v>
                </c:pt>
                <c:pt idx="16988">
                  <c:v>131133</c:v>
                </c:pt>
                <c:pt idx="16989">
                  <c:v>131133</c:v>
                </c:pt>
                <c:pt idx="16990">
                  <c:v>131130</c:v>
                </c:pt>
                <c:pt idx="16991">
                  <c:v>131126</c:v>
                </c:pt>
                <c:pt idx="16992">
                  <c:v>131121</c:v>
                </c:pt>
                <c:pt idx="16993">
                  <c:v>131115</c:v>
                </c:pt>
                <c:pt idx="16994">
                  <c:v>131106</c:v>
                </c:pt>
                <c:pt idx="16995">
                  <c:v>131105</c:v>
                </c:pt>
                <c:pt idx="16996">
                  <c:v>131105</c:v>
                </c:pt>
                <c:pt idx="16997">
                  <c:v>131098</c:v>
                </c:pt>
                <c:pt idx="16998">
                  <c:v>131093</c:v>
                </c:pt>
                <c:pt idx="16999">
                  <c:v>131093</c:v>
                </c:pt>
                <c:pt idx="17000">
                  <c:v>131088</c:v>
                </c:pt>
                <c:pt idx="17001">
                  <c:v>131086</c:v>
                </c:pt>
                <c:pt idx="17002">
                  <c:v>131086</c:v>
                </c:pt>
                <c:pt idx="17003">
                  <c:v>131085</c:v>
                </c:pt>
                <c:pt idx="17004">
                  <c:v>131083</c:v>
                </c:pt>
                <c:pt idx="17005">
                  <c:v>131081</c:v>
                </c:pt>
                <c:pt idx="17006">
                  <c:v>131080</c:v>
                </c:pt>
                <c:pt idx="17007">
                  <c:v>131075</c:v>
                </c:pt>
                <c:pt idx="17008">
                  <c:v>131066</c:v>
                </c:pt>
                <c:pt idx="17009">
                  <c:v>131053</c:v>
                </c:pt>
                <c:pt idx="17010">
                  <c:v>131053</c:v>
                </c:pt>
                <c:pt idx="17011">
                  <c:v>131052</c:v>
                </c:pt>
                <c:pt idx="17012">
                  <c:v>131051</c:v>
                </c:pt>
                <c:pt idx="17013">
                  <c:v>131051</c:v>
                </c:pt>
                <c:pt idx="17014">
                  <c:v>131045</c:v>
                </c:pt>
                <c:pt idx="17015">
                  <c:v>131041</c:v>
                </c:pt>
                <c:pt idx="17016">
                  <c:v>131028</c:v>
                </c:pt>
                <c:pt idx="17017">
                  <c:v>131022</c:v>
                </c:pt>
                <c:pt idx="17018">
                  <c:v>131020</c:v>
                </c:pt>
                <c:pt idx="17019">
                  <c:v>131019</c:v>
                </c:pt>
                <c:pt idx="17020">
                  <c:v>131019</c:v>
                </c:pt>
                <c:pt idx="17021">
                  <c:v>131013</c:v>
                </c:pt>
                <c:pt idx="17022">
                  <c:v>131002</c:v>
                </c:pt>
                <c:pt idx="17023">
                  <c:v>130998</c:v>
                </c:pt>
                <c:pt idx="17024">
                  <c:v>130996</c:v>
                </c:pt>
                <c:pt idx="17025">
                  <c:v>130986</c:v>
                </c:pt>
                <c:pt idx="17026">
                  <c:v>130982</c:v>
                </c:pt>
                <c:pt idx="17027">
                  <c:v>130967</c:v>
                </c:pt>
                <c:pt idx="17028">
                  <c:v>130963</c:v>
                </c:pt>
                <c:pt idx="17029">
                  <c:v>130963</c:v>
                </c:pt>
                <c:pt idx="17030">
                  <c:v>130958</c:v>
                </c:pt>
                <c:pt idx="17031">
                  <c:v>130954</c:v>
                </c:pt>
                <c:pt idx="17032">
                  <c:v>130945</c:v>
                </c:pt>
                <c:pt idx="17033">
                  <c:v>130944</c:v>
                </c:pt>
                <c:pt idx="17034">
                  <c:v>130940</c:v>
                </c:pt>
                <c:pt idx="17035">
                  <c:v>130938</c:v>
                </c:pt>
                <c:pt idx="17036">
                  <c:v>130933</c:v>
                </c:pt>
                <c:pt idx="17037">
                  <c:v>130928</c:v>
                </c:pt>
                <c:pt idx="17038">
                  <c:v>130920</c:v>
                </c:pt>
                <c:pt idx="17039">
                  <c:v>130919</c:v>
                </c:pt>
                <c:pt idx="17040">
                  <c:v>130908</c:v>
                </c:pt>
                <c:pt idx="17041">
                  <c:v>130906</c:v>
                </c:pt>
                <c:pt idx="17042">
                  <c:v>130904</c:v>
                </c:pt>
                <c:pt idx="17043">
                  <c:v>130904</c:v>
                </c:pt>
                <c:pt idx="17044">
                  <c:v>130900</c:v>
                </c:pt>
                <c:pt idx="17045">
                  <c:v>130897</c:v>
                </c:pt>
                <c:pt idx="17046">
                  <c:v>130882</c:v>
                </c:pt>
                <c:pt idx="17047">
                  <c:v>130881</c:v>
                </c:pt>
                <c:pt idx="17048">
                  <c:v>130877</c:v>
                </c:pt>
                <c:pt idx="17049">
                  <c:v>130872</c:v>
                </c:pt>
                <c:pt idx="17050">
                  <c:v>130872</c:v>
                </c:pt>
                <c:pt idx="17051">
                  <c:v>130872</c:v>
                </c:pt>
                <c:pt idx="17052">
                  <c:v>130870</c:v>
                </c:pt>
                <c:pt idx="17053">
                  <c:v>130869</c:v>
                </c:pt>
                <c:pt idx="17054">
                  <c:v>130861</c:v>
                </c:pt>
                <c:pt idx="17055">
                  <c:v>130855</c:v>
                </c:pt>
                <c:pt idx="17056">
                  <c:v>130852</c:v>
                </c:pt>
                <c:pt idx="17057">
                  <c:v>130848</c:v>
                </c:pt>
                <c:pt idx="17058">
                  <c:v>130848</c:v>
                </c:pt>
                <c:pt idx="17059">
                  <c:v>130845</c:v>
                </c:pt>
                <c:pt idx="17060">
                  <c:v>130839</c:v>
                </c:pt>
                <c:pt idx="17061">
                  <c:v>130826</c:v>
                </c:pt>
                <c:pt idx="17062">
                  <c:v>130823</c:v>
                </c:pt>
                <c:pt idx="17063">
                  <c:v>130822</c:v>
                </c:pt>
                <c:pt idx="17064">
                  <c:v>130819</c:v>
                </c:pt>
                <c:pt idx="17065">
                  <c:v>130814</c:v>
                </c:pt>
                <c:pt idx="17066">
                  <c:v>130811</c:v>
                </c:pt>
                <c:pt idx="17067">
                  <c:v>130809</c:v>
                </c:pt>
                <c:pt idx="17068">
                  <c:v>130806</c:v>
                </c:pt>
                <c:pt idx="17069">
                  <c:v>130797</c:v>
                </c:pt>
                <c:pt idx="17070">
                  <c:v>130796</c:v>
                </c:pt>
                <c:pt idx="17071">
                  <c:v>130793</c:v>
                </c:pt>
                <c:pt idx="17072">
                  <c:v>130790</c:v>
                </c:pt>
                <c:pt idx="17073">
                  <c:v>130787</c:v>
                </c:pt>
                <c:pt idx="17074">
                  <c:v>130775</c:v>
                </c:pt>
                <c:pt idx="17075">
                  <c:v>130762</c:v>
                </c:pt>
                <c:pt idx="17076">
                  <c:v>130759</c:v>
                </c:pt>
                <c:pt idx="17077">
                  <c:v>130753</c:v>
                </c:pt>
                <c:pt idx="17078">
                  <c:v>130752</c:v>
                </c:pt>
                <c:pt idx="17079">
                  <c:v>130739</c:v>
                </c:pt>
                <c:pt idx="17080">
                  <c:v>130739</c:v>
                </c:pt>
                <c:pt idx="17081">
                  <c:v>130738</c:v>
                </c:pt>
                <c:pt idx="17082">
                  <c:v>130737</c:v>
                </c:pt>
                <c:pt idx="17083">
                  <c:v>130733</c:v>
                </c:pt>
                <c:pt idx="17084">
                  <c:v>130729</c:v>
                </c:pt>
                <c:pt idx="17085">
                  <c:v>130720</c:v>
                </c:pt>
                <c:pt idx="17086">
                  <c:v>130717</c:v>
                </c:pt>
                <c:pt idx="17087">
                  <c:v>130711</c:v>
                </c:pt>
                <c:pt idx="17088">
                  <c:v>130697</c:v>
                </c:pt>
                <c:pt idx="17089">
                  <c:v>130697</c:v>
                </c:pt>
                <c:pt idx="17090">
                  <c:v>130692</c:v>
                </c:pt>
                <c:pt idx="17091">
                  <c:v>130688</c:v>
                </c:pt>
                <c:pt idx="17092">
                  <c:v>130685</c:v>
                </c:pt>
                <c:pt idx="17093">
                  <c:v>130685</c:v>
                </c:pt>
                <c:pt idx="17094">
                  <c:v>130683</c:v>
                </c:pt>
                <c:pt idx="17095">
                  <c:v>130680</c:v>
                </c:pt>
                <c:pt idx="17096">
                  <c:v>130675</c:v>
                </c:pt>
                <c:pt idx="17097">
                  <c:v>130674</c:v>
                </c:pt>
                <c:pt idx="17098">
                  <c:v>130672</c:v>
                </c:pt>
                <c:pt idx="17099">
                  <c:v>130666</c:v>
                </c:pt>
                <c:pt idx="17100">
                  <c:v>130660</c:v>
                </c:pt>
                <c:pt idx="17101">
                  <c:v>130653</c:v>
                </c:pt>
                <c:pt idx="17102">
                  <c:v>130642</c:v>
                </c:pt>
                <c:pt idx="17103">
                  <c:v>130641</c:v>
                </c:pt>
                <c:pt idx="17104">
                  <c:v>130632</c:v>
                </c:pt>
                <c:pt idx="17105">
                  <c:v>130627</c:v>
                </c:pt>
                <c:pt idx="17106">
                  <c:v>130625</c:v>
                </c:pt>
                <c:pt idx="17107">
                  <c:v>130623</c:v>
                </c:pt>
                <c:pt idx="17108">
                  <c:v>130618</c:v>
                </c:pt>
                <c:pt idx="17109">
                  <c:v>130616</c:v>
                </c:pt>
                <c:pt idx="17110">
                  <c:v>130610</c:v>
                </c:pt>
                <c:pt idx="17111">
                  <c:v>130605</c:v>
                </c:pt>
                <c:pt idx="17112">
                  <c:v>130594</c:v>
                </c:pt>
                <c:pt idx="17113">
                  <c:v>130593</c:v>
                </c:pt>
                <c:pt idx="17114">
                  <c:v>130593</c:v>
                </c:pt>
                <c:pt idx="17115">
                  <c:v>130592</c:v>
                </c:pt>
                <c:pt idx="17116">
                  <c:v>130589</c:v>
                </c:pt>
                <c:pt idx="17117">
                  <c:v>130588</c:v>
                </c:pt>
                <c:pt idx="17118">
                  <c:v>130587</c:v>
                </c:pt>
                <c:pt idx="17119">
                  <c:v>130585</c:v>
                </c:pt>
                <c:pt idx="17120">
                  <c:v>130575</c:v>
                </c:pt>
                <c:pt idx="17121">
                  <c:v>130573</c:v>
                </c:pt>
                <c:pt idx="17122">
                  <c:v>130571</c:v>
                </c:pt>
                <c:pt idx="17123">
                  <c:v>130570</c:v>
                </c:pt>
                <c:pt idx="17124">
                  <c:v>130569</c:v>
                </c:pt>
                <c:pt idx="17125">
                  <c:v>130560</c:v>
                </c:pt>
                <c:pt idx="17126">
                  <c:v>130557</c:v>
                </c:pt>
                <c:pt idx="17127">
                  <c:v>130554</c:v>
                </c:pt>
                <c:pt idx="17128">
                  <c:v>130552</c:v>
                </c:pt>
                <c:pt idx="17129">
                  <c:v>130548</c:v>
                </c:pt>
                <c:pt idx="17130">
                  <c:v>130548</c:v>
                </c:pt>
                <c:pt idx="17131">
                  <c:v>130546</c:v>
                </c:pt>
                <c:pt idx="17132">
                  <c:v>130543</c:v>
                </c:pt>
                <c:pt idx="17133">
                  <c:v>130542</c:v>
                </c:pt>
                <c:pt idx="17134">
                  <c:v>130541</c:v>
                </c:pt>
                <c:pt idx="17135">
                  <c:v>130540</c:v>
                </c:pt>
                <c:pt idx="17136">
                  <c:v>130534</c:v>
                </c:pt>
                <c:pt idx="17137">
                  <c:v>130534</c:v>
                </c:pt>
                <c:pt idx="17138">
                  <c:v>130532</c:v>
                </c:pt>
                <c:pt idx="17139">
                  <c:v>130531</c:v>
                </c:pt>
                <c:pt idx="17140">
                  <c:v>130528</c:v>
                </c:pt>
                <c:pt idx="17141">
                  <c:v>130528</c:v>
                </c:pt>
                <c:pt idx="17142">
                  <c:v>130527</c:v>
                </c:pt>
                <c:pt idx="17143">
                  <c:v>130523</c:v>
                </c:pt>
                <c:pt idx="17144">
                  <c:v>130521</c:v>
                </c:pt>
                <c:pt idx="17145">
                  <c:v>130519</c:v>
                </c:pt>
                <c:pt idx="17146">
                  <c:v>130516</c:v>
                </c:pt>
                <c:pt idx="17147">
                  <c:v>130515</c:v>
                </c:pt>
                <c:pt idx="17148">
                  <c:v>130513</c:v>
                </c:pt>
                <c:pt idx="17149">
                  <c:v>130510</c:v>
                </c:pt>
                <c:pt idx="17150">
                  <c:v>130507</c:v>
                </c:pt>
                <c:pt idx="17151">
                  <c:v>130495</c:v>
                </c:pt>
                <c:pt idx="17152">
                  <c:v>130484</c:v>
                </c:pt>
                <c:pt idx="17153">
                  <c:v>130474</c:v>
                </c:pt>
                <c:pt idx="17154">
                  <c:v>130468</c:v>
                </c:pt>
                <c:pt idx="17155">
                  <c:v>130466</c:v>
                </c:pt>
                <c:pt idx="17156">
                  <c:v>130463</c:v>
                </c:pt>
                <c:pt idx="17157">
                  <c:v>130463</c:v>
                </c:pt>
                <c:pt idx="17158">
                  <c:v>130457</c:v>
                </c:pt>
                <c:pt idx="17159">
                  <c:v>130456</c:v>
                </c:pt>
                <c:pt idx="17160">
                  <c:v>130455</c:v>
                </c:pt>
                <c:pt idx="17161">
                  <c:v>130447</c:v>
                </c:pt>
                <c:pt idx="17162">
                  <c:v>130446</c:v>
                </c:pt>
                <c:pt idx="17163">
                  <c:v>130442</c:v>
                </c:pt>
                <c:pt idx="17164">
                  <c:v>130432</c:v>
                </c:pt>
                <c:pt idx="17165">
                  <c:v>130427</c:v>
                </c:pt>
                <c:pt idx="17166">
                  <c:v>130427</c:v>
                </c:pt>
                <c:pt idx="17167">
                  <c:v>130423</c:v>
                </c:pt>
                <c:pt idx="17168">
                  <c:v>130419</c:v>
                </c:pt>
                <c:pt idx="17169">
                  <c:v>130417</c:v>
                </c:pt>
                <c:pt idx="17170">
                  <c:v>130415</c:v>
                </c:pt>
                <c:pt idx="17171">
                  <c:v>130411</c:v>
                </c:pt>
                <c:pt idx="17172">
                  <c:v>130406</c:v>
                </c:pt>
                <c:pt idx="17173">
                  <c:v>130406</c:v>
                </c:pt>
                <c:pt idx="17174">
                  <c:v>130401</c:v>
                </c:pt>
                <c:pt idx="17175">
                  <c:v>130399</c:v>
                </c:pt>
                <c:pt idx="17176">
                  <c:v>130397</c:v>
                </c:pt>
                <c:pt idx="17177">
                  <c:v>130396</c:v>
                </c:pt>
                <c:pt idx="17178">
                  <c:v>130395</c:v>
                </c:pt>
                <c:pt idx="17179">
                  <c:v>130390</c:v>
                </c:pt>
                <c:pt idx="17180">
                  <c:v>130383</c:v>
                </c:pt>
                <c:pt idx="17181">
                  <c:v>130379</c:v>
                </c:pt>
                <c:pt idx="17182">
                  <c:v>130374</c:v>
                </c:pt>
                <c:pt idx="17183">
                  <c:v>130373</c:v>
                </c:pt>
                <c:pt idx="17184">
                  <c:v>130361</c:v>
                </c:pt>
                <c:pt idx="17185">
                  <c:v>130360</c:v>
                </c:pt>
                <c:pt idx="17186">
                  <c:v>130360</c:v>
                </c:pt>
                <c:pt idx="17187">
                  <c:v>130358</c:v>
                </c:pt>
                <c:pt idx="17188">
                  <c:v>130352</c:v>
                </c:pt>
                <c:pt idx="17189">
                  <c:v>130352</c:v>
                </c:pt>
                <c:pt idx="17190">
                  <c:v>130350</c:v>
                </c:pt>
                <c:pt idx="17191">
                  <c:v>130349</c:v>
                </c:pt>
                <c:pt idx="17192">
                  <c:v>130341</c:v>
                </c:pt>
                <c:pt idx="17193">
                  <c:v>130340</c:v>
                </c:pt>
                <c:pt idx="17194">
                  <c:v>130326</c:v>
                </c:pt>
                <c:pt idx="17195">
                  <c:v>130322</c:v>
                </c:pt>
                <c:pt idx="17196">
                  <c:v>130319</c:v>
                </c:pt>
                <c:pt idx="17197">
                  <c:v>130314</c:v>
                </c:pt>
                <c:pt idx="17198">
                  <c:v>130298</c:v>
                </c:pt>
                <c:pt idx="17199">
                  <c:v>130298</c:v>
                </c:pt>
                <c:pt idx="17200">
                  <c:v>130293</c:v>
                </c:pt>
                <c:pt idx="17201">
                  <c:v>130282</c:v>
                </c:pt>
                <c:pt idx="17202">
                  <c:v>130281</c:v>
                </c:pt>
                <c:pt idx="17203">
                  <c:v>130279</c:v>
                </c:pt>
                <c:pt idx="17204">
                  <c:v>130275</c:v>
                </c:pt>
                <c:pt idx="17205">
                  <c:v>130274</c:v>
                </c:pt>
                <c:pt idx="17206">
                  <c:v>130266</c:v>
                </c:pt>
                <c:pt idx="17207">
                  <c:v>130263</c:v>
                </c:pt>
                <c:pt idx="17208">
                  <c:v>130261</c:v>
                </c:pt>
                <c:pt idx="17209">
                  <c:v>130257</c:v>
                </c:pt>
                <c:pt idx="17210">
                  <c:v>130254</c:v>
                </c:pt>
                <c:pt idx="17211">
                  <c:v>130250</c:v>
                </c:pt>
                <c:pt idx="17212">
                  <c:v>130249</c:v>
                </c:pt>
                <c:pt idx="17213">
                  <c:v>130247</c:v>
                </c:pt>
                <c:pt idx="17214">
                  <c:v>130228</c:v>
                </c:pt>
                <c:pt idx="17215">
                  <c:v>130224</c:v>
                </c:pt>
                <c:pt idx="17216">
                  <c:v>130208</c:v>
                </c:pt>
                <c:pt idx="17217">
                  <c:v>130199</c:v>
                </c:pt>
                <c:pt idx="17218">
                  <c:v>130192</c:v>
                </c:pt>
                <c:pt idx="17219">
                  <c:v>130189</c:v>
                </c:pt>
                <c:pt idx="17220">
                  <c:v>130186</c:v>
                </c:pt>
                <c:pt idx="17221">
                  <c:v>130183</c:v>
                </c:pt>
                <c:pt idx="17222">
                  <c:v>130177</c:v>
                </c:pt>
                <c:pt idx="17223">
                  <c:v>130173</c:v>
                </c:pt>
                <c:pt idx="17224">
                  <c:v>130173</c:v>
                </c:pt>
                <c:pt idx="17225">
                  <c:v>130172</c:v>
                </c:pt>
                <c:pt idx="17226">
                  <c:v>130164</c:v>
                </c:pt>
                <c:pt idx="17227">
                  <c:v>130163</c:v>
                </c:pt>
                <c:pt idx="17228">
                  <c:v>130162</c:v>
                </c:pt>
                <c:pt idx="17229">
                  <c:v>130161</c:v>
                </c:pt>
                <c:pt idx="17230">
                  <c:v>130154</c:v>
                </c:pt>
                <c:pt idx="17231">
                  <c:v>130153</c:v>
                </c:pt>
                <c:pt idx="17232">
                  <c:v>130148</c:v>
                </c:pt>
                <c:pt idx="17233">
                  <c:v>130147</c:v>
                </c:pt>
                <c:pt idx="17234">
                  <c:v>130145</c:v>
                </c:pt>
                <c:pt idx="17235">
                  <c:v>130145</c:v>
                </c:pt>
                <c:pt idx="17236">
                  <c:v>130135</c:v>
                </c:pt>
                <c:pt idx="17237">
                  <c:v>130134</c:v>
                </c:pt>
                <c:pt idx="17238">
                  <c:v>130133</c:v>
                </c:pt>
                <c:pt idx="17239">
                  <c:v>130131</c:v>
                </c:pt>
                <c:pt idx="17240">
                  <c:v>130130</c:v>
                </c:pt>
                <c:pt idx="17241">
                  <c:v>130128</c:v>
                </c:pt>
                <c:pt idx="17242">
                  <c:v>130128</c:v>
                </c:pt>
                <c:pt idx="17243">
                  <c:v>130124</c:v>
                </c:pt>
                <c:pt idx="17244">
                  <c:v>130123</c:v>
                </c:pt>
                <c:pt idx="17245">
                  <c:v>130122</c:v>
                </c:pt>
                <c:pt idx="17246">
                  <c:v>130118</c:v>
                </c:pt>
                <c:pt idx="17247">
                  <c:v>130118</c:v>
                </c:pt>
                <c:pt idx="17248">
                  <c:v>130117</c:v>
                </c:pt>
                <c:pt idx="17249">
                  <c:v>130111</c:v>
                </c:pt>
                <c:pt idx="17250">
                  <c:v>130110</c:v>
                </c:pt>
                <c:pt idx="17251">
                  <c:v>130106</c:v>
                </c:pt>
                <c:pt idx="17252">
                  <c:v>130102</c:v>
                </c:pt>
                <c:pt idx="17253">
                  <c:v>130093</c:v>
                </c:pt>
                <c:pt idx="17254">
                  <c:v>130088</c:v>
                </c:pt>
                <c:pt idx="17255">
                  <c:v>130074</c:v>
                </c:pt>
                <c:pt idx="17256">
                  <c:v>130065</c:v>
                </c:pt>
                <c:pt idx="17257">
                  <c:v>130064</c:v>
                </c:pt>
                <c:pt idx="17258">
                  <c:v>130059</c:v>
                </c:pt>
                <c:pt idx="17259">
                  <c:v>130059</c:v>
                </c:pt>
                <c:pt idx="17260">
                  <c:v>130056</c:v>
                </c:pt>
                <c:pt idx="17261">
                  <c:v>130055</c:v>
                </c:pt>
                <c:pt idx="17262">
                  <c:v>130040</c:v>
                </c:pt>
                <c:pt idx="17263">
                  <c:v>130039</c:v>
                </c:pt>
                <c:pt idx="17264">
                  <c:v>130024</c:v>
                </c:pt>
                <c:pt idx="17265">
                  <c:v>130019</c:v>
                </c:pt>
                <c:pt idx="17266">
                  <c:v>130014</c:v>
                </c:pt>
                <c:pt idx="17267">
                  <c:v>130011</c:v>
                </c:pt>
                <c:pt idx="17268">
                  <c:v>130010</c:v>
                </c:pt>
                <c:pt idx="17269">
                  <c:v>130009</c:v>
                </c:pt>
                <c:pt idx="17270">
                  <c:v>130002</c:v>
                </c:pt>
                <c:pt idx="17271">
                  <c:v>129994</c:v>
                </c:pt>
                <c:pt idx="17272">
                  <c:v>129993</c:v>
                </c:pt>
                <c:pt idx="17273">
                  <c:v>129988</c:v>
                </c:pt>
                <c:pt idx="17274">
                  <c:v>129988</c:v>
                </c:pt>
                <c:pt idx="17275">
                  <c:v>129987</c:v>
                </c:pt>
                <c:pt idx="17276">
                  <c:v>129979</c:v>
                </c:pt>
                <c:pt idx="17277">
                  <c:v>129976</c:v>
                </c:pt>
                <c:pt idx="17278">
                  <c:v>129976</c:v>
                </c:pt>
                <c:pt idx="17279">
                  <c:v>129975</c:v>
                </c:pt>
                <c:pt idx="17280">
                  <c:v>129974</c:v>
                </c:pt>
                <c:pt idx="17281">
                  <c:v>129968</c:v>
                </c:pt>
                <c:pt idx="17282">
                  <c:v>129966</c:v>
                </c:pt>
                <c:pt idx="17283">
                  <c:v>129960</c:v>
                </c:pt>
                <c:pt idx="17284">
                  <c:v>129959</c:v>
                </c:pt>
                <c:pt idx="17285">
                  <c:v>129955</c:v>
                </c:pt>
                <c:pt idx="17286">
                  <c:v>129954</c:v>
                </c:pt>
                <c:pt idx="17287">
                  <c:v>129950</c:v>
                </c:pt>
                <c:pt idx="17288">
                  <c:v>129949</c:v>
                </c:pt>
                <c:pt idx="17289">
                  <c:v>129944</c:v>
                </c:pt>
                <c:pt idx="17290">
                  <c:v>129938</c:v>
                </c:pt>
                <c:pt idx="17291">
                  <c:v>129934</c:v>
                </c:pt>
                <c:pt idx="17292">
                  <c:v>129925</c:v>
                </c:pt>
                <c:pt idx="17293">
                  <c:v>129923</c:v>
                </c:pt>
                <c:pt idx="17294">
                  <c:v>129918</c:v>
                </c:pt>
                <c:pt idx="17295">
                  <c:v>129917</c:v>
                </c:pt>
                <c:pt idx="17296">
                  <c:v>129915</c:v>
                </c:pt>
                <c:pt idx="17297">
                  <c:v>129913</c:v>
                </c:pt>
                <c:pt idx="17298">
                  <c:v>129913</c:v>
                </c:pt>
                <c:pt idx="17299">
                  <c:v>129910</c:v>
                </c:pt>
                <c:pt idx="17300">
                  <c:v>129907</c:v>
                </c:pt>
                <c:pt idx="17301">
                  <c:v>129907</c:v>
                </c:pt>
                <c:pt idx="17302">
                  <c:v>129901</c:v>
                </c:pt>
                <c:pt idx="17303">
                  <c:v>129898</c:v>
                </c:pt>
                <c:pt idx="17304">
                  <c:v>129898</c:v>
                </c:pt>
                <c:pt idx="17305">
                  <c:v>129879</c:v>
                </c:pt>
                <c:pt idx="17306">
                  <c:v>129877</c:v>
                </c:pt>
                <c:pt idx="17307">
                  <c:v>129875</c:v>
                </c:pt>
                <c:pt idx="17308">
                  <c:v>129875</c:v>
                </c:pt>
                <c:pt idx="17309">
                  <c:v>129875</c:v>
                </c:pt>
                <c:pt idx="17310">
                  <c:v>129862</c:v>
                </c:pt>
                <c:pt idx="17311">
                  <c:v>129860</c:v>
                </c:pt>
                <c:pt idx="17312">
                  <c:v>129859</c:v>
                </c:pt>
                <c:pt idx="17313">
                  <c:v>129859</c:v>
                </c:pt>
                <c:pt idx="17314">
                  <c:v>129853</c:v>
                </c:pt>
                <c:pt idx="17315">
                  <c:v>129853</c:v>
                </c:pt>
                <c:pt idx="17316">
                  <c:v>129852</c:v>
                </c:pt>
                <c:pt idx="17317">
                  <c:v>129844</c:v>
                </c:pt>
                <c:pt idx="17318">
                  <c:v>129842</c:v>
                </c:pt>
                <c:pt idx="17319">
                  <c:v>129833</c:v>
                </c:pt>
                <c:pt idx="17320">
                  <c:v>129832</c:v>
                </c:pt>
                <c:pt idx="17321">
                  <c:v>129832</c:v>
                </c:pt>
                <c:pt idx="17322">
                  <c:v>129825</c:v>
                </c:pt>
                <c:pt idx="17323">
                  <c:v>129819</c:v>
                </c:pt>
                <c:pt idx="17324">
                  <c:v>129819</c:v>
                </c:pt>
                <c:pt idx="17325">
                  <c:v>129807</c:v>
                </c:pt>
                <c:pt idx="17326">
                  <c:v>129804</c:v>
                </c:pt>
                <c:pt idx="17327">
                  <c:v>129804</c:v>
                </c:pt>
                <c:pt idx="17328">
                  <c:v>129801</c:v>
                </c:pt>
                <c:pt idx="17329">
                  <c:v>129789</c:v>
                </c:pt>
                <c:pt idx="17330">
                  <c:v>129788</c:v>
                </c:pt>
                <c:pt idx="17331">
                  <c:v>129781</c:v>
                </c:pt>
                <c:pt idx="17332">
                  <c:v>129770</c:v>
                </c:pt>
                <c:pt idx="17333">
                  <c:v>129765</c:v>
                </c:pt>
                <c:pt idx="17334">
                  <c:v>129760</c:v>
                </c:pt>
                <c:pt idx="17335">
                  <c:v>129758</c:v>
                </c:pt>
                <c:pt idx="17336">
                  <c:v>129757</c:v>
                </c:pt>
                <c:pt idx="17337">
                  <c:v>129756</c:v>
                </c:pt>
                <c:pt idx="17338">
                  <c:v>129754</c:v>
                </c:pt>
                <c:pt idx="17339">
                  <c:v>129748</c:v>
                </c:pt>
                <c:pt idx="17340">
                  <c:v>129747</c:v>
                </c:pt>
                <c:pt idx="17341">
                  <c:v>129744</c:v>
                </c:pt>
                <c:pt idx="17342">
                  <c:v>129741</c:v>
                </c:pt>
                <c:pt idx="17343">
                  <c:v>129738</c:v>
                </c:pt>
                <c:pt idx="17344">
                  <c:v>129738</c:v>
                </c:pt>
                <c:pt idx="17345">
                  <c:v>129734</c:v>
                </c:pt>
                <c:pt idx="17346">
                  <c:v>129730</c:v>
                </c:pt>
                <c:pt idx="17347">
                  <c:v>129729</c:v>
                </c:pt>
                <c:pt idx="17348">
                  <c:v>129725</c:v>
                </c:pt>
                <c:pt idx="17349">
                  <c:v>129710</c:v>
                </c:pt>
                <c:pt idx="17350">
                  <c:v>129704</c:v>
                </c:pt>
                <c:pt idx="17351">
                  <c:v>129693</c:v>
                </c:pt>
                <c:pt idx="17352">
                  <c:v>129684</c:v>
                </c:pt>
                <c:pt idx="17353">
                  <c:v>129684</c:v>
                </c:pt>
                <c:pt idx="17354">
                  <c:v>129683</c:v>
                </c:pt>
                <c:pt idx="17355">
                  <c:v>129682</c:v>
                </c:pt>
                <c:pt idx="17356">
                  <c:v>129681</c:v>
                </c:pt>
                <c:pt idx="17357">
                  <c:v>129680</c:v>
                </c:pt>
                <c:pt idx="17358">
                  <c:v>129678</c:v>
                </c:pt>
                <c:pt idx="17359">
                  <c:v>129674</c:v>
                </c:pt>
                <c:pt idx="17360">
                  <c:v>129670</c:v>
                </c:pt>
                <c:pt idx="17361">
                  <c:v>129669</c:v>
                </c:pt>
                <c:pt idx="17362">
                  <c:v>129659</c:v>
                </c:pt>
                <c:pt idx="17363">
                  <c:v>129655</c:v>
                </c:pt>
                <c:pt idx="17364">
                  <c:v>129649</c:v>
                </c:pt>
                <c:pt idx="17365">
                  <c:v>129647</c:v>
                </c:pt>
                <c:pt idx="17366">
                  <c:v>129646</c:v>
                </c:pt>
                <c:pt idx="17367">
                  <c:v>129644</c:v>
                </c:pt>
                <c:pt idx="17368">
                  <c:v>129643</c:v>
                </c:pt>
                <c:pt idx="17369">
                  <c:v>129640</c:v>
                </c:pt>
                <c:pt idx="17370">
                  <c:v>129640</c:v>
                </c:pt>
                <c:pt idx="17371">
                  <c:v>129633</c:v>
                </c:pt>
                <c:pt idx="17372">
                  <c:v>129633</c:v>
                </c:pt>
                <c:pt idx="17373">
                  <c:v>129628</c:v>
                </c:pt>
                <c:pt idx="17374">
                  <c:v>129624</c:v>
                </c:pt>
                <c:pt idx="17375">
                  <c:v>129624</c:v>
                </c:pt>
                <c:pt idx="17376">
                  <c:v>129618</c:v>
                </c:pt>
                <c:pt idx="17377">
                  <c:v>129610</c:v>
                </c:pt>
                <c:pt idx="17378">
                  <c:v>129603</c:v>
                </c:pt>
                <c:pt idx="17379">
                  <c:v>129602</c:v>
                </c:pt>
                <c:pt idx="17380">
                  <c:v>129600</c:v>
                </c:pt>
                <c:pt idx="17381">
                  <c:v>129598</c:v>
                </c:pt>
                <c:pt idx="17382">
                  <c:v>129590</c:v>
                </c:pt>
                <c:pt idx="17383">
                  <c:v>129589</c:v>
                </c:pt>
                <c:pt idx="17384">
                  <c:v>129581</c:v>
                </c:pt>
                <c:pt idx="17385">
                  <c:v>129579</c:v>
                </c:pt>
                <c:pt idx="17386">
                  <c:v>129579</c:v>
                </c:pt>
                <c:pt idx="17387">
                  <c:v>129573</c:v>
                </c:pt>
                <c:pt idx="17388">
                  <c:v>129573</c:v>
                </c:pt>
                <c:pt idx="17389">
                  <c:v>129571</c:v>
                </c:pt>
                <c:pt idx="17390">
                  <c:v>129570</c:v>
                </c:pt>
                <c:pt idx="17391">
                  <c:v>129568</c:v>
                </c:pt>
                <c:pt idx="17392">
                  <c:v>129565</c:v>
                </c:pt>
                <c:pt idx="17393">
                  <c:v>129560</c:v>
                </c:pt>
                <c:pt idx="17394">
                  <c:v>129556</c:v>
                </c:pt>
                <c:pt idx="17395">
                  <c:v>129554</c:v>
                </c:pt>
                <c:pt idx="17396">
                  <c:v>129552</c:v>
                </c:pt>
                <c:pt idx="17397">
                  <c:v>129551</c:v>
                </c:pt>
                <c:pt idx="17398">
                  <c:v>129548</c:v>
                </c:pt>
                <c:pt idx="17399">
                  <c:v>129545</c:v>
                </c:pt>
                <c:pt idx="17400">
                  <c:v>129545</c:v>
                </c:pt>
                <c:pt idx="17401">
                  <c:v>129544</c:v>
                </c:pt>
                <c:pt idx="17402">
                  <c:v>129542</c:v>
                </c:pt>
                <c:pt idx="17403">
                  <c:v>129540</c:v>
                </c:pt>
                <c:pt idx="17404">
                  <c:v>129539</c:v>
                </c:pt>
                <c:pt idx="17405">
                  <c:v>129535</c:v>
                </c:pt>
                <c:pt idx="17406">
                  <c:v>129535</c:v>
                </c:pt>
                <c:pt idx="17407">
                  <c:v>129534</c:v>
                </c:pt>
                <c:pt idx="17408">
                  <c:v>129533</c:v>
                </c:pt>
                <c:pt idx="17409">
                  <c:v>129532</c:v>
                </c:pt>
                <c:pt idx="17410">
                  <c:v>129521</c:v>
                </c:pt>
                <c:pt idx="17411">
                  <c:v>129521</c:v>
                </c:pt>
                <c:pt idx="17412">
                  <c:v>129520</c:v>
                </c:pt>
                <c:pt idx="17413">
                  <c:v>129513</c:v>
                </c:pt>
                <c:pt idx="17414">
                  <c:v>129502</c:v>
                </c:pt>
                <c:pt idx="17415">
                  <c:v>129492</c:v>
                </c:pt>
                <c:pt idx="17416">
                  <c:v>129492</c:v>
                </c:pt>
                <c:pt idx="17417">
                  <c:v>129486</c:v>
                </c:pt>
                <c:pt idx="17418">
                  <c:v>129484</c:v>
                </c:pt>
                <c:pt idx="17419">
                  <c:v>129477</c:v>
                </c:pt>
                <c:pt idx="17420">
                  <c:v>129475</c:v>
                </c:pt>
                <c:pt idx="17421">
                  <c:v>129472</c:v>
                </c:pt>
                <c:pt idx="17422">
                  <c:v>129467</c:v>
                </c:pt>
                <c:pt idx="17423">
                  <c:v>129465</c:v>
                </c:pt>
                <c:pt idx="17424">
                  <c:v>129464</c:v>
                </c:pt>
                <c:pt idx="17425">
                  <c:v>129461</c:v>
                </c:pt>
                <c:pt idx="17426">
                  <c:v>129442</c:v>
                </c:pt>
                <c:pt idx="17427">
                  <c:v>129425</c:v>
                </c:pt>
                <c:pt idx="17428">
                  <c:v>129419</c:v>
                </c:pt>
                <c:pt idx="17429">
                  <c:v>129416</c:v>
                </c:pt>
                <c:pt idx="17430">
                  <c:v>129408</c:v>
                </c:pt>
                <c:pt idx="17431">
                  <c:v>129407</c:v>
                </c:pt>
                <c:pt idx="17432">
                  <c:v>129393</c:v>
                </c:pt>
                <c:pt idx="17433">
                  <c:v>129393</c:v>
                </c:pt>
                <c:pt idx="17434">
                  <c:v>129390</c:v>
                </c:pt>
                <c:pt idx="17435">
                  <c:v>129389</c:v>
                </c:pt>
                <c:pt idx="17436">
                  <c:v>129386</c:v>
                </c:pt>
                <c:pt idx="17437">
                  <c:v>129384</c:v>
                </c:pt>
                <c:pt idx="17438">
                  <c:v>129381</c:v>
                </c:pt>
                <c:pt idx="17439">
                  <c:v>129370</c:v>
                </c:pt>
                <c:pt idx="17440">
                  <c:v>129370</c:v>
                </c:pt>
                <c:pt idx="17441">
                  <c:v>129365</c:v>
                </c:pt>
                <c:pt idx="17442">
                  <c:v>129364</c:v>
                </c:pt>
                <c:pt idx="17443">
                  <c:v>129359</c:v>
                </c:pt>
                <c:pt idx="17444">
                  <c:v>129359</c:v>
                </c:pt>
                <c:pt idx="17445">
                  <c:v>129355</c:v>
                </c:pt>
                <c:pt idx="17446">
                  <c:v>129341</c:v>
                </c:pt>
                <c:pt idx="17447">
                  <c:v>129340</c:v>
                </c:pt>
                <c:pt idx="17448">
                  <c:v>129323</c:v>
                </c:pt>
                <c:pt idx="17449">
                  <c:v>129316</c:v>
                </c:pt>
                <c:pt idx="17450">
                  <c:v>129312</c:v>
                </c:pt>
                <c:pt idx="17451">
                  <c:v>129311</c:v>
                </c:pt>
                <c:pt idx="17452">
                  <c:v>129310</c:v>
                </c:pt>
                <c:pt idx="17453">
                  <c:v>129309</c:v>
                </c:pt>
                <c:pt idx="17454">
                  <c:v>129306</c:v>
                </c:pt>
                <c:pt idx="17455">
                  <c:v>129305</c:v>
                </c:pt>
                <c:pt idx="17456">
                  <c:v>129303</c:v>
                </c:pt>
                <c:pt idx="17457">
                  <c:v>129301</c:v>
                </c:pt>
                <c:pt idx="17458">
                  <c:v>129300</c:v>
                </c:pt>
                <c:pt idx="17459">
                  <c:v>129300</c:v>
                </c:pt>
                <c:pt idx="17460">
                  <c:v>129289</c:v>
                </c:pt>
                <c:pt idx="17461">
                  <c:v>129289</c:v>
                </c:pt>
                <c:pt idx="17462">
                  <c:v>129283</c:v>
                </c:pt>
                <c:pt idx="17463">
                  <c:v>129281</c:v>
                </c:pt>
                <c:pt idx="17464">
                  <c:v>129278</c:v>
                </c:pt>
                <c:pt idx="17465">
                  <c:v>129267</c:v>
                </c:pt>
                <c:pt idx="17466">
                  <c:v>129264</c:v>
                </c:pt>
                <c:pt idx="17467">
                  <c:v>129263</c:v>
                </c:pt>
                <c:pt idx="17468">
                  <c:v>129260</c:v>
                </c:pt>
                <c:pt idx="17469">
                  <c:v>129257</c:v>
                </c:pt>
                <c:pt idx="17470">
                  <c:v>129254</c:v>
                </c:pt>
                <c:pt idx="17471">
                  <c:v>129246</c:v>
                </c:pt>
                <c:pt idx="17472">
                  <c:v>129246</c:v>
                </c:pt>
                <c:pt idx="17473">
                  <c:v>129244</c:v>
                </c:pt>
                <c:pt idx="17474">
                  <c:v>129240</c:v>
                </c:pt>
                <c:pt idx="17475">
                  <c:v>129238</c:v>
                </c:pt>
                <c:pt idx="17476">
                  <c:v>129233</c:v>
                </c:pt>
                <c:pt idx="17477">
                  <c:v>129233</c:v>
                </c:pt>
                <c:pt idx="17478">
                  <c:v>129233</c:v>
                </c:pt>
                <c:pt idx="17479">
                  <c:v>129231</c:v>
                </c:pt>
                <c:pt idx="17480">
                  <c:v>129219</c:v>
                </c:pt>
                <c:pt idx="17481">
                  <c:v>129216</c:v>
                </c:pt>
                <c:pt idx="17482">
                  <c:v>129215</c:v>
                </c:pt>
                <c:pt idx="17483">
                  <c:v>129213</c:v>
                </c:pt>
                <c:pt idx="17484">
                  <c:v>129212</c:v>
                </c:pt>
                <c:pt idx="17485">
                  <c:v>129210</c:v>
                </c:pt>
                <c:pt idx="17486">
                  <c:v>129206</c:v>
                </c:pt>
                <c:pt idx="17487">
                  <c:v>129204</c:v>
                </c:pt>
                <c:pt idx="17488">
                  <c:v>129202</c:v>
                </c:pt>
                <c:pt idx="17489">
                  <c:v>129196</c:v>
                </c:pt>
                <c:pt idx="17490">
                  <c:v>129193</c:v>
                </c:pt>
                <c:pt idx="17491">
                  <c:v>129192</c:v>
                </c:pt>
                <c:pt idx="17492">
                  <c:v>129190</c:v>
                </c:pt>
                <c:pt idx="17493">
                  <c:v>129185</c:v>
                </c:pt>
                <c:pt idx="17494">
                  <c:v>129183</c:v>
                </c:pt>
                <c:pt idx="17495">
                  <c:v>129179</c:v>
                </c:pt>
                <c:pt idx="17496">
                  <c:v>129175</c:v>
                </c:pt>
                <c:pt idx="17497">
                  <c:v>129169</c:v>
                </c:pt>
                <c:pt idx="17498">
                  <c:v>129166</c:v>
                </c:pt>
                <c:pt idx="17499">
                  <c:v>129165</c:v>
                </c:pt>
                <c:pt idx="17500">
                  <c:v>129158</c:v>
                </c:pt>
                <c:pt idx="17501">
                  <c:v>129148</c:v>
                </c:pt>
                <c:pt idx="17502">
                  <c:v>129148</c:v>
                </c:pt>
                <c:pt idx="17503">
                  <c:v>129147</c:v>
                </c:pt>
                <c:pt idx="17504">
                  <c:v>129147</c:v>
                </c:pt>
                <c:pt idx="17505">
                  <c:v>129137</c:v>
                </c:pt>
                <c:pt idx="17506">
                  <c:v>129130</c:v>
                </c:pt>
                <c:pt idx="17507">
                  <c:v>129129</c:v>
                </c:pt>
                <c:pt idx="17508">
                  <c:v>129126</c:v>
                </c:pt>
                <c:pt idx="17509">
                  <c:v>129120</c:v>
                </c:pt>
                <c:pt idx="17510">
                  <c:v>129118</c:v>
                </c:pt>
                <c:pt idx="17511">
                  <c:v>129113</c:v>
                </c:pt>
                <c:pt idx="17512">
                  <c:v>129112</c:v>
                </c:pt>
                <c:pt idx="17513">
                  <c:v>129111</c:v>
                </c:pt>
                <c:pt idx="17514">
                  <c:v>129108</c:v>
                </c:pt>
                <c:pt idx="17515">
                  <c:v>129104</c:v>
                </c:pt>
                <c:pt idx="17516">
                  <c:v>129103</c:v>
                </c:pt>
                <c:pt idx="17517">
                  <c:v>129100</c:v>
                </c:pt>
                <c:pt idx="17518">
                  <c:v>129099</c:v>
                </c:pt>
                <c:pt idx="17519">
                  <c:v>129096</c:v>
                </c:pt>
                <c:pt idx="17520">
                  <c:v>129096</c:v>
                </c:pt>
                <c:pt idx="17521">
                  <c:v>129093</c:v>
                </c:pt>
                <c:pt idx="17522">
                  <c:v>129092</c:v>
                </c:pt>
                <c:pt idx="17523">
                  <c:v>129084</c:v>
                </c:pt>
                <c:pt idx="17524">
                  <c:v>129078</c:v>
                </c:pt>
                <c:pt idx="17525">
                  <c:v>129077</c:v>
                </c:pt>
                <c:pt idx="17526">
                  <c:v>129075</c:v>
                </c:pt>
                <c:pt idx="17527">
                  <c:v>129073</c:v>
                </c:pt>
                <c:pt idx="17528">
                  <c:v>129068</c:v>
                </c:pt>
                <c:pt idx="17529">
                  <c:v>129065</c:v>
                </c:pt>
                <c:pt idx="17530">
                  <c:v>129047</c:v>
                </c:pt>
                <c:pt idx="17531">
                  <c:v>129046</c:v>
                </c:pt>
                <c:pt idx="17532">
                  <c:v>129042</c:v>
                </c:pt>
                <c:pt idx="17533">
                  <c:v>129039</c:v>
                </c:pt>
                <c:pt idx="17534">
                  <c:v>129038</c:v>
                </c:pt>
                <c:pt idx="17535">
                  <c:v>129037</c:v>
                </c:pt>
                <c:pt idx="17536">
                  <c:v>129030</c:v>
                </c:pt>
                <c:pt idx="17537">
                  <c:v>129029</c:v>
                </c:pt>
                <c:pt idx="17538">
                  <c:v>129027</c:v>
                </c:pt>
                <c:pt idx="17539">
                  <c:v>129026</c:v>
                </c:pt>
                <c:pt idx="17540">
                  <c:v>129021</c:v>
                </c:pt>
                <c:pt idx="17541">
                  <c:v>129020</c:v>
                </c:pt>
                <c:pt idx="17542">
                  <c:v>129011</c:v>
                </c:pt>
                <c:pt idx="17543">
                  <c:v>129009</c:v>
                </c:pt>
                <c:pt idx="17544">
                  <c:v>129007</c:v>
                </c:pt>
                <c:pt idx="17545">
                  <c:v>129000</c:v>
                </c:pt>
                <c:pt idx="17546">
                  <c:v>128998</c:v>
                </c:pt>
                <c:pt idx="17547">
                  <c:v>128987</c:v>
                </c:pt>
                <c:pt idx="17548">
                  <c:v>128983</c:v>
                </c:pt>
                <c:pt idx="17549">
                  <c:v>128983</c:v>
                </c:pt>
                <c:pt idx="17550">
                  <c:v>128982</c:v>
                </c:pt>
                <c:pt idx="17551">
                  <c:v>128981</c:v>
                </c:pt>
                <c:pt idx="17552">
                  <c:v>128978</c:v>
                </c:pt>
                <c:pt idx="17553">
                  <c:v>128971</c:v>
                </c:pt>
                <c:pt idx="17554">
                  <c:v>128969</c:v>
                </c:pt>
                <c:pt idx="17555">
                  <c:v>128969</c:v>
                </c:pt>
                <c:pt idx="17556">
                  <c:v>128968</c:v>
                </c:pt>
                <c:pt idx="17557">
                  <c:v>128964</c:v>
                </c:pt>
                <c:pt idx="17558">
                  <c:v>128958</c:v>
                </c:pt>
                <c:pt idx="17559">
                  <c:v>128955</c:v>
                </c:pt>
                <c:pt idx="17560">
                  <c:v>128952</c:v>
                </c:pt>
                <c:pt idx="17561">
                  <c:v>128947</c:v>
                </c:pt>
                <c:pt idx="17562">
                  <c:v>128946</c:v>
                </c:pt>
                <c:pt idx="17563">
                  <c:v>128935</c:v>
                </c:pt>
                <c:pt idx="17564">
                  <c:v>128934</c:v>
                </c:pt>
                <c:pt idx="17565">
                  <c:v>128931</c:v>
                </c:pt>
                <c:pt idx="17566">
                  <c:v>128929</c:v>
                </c:pt>
                <c:pt idx="17567">
                  <c:v>128927</c:v>
                </c:pt>
                <c:pt idx="17568">
                  <c:v>128923</c:v>
                </c:pt>
                <c:pt idx="17569">
                  <c:v>128911</c:v>
                </c:pt>
                <c:pt idx="17570">
                  <c:v>128908</c:v>
                </c:pt>
                <c:pt idx="17571">
                  <c:v>128905</c:v>
                </c:pt>
                <c:pt idx="17572">
                  <c:v>128894</c:v>
                </c:pt>
                <c:pt idx="17573">
                  <c:v>128894</c:v>
                </c:pt>
                <c:pt idx="17574">
                  <c:v>128893</c:v>
                </c:pt>
                <c:pt idx="17575">
                  <c:v>128888</c:v>
                </c:pt>
                <c:pt idx="17576">
                  <c:v>128887</c:v>
                </c:pt>
                <c:pt idx="17577">
                  <c:v>128886</c:v>
                </c:pt>
                <c:pt idx="17578">
                  <c:v>128877</c:v>
                </c:pt>
                <c:pt idx="17579">
                  <c:v>128877</c:v>
                </c:pt>
                <c:pt idx="17580">
                  <c:v>128874</c:v>
                </c:pt>
                <c:pt idx="17581">
                  <c:v>128873</c:v>
                </c:pt>
                <c:pt idx="17582">
                  <c:v>128869</c:v>
                </c:pt>
                <c:pt idx="17583">
                  <c:v>128859</c:v>
                </c:pt>
                <c:pt idx="17584">
                  <c:v>128859</c:v>
                </c:pt>
                <c:pt idx="17585">
                  <c:v>128845</c:v>
                </c:pt>
                <c:pt idx="17586">
                  <c:v>128840</c:v>
                </c:pt>
                <c:pt idx="17587">
                  <c:v>128836</c:v>
                </c:pt>
                <c:pt idx="17588">
                  <c:v>128831</c:v>
                </c:pt>
                <c:pt idx="17589">
                  <c:v>128829</c:v>
                </c:pt>
                <c:pt idx="17590">
                  <c:v>128826</c:v>
                </c:pt>
                <c:pt idx="17591">
                  <c:v>128819</c:v>
                </c:pt>
                <c:pt idx="17592">
                  <c:v>128817</c:v>
                </c:pt>
                <c:pt idx="17593">
                  <c:v>128810</c:v>
                </c:pt>
                <c:pt idx="17594">
                  <c:v>128804</c:v>
                </c:pt>
                <c:pt idx="17595">
                  <c:v>128803</c:v>
                </c:pt>
                <c:pt idx="17596">
                  <c:v>128799</c:v>
                </c:pt>
                <c:pt idx="17597">
                  <c:v>128798</c:v>
                </c:pt>
                <c:pt idx="17598">
                  <c:v>128796</c:v>
                </c:pt>
                <c:pt idx="17599">
                  <c:v>128795</c:v>
                </c:pt>
                <c:pt idx="17600">
                  <c:v>128793</c:v>
                </c:pt>
                <c:pt idx="17601">
                  <c:v>128783</c:v>
                </c:pt>
                <c:pt idx="17602">
                  <c:v>128782</c:v>
                </c:pt>
                <c:pt idx="17603">
                  <c:v>128774</c:v>
                </c:pt>
                <c:pt idx="17604">
                  <c:v>128771</c:v>
                </c:pt>
                <c:pt idx="17605">
                  <c:v>128770</c:v>
                </c:pt>
                <c:pt idx="17606">
                  <c:v>128764</c:v>
                </c:pt>
                <c:pt idx="17607">
                  <c:v>128761</c:v>
                </c:pt>
                <c:pt idx="17608">
                  <c:v>128759</c:v>
                </c:pt>
                <c:pt idx="17609">
                  <c:v>128759</c:v>
                </c:pt>
                <c:pt idx="17610">
                  <c:v>128756</c:v>
                </c:pt>
                <c:pt idx="17611">
                  <c:v>128755</c:v>
                </c:pt>
                <c:pt idx="17612">
                  <c:v>128750</c:v>
                </c:pt>
                <c:pt idx="17613">
                  <c:v>128746</c:v>
                </c:pt>
                <c:pt idx="17614">
                  <c:v>128745</c:v>
                </c:pt>
                <c:pt idx="17615">
                  <c:v>128744</c:v>
                </c:pt>
                <c:pt idx="17616">
                  <c:v>128738</c:v>
                </c:pt>
                <c:pt idx="17617">
                  <c:v>128736</c:v>
                </c:pt>
                <c:pt idx="17618">
                  <c:v>128735</c:v>
                </c:pt>
                <c:pt idx="17619">
                  <c:v>128727</c:v>
                </c:pt>
                <c:pt idx="17620">
                  <c:v>128723</c:v>
                </c:pt>
                <c:pt idx="17621">
                  <c:v>128718</c:v>
                </c:pt>
                <c:pt idx="17622">
                  <c:v>128718</c:v>
                </c:pt>
                <c:pt idx="17623">
                  <c:v>128717</c:v>
                </c:pt>
                <c:pt idx="17624">
                  <c:v>128714</c:v>
                </c:pt>
                <c:pt idx="17625">
                  <c:v>128711</c:v>
                </c:pt>
                <c:pt idx="17626">
                  <c:v>128710</c:v>
                </c:pt>
                <c:pt idx="17627">
                  <c:v>128710</c:v>
                </c:pt>
                <c:pt idx="17628">
                  <c:v>128703</c:v>
                </c:pt>
                <c:pt idx="17629">
                  <c:v>128699</c:v>
                </c:pt>
                <c:pt idx="17630">
                  <c:v>128693</c:v>
                </c:pt>
                <c:pt idx="17631">
                  <c:v>128691</c:v>
                </c:pt>
                <c:pt idx="17632">
                  <c:v>128687</c:v>
                </c:pt>
                <c:pt idx="17633">
                  <c:v>128678</c:v>
                </c:pt>
                <c:pt idx="17634">
                  <c:v>128673</c:v>
                </c:pt>
                <c:pt idx="17635">
                  <c:v>128672</c:v>
                </c:pt>
                <c:pt idx="17636">
                  <c:v>128667</c:v>
                </c:pt>
                <c:pt idx="17637">
                  <c:v>128658</c:v>
                </c:pt>
                <c:pt idx="17638">
                  <c:v>128651</c:v>
                </c:pt>
                <c:pt idx="17639">
                  <c:v>128649</c:v>
                </c:pt>
                <c:pt idx="17640">
                  <c:v>128649</c:v>
                </c:pt>
                <c:pt idx="17641">
                  <c:v>128645</c:v>
                </c:pt>
                <c:pt idx="17642">
                  <c:v>128644</c:v>
                </c:pt>
                <c:pt idx="17643">
                  <c:v>128643</c:v>
                </c:pt>
                <c:pt idx="17644">
                  <c:v>128643</c:v>
                </c:pt>
                <c:pt idx="17645">
                  <c:v>128642</c:v>
                </c:pt>
                <c:pt idx="17646">
                  <c:v>128640</c:v>
                </c:pt>
                <c:pt idx="17647">
                  <c:v>128637</c:v>
                </c:pt>
                <c:pt idx="17648">
                  <c:v>128634</c:v>
                </c:pt>
                <c:pt idx="17649">
                  <c:v>128634</c:v>
                </c:pt>
                <c:pt idx="17650">
                  <c:v>128626</c:v>
                </c:pt>
                <c:pt idx="17651">
                  <c:v>128624</c:v>
                </c:pt>
                <c:pt idx="17652">
                  <c:v>128622</c:v>
                </c:pt>
                <c:pt idx="17653">
                  <c:v>128620</c:v>
                </c:pt>
                <c:pt idx="17654">
                  <c:v>128618</c:v>
                </c:pt>
                <c:pt idx="17655">
                  <c:v>128615</c:v>
                </c:pt>
                <c:pt idx="17656">
                  <c:v>128615</c:v>
                </c:pt>
                <c:pt idx="17657">
                  <c:v>128597</c:v>
                </c:pt>
                <c:pt idx="17658">
                  <c:v>128596</c:v>
                </c:pt>
                <c:pt idx="17659">
                  <c:v>128590</c:v>
                </c:pt>
                <c:pt idx="17660">
                  <c:v>128589</c:v>
                </c:pt>
                <c:pt idx="17661">
                  <c:v>128586</c:v>
                </c:pt>
                <c:pt idx="17662">
                  <c:v>128581</c:v>
                </c:pt>
                <c:pt idx="17663">
                  <c:v>128575</c:v>
                </c:pt>
                <c:pt idx="17664">
                  <c:v>128571</c:v>
                </c:pt>
                <c:pt idx="17665">
                  <c:v>128559</c:v>
                </c:pt>
                <c:pt idx="17666">
                  <c:v>128558</c:v>
                </c:pt>
                <c:pt idx="17667">
                  <c:v>128549</c:v>
                </c:pt>
                <c:pt idx="17668">
                  <c:v>128547</c:v>
                </c:pt>
                <c:pt idx="17669">
                  <c:v>128541</c:v>
                </c:pt>
                <c:pt idx="17670">
                  <c:v>128538</c:v>
                </c:pt>
                <c:pt idx="17671">
                  <c:v>128536</c:v>
                </c:pt>
                <c:pt idx="17672">
                  <c:v>128535</c:v>
                </c:pt>
                <c:pt idx="17673">
                  <c:v>128529</c:v>
                </c:pt>
                <c:pt idx="17674">
                  <c:v>128524</c:v>
                </c:pt>
                <c:pt idx="17675">
                  <c:v>128514</c:v>
                </c:pt>
                <c:pt idx="17676">
                  <c:v>128513</c:v>
                </c:pt>
                <c:pt idx="17677">
                  <c:v>128512</c:v>
                </c:pt>
                <c:pt idx="17678">
                  <c:v>128503</c:v>
                </c:pt>
                <c:pt idx="17679">
                  <c:v>128499</c:v>
                </c:pt>
                <c:pt idx="17680">
                  <c:v>128496</c:v>
                </c:pt>
                <c:pt idx="17681">
                  <c:v>128483</c:v>
                </c:pt>
                <c:pt idx="17682">
                  <c:v>128482</c:v>
                </c:pt>
                <c:pt idx="17683">
                  <c:v>128471</c:v>
                </c:pt>
                <c:pt idx="17684">
                  <c:v>128456</c:v>
                </c:pt>
                <c:pt idx="17685">
                  <c:v>128449</c:v>
                </c:pt>
                <c:pt idx="17686">
                  <c:v>128447</c:v>
                </c:pt>
                <c:pt idx="17687">
                  <c:v>128446</c:v>
                </c:pt>
                <c:pt idx="17688">
                  <c:v>128441</c:v>
                </c:pt>
                <c:pt idx="17689">
                  <c:v>128441</c:v>
                </c:pt>
                <c:pt idx="17690">
                  <c:v>128440</c:v>
                </c:pt>
                <c:pt idx="17691">
                  <c:v>128438</c:v>
                </c:pt>
                <c:pt idx="17692">
                  <c:v>128433</c:v>
                </c:pt>
                <c:pt idx="17693">
                  <c:v>128430</c:v>
                </c:pt>
                <c:pt idx="17694">
                  <c:v>128430</c:v>
                </c:pt>
                <c:pt idx="17695">
                  <c:v>128428</c:v>
                </c:pt>
                <c:pt idx="17696">
                  <c:v>128421</c:v>
                </c:pt>
                <c:pt idx="17697">
                  <c:v>128418</c:v>
                </c:pt>
                <c:pt idx="17698">
                  <c:v>128408</c:v>
                </c:pt>
                <c:pt idx="17699">
                  <c:v>128407</c:v>
                </c:pt>
                <c:pt idx="17700">
                  <c:v>128406</c:v>
                </c:pt>
                <c:pt idx="17701">
                  <c:v>128406</c:v>
                </c:pt>
                <c:pt idx="17702">
                  <c:v>128405</c:v>
                </c:pt>
                <c:pt idx="17703">
                  <c:v>128402</c:v>
                </c:pt>
                <c:pt idx="17704">
                  <c:v>128399</c:v>
                </c:pt>
                <c:pt idx="17705">
                  <c:v>128394</c:v>
                </c:pt>
                <c:pt idx="17706">
                  <c:v>128393</c:v>
                </c:pt>
                <c:pt idx="17707">
                  <c:v>128393</c:v>
                </c:pt>
                <c:pt idx="17708">
                  <c:v>128391</c:v>
                </c:pt>
                <c:pt idx="17709">
                  <c:v>128389</c:v>
                </c:pt>
                <c:pt idx="17710">
                  <c:v>128386</c:v>
                </c:pt>
                <c:pt idx="17711">
                  <c:v>128386</c:v>
                </c:pt>
                <c:pt idx="17712">
                  <c:v>128383</c:v>
                </c:pt>
                <c:pt idx="17713">
                  <c:v>128380</c:v>
                </c:pt>
                <c:pt idx="17714">
                  <c:v>128375</c:v>
                </c:pt>
                <c:pt idx="17715">
                  <c:v>128368</c:v>
                </c:pt>
                <c:pt idx="17716">
                  <c:v>128362</c:v>
                </c:pt>
                <c:pt idx="17717">
                  <c:v>128354</c:v>
                </c:pt>
                <c:pt idx="17718">
                  <c:v>128347</c:v>
                </c:pt>
                <c:pt idx="17719">
                  <c:v>128338</c:v>
                </c:pt>
                <c:pt idx="17720">
                  <c:v>128338</c:v>
                </c:pt>
                <c:pt idx="17721">
                  <c:v>128335</c:v>
                </c:pt>
                <c:pt idx="17722">
                  <c:v>128330</c:v>
                </c:pt>
                <c:pt idx="17723">
                  <c:v>128330</c:v>
                </c:pt>
                <c:pt idx="17724">
                  <c:v>128326</c:v>
                </c:pt>
                <c:pt idx="17725">
                  <c:v>128325</c:v>
                </c:pt>
                <c:pt idx="17726">
                  <c:v>128325</c:v>
                </c:pt>
                <c:pt idx="17727">
                  <c:v>128319</c:v>
                </c:pt>
                <c:pt idx="17728">
                  <c:v>128318</c:v>
                </c:pt>
                <c:pt idx="17729">
                  <c:v>128318</c:v>
                </c:pt>
                <c:pt idx="17730">
                  <c:v>128312</c:v>
                </c:pt>
                <c:pt idx="17731">
                  <c:v>128299</c:v>
                </c:pt>
                <c:pt idx="17732">
                  <c:v>128295</c:v>
                </c:pt>
                <c:pt idx="17733">
                  <c:v>128292</c:v>
                </c:pt>
                <c:pt idx="17734">
                  <c:v>128287</c:v>
                </c:pt>
                <c:pt idx="17735">
                  <c:v>128285</c:v>
                </c:pt>
                <c:pt idx="17736">
                  <c:v>128280</c:v>
                </c:pt>
                <c:pt idx="17737">
                  <c:v>128278</c:v>
                </c:pt>
                <c:pt idx="17738">
                  <c:v>128275</c:v>
                </c:pt>
                <c:pt idx="17739">
                  <c:v>128271</c:v>
                </c:pt>
                <c:pt idx="17740">
                  <c:v>128270</c:v>
                </c:pt>
                <c:pt idx="17741">
                  <c:v>128267</c:v>
                </c:pt>
                <c:pt idx="17742">
                  <c:v>128266</c:v>
                </c:pt>
                <c:pt idx="17743">
                  <c:v>128266</c:v>
                </c:pt>
                <c:pt idx="17744">
                  <c:v>128262</c:v>
                </c:pt>
                <c:pt idx="17745">
                  <c:v>128259</c:v>
                </c:pt>
                <c:pt idx="17746">
                  <c:v>128257</c:v>
                </c:pt>
                <c:pt idx="17747">
                  <c:v>128244</c:v>
                </c:pt>
                <c:pt idx="17748">
                  <c:v>128240</c:v>
                </c:pt>
                <c:pt idx="17749">
                  <c:v>128235</c:v>
                </c:pt>
                <c:pt idx="17750">
                  <c:v>128233</c:v>
                </c:pt>
                <c:pt idx="17751">
                  <c:v>128232</c:v>
                </c:pt>
                <c:pt idx="17752">
                  <c:v>128228</c:v>
                </c:pt>
                <c:pt idx="17753">
                  <c:v>128228</c:v>
                </c:pt>
                <c:pt idx="17754">
                  <c:v>128228</c:v>
                </c:pt>
                <c:pt idx="17755">
                  <c:v>128225</c:v>
                </c:pt>
                <c:pt idx="17756">
                  <c:v>128213</c:v>
                </c:pt>
                <c:pt idx="17757">
                  <c:v>128213</c:v>
                </c:pt>
                <c:pt idx="17758">
                  <c:v>128200</c:v>
                </c:pt>
                <c:pt idx="17759">
                  <c:v>128200</c:v>
                </c:pt>
                <c:pt idx="17760">
                  <c:v>128194</c:v>
                </c:pt>
                <c:pt idx="17761">
                  <c:v>128179</c:v>
                </c:pt>
                <c:pt idx="17762">
                  <c:v>128179</c:v>
                </c:pt>
                <c:pt idx="17763">
                  <c:v>128173</c:v>
                </c:pt>
                <c:pt idx="17764">
                  <c:v>128172</c:v>
                </c:pt>
                <c:pt idx="17765">
                  <c:v>128168</c:v>
                </c:pt>
                <c:pt idx="17766">
                  <c:v>128161</c:v>
                </c:pt>
                <c:pt idx="17767">
                  <c:v>128159</c:v>
                </c:pt>
                <c:pt idx="17768">
                  <c:v>128157</c:v>
                </c:pt>
                <c:pt idx="17769">
                  <c:v>128148</c:v>
                </c:pt>
                <c:pt idx="17770">
                  <c:v>128148</c:v>
                </c:pt>
                <c:pt idx="17771">
                  <c:v>128144</c:v>
                </c:pt>
                <c:pt idx="17772">
                  <c:v>128138</c:v>
                </c:pt>
                <c:pt idx="17773">
                  <c:v>128138</c:v>
                </c:pt>
                <c:pt idx="17774">
                  <c:v>128137</c:v>
                </c:pt>
                <c:pt idx="17775">
                  <c:v>128135</c:v>
                </c:pt>
                <c:pt idx="17776">
                  <c:v>128127</c:v>
                </c:pt>
                <c:pt idx="17777">
                  <c:v>128126</c:v>
                </c:pt>
                <c:pt idx="17778">
                  <c:v>128121</c:v>
                </c:pt>
                <c:pt idx="17779">
                  <c:v>128120</c:v>
                </c:pt>
                <c:pt idx="17780">
                  <c:v>128109</c:v>
                </c:pt>
                <c:pt idx="17781">
                  <c:v>128108</c:v>
                </c:pt>
                <c:pt idx="17782">
                  <c:v>128108</c:v>
                </c:pt>
                <c:pt idx="17783">
                  <c:v>128106</c:v>
                </c:pt>
                <c:pt idx="17784">
                  <c:v>128095</c:v>
                </c:pt>
                <c:pt idx="17785">
                  <c:v>128091</c:v>
                </c:pt>
                <c:pt idx="17786">
                  <c:v>128090</c:v>
                </c:pt>
                <c:pt idx="17787">
                  <c:v>128087</c:v>
                </c:pt>
                <c:pt idx="17788">
                  <c:v>128087</c:v>
                </c:pt>
                <c:pt idx="17789">
                  <c:v>128082</c:v>
                </c:pt>
                <c:pt idx="17790">
                  <c:v>128070</c:v>
                </c:pt>
                <c:pt idx="17791">
                  <c:v>128067</c:v>
                </c:pt>
                <c:pt idx="17792">
                  <c:v>128063</c:v>
                </c:pt>
                <c:pt idx="17793">
                  <c:v>128059</c:v>
                </c:pt>
                <c:pt idx="17794">
                  <c:v>128056</c:v>
                </c:pt>
                <c:pt idx="17795">
                  <c:v>128049</c:v>
                </c:pt>
                <c:pt idx="17796">
                  <c:v>128048</c:v>
                </c:pt>
                <c:pt idx="17797">
                  <c:v>128037</c:v>
                </c:pt>
                <c:pt idx="17798">
                  <c:v>128035</c:v>
                </c:pt>
                <c:pt idx="17799">
                  <c:v>128030</c:v>
                </c:pt>
                <c:pt idx="17800">
                  <c:v>128029</c:v>
                </c:pt>
                <c:pt idx="17801">
                  <c:v>128028</c:v>
                </c:pt>
                <c:pt idx="17802">
                  <c:v>128024</c:v>
                </c:pt>
                <c:pt idx="17803">
                  <c:v>128020</c:v>
                </c:pt>
                <c:pt idx="17804">
                  <c:v>128017</c:v>
                </c:pt>
                <c:pt idx="17805">
                  <c:v>128014</c:v>
                </c:pt>
                <c:pt idx="17806">
                  <c:v>128008</c:v>
                </c:pt>
                <c:pt idx="17807">
                  <c:v>128001</c:v>
                </c:pt>
                <c:pt idx="17808">
                  <c:v>127997</c:v>
                </c:pt>
                <c:pt idx="17809">
                  <c:v>127991</c:v>
                </c:pt>
                <c:pt idx="17810">
                  <c:v>127990</c:v>
                </c:pt>
                <c:pt idx="17811">
                  <c:v>127989</c:v>
                </c:pt>
                <c:pt idx="17812">
                  <c:v>127984</c:v>
                </c:pt>
                <c:pt idx="17813">
                  <c:v>127984</c:v>
                </c:pt>
                <c:pt idx="17814">
                  <c:v>127980</c:v>
                </c:pt>
                <c:pt idx="17815">
                  <c:v>127978</c:v>
                </c:pt>
                <c:pt idx="17816">
                  <c:v>127970</c:v>
                </c:pt>
                <c:pt idx="17817">
                  <c:v>127968</c:v>
                </c:pt>
                <c:pt idx="17818">
                  <c:v>127968</c:v>
                </c:pt>
                <c:pt idx="17819">
                  <c:v>127965</c:v>
                </c:pt>
                <c:pt idx="17820">
                  <c:v>127941</c:v>
                </c:pt>
                <c:pt idx="17821">
                  <c:v>127938</c:v>
                </c:pt>
                <c:pt idx="17822">
                  <c:v>127935</c:v>
                </c:pt>
                <c:pt idx="17823">
                  <c:v>127933</c:v>
                </c:pt>
                <c:pt idx="17824">
                  <c:v>127928</c:v>
                </c:pt>
                <c:pt idx="17825">
                  <c:v>127927</c:v>
                </c:pt>
                <c:pt idx="17826">
                  <c:v>127920</c:v>
                </c:pt>
                <c:pt idx="17827">
                  <c:v>127910</c:v>
                </c:pt>
                <c:pt idx="17828">
                  <c:v>127907</c:v>
                </c:pt>
                <c:pt idx="17829">
                  <c:v>127904</c:v>
                </c:pt>
                <c:pt idx="17830">
                  <c:v>127900</c:v>
                </c:pt>
                <c:pt idx="17831">
                  <c:v>127896</c:v>
                </c:pt>
                <c:pt idx="17832">
                  <c:v>127896</c:v>
                </c:pt>
                <c:pt idx="17833">
                  <c:v>127890</c:v>
                </c:pt>
                <c:pt idx="17834">
                  <c:v>127884</c:v>
                </c:pt>
                <c:pt idx="17835">
                  <c:v>127883</c:v>
                </c:pt>
                <c:pt idx="17836">
                  <c:v>127875</c:v>
                </c:pt>
                <c:pt idx="17837">
                  <c:v>127871</c:v>
                </c:pt>
                <c:pt idx="17838">
                  <c:v>127867</c:v>
                </c:pt>
                <c:pt idx="17839">
                  <c:v>127859</c:v>
                </c:pt>
                <c:pt idx="17840">
                  <c:v>127854</c:v>
                </c:pt>
                <c:pt idx="17841">
                  <c:v>127850</c:v>
                </c:pt>
                <c:pt idx="17842">
                  <c:v>127845</c:v>
                </c:pt>
                <c:pt idx="17843">
                  <c:v>127844</c:v>
                </c:pt>
                <c:pt idx="17844">
                  <c:v>127843</c:v>
                </c:pt>
                <c:pt idx="17845">
                  <c:v>127843</c:v>
                </c:pt>
                <c:pt idx="17846">
                  <c:v>127841</c:v>
                </c:pt>
                <c:pt idx="17847">
                  <c:v>127839</c:v>
                </c:pt>
                <c:pt idx="17848">
                  <c:v>127836</c:v>
                </c:pt>
                <c:pt idx="17849">
                  <c:v>127834</c:v>
                </c:pt>
                <c:pt idx="17850">
                  <c:v>127833</c:v>
                </c:pt>
                <c:pt idx="17851">
                  <c:v>127830</c:v>
                </c:pt>
                <c:pt idx="17852">
                  <c:v>127827</c:v>
                </c:pt>
                <c:pt idx="17853">
                  <c:v>127821</c:v>
                </c:pt>
                <c:pt idx="17854">
                  <c:v>127815</c:v>
                </c:pt>
                <c:pt idx="17855">
                  <c:v>127814</c:v>
                </c:pt>
                <c:pt idx="17856">
                  <c:v>127813</c:v>
                </c:pt>
                <c:pt idx="17857">
                  <c:v>127807</c:v>
                </c:pt>
                <c:pt idx="17858">
                  <c:v>127807</c:v>
                </c:pt>
                <c:pt idx="17859">
                  <c:v>127806</c:v>
                </c:pt>
                <c:pt idx="17860">
                  <c:v>127804</c:v>
                </c:pt>
                <c:pt idx="17861">
                  <c:v>127801</c:v>
                </c:pt>
                <c:pt idx="17862">
                  <c:v>127798</c:v>
                </c:pt>
                <c:pt idx="17863">
                  <c:v>127795</c:v>
                </c:pt>
                <c:pt idx="17864">
                  <c:v>127788</c:v>
                </c:pt>
                <c:pt idx="17865">
                  <c:v>127785</c:v>
                </c:pt>
                <c:pt idx="17866">
                  <c:v>127781</c:v>
                </c:pt>
                <c:pt idx="17867">
                  <c:v>127779</c:v>
                </c:pt>
                <c:pt idx="17868">
                  <c:v>127779</c:v>
                </c:pt>
                <c:pt idx="17869">
                  <c:v>127765</c:v>
                </c:pt>
                <c:pt idx="17870">
                  <c:v>127764</c:v>
                </c:pt>
                <c:pt idx="17871">
                  <c:v>127762</c:v>
                </c:pt>
                <c:pt idx="17872">
                  <c:v>127761</c:v>
                </c:pt>
                <c:pt idx="17873">
                  <c:v>127757</c:v>
                </c:pt>
                <c:pt idx="17874">
                  <c:v>127756</c:v>
                </c:pt>
                <c:pt idx="17875">
                  <c:v>127755</c:v>
                </c:pt>
                <c:pt idx="17876">
                  <c:v>127754</c:v>
                </c:pt>
                <c:pt idx="17877">
                  <c:v>127752</c:v>
                </c:pt>
                <c:pt idx="17878">
                  <c:v>127751</c:v>
                </c:pt>
                <c:pt idx="17879">
                  <c:v>127745</c:v>
                </c:pt>
                <c:pt idx="17880">
                  <c:v>127742</c:v>
                </c:pt>
                <c:pt idx="17881">
                  <c:v>127734</c:v>
                </c:pt>
                <c:pt idx="17882">
                  <c:v>127732</c:v>
                </c:pt>
                <c:pt idx="17883">
                  <c:v>127731</c:v>
                </c:pt>
                <c:pt idx="17884">
                  <c:v>127731</c:v>
                </c:pt>
                <c:pt idx="17885">
                  <c:v>127720</c:v>
                </c:pt>
                <c:pt idx="17886">
                  <c:v>127716</c:v>
                </c:pt>
                <c:pt idx="17887">
                  <c:v>127714</c:v>
                </c:pt>
                <c:pt idx="17888">
                  <c:v>127714</c:v>
                </c:pt>
                <c:pt idx="17889">
                  <c:v>127706</c:v>
                </c:pt>
                <c:pt idx="17890">
                  <c:v>127701</c:v>
                </c:pt>
                <c:pt idx="17891">
                  <c:v>127701</c:v>
                </c:pt>
                <c:pt idx="17892">
                  <c:v>127699</c:v>
                </c:pt>
                <c:pt idx="17893">
                  <c:v>127692</c:v>
                </c:pt>
                <c:pt idx="17894">
                  <c:v>127684</c:v>
                </c:pt>
                <c:pt idx="17895">
                  <c:v>127682</c:v>
                </c:pt>
                <c:pt idx="17896">
                  <c:v>127680</c:v>
                </c:pt>
                <c:pt idx="17897">
                  <c:v>127679</c:v>
                </c:pt>
                <c:pt idx="17898">
                  <c:v>127670</c:v>
                </c:pt>
                <c:pt idx="17899">
                  <c:v>127668</c:v>
                </c:pt>
                <c:pt idx="17900">
                  <c:v>127666</c:v>
                </c:pt>
                <c:pt idx="17901">
                  <c:v>127666</c:v>
                </c:pt>
                <c:pt idx="17902">
                  <c:v>127659</c:v>
                </c:pt>
                <c:pt idx="17903">
                  <c:v>127658</c:v>
                </c:pt>
                <c:pt idx="17904">
                  <c:v>127657</c:v>
                </c:pt>
                <c:pt idx="17905">
                  <c:v>127651</c:v>
                </c:pt>
                <c:pt idx="17906">
                  <c:v>127648</c:v>
                </c:pt>
                <c:pt idx="17907">
                  <c:v>127644</c:v>
                </c:pt>
                <c:pt idx="17908">
                  <c:v>127641</c:v>
                </c:pt>
                <c:pt idx="17909">
                  <c:v>127641</c:v>
                </c:pt>
                <c:pt idx="17910">
                  <c:v>127635</c:v>
                </c:pt>
                <c:pt idx="17911">
                  <c:v>127634</c:v>
                </c:pt>
                <c:pt idx="17912">
                  <c:v>127629</c:v>
                </c:pt>
                <c:pt idx="17913">
                  <c:v>127618</c:v>
                </c:pt>
                <c:pt idx="17914">
                  <c:v>127617</c:v>
                </c:pt>
                <c:pt idx="17915">
                  <c:v>127610</c:v>
                </c:pt>
                <c:pt idx="17916">
                  <c:v>127609</c:v>
                </c:pt>
                <c:pt idx="17917">
                  <c:v>127606</c:v>
                </c:pt>
                <c:pt idx="17918">
                  <c:v>127605</c:v>
                </c:pt>
                <c:pt idx="17919">
                  <c:v>127604</c:v>
                </c:pt>
                <c:pt idx="17920">
                  <c:v>127603</c:v>
                </c:pt>
                <c:pt idx="17921">
                  <c:v>127601</c:v>
                </c:pt>
                <c:pt idx="17922">
                  <c:v>127594</c:v>
                </c:pt>
                <c:pt idx="17923">
                  <c:v>127589</c:v>
                </c:pt>
                <c:pt idx="17924">
                  <c:v>127584</c:v>
                </c:pt>
                <c:pt idx="17925">
                  <c:v>127581</c:v>
                </c:pt>
                <c:pt idx="17926">
                  <c:v>127580</c:v>
                </c:pt>
                <c:pt idx="17927">
                  <c:v>127576</c:v>
                </c:pt>
                <c:pt idx="17928">
                  <c:v>127574</c:v>
                </c:pt>
                <c:pt idx="17929">
                  <c:v>127573</c:v>
                </c:pt>
                <c:pt idx="17930">
                  <c:v>127570</c:v>
                </c:pt>
                <c:pt idx="17931">
                  <c:v>127563</c:v>
                </c:pt>
                <c:pt idx="17932">
                  <c:v>127560</c:v>
                </c:pt>
                <c:pt idx="17933">
                  <c:v>127555</c:v>
                </c:pt>
                <c:pt idx="17934">
                  <c:v>127550</c:v>
                </c:pt>
                <c:pt idx="17935">
                  <c:v>127543</c:v>
                </c:pt>
                <c:pt idx="17936">
                  <c:v>127539</c:v>
                </c:pt>
                <c:pt idx="17937">
                  <c:v>127539</c:v>
                </c:pt>
                <c:pt idx="17938">
                  <c:v>127537</c:v>
                </c:pt>
                <c:pt idx="17939">
                  <c:v>127527</c:v>
                </c:pt>
                <c:pt idx="17940">
                  <c:v>127526</c:v>
                </c:pt>
                <c:pt idx="17941">
                  <c:v>127523</c:v>
                </c:pt>
                <c:pt idx="17942">
                  <c:v>127523</c:v>
                </c:pt>
                <c:pt idx="17943">
                  <c:v>127515</c:v>
                </c:pt>
                <c:pt idx="17944">
                  <c:v>127513</c:v>
                </c:pt>
                <c:pt idx="17945">
                  <c:v>127512</c:v>
                </c:pt>
                <c:pt idx="17946">
                  <c:v>127510</c:v>
                </c:pt>
                <c:pt idx="17947">
                  <c:v>127499</c:v>
                </c:pt>
                <c:pt idx="17948">
                  <c:v>127498</c:v>
                </c:pt>
                <c:pt idx="17949">
                  <c:v>127497</c:v>
                </c:pt>
                <c:pt idx="17950">
                  <c:v>127496</c:v>
                </c:pt>
                <c:pt idx="17951">
                  <c:v>127496</c:v>
                </c:pt>
                <c:pt idx="17952">
                  <c:v>127494</c:v>
                </c:pt>
                <c:pt idx="17953">
                  <c:v>127483</c:v>
                </c:pt>
                <c:pt idx="17954">
                  <c:v>127482</c:v>
                </c:pt>
                <c:pt idx="17955">
                  <c:v>127479</c:v>
                </c:pt>
                <c:pt idx="17956">
                  <c:v>127477</c:v>
                </c:pt>
                <c:pt idx="17957">
                  <c:v>127464</c:v>
                </c:pt>
                <c:pt idx="17958">
                  <c:v>127458</c:v>
                </c:pt>
                <c:pt idx="17959">
                  <c:v>127433</c:v>
                </c:pt>
                <c:pt idx="17960">
                  <c:v>127433</c:v>
                </c:pt>
                <c:pt idx="17961">
                  <c:v>127429</c:v>
                </c:pt>
                <c:pt idx="17962">
                  <c:v>127422</c:v>
                </c:pt>
                <c:pt idx="17963">
                  <c:v>127421</c:v>
                </c:pt>
                <c:pt idx="17964">
                  <c:v>127418</c:v>
                </c:pt>
                <c:pt idx="17965">
                  <c:v>127417</c:v>
                </c:pt>
                <c:pt idx="17966">
                  <c:v>127411</c:v>
                </c:pt>
                <c:pt idx="17967">
                  <c:v>127405</c:v>
                </c:pt>
                <c:pt idx="17968">
                  <c:v>127401</c:v>
                </c:pt>
                <c:pt idx="17969">
                  <c:v>127399</c:v>
                </c:pt>
                <c:pt idx="17970">
                  <c:v>127398</c:v>
                </c:pt>
                <c:pt idx="17971">
                  <c:v>127397</c:v>
                </c:pt>
                <c:pt idx="17972">
                  <c:v>127397</c:v>
                </c:pt>
                <c:pt idx="17973">
                  <c:v>127394</c:v>
                </c:pt>
                <c:pt idx="17974">
                  <c:v>127393</c:v>
                </c:pt>
                <c:pt idx="17975">
                  <c:v>127389</c:v>
                </c:pt>
                <c:pt idx="17976">
                  <c:v>127386</c:v>
                </c:pt>
                <c:pt idx="17977">
                  <c:v>127382</c:v>
                </c:pt>
                <c:pt idx="17978">
                  <c:v>127380</c:v>
                </c:pt>
                <c:pt idx="17979">
                  <c:v>127376</c:v>
                </c:pt>
                <c:pt idx="17980">
                  <c:v>127371</c:v>
                </c:pt>
                <c:pt idx="17981">
                  <c:v>127369</c:v>
                </c:pt>
                <c:pt idx="17982">
                  <c:v>127360</c:v>
                </c:pt>
                <c:pt idx="17983">
                  <c:v>127355</c:v>
                </c:pt>
                <c:pt idx="17984">
                  <c:v>127349</c:v>
                </c:pt>
                <c:pt idx="17985">
                  <c:v>127344</c:v>
                </c:pt>
                <c:pt idx="17986">
                  <c:v>127342</c:v>
                </c:pt>
                <c:pt idx="17987">
                  <c:v>127342</c:v>
                </c:pt>
                <c:pt idx="17988">
                  <c:v>127338</c:v>
                </c:pt>
                <c:pt idx="17989">
                  <c:v>127330</c:v>
                </c:pt>
                <c:pt idx="17990">
                  <c:v>127329</c:v>
                </c:pt>
                <c:pt idx="17991">
                  <c:v>127325</c:v>
                </c:pt>
                <c:pt idx="17992">
                  <c:v>127323</c:v>
                </c:pt>
                <c:pt idx="17993">
                  <c:v>127316</c:v>
                </c:pt>
                <c:pt idx="17994">
                  <c:v>127314</c:v>
                </c:pt>
                <c:pt idx="17995">
                  <c:v>127313</c:v>
                </c:pt>
                <c:pt idx="17996">
                  <c:v>127313</c:v>
                </c:pt>
                <c:pt idx="17997">
                  <c:v>127313</c:v>
                </c:pt>
                <c:pt idx="17998">
                  <c:v>127307</c:v>
                </c:pt>
                <c:pt idx="17999">
                  <c:v>127298</c:v>
                </c:pt>
                <c:pt idx="18000">
                  <c:v>127296</c:v>
                </c:pt>
                <c:pt idx="18001">
                  <c:v>127290</c:v>
                </c:pt>
                <c:pt idx="18002">
                  <c:v>127285</c:v>
                </c:pt>
                <c:pt idx="18003">
                  <c:v>127281</c:v>
                </c:pt>
                <c:pt idx="18004">
                  <c:v>127280</c:v>
                </c:pt>
                <c:pt idx="18005">
                  <c:v>127275</c:v>
                </c:pt>
                <c:pt idx="18006">
                  <c:v>127273</c:v>
                </c:pt>
                <c:pt idx="18007">
                  <c:v>127272</c:v>
                </c:pt>
                <c:pt idx="18008">
                  <c:v>127271</c:v>
                </c:pt>
                <c:pt idx="18009">
                  <c:v>127261</c:v>
                </c:pt>
                <c:pt idx="18010">
                  <c:v>127256</c:v>
                </c:pt>
                <c:pt idx="18011">
                  <c:v>127254</c:v>
                </c:pt>
                <c:pt idx="18012">
                  <c:v>127252</c:v>
                </c:pt>
                <c:pt idx="18013">
                  <c:v>127245</c:v>
                </c:pt>
                <c:pt idx="18014">
                  <c:v>127245</c:v>
                </c:pt>
                <c:pt idx="18015">
                  <c:v>127233</c:v>
                </c:pt>
                <c:pt idx="18016">
                  <c:v>127233</c:v>
                </c:pt>
                <c:pt idx="18017">
                  <c:v>127232</c:v>
                </c:pt>
                <c:pt idx="18018">
                  <c:v>127231</c:v>
                </c:pt>
                <c:pt idx="18019">
                  <c:v>127229</c:v>
                </c:pt>
                <c:pt idx="18020">
                  <c:v>127223</c:v>
                </c:pt>
                <c:pt idx="18021">
                  <c:v>127220</c:v>
                </c:pt>
                <c:pt idx="18022">
                  <c:v>127216</c:v>
                </c:pt>
                <c:pt idx="18023">
                  <c:v>127215</c:v>
                </c:pt>
                <c:pt idx="18024">
                  <c:v>127212</c:v>
                </c:pt>
                <c:pt idx="18025">
                  <c:v>127206</c:v>
                </c:pt>
                <c:pt idx="18026">
                  <c:v>127194</c:v>
                </c:pt>
                <c:pt idx="18027">
                  <c:v>127192</c:v>
                </c:pt>
                <c:pt idx="18028">
                  <c:v>127189</c:v>
                </c:pt>
                <c:pt idx="18029">
                  <c:v>127184</c:v>
                </c:pt>
                <c:pt idx="18030">
                  <c:v>127179</c:v>
                </c:pt>
                <c:pt idx="18031">
                  <c:v>127178</c:v>
                </c:pt>
                <c:pt idx="18032">
                  <c:v>127177</c:v>
                </c:pt>
                <c:pt idx="18033">
                  <c:v>127176</c:v>
                </c:pt>
                <c:pt idx="18034">
                  <c:v>127169</c:v>
                </c:pt>
                <c:pt idx="18035">
                  <c:v>127167</c:v>
                </c:pt>
                <c:pt idx="18036">
                  <c:v>127166</c:v>
                </c:pt>
                <c:pt idx="18037">
                  <c:v>127161</c:v>
                </c:pt>
                <c:pt idx="18038">
                  <c:v>127159</c:v>
                </c:pt>
                <c:pt idx="18039">
                  <c:v>127154</c:v>
                </c:pt>
                <c:pt idx="18040">
                  <c:v>127144</c:v>
                </c:pt>
                <c:pt idx="18041">
                  <c:v>127142</c:v>
                </c:pt>
                <c:pt idx="18042">
                  <c:v>127135</c:v>
                </c:pt>
                <c:pt idx="18043">
                  <c:v>127132</c:v>
                </c:pt>
                <c:pt idx="18044">
                  <c:v>127130</c:v>
                </c:pt>
                <c:pt idx="18045">
                  <c:v>127126</c:v>
                </c:pt>
                <c:pt idx="18046">
                  <c:v>127125</c:v>
                </c:pt>
                <c:pt idx="18047">
                  <c:v>127115</c:v>
                </c:pt>
                <c:pt idx="18048">
                  <c:v>127113</c:v>
                </c:pt>
                <c:pt idx="18049">
                  <c:v>127113</c:v>
                </c:pt>
                <c:pt idx="18050">
                  <c:v>127110</c:v>
                </c:pt>
                <c:pt idx="18051">
                  <c:v>127103</c:v>
                </c:pt>
                <c:pt idx="18052">
                  <c:v>127103</c:v>
                </c:pt>
                <c:pt idx="18053">
                  <c:v>127091</c:v>
                </c:pt>
                <c:pt idx="18054">
                  <c:v>127088</c:v>
                </c:pt>
                <c:pt idx="18055">
                  <c:v>127086</c:v>
                </c:pt>
                <c:pt idx="18056">
                  <c:v>127082</c:v>
                </c:pt>
                <c:pt idx="18057">
                  <c:v>127080</c:v>
                </c:pt>
                <c:pt idx="18058">
                  <c:v>127078</c:v>
                </c:pt>
                <c:pt idx="18059">
                  <c:v>127076</c:v>
                </c:pt>
                <c:pt idx="18060">
                  <c:v>127059</c:v>
                </c:pt>
                <c:pt idx="18061">
                  <c:v>127049</c:v>
                </c:pt>
                <c:pt idx="18062">
                  <c:v>127049</c:v>
                </c:pt>
                <c:pt idx="18063">
                  <c:v>127045</c:v>
                </c:pt>
                <c:pt idx="18064">
                  <c:v>127044</c:v>
                </c:pt>
                <c:pt idx="18065">
                  <c:v>127040</c:v>
                </c:pt>
                <c:pt idx="18066">
                  <c:v>127035</c:v>
                </c:pt>
                <c:pt idx="18067">
                  <c:v>127034</c:v>
                </c:pt>
                <c:pt idx="18068">
                  <c:v>127032</c:v>
                </c:pt>
                <c:pt idx="18069">
                  <c:v>127029</c:v>
                </c:pt>
                <c:pt idx="18070">
                  <c:v>127026</c:v>
                </c:pt>
                <c:pt idx="18071">
                  <c:v>127024</c:v>
                </c:pt>
                <c:pt idx="18072">
                  <c:v>127024</c:v>
                </c:pt>
                <c:pt idx="18073">
                  <c:v>127018</c:v>
                </c:pt>
                <c:pt idx="18074">
                  <c:v>127018</c:v>
                </c:pt>
                <c:pt idx="18075">
                  <c:v>127016</c:v>
                </c:pt>
                <c:pt idx="18076">
                  <c:v>127006</c:v>
                </c:pt>
                <c:pt idx="18077">
                  <c:v>127002</c:v>
                </c:pt>
                <c:pt idx="18078">
                  <c:v>126998</c:v>
                </c:pt>
                <c:pt idx="18079">
                  <c:v>126992</c:v>
                </c:pt>
                <c:pt idx="18080">
                  <c:v>126990</c:v>
                </c:pt>
                <c:pt idx="18081">
                  <c:v>126987</c:v>
                </c:pt>
                <c:pt idx="18082">
                  <c:v>126986</c:v>
                </c:pt>
                <c:pt idx="18083">
                  <c:v>126985</c:v>
                </c:pt>
                <c:pt idx="18084">
                  <c:v>126985</c:v>
                </c:pt>
                <c:pt idx="18085">
                  <c:v>126985</c:v>
                </c:pt>
                <c:pt idx="18086">
                  <c:v>126981</c:v>
                </c:pt>
                <c:pt idx="18087">
                  <c:v>126975</c:v>
                </c:pt>
                <c:pt idx="18088">
                  <c:v>126973</c:v>
                </c:pt>
                <c:pt idx="18089">
                  <c:v>126973</c:v>
                </c:pt>
                <c:pt idx="18090">
                  <c:v>126972</c:v>
                </c:pt>
                <c:pt idx="18091">
                  <c:v>126965</c:v>
                </c:pt>
                <c:pt idx="18092">
                  <c:v>126964</c:v>
                </c:pt>
                <c:pt idx="18093">
                  <c:v>126955</c:v>
                </c:pt>
                <c:pt idx="18094">
                  <c:v>126951</c:v>
                </c:pt>
                <c:pt idx="18095">
                  <c:v>126943</c:v>
                </c:pt>
                <c:pt idx="18096">
                  <c:v>126937</c:v>
                </c:pt>
                <c:pt idx="18097">
                  <c:v>126924</c:v>
                </c:pt>
                <c:pt idx="18098">
                  <c:v>126923</c:v>
                </c:pt>
                <c:pt idx="18099">
                  <c:v>126923</c:v>
                </c:pt>
                <c:pt idx="18100">
                  <c:v>126922</c:v>
                </c:pt>
                <c:pt idx="18101">
                  <c:v>126920</c:v>
                </c:pt>
                <c:pt idx="18102">
                  <c:v>126919</c:v>
                </c:pt>
                <c:pt idx="18103">
                  <c:v>126918</c:v>
                </c:pt>
                <c:pt idx="18104">
                  <c:v>126918</c:v>
                </c:pt>
                <c:pt idx="18105">
                  <c:v>126918</c:v>
                </c:pt>
                <c:pt idx="18106">
                  <c:v>126916</c:v>
                </c:pt>
                <c:pt idx="18107">
                  <c:v>126913</c:v>
                </c:pt>
                <c:pt idx="18108">
                  <c:v>126908</c:v>
                </c:pt>
                <c:pt idx="18109">
                  <c:v>126908</c:v>
                </c:pt>
                <c:pt idx="18110">
                  <c:v>126894</c:v>
                </c:pt>
                <c:pt idx="18111">
                  <c:v>126891</c:v>
                </c:pt>
                <c:pt idx="18112">
                  <c:v>126887</c:v>
                </c:pt>
                <c:pt idx="18113">
                  <c:v>126867</c:v>
                </c:pt>
                <c:pt idx="18114">
                  <c:v>126867</c:v>
                </c:pt>
                <c:pt idx="18115">
                  <c:v>126866</c:v>
                </c:pt>
                <c:pt idx="18116">
                  <c:v>126858</c:v>
                </c:pt>
                <c:pt idx="18117">
                  <c:v>126858</c:v>
                </c:pt>
                <c:pt idx="18118">
                  <c:v>126851</c:v>
                </c:pt>
                <c:pt idx="18119">
                  <c:v>126851</c:v>
                </c:pt>
                <c:pt idx="18120">
                  <c:v>126851</c:v>
                </c:pt>
                <c:pt idx="18121">
                  <c:v>126841</c:v>
                </c:pt>
                <c:pt idx="18122">
                  <c:v>126841</c:v>
                </c:pt>
                <c:pt idx="18123">
                  <c:v>126835</c:v>
                </c:pt>
                <c:pt idx="18124">
                  <c:v>126831</c:v>
                </c:pt>
                <c:pt idx="18125">
                  <c:v>126826</c:v>
                </c:pt>
                <c:pt idx="18126">
                  <c:v>126826</c:v>
                </c:pt>
                <c:pt idx="18127">
                  <c:v>126819</c:v>
                </c:pt>
                <c:pt idx="18128">
                  <c:v>126815</c:v>
                </c:pt>
                <c:pt idx="18129">
                  <c:v>126814</c:v>
                </c:pt>
                <c:pt idx="18130">
                  <c:v>126811</c:v>
                </c:pt>
                <c:pt idx="18131">
                  <c:v>126810</c:v>
                </c:pt>
                <c:pt idx="18132">
                  <c:v>126805</c:v>
                </c:pt>
                <c:pt idx="18133">
                  <c:v>126801</c:v>
                </c:pt>
                <c:pt idx="18134">
                  <c:v>126799</c:v>
                </c:pt>
                <c:pt idx="18135">
                  <c:v>126796</c:v>
                </c:pt>
                <c:pt idx="18136">
                  <c:v>126795</c:v>
                </c:pt>
                <c:pt idx="18137">
                  <c:v>126790</c:v>
                </c:pt>
                <c:pt idx="18138">
                  <c:v>126785</c:v>
                </c:pt>
                <c:pt idx="18139">
                  <c:v>126783</c:v>
                </c:pt>
                <c:pt idx="18140">
                  <c:v>126782</c:v>
                </c:pt>
                <c:pt idx="18141">
                  <c:v>126782</c:v>
                </c:pt>
                <c:pt idx="18142">
                  <c:v>126780</c:v>
                </c:pt>
                <c:pt idx="18143">
                  <c:v>126778</c:v>
                </c:pt>
                <c:pt idx="18144">
                  <c:v>126776</c:v>
                </c:pt>
                <c:pt idx="18145">
                  <c:v>126773</c:v>
                </c:pt>
                <c:pt idx="18146">
                  <c:v>126767</c:v>
                </c:pt>
                <c:pt idx="18147">
                  <c:v>126760</c:v>
                </c:pt>
                <c:pt idx="18148">
                  <c:v>126753</c:v>
                </c:pt>
                <c:pt idx="18149">
                  <c:v>126747</c:v>
                </c:pt>
                <c:pt idx="18150">
                  <c:v>126747</c:v>
                </c:pt>
                <c:pt idx="18151">
                  <c:v>126744</c:v>
                </c:pt>
                <c:pt idx="18152">
                  <c:v>126742</c:v>
                </c:pt>
                <c:pt idx="18153">
                  <c:v>126741</c:v>
                </c:pt>
                <c:pt idx="18154">
                  <c:v>126739</c:v>
                </c:pt>
                <c:pt idx="18155">
                  <c:v>126737</c:v>
                </c:pt>
                <c:pt idx="18156">
                  <c:v>126730</c:v>
                </c:pt>
                <c:pt idx="18157">
                  <c:v>126729</c:v>
                </c:pt>
                <c:pt idx="18158">
                  <c:v>126712</c:v>
                </c:pt>
                <c:pt idx="18159">
                  <c:v>126707</c:v>
                </c:pt>
                <c:pt idx="18160">
                  <c:v>126682</c:v>
                </c:pt>
                <c:pt idx="18161">
                  <c:v>126668</c:v>
                </c:pt>
                <c:pt idx="18162">
                  <c:v>126659</c:v>
                </c:pt>
                <c:pt idx="18163">
                  <c:v>126635</c:v>
                </c:pt>
                <c:pt idx="18164">
                  <c:v>126632</c:v>
                </c:pt>
                <c:pt idx="18165">
                  <c:v>126632</c:v>
                </c:pt>
                <c:pt idx="18166">
                  <c:v>126631</c:v>
                </c:pt>
                <c:pt idx="18167">
                  <c:v>126621</c:v>
                </c:pt>
                <c:pt idx="18168">
                  <c:v>126614</c:v>
                </c:pt>
                <c:pt idx="18169">
                  <c:v>126605</c:v>
                </c:pt>
                <c:pt idx="18170">
                  <c:v>126603</c:v>
                </c:pt>
                <c:pt idx="18171">
                  <c:v>126600</c:v>
                </c:pt>
                <c:pt idx="18172">
                  <c:v>126599</c:v>
                </c:pt>
                <c:pt idx="18173">
                  <c:v>126597</c:v>
                </c:pt>
                <c:pt idx="18174">
                  <c:v>126593</c:v>
                </c:pt>
                <c:pt idx="18175">
                  <c:v>126592</c:v>
                </c:pt>
                <c:pt idx="18176">
                  <c:v>126588</c:v>
                </c:pt>
                <c:pt idx="18177">
                  <c:v>126585</c:v>
                </c:pt>
                <c:pt idx="18178">
                  <c:v>126583</c:v>
                </c:pt>
                <c:pt idx="18179">
                  <c:v>126580</c:v>
                </c:pt>
                <c:pt idx="18180">
                  <c:v>126579</c:v>
                </c:pt>
                <c:pt idx="18181">
                  <c:v>126576</c:v>
                </c:pt>
                <c:pt idx="18182">
                  <c:v>126576</c:v>
                </c:pt>
                <c:pt idx="18183">
                  <c:v>126575</c:v>
                </c:pt>
                <c:pt idx="18184">
                  <c:v>126571</c:v>
                </c:pt>
                <c:pt idx="18185">
                  <c:v>126570</c:v>
                </c:pt>
                <c:pt idx="18186">
                  <c:v>126569</c:v>
                </c:pt>
                <c:pt idx="18187">
                  <c:v>126566</c:v>
                </c:pt>
                <c:pt idx="18188">
                  <c:v>126565</c:v>
                </c:pt>
                <c:pt idx="18189">
                  <c:v>126555</c:v>
                </c:pt>
                <c:pt idx="18190">
                  <c:v>126552</c:v>
                </c:pt>
                <c:pt idx="18191">
                  <c:v>126544</c:v>
                </c:pt>
                <c:pt idx="18192">
                  <c:v>126544</c:v>
                </c:pt>
                <c:pt idx="18193">
                  <c:v>126543</c:v>
                </c:pt>
                <c:pt idx="18194">
                  <c:v>126536</c:v>
                </c:pt>
                <c:pt idx="18195">
                  <c:v>126535</c:v>
                </c:pt>
                <c:pt idx="18196">
                  <c:v>126535</c:v>
                </c:pt>
                <c:pt idx="18197">
                  <c:v>126533</c:v>
                </c:pt>
                <c:pt idx="18198">
                  <c:v>126532</c:v>
                </c:pt>
                <c:pt idx="18199">
                  <c:v>126532</c:v>
                </c:pt>
                <c:pt idx="18200">
                  <c:v>126524</c:v>
                </c:pt>
                <c:pt idx="18201">
                  <c:v>126519</c:v>
                </c:pt>
                <c:pt idx="18202">
                  <c:v>126519</c:v>
                </c:pt>
                <c:pt idx="18203">
                  <c:v>126510</c:v>
                </c:pt>
                <c:pt idx="18204">
                  <c:v>126497</c:v>
                </c:pt>
                <c:pt idx="18205">
                  <c:v>126494</c:v>
                </c:pt>
                <c:pt idx="18206">
                  <c:v>126488</c:v>
                </c:pt>
                <c:pt idx="18207">
                  <c:v>126474</c:v>
                </c:pt>
                <c:pt idx="18208">
                  <c:v>126473</c:v>
                </c:pt>
                <c:pt idx="18209">
                  <c:v>126468</c:v>
                </c:pt>
                <c:pt idx="18210">
                  <c:v>126466</c:v>
                </c:pt>
                <c:pt idx="18211">
                  <c:v>126461</c:v>
                </c:pt>
                <c:pt idx="18212">
                  <c:v>126457</c:v>
                </c:pt>
                <c:pt idx="18213">
                  <c:v>126456</c:v>
                </c:pt>
                <c:pt idx="18214">
                  <c:v>126455</c:v>
                </c:pt>
                <c:pt idx="18215">
                  <c:v>126453</c:v>
                </c:pt>
                <c:pt idx="18216">
                  <c:v>126450</c:v>
                </c:pt>
                <c:pt idx="18217">
                  <c:v>126449</c:v>
                </c:pt>
                <c:pt idx="18218">
                  <c:v>126444</c:v>
                </c:pt>
                <c:pt idx="18219">
                  <c:v>126436</c:v>
                </c:pt>
                <c:pt idx="18220">
                  <c:v>126433</c:v>
                </c:pt>
                <c:pt idx="18221">
                  <c:v>126425</c:v>
                </c:pt>
                <c:pt idx="18222">
                  <c:v>126425</c:v>
                </c:pt>
                <c:pt idx="18223">
                  <c:v>126421</c:v>
                </c:pt>
                <c:pt idx="18224">
                  <c:v>126417</c:v>
                </c:pt>
                <c:pt idx="18225">
                  <c:v>126416</c:v>
                </c:pt>
                <c:pt idx="18226">
                  <c:v>126409</c:v>
                </c:pt>
                <c:pt idx="18227">
                  <c:v>126392</c:v>
                </c:pt>
                <c:pt idx="18228">
                  <c:v>126390</c:v>
                </c:pt>
                <c:pt idx="18229">
                  <c:v>126378</c:v>
                </c:pt>
                <c:pt idx="18230">
                  <c:v>126374</c:v>
                </c:pt>
                <c:pt idx="18231">
                  <c:v>126370</c:v>
                </c:pt>
                <c:pt idx="18232">
                  <c:v>126368</c:v>
                </c:pt>
                <c:pt idx="18233">
                  <c:v>126365</c:v>
                </c:pt>
                <c:pt idx="18234">
                  <c:v>126357</c:v>
                </c:pt>
                <c:pt idx="18235">
                  <c:v>126356</c:v>
                </c:pt>
                <c:pt idx="18236">
                  <c:v>126355</c:v>
                </c:pt>
                <c:pt idx="18237">
                  <c:v>126350</c:v>
                </c:pt>
                <c:pt idx="18238">
                  <c:v>126350</c:v>
                </c:pt>
                <c:pt idx="18239">
                  <c:v>126334</c:v>
                </c:pt>
                <c:pt idx="18240">
                  <c:v>126332</c:v>
                </c:pt>
                <c:pt idx="18241">
                  <c:v>126331</c:v>
                </c:pt>
                <c:pt idx="18242">
                  <c:v>126328</c:v>
                </c:pt>
                <c:pt idx="18243">
                  <c:v>126323</c:v>
                </c:pt>
                <c:pt idx="18244">
                  <c:v>126314</c:v>
                </c:pt>
                <c:pt idx="18245">
                  <c:v>126309</c:v>
                </c:pt>
                <c:pt idx="18246">
                  <c:v>126308</c:v>
                </c:pt>
                <c:pt idx="18247">
                  <c:v>126303</c:v>
                </c:pt>
                <c:pt idx="18248">
                  <c:v>126302</c:v>
                </c:pt>
                <c:pt idx="18249">
                  <c:v>126302</c:v>
                </c:pt>
                <c:pt idx="18250">
                  <c:v>126298</c:v>
                </c:pt>
                <c:pt idx="18251">
                  <c:v>126294</c:v>
                </c:pt>
                <c:pt idx="18252">
                  <c:v>126289</c:v>
                </c:pt>
                <c:pt idx="18253">
                  <c:v>126284</c:v>
                </c:pt>
                <c:pt idx="18254">
                  <c:v>126280</c:v>
                </c:pt>
                <c:pt idx="18255">
                  <c:v>126278</c:v>
                </c:pt>
                <c:pt idx="18256">
                  <c:v>126277</c:v>
                </c:pt>
                <c:pt idx="18257">
                  <c:v>126275</c:v>
                </c:pt>
                <c:pt idx="18258">
                  <c:v>126274</c:v>
                </c:pt>
                <c:pt idx="18259">
                  <c:v>126269</c:v>
                </c:pt>
                <c:pt idx="18260">
                  <c:v>126254</c:v>
                </c:pt>
                <c:pt idx="18261">
                  <c:v>126249</c:v>
                </c:pt>
                <c:pt idx="18262">
                  <c:v>126247</c:v>
                </c:pt>
                <c:pt idx="18263">
                  <c:v>126247</c:v>
                </c:pt>
                <c:pt idx="18264">
                  <c:v>126238</c:v>
                </c:pt>
                <c:pt idx="18265">
                  <c:v>126232</c:v>
                </c:pt>
                <c:pt idx="18266">
                  <c:v>126222</c:v>
                </c:pt>
                <c:pt idx="18267">
                  <c:v>126203</c:v>
                </c:pt>
                <c:pt idx="18268">
                  <c:v>126196</c:v>
                </c:pt>
                <c:pt idx="18269">
                  <c:v>126193</c:v>
                </c:pt>
                <c:pt idx="18270">
                  <c:v>126190</c:v>
                </c:pt>
                <c:pt idx="18271">
                  <c:v>126187</c:v>
                </c:pt>
                <c:pt idx="18272">
                  <c:v>126185</c:v>
                </c:pt>
                <c:pt idx="18273">
                  <c:v>126183</c:v>
                </c:pt>
                <c:pt idx="18274">
                  <c:v>126182</c:v>
                </c:pt>
                <c:pt idx="18275">
                  <c:v>126181</c:v>
                </c:pt>
                <c:pt idx="18276">
                  <c:v>126176</c:v>
                </c:pt>
                <c:pt idx="18277">
                  <c:v>126175</c:v>
                </c:pt>
                <c:pt idx="18278">
                  <c:v>126175</c:v>
                </c:pt>
                <c:pt idx="18279">
                  <c:v>126165</c:v>
                </c:pt>
                <c:pt idx="18280">
                  <c:v>126165</c:v>
                </c:pt>
                <c:pt idx="18281">
                  <c:v>126164</c:v>
                </c:pt>
                <c:pt idx="18282">
                  <c:v>126162</c:v>
                </c:pt>
                <c:pt idx="18283">
                  <c:v>126161</c:v>
                </c:pt>
                <c:pt idx="18284">
                  <c:v>126159</c:v>
                </c:pt>
                <c:pt idx="18285">
                  <c:v>126157</c:v>
                </c:pt>
                <c:pt idx="18286">
                  <c:v>126155</c:v>
                </c:pt>
                <c:pt idx="18287">
                  <c:v>126154</c:v>
                </c:pt>
                <c:pt idx="18288">
                  <c:v>126154</c:v>
                </c:pt>
                <c:pt idx="18289">
                  <c:v>126153</c:v>
                </c:pt>
                <c:pt idx="18290">
                  <c:v>126151</c:v>
                </c:pt>
                <c:pt idx="18291">
                  <c:v>126147</c:v>
                </c:pt>
                <c:pt idx="18292">
                  <c:v>126147</c:v>
                </c:pt>
                <c:pt idx="18293">
                  <c:v>126144</c:v>
                </c:pt>
                <c:pt idx="18294">
                  <c:v>126141</c:v>
                </c:pt>
                <c:pt idx="18295">
                  <c:v>126138</c:v>
                </c:pt>
                <c:pt idx="18296">
                  <c:v>126137</c:v>
                </c:pt>
                <c:pt idx="18297">
                  <c:v>126129</c:v>
                </c:pt>
                <c:pt idx="18298">
                  <c:v>126128</c:v>
                </c:pt>
                <c:pt idx="18299">
                  <c:v>126122</c:v>
                </c:pt>
                <c:pt idx="18300">
                  <c:v>126112</c:v>
                </c:pt>
                <c:pt idx="18301">
                  <c:v>126110</c:v>
                </c:pt>
                <c:pt idx="18302">
                  <c:v>126108</c:v>
                </c:pt>
                <c:pt idx="18303">
                  <c:v>126107</c:v>
                </c:pt>
                <c:pt idx="18304">
                  <c:v>126103</c:v>
                </c:pt>
                <c:pt idx="18305">
                  <c:v>126095</c:v>
                </c:pt>
                <c:pt idx="18306">
                  <c:v>126085</c:v>
                </c:pt>
                <c:pt idx="18307">
                  <c:v>126069</c:v>
                </c:pt>
                <c:pt idx="18308">
                  <c:v>126068</c:v>
                </c:pt>
                <c:pt idx="18309">
                  <c:v>126065</c:v>
                </c:pt>
                <c:pt idx="18310">
                  <c:v>126065</c:v>
                </c:pt>
                <c:pt idx="18311">
                  <c:v>126061</c:v>
                </c:pt>
                <c:pt idx="18312">
                  <c:v>126059</c:v>
                </c:pt>
                <c:pt idx="18313">
                  <c:v>126059</c:v>
                </c:pt>
                <c:pt idx="18314">
                  <c:v>126058</c:v>
                </c:pt>
                <c:pt idx="18315">
                  <c:v>126057</c:v>
                </c:pt>
                <c:pt idx="18316">
                  <c:v>126054</c:v>
                </c:pt>
                <c:pt idx="18317">
                  <c:v>126052</c:v>
                </c:pt>
                <c:pt idx="18318">
                  <c:v>126047</c:v>
                </c:pt>
                <c:pt idx="18319">
                  <c:v>126044</c:v>
                </c:pt>
                <c:pt idx="18320">
                  <c:v>126034</c:v>
                </c:pt>
                <c:pt idx="18321">
                  <c:v>126033</c:v>
                </c:pt>
                <c:pt idx="18322">
                  <c:v>126023</c:v>
                </c:pt>
                <c:pt idx="18323">
                  <c:v>126023</c:v>
                </c:pt>
                <c:pt idx="18324">
                  <c:v>126023</c:v>
                </c:pt>
                <c:pt idx="18325">
                  <c:v>126022</c:v>
                </c:pt>
                <c:pt idx="18326">
                  <c:v>126022</c:v>
                </c:pt>
                <c:pt idx="18327">
                  <c:v>126021</c:v>
                </c:pt>
                <c:pt idx="18328">
                  <c:v>126021</c:v>
                </c:pt>
                <c:pt idx="18329">
                  <c:v>126018</c:v>
                </c:pt>
                <c:pt idx="18330">
                  <c:v>126006</c:v>
                </c:pt>
                <c:pt idx="18331">
                  <c:v>125998</c:v>
                </c:pt>
                <c:pt idx="18332">
                  <c:v>125998</c:v>
                </c:pt>
                <c:pt idx="18333">
                  <c:v>125978</c:v>
                </c:pt>
                <c:pt idx="18334">
                  <c:v>125971</c:v>
                </c:pt>
                <c:pt idx="18335">
                  <c:v>125970</c:v>
                </c:pt>
                <c:pt idx="18336">
                  <c:v>125968</c:v>
                </c:pt>
                <c:pt idx="18337">
                  <c:v>125967</c:v>
                </c:pt>
                <c:pt idx="18338">
                  <c:v>125965</c:v>
                </c:pt>
                <c:pt idx="18339">
                  <c:v>125956</c:v>
                </c:pt>
                <c:pt idx="18340">
                  <c:v>125954</c:v>
                </c:pt>
                <c:pt idx="18341">
                  <c:v>125953</c:v>
                </c:pt>
                <c:pt idx="18342">
                  <c:v>125952</c:v>
                </c:pt>
                <c:pt idx="18343">
                  <c:v>125946</c:v>
                </c:pt>
                <c:pt idx="18344">
                  <c:v>125943</c:v>
                </c:pt>
                <c:pt idx="18345">
                  <c:v>125934</c:v>
                </c:pt>
                <c:pt idx="18346">
                  <c:v>125934</c:v>
                </c:pt>
                <c:pt idx="18347">
                  <c:v>125933</c:v>
                </c:pt>
                <c:pt idx="18348">
                  <c:v>125931</c:v>
                </c:pt>
                <c:pt idx="18349">
                  <c:v>125931</c:v>
                </c:pt>
                <c:pt idx="18350">
                  <c:v>125921</c:v>
                </c:pt>
                <c:pt idx="18351">
                  <c:v>125921</c:v>
                </c:pt>
                <c:pt idx="18352">
                  <c:v>125921</c:v>
                </c:pt>
                <c:pt idx="18353">
                  <c:v>125919</c:v>
                </c:pt>
                <c:pt idx="18354">
                  <c:v>125916</c:v>
                </c:pt>
                <c:pt idx="18355">
                  <c:v>125916</c:v>
                </c:pt>
                <c:pt idx="18356">
                  <c:v>125913</c:v>
                </c:pt>
                <c:pt idx="18357">
                  <c:v>125910</c:v>
                </c:pt>
                <c:pt idx="18358">
                  <c:v>125910</c:v>
                </c:pt>
                <c:pt idx="18359">
                  <c:v>125907</c:v>
                </c:pt>
                <c:pt idx="18360">
                  <c:v>125907</c:v>
                </c:pt>
                <c:pt idx="18361">
                  <c:v>125894</c:v>
                </c:pt>
                <c:pt idx="18362">
                  <c:v>125887</c:v>
                </c:pt>
                <c:pt idx="18363">
                  <c:v>125876</c:v>
                </c:pt>
                <c:pt idx="18364">
                  <c:v>125875</c:v>
                </c:pt>
                <c:pt idx="18365">
                  <c:v>125862</c:v>
                </c:pt>
                <c:pt idx="18366">
                  <c:v>125860</c:v>
                </c:pt>
                <c:pt idx="18367">
                  <c:v>125843</c:v>
                </c:pt>
                <c:pt idx="18368">
                  <c:v>125840</c:v>
                </c:pt>
                <c:pt idx="18369">
                  <c:v>125838</c:v>
                </c:pt>
                <c:pt idx="18370">
                  <c:v>125836</c:v>
                </c:pt>
                <c:pt idx="18371">
                  <c:v>125831</c:v>
                </c:pt>
                <c:pt idx="18372">
                  <c:v>125817</c:v>
                </c:pt>
                <c:pt idx="18373">
                  <c:v>125814</c:v>
                </c:pt>
                <c:pt idx="18374">
                  <c:v>125811</c:v>
                </c:pt>
                <c:pt idx="18375">
                  <c:v>125802</c:v>
                </c:pt>
                <c:pt idx="18376">
                  <c:v>125798</c:v>
                </c:pt>
                <c:pt idx="18377">
                  <c:v>125797</c:v>
                </c:pt>
                <c:pt idx="18378">
                  <c:v>125795</c:v>
                </c:pt>
                <c:pt idx="18379">
                  <c:v>125789</c:v>
                </c:pt>
                <c:pt idx="18380">
                  <c:v>125789</c:v>
                </c:pt>
                <c:pt idx="18381">
                  <c:v>125784</c:v>
                </c:pt>
                <c:pt idx="18382">
                  <c:v>125776</c:v>
                </c:pt>
                <c:pt idx="18383">
                  <c:v>125775</c:v>
                </c:pt>
                <c:pt idx="18384">
                  <c:v>125774</c:v>
                </c:pt>
                <c:pt idx="18385">
                  <c:v>125772</c:v>
                </c:pt>
                <c:pt idx="18386">
                  <c:v>125772</c:v>
                </c:pt>
                <c:pt idx="18387">
                  <c:v>125761</c:v>
                </c:pt>
                <c:pt idx="18388">
                  <c:v>125760</c:v>
                </c:pt>
                <c:pt idx="18389">
                  <c:v>125753</c:v>
                </c:pt>
                <c:pt idx="18390">
                  <c:v>125752</c:v>
                </c:pt>
                <c:pt idx="18391">
                  <c:v>125747</c:v>
                </c:pt>
                <c:pt idx="18392">
                  <c:v>125747</c:v>
                </c:pt>
                <c:pt idx="18393">
                  <c:v>125743</c:v>
                </c:pt>
                <c:pt idx="18394">
                  <c:v>125743</c:v>
                </c:pt>
                <c:pt idx="18395">
                  <c:v>125741</c:v>
                </c:pt>
                <c:pt idx="18396">
                  <c:v>125740</c:v>
                </c:pt>
                <c:pt idx="18397">
                  <c:v>125740</c:v>
                </c:pt>
                <c:pt idx="18398">
                  <c:v>125738</c:v>
                </c:pt>
                <c:pt idx="18399">
                  <c:v>125734</c:v>
                </c:pt>
                <c:pt idx="18400">
                  <c:v>125727</c:v>
                </c:pt>
                <c:pt idx="18401">
                  <c:v>125724</c:v>
                </c:pt>
                <c:pt idx="18402">
                  <c:v>125721</c:v>
                </c:pt>
                <c:pt idx="18403">
                  <c:v>125717</c:v>
                </c:pt>
                <c:pt idx="18404">
                  <c:v>125713</c:v>
                </c:pt>
                <c:pt idx="18405">
                  <c:v>125711</c:v>
                </c:pt>
                <c:pt idx="18406">
                  <c:v>125710</c:v>
                </c:pt>
                <c:pt idx="18407">
                  <c:v>125706</c:v>
                </c:pt>
                <c:pt idx="18408">
                  <c:v>125705</c:v>
                </c:pt>
                <c:pt idx="18409">
                  <c:v>125698</c:v>
                </c:pt>
                <c:pt idx="18410">
                  <c:v>125698</c:v>
                </c:pt>
                <c:pt idx="18411">
                  <c:v>125697</c:v>
                </c:pt>
                <c:pt idx="18412">
                  <c:v>125686</c:v>
                </c:pt>
                <c:pt idx="18413">
                  <c:v>125681</c:v>
                </c:pt>
                <c:pt idx="18414">
                  <c:v>125676</c:v>
                </c:pt>
                <c:pt idx="18415">
                  <c:v>125676</c:v>
                </c:pt>
                <c:pt idx="18416">
                  <c:v>125675</c:v>
                </c:pt>
                <c:pt idx="18417">
                  <c:v>125670</c:v>
                </c:pt>
                <c:pt idx="18418">
                  <c:v>125670</c:v>
                </c:pt>
                <c:pt idx="18419">
                  <c:v>125663</c:v>
                </c:pt>
                <c:pt idx="18420">
                  <c:v>125649</c:v>
                </c:pt>
                <c:pt idx="18421">
                  <c:v>125641</c:v>
                </c:pt>
                <c:pt idx="18422">
                  <c:v>125641</c:v>
                </c:pt>
                <c:pt idx="18423">
                  <c:v>125640</c:v>
                </c:pt>
                <c:pt idx="18424">
                  <c:v>125634</c:v>
                </c:pt>
                <c:pt idx="18425">
                  <c:v>125633</c:v>
                </c:pt>
                <c:pt idx="18426">
                  <c:v>125626</c:v>
                </c:pt>
                <c:pt idx="18427">
                  <c:v>125622</c:v>
                </c:pt>
                <c:pt idx="18428">
                  <c:v>125621</c:v>
                </c:pt>
                <c:pt idx="18429">
                  <c:v>125620</c:v>
                </c:pt>
                <c:pt idx="18430">
                  <c:v>125617</c:v>
                </c:pt>
                <c:pt idx="18431">
                  <c:v>125610</c:v>
                </c:pt>
                <c:pt idx="18432">
                  <c:v>125610</c:v>
                </c:pt>
                <c:pt idx="18433">
                  <c:v>125609</c:v>
                </c:pt>
                <c:pt idx="18434">
                  <c:v>125607</c:v>
                </c:pt>
                <c:pt idx="18435">
                  <c:v>125604</c:v>
                </c:pt>
                <c:pt idx="18436">
                  <c:v>125601</c:v>
                </c:pt>
                <c:pt idx="18437">
                  <c:v>125600</c:v>
                </c:pt>
                <c:pt idx="18438">
                  <c:v>125600</c:v>
                </c:pt>
                <c:pt idx="18439">
                  <c:v>125598</c:v>
                </c:pt>
                <c:pt idx="18440">
                  <c:v>125596</c:v>
                </c:pt>
                <c:pt idx="18441">
                  <c:v>125592</c:v>
                </c:pt>
                <c:pt idx="18442">
                  <c:v>125584</c:v>
                </c:pt>
                <c:pt idx="18443">
                  <c:v>125582</c:v>
                </c:pt>
                <c:pt idx="18444">
                  <c:v>125582</c:v>
                </c:pt>
                <c:pt idx="18445">
                  <c:v>125569</c:v>
                </c:pt>
                <c:pt idx="18446">
                  <c:v>125562</c:v>
                </c:pt>
                <c:pt idx="18447">
                  <c:v>125553</c:v>
                </c:pt>
                <c:pt idx="18448">
                  <c:v>125551</c:v>
                </c:pt>
                <c:pt idx="18449">
                  <c:v>125539</c:v>
                </c:pt>
                <c:pt idx="18450">
                  <c:v>125538</c:v>
                </c:pt>
                <c:pt idx="18451">
                  <c:v>125526</c:v>
                </c:pt>
                <c:pt idx="18452">
                  <c:v>125520</c:v>
                </c:pt>
                <c:pt idx="18453">
                  <c:v>125517</c:v>
                </c:pt>
                <c:pt idx="18454">
                  <c:v>125515</c:v>
                </c:pt>
                <c:pt idx="18455">
                  <c:v>125515</c:v>
                </c:pt>
                <c:pt idx="18456">
                  <c:v>125497</c:v>
                </c:pt>
                <c:pt idx="18457">
                  <c:v>125496</c:v>
                </c:pt>
                <c:pt idx="18458">
                  <c:v>125496</c:v>
                </c:pt>
                <c:pt idx="18459">
                  <c:v>125495</c:v>
                </c:pt>
                <c:pt idx="18460">
                  <c:v>125495</c:v>
                </c:pt>
                <c:pt idx="18461">
                  <c:v>125490</c:v>
                </c:pt>
                <c:pt idx="18462">
                  <c:v>125488</c:v>
                </c:pt>
                <c:pt idx="18463">
                  <c:v>125488</c:v>
                </c:pt>
                <c:pt idx="18464">
                  <c:v>125478</c:v>
                </c:pt>
                <c:pt idx="18465">
                  <c:v>125466</c:v>
                </c:pt>
                <c:pt idx="18466">
                  <c:v>125464</c:v>
                </c:pt>
                <c:pt idx="18467">
                  <c:v>125458</c:v>
                </c:pt>
                <c:pt idx="18468">
                  <c:v>125453</c:v>
                </c:pt>
                <c:pt idx="18469">
                  <c:v>125444</c:v>
                </c:pt>
                <c:pt idx="18470">
                  <c:v>125439</c:v>
                </c:pt>
                <c:pt idx="18471">
                  <c:v>125435</c:v>
                </c:pt>
                <c:pt idx="18472">
                  <c:v>125432</c:v>
                </c:pt>
                <c:pt idx="18473">
                  <c:v>125430</c:v>
                </c:pt>
                <c:pt idx="18474">
                  <c:v>125422</c:v>
                </c:pt>
                <c:pt idx="18475">
                  <c:v>125420</c:v>
                </c:pt>
                <c:pt idx="18476">
                  <c:v>125408</c:v>
                </c:pt>
                <c:pt idx="18477">
                  <c:v>125406</c:v>
                </c:pt>
                <c:pt idx="18478">
                  <c:v>125400</c:v>
                </c:pt>
                <c:pt idx="18479">
                  <c:v>125398</c:v>
                </c:pt>
                <c:pt idx="18480">
                  <c:v>125398</c:v>
                </c:pt>
                <c:pt idx="18481">
                  <c:v>125398</c:v>
                </c:pt>
                <c:pt idx="18482">
                  <c:v>125392</c:v>
                </c:pt>
                <c:pt idx="18483">
                  <c:v>125386</c:v>
                </c:pt>
                <c:pt idx="18484">
                  <c:v>125382</c:v>
                </c:pt>
                <c:pt idx="18485">
                  <c:v>125376</c:v>
                </c:pt>
                <c:pt idx="18486">
                  <c:v>125373</c:v>
                </c:pt>
                <c:pt idx="18487">
                  <c:v>125363</c:v>
                </c:pt>
                <c:pt idx="18488">
                  <c:v>125361</c:v>
                </c:pt>
                <c:pt idx="18489">
                  <c:v>125354</c:v>
                </c:pt>
                <c:pt idx="18490">
                  <c:v>125341</c:v>
                </c:pt>
                <c:pt idx="18491">
                  <c:v>125339</c:v>
                </c:pt>
                <c:pt idx="18492">
                  <c:v>125332</c:v>
                </c:pt>
                <c:pt idx="18493">
                  <c:v>125326</c:v>
                </c:pt>
                <c:pt idx="18494">
                  <c:v>125323</c:v>
                </c:pt>
                <c:pt idx="18495">
                  <c:v>125322</c:v>
                </c:pt>
                <c:pt idx="18496">
                  <c:v>125322</c:v>
                </c:pt>
                <c:pt idx="18497">
                  <c:v>125320</c:v>
                </c:pt>
                <c:pt idx="18498">
                  <c:v>125319</c:v>
                </c:pt>
                <c:pt idx="18499">
                  <c:v>125315</c:v>
                </c:pt>
                <c:pt idx="18500">
                  <c:v>125314</c:v>
                </c:pt>
                <c:pt idx="18501">
                  <c:v>125312</c:v>
                </c:pt>
                <c:pt idx="18502">
                  <c:v>125308</c:v>
                </c:pt>
                <c:pt idx="18503">
                  <c:v>125307</c:v>
                </c:pt>
                <c:pt idx="18504">
                  <c:v>125297</c:v>
                </c:pt>
                <c:pt idx="18505">
                  <c:v>125296</c:v>
                </c:pt>
                <c:pt idx="18506">
                  <c:v>125293</c:v>
                </c:pt>
                <c:pt idx="18507">
                  <c:v>125292</c:v>
                </c:pt>
                <c:pt idx="18508">
                  <c:v>125291</c:v>
                </c:pt>
                <c:pt idx="18509">
                  <c:v>125288</c:v>
                </c:pt>
                <c:pt idx="18510">
                  <c:v>125273</c:v>
                </c:pt>
                <c:pt idx="18511">
                  <c:v>125266</c:v>
                </c:pt>
                <c:pt idx="18512">
                  <c:v>125265</c:v>
                </c:pt>
                <c:pt idx="18513">
                  <c:v>125264</c:v>
                </c:pt>
                <c:pt idx="18514">
                  <c:v>125263</c:v>
                </c:pt>
                <c:pt idx="18515">
                  <c:v>125262</c:v>
                </c:pt>
                <c:pt idx="18516">
                  <c:v>125261</c:v>
                </c:pt>
                <c:pt idx="18517">
                  <c:v>125259</c:v>
                </c:pt>
                <c:pt idx="18518">
                  <c:v>125248</c:v>
                </c:pt>
                <c:pt idx="18519">
                  <c:v>125246</c:v>
                </c:pt>
                <c:pt idx="18520">
                  <c:v>125242</c:v>
                </c:pt>
                <c:pt idx="18521">
                  <c:v>125241</c:v>
                </c:pt>
                <c:pt idx="18522">
                  <c:v>125230</c:v>
                </c:pt>
                <c:pt idx="18523">
                  <c:v>125218</c:v>
                </c:pt>
                <c:pt idx="18524">
                  <c:v>125214</c:v>
                </c:pt>
                <c:pt idx="18525">
                  <c:v>125211</c:v>
                </c:pt>
                <c:pt idx="18526">
                  <c:v>125208</c:v>
                </c:pt>
                <c:pt idx="18527">
                  <c:v>125207</c:v>
                </c:pt>
                <c:pt idx="18528">
                  <c:v>125200</c:v>
                </c:pt>
                <c:pt idx="18529">
                  <c:v>125200</c:v>
                </c:pt>
                <c:pt idx="18530">
                  <c:v>125186</c:v>
                </c:pt>
                <c:pt idx="18531">
                  <c:v>125184</c:v>
                </c:pt>
                <c:pt idx="18532">
                  <c:v>125180</c:v>
                </c:pt>
                <c:pt idx="18533">
                  <c:v>125170</c:v>
                </c:pt>
                <c:pt idx="18534">
                  <c:v>125166</c:v>
                </c:pt>
                <c:pt idx="18535">
                  <c:v>125161</c:v>
                </c:pt>
                <c:pt idx="18536">
                  <c:v>125159</c:v>
                </c:pt>
                <c:pt idx="18537">
                  <c:v>125159</c:v>
                </c:pt>
                <c:pt idx="18538">
                  <c:v>125156</c:v>
                </c:pt>
                <c:pt idx="18539">
                  <c:v>125145</c:v>
                </c:pt>
                <c:pt idx="18540">
                  <c:v>125140</c:v>
                </c:pt>
                <c:pt idx="18541">
                  <c:v>125138</c:v>
                </c:pt>
                <c:pt idx="18542">
                  <c:v>125137</c:v>
                </c:pt>
                <c:pt idx="18543">
                  <c:v>125125</c:v>
                </c:pt>
                <c:pt idx="18544">
                  <c:v>125122</c:v>
                </c:pt>
                <c:pt idx="18545">
                  <c:v>125109</c:v>
                </c:pt>
                <c:pt idx="18546">
                  <c:v>125108</c:v>
                </c:pt>
                <c:pt idx="18547">
                  <c:v>125104</c:v>
                </c:pt>
                <c:pt idx="18548">
                  <c:v>125101</c:v>
                </c:pt>
                <c:pt idx="18549">
                  <c:v>125100</c:v>
                </c:pt>
                <c:pt idx="18550">
                  <c:v>125099</c:v>
                </c:pt>
                <c:pt idx="18551">
                  <c:v>125094</c:v>
                </c:pt>
                <c:pt idx="18552">
                  <c:v>125092</c:v>
                </c:pt>
                <c:pt idx="18553">
                  <c:v>125090</c:v>
                </c:pt>
                <c:pt idx="18554">
                  <c:v>125088</c:v>
                </c:pt>
                <c:pt idx="18555">
                  <c:v>125087</c:v>
                </c:pt>
                <c:pt idx="18556">
                  <c:v>125087</c:v>
                </c:pt>
                <c:pt idx="18557">
                  <c:v>125086</c:v>
                </c:pt>
                <c:pt idx="18558">
                  <c:v>125085</c:v>
                </c:pt>
                <c:pt idx="18559">
                  <c:v>125083</c:v>
                </c:pt>
                <c:pt idx="18560">
                  <c:v>125078</c:v>
                </c:pt>
                <c:pt idx="18561">
                  <c:v>125066</c:v>
                </c:pt>
                <c:pt idx="18562">
                  <c:v>125060</c:v>
                </c:pt>
                <c:pt idx="18563">
                  <c:v>125060</c:v>
                </c:pt>
                <c:pt idx="18564">
                  <c:v>125059</c:v>
                </c:pt>
                <c:pt idx="18565">
                  <c:v>125057</c:v>
                </c:pt>
                <c:pt idx="18566">
                  <c:v>125054</c:v>
                </c:pt>
                <c:pt idx="18567">
                  <c:v>125054</c:v>
                </c:pt>
                <c:pt idx="18568">
                  <c:v>125052</c:v>
                </c:pt>
                <c:pt idx="18569">
                  <c:v>125052</c:v>
                </c:pt>
                <c:pt idx="18570">
                  <c:v>125049</c:v>
                </c:pt>
                <c:pt idx="18571">
                  <c:v>125037</c:v>
                </c:pt>
                <c:pt idx="18572">
                  <c:v>125031</c:v>
                </c:pt>
                <c:pt idx="18573">
                  <c:v>125028</c:v>
                </c:pt>
                <c:pt idx="18574">
                  <c:v>125025</c:v>
                </c:pt>
                <c:pt idx="18575">
                  <c:v>125024</c:v>
                </c:pt>
                <c:pt idx="18576">
                  <c:v>125023</c:v>
                </c:pt>
                <c:pt idx="18577">
                  <c:v>125023</c:v>
                </c:pt>
                <c:pt idx="18578">
                  <c:v>125021</c:v>
                </c:pt>
                <c:pt idx="18579">
                  <c:v>125017</c:v>
                </c:pt>
                <c:pt idx="18580">
                  <c:v>125015</c:v>
                </c:pt>
                <c:pt idx="18581">
                  <c:v>125013</c:v>
                </c:pt>
                <c:pt idx="18582">
                  <c:v>125012</c:v>
                </c:pt>
                <c:pt idx="18583">
                  <c:v>125011</c:v>
                </c:pt>
                <c:pt idx="18584">
                  <c:v>125006</c:v>
                </c:pt>
                <c:pt idx="18585">
                  <c:v>125002</c:v>
                </c:pt>
                <c:pt idx="18586">
                  <c:v>125001</c:v>
                </c:pt>
                <c:pt idx="18587">
                  <c:v>124995</c:v>
                </c:pt>
                <c:pt idx="18588">
                  <c:v>124992</c:v>
                </c:pt>
                <c:pt idx="18589">
                  <c:v>124990</c:v>
                </c:pt>
                <c:pt idx="18590">
                  <c:v>124981</c:v>
                </c:pt>
                <c:pt idx="18591">
                  <c:v>124981</c:v>
                </c:pt>
                <c:pt idx="18592">
                  <c:v>124978</c:v>
                </c:pt>
                <c:pt idx="18593">
                  <c:v>124969</c:v>
                </c:pt>
                <c:pt idx="18594">
                  <c:v>124965</c:v>
                </c:pt>
                <c:pt idx="18595">
                  <c:v>124963</c:v>
                </c:pt>
                <c:pt idx="18596">
                  <c:v>124961</c:v>
                </c:pt>
                <c:pt idx="18597">
                  <c:v>124960</c:v>
                </c:pt>
                <c:pt idx="18598">
                  <c:v>124953</c:v>
                </c:pt>
                <c:pt idx="18599">
                  <c:v>124953</c:v>
                </c:pt>
                <c:pt idx="18600">
                  <c:v>124943</c:v>
                </c:pt>
                <c:pt idx="18601">
                  <c:v>124943</c:v>
                </c:pt>
                <c:pt idx="18602">
                  <c:v>124943</c:v>
                </c:pt>
                <c:pt idx="18603">
                  <c:v>124942</c:v>
                </c:pt>
                <c:pt idx="18604">
                  <c:v>124940</c:v>
                </c:pt>
                <c:pt idx="18605">
                  <c:v>124940</c:v>
                </c:pt>
                <c:pt idx="18606">
                  <c:v>124937</c:v>
                </c:pt>
                <c:pt idx="18607">
                  <c:v>124932</c:v>
                </c:pt>
                <c:pt idx="18608">
                  <c:v>124928</c:v>
                </c:pt>
                <c:pt idx="18609">
                  <c:v>124927</c:v>
                </c:pt>
                <c:pt idx="18610">
                  <c:v>124924</c:v>
                </c:pt>
                <c:pt idx="18611">
                  <c:v>124916</c:v>
                </c:pt>
                <c:pt idx="18612">
                  <c:v>124912</c:v>
                </c:pt>
                <c:pt idx="18613">
                  <c:v>124906</c:v>
                </c:pt>
                <c:pt idx="18614">
                  <c:v>124902</c:v>
                </c:pt>
                <c:pt idx="18615">
                  <c:v>124902</c:v>
                </c:pt>
                <c:pt idx="18616">
                  <c:v>124895</c:v>
                </c:pt>
                <c:pt idx="18617">
                  <c:v>124893</c:v>
                </c:pt>
                <c:pt idx="18618">
                  <c:v>124887</c:v>
                </c:pt>
                <c:pt idx="18619">
                  <c:v>124883</c:v>
                </c:pt>
                <c:pt idx="18620">
                  <c:v>124882</c:v>
                </c:pt>
                <c:pt idx="18621">
                  <c:v>124880</c:v>
                </c:pt>
                <c:pt idx="18622">
                  <c:v>124873</c:v>
                </c:pt>
                <c:pt idx="18623">
                  <c:v>124873</c:v>
                </c:pt>
                <c:pt idx="18624">
                  <c:v>124863</c:v>
                </c:pt>
                <c:pt idx="18625">
                  <c:v>124861</c:v>
                </c:pt>
                <c:pt idx="18626">
                  <c:v>124854</c:v>
                </c:pt>
                <c:pt idx="18627">
                  <c:v>124852</c:v>
                </c:pt>
                <c:pt idx="18628">
                  <c:v>124849</c:v>
                </c:pt>
                <c:pt idx="18629">
                  <c:v>124849</c:v>
                </c:pt>
                <c:pt idx="18630">
                  <c:v>124846</c:v>
                </c:pt>
                <c:pt idx="18631">
                  <c:v>124839</c:v>
                </c:pt>
                <c:pt idx="18632">
                  <c:v>124838</c:v>
                </c:pt>
                <c:pt idx="18633">
                  <c:v>124835</c:v>
                </c:pt>
                <c:pt idx="18634">
                  <c:v>124835</c:v>
                </c:pt>
                <c:pt idx="18635">
                  <c:v>124822</c:v>
                </c:pt>
                <c:pt idx="18636">
                  <c:v>124820</c:v>
                </c:pt>
                <c:pt idx="18637">
                  <c:v>124816</c:v>
                </c:pt>
                <c:pt idx="18638">
                  <c:v>124813</c:v>
                </c:pt>
                <c:pt idx="18639">
                  <c:v>124801</c:v>
                </c:pt>
                <c:pt idx="18640">
                  <c:v>124801</c:v>
                </c:pt>
                <c:pt idx="18641">
                  <c:v>124794</c:v>
                </c:pt>
                <c:pt idx="18642">
                  <c:v>124793</c:v>
                </c:pt>
                <c:pt idx="18643">
                  <c:v>124789</c:v>
                </c:pt>
                <c:pt idx="18644">
                  <c:v>124785</c:v>
                </c:pt>
                <c:pt idx="18645">
                  <c:v>124782</c:v>
                </c:pt>
                <c:pt idx="18646">
                  <c:v>124780</c:v>
                </c:pt>
                <c:pt idx="18647">
                  <c:v>124771</c:v>
                </c:pt>
                <c:pt idx="18648">
                  <c:v>124771</c:v>
                </c:pt>
                <c:pt idx="18649">
                  <c:v>124766</c:v>
                </c:pt>
                <c:pt idx="18650">
                  <c:v>124765</c:v>
                </c:pt>
                <c:pt idx="18651">
                  <c:v>124758</c:v>
                </c:pt>
                <c:pt idx="18652">
                  <c:v>124758</c:v>
                </c:pt>
                <c:pt idx="18653">
                  <c:v>124755</c:v>
                </c:pt>
                <c:pt idx="18654">
                  <c:v>124748</c:v>
                </c:pt>
                <c:pt idx="18655">
                  <c:v>124745</c:v>
                </c:pt>
                <c:pt idx="18656">
                  <c:v>124744</c:v>
                </c:pt>
                <c:pt idx="18657">
                  <c:v>124741</c:v>
                </c:pt>
                <c:pt idx="18658">
                  <c:v>124738</c:v>
                </c:pt>
                <c:pt idx="18659">
                  <c:v>124735</c:v>
                </c:pt>
                <c:pt idx="18660">
                  <c:v>124731</c:v>
                </c:pt>
                <c:pt idx="18661">
                  <c:v>124724</c:v>
                </c:pt>
                <c:pt idx="18662">
                  <c:v>124718</c:v>
                </c:pt>
                <c:pt idx="18663">
                  <c:v>124715</c:v>
                </c:pt>
                <c:pt idx="18664">
                  <c:v>124713</c:v>
                </c:pt>
                <c:pt idx="18665">
                  <c:v>124713</c:v>
                </c:pt>
                <c:pt idx="18666">
                  <c:v>124709</c:v>
                </c:pt>
                <c:pt idx="18667">
                  <c:v>124708</c:v>
                </c:pt>
                <c:pt idx="18668">
                  <c:v>124707</c:v>
                </c:pt>
                <c:pt idx="18669">
                  <c:v>124704</c:v>
                </c:pt>
                <c:pt idx="18670">
                  <c:v>124700</c:v>
                </c:pt>
                <c:pt idx="18671">
                  <c:v>124700</c:v>
                </c:pt>
                <c:pt idx="18672">
                  <c:v>124698</c:v>
                </c:pt>
                <c:pt idx="18673">
                  <c:v>124698</c:v>
                </c:pt>
                <c:pt idx="18674">
                  <c:v>124691</c:v>
                </c:pt>
                <c:pt idx="18675">
                  <c:v>124686</c:v>
                </c:pt>
                <c:pt idx="18676">
                  <c:v>124680</c:v>
                </c:pt>
                <c:pt idx="18677">
                  <c:v>124679</c:v>
                </c:pt>
                <c:pt idx="18678">
                  <c:v>124672</c:v>
                </c:pt>
                <c:pt idx="18679">
                  <c:v>124668</c:v>
                </c:pt>
                <c:pt idx="18680">
                  <c:v>124665</c:v>
                </c:pt>
                <c:pt idx="18681">
                  <c:v>124665</c:v>
                </c:pt>
                <c:pt idx="18682">
                  <c:v>124652</c:v>
                </c:pt>
                <c:pt idx="18683">
                  <c:v>124651</c:v>
                </c:pt>
                <c:pt idx="18684">
                  <c:v>124643</c:v>
                </c:pt>
                <c:pt idx="18685">
                  <c:v>124636</c:v>
                </c:pt>
                <c:pt idx="18686">
                  <c:v>124634</c:v>
                </c:pt>
                <c:pt idx="18687">
                  <c:v>124627</c:v>
                </c:pt>
                <c:pt idx="18688">
                  <c:v>124622</c:v>
                </c:pt>
                <c:pt idx="18689">
                  <c:v>124622</c:v>
                </c:pt>
                <c:pt idx="18690">
                  <c:v>124612</c:v>
                </c:pt>
                <c:pt idx="18691">
                  <c:v>124605</c:v>
                </c:pt>
                <c:pt idx="18692">
                  <c:v>124605</c:v>
                </c:pt>
                <c:pt idx="18693">
                  <c:v>124604</c:v>
                </c:pt>
                <c:pt idx="18694">
                  <c:v>124602</c:v>
                </c:pt>
                <c:pt idx="18695">
                  <c:v>124599</c:v>
                </c:pt>
                <c:pt idx="18696">
                  <c:v>124594</c:v>
                </c:pt>
                <c:pt idx="18697">
                  <c:v>124593</c:v>
                </c:pt>
                <c:pt idx="18698">
                  <c:v>124589</c:v>
                </c:pt>
                <c:pt idx="18699">
                  <c:v>124579</c:v>
                </c:pt>
                <c:pt idx="18700">
                  <c:v>124578</c:v>
                </c:pt>
                <c:pt idx="18701">
                  <c:v>124575</c:v>
                </c:pt>
                <c:pt idx="18702">
                  <c:v>124569</c:v>
                </c:pt>
                <c:pt idx="18703">
                  <c:v>124567</c:v>
                </c:pt>
                <c:pt idx="18704">
                  <c:v>124566</c:v>
                </c:pt>
                <c:pt idx="18705">
                  <c:v>124565</c:v>
                </c:pt>
                <c:pt idx="18706">
                  <c:v>124564</c:v>
                </c:pt>
                <c:pt idx="18707">
                  <c:v>124563</c:v>
                </c:pt>
                <c:pt idx="18708">
                  <c:v>124557</c:v>
                </c:pt>
                <c:pt idx="18709">
                  <c:v>124555</c:v>
                </c:pt>
                <c:pt idx="18710">
                  <c:v>124552</c:v>
                </c:pt>
                <c:pt idx="18711">
                  <c:v>124543</c:v>
                </c:pt>
                <c:pt idx="18712">
                  <c:v>124542</c:v>
                </c:pt>
                <c:pt idx="18713">
                  <c:v>124533</c:v>
                </c:pt>
                <c:pt idx="18714">
                  <c:v>124533</c:v>
                </c:pt>
                <c:pt idx="18715">
                  <c:v>124529</c:v>
                </c:pt>
                <c:pt idx="18716">
                  <c:v>124524</c:v>
                </c:pt>
                <c:pt idx="18717">
                  <c:v>124523</c:v>
                </c:pt>
                <c:pt idx="18718">
                  <c:v>124520</c:v>
                </c:pt>
                <c:pt idx="18719">
                  <c:v>124513</c:v>
                </c:pt>
                <c:pt idx="18720">
                  <c:v>124506</c:v>
                </c:pt>
                <c:pt idx="18721">
                  <c:v>124503</c:v>
                </c:pt>
                <c:pt idx="18722">
                  <c:v>124500</c:v>
                </c:pt>
                <c:pt idx="18723">
                  <c:v>124479</c:v>
                </c:pt>
                <c:pt idx="18724">
                  <c:v>124477</c:v>
                </c:pt>
                <c:pt idx="18725">
                  <c:v>124471</c:v>
                </c:pt>
                <c:pt idx="18726">
                  <c:v>124468</c:v>
                </c:pt>
                <c:pt idx="18727">
                  <c:v>124467</c:v>
                </c:pt>
                <c:pt idx="18728">
                  <c:v>124464</c:v>
                </c:pt>
                <c:pt idx="18729">
                  <c:v>124459</c:v>
                </c:pt>
                <c:pt idx="18730">
                  <c:v>124458</c:v>
                </c:pt>
                <c:pt idx="18731">
                  <c:v>124454</c:v>
                </c:pt>
                <c:pt idx="18732">
                  <c:v>124448</c:v>
                </c:pt>
                <c:pt idx="18733">
                  <c:v>124442</c:v>
                </c:pt>
                <c:pt idx="18734">
                  <c:v>124439</c:v>
                </c:pt>
                <c:pt idx="18735">
                  <c:v>124438</c:v>
                </c:pt>
                <c:pt idx="18736">
                  <c:v>124435</c:v>
                </c:pt>
                <c:pt idx="18737">
                  <c:v>124426</c:v>
                </c:pt>
                <c:pt idx="18738">
                  <c:v>124420</c:v>
                </c:pt>
                <c:pt idx="18739">
                  <c:v>124420</c:v>
                </c:pt>
                <c:pt idx="18740">
                  <c:v>124413</c:v>
                </c:pt>
                <c:pt idx="18741">
                  <c:v>124411</c:v>
                </c:pt>
                <c:pt idx="18742">
                  <c:v>124410</c:v>
                </c:pt>
                <c:pt idx="18743">
                  <c:v>124407</c:v>
                </c:pt>
                <c:pt idx="18744">
                  <c:v>124407</c:v>
                </c:pt>
                <c:pt idx="18745">
                  <c:v>124400</c:v>
                </c:pt>
                <c:pt idx="18746">
                  <c:v>124393</c:v>
                </c:pt>
                <c:pt idx="18747">
                  <c:v>124388</c:v>
                </c:pt>
                <c:pt idx="18748">
                  <c:v>124380</c:v>
                </c:pt>
                <c:pt idx="18749">
                  <c:v>124378</c:v>
                </c:pt>
                <c:pt idx="18750">
                  <c:v>124376</c:v>
                </c:pt>
                <c:pt idx="18751">
                  <c:v>124375</c:v>
                </c:pt>
                <c:pt idx="18752">
                  <c:v>124373</c:v>
                </c:pt>
                <c:pt idx="18753">
                  <c:v>124371</c:v>
                </c:pt>
                <c:pt idx="18754">
                  <c:v>124368</c:v>
                </c:pt>
                <c:pt idx="18755">
                  <c:v>124351</c:v>
                </c:pt>
                <c:pt idx="18756">
                  <c:v>124351</c:v>
                </c:pt>
                <c:pt idx="18757">
                  <c:v>124347</c:v>
                </c:pt>
                <c:pt idx="18758">
                  <c:v>124346</c:v>
                </c:pt>
                <c:pt idx="18759">
                  <c:v>124343</c:v>
                </c:pt>
                <c:pt idx="18760">
                  <c:v>124337</c:v>
                </c:pt>
                <c:pt idx="18761">
                  <c:v>124331</c:v>
                </c:pt>
                <c:pt idx="18762">
                  <c:v>124329</c:v>
                </c:pt>
                <c:pt idx="18763">
                  <c:v>124321</c:v>
                </c:pt>
                <c:pt idx="18764">
                  <c:v>124314</c:v>
                </c:pt>
                <c:pt idx="18765">
                  <c:v>124312</c:v>
                </c:pt>
                <c:pt idx="18766">
                  <c:v>124312</c:v>
                </c:pt>
                <c:pt idx="18767">
                  <c:v>124311</c:v>
                </c:pt>
                <c:pt idx="18768">
                  <c:v>124295</c:v>
                </c:pt>
                <c:pt idx="18769">
                  <c:v>124294</c:v>
                </c:pt>
                <c:pt idx="18770">
                  <c:v>124291</c:v>
                </c:pt>
                <c:pt idx="18771">
                  <c:v>124275</c:v>
                </c:pt>
                <c:pt idx="18772">
                  <c:v>124275</c:v>
                </c:pt>
                <c:pt idx="18773">
                  <c:v>124272</c:v>
                </c:pt>
                <c:pt idx="18774">
                  <c:v>124270</c:v>
                </c:pt>
                <c:pt idx="18775">
                  <c:v>124268</c:v>
                </c:pt>
                <c:pt idx="18776">
                  <c:v>124267</c:v>
                </c:pt>
                <c:pt idx="18777">
                  <c:v>124267</c:v>
                </c:pt>
                <c:pt idx="18778">
                  <c:v>124266</c:v>
                </c:pt>
                <c:pt idx="18779">
                  <c:v>124243</c:v>
                </c:pt>
                <c:pt idx="18780">
                  <c:v>124242</c:v>
                </c:pt>
                <c:pt idx="18781">
                  <c:v>124241</c:v>
                </c:pt>
                <c:pt idx="18782">
                  <c:v>124240</c:v>
                </c:pt>
                <c:pt idx="18783">
                  <c:v>124238</c:v>
                </c:pt>
                <c:pt idx="18784">
                  <c:v>124229</c:v>
                </c:pt>
                <c:pt idx="18785">
                  <c:v>124224</c:v>
                </c:pt>
                <c:pt idx="18786">
                  <c:v>124215</c:v>
                </c:pt>
                <c:pt idx="18787">
                  <c:v>124214</c:v>
                </c:pt>
                <c:pt idx="18788">
                  <c:v>124203</c:v>
                </c:pt>
                <c:pt idx="18789">
                  <c:v>124189</c:v>
                </c:pt>
                <c:pt idx="18790">
                  <c:v>124169</c:v>
                </c:pt>
                <c:pt idx="18791">
                  <c:v>124169</c:v>
                </c:pt>
                <c:pt idx="18792">
                  <c:v>124162</c:v>
                </c:pt>
                <c:pt idx="18793">
                  <c:v>124160</c:v>
                </c:pt>
                <c:pt idx="18794">
                  <c:v>124150</c:v>
                </c:pt>
                <c:pt idx="18795">
                  <c:v>124144</c:v>
                </c:pt>
                <c:pt idx="18796">
                  <c:v>124127</c:v>
                </c:pt>
                <c:pt idx="18797">
                  <c:v>124126</c:v>
                </c:pt>
                <c:pt idx="18798">
                  <c:v>124125</c:v>
                </c:pt>
                <c:pt idx="18799">
                  <c:v>124121</c:v>
                </c:pt>
                <c:pt idx="18800">
                  <c:v>124117</c:v>
                </c:pt>
                <c:pt idx="18801">
                  <c:v>124117</c:v>
                </c:pt>
                <c:pt idx="18802">
                  <c:v>124113</c:v>
                </c:pt>
                <c:pt idx="18803">
                  <c:v>124110</c:v>
                </c:pt>
                <c:pt idx="18804">
                  <c:v>124106</c:v>
                </c:pt>
                <c:pt idx="18805">
                  <c:v>124106</c:v>
                </c:pt>
                <c:pt idx="18806">
                  <c:v>124105</c:v>
                </c:pt>
                <c:pt idx="18807">
                  <c:v>124099</c:v>
                </c:pt>
                <c:pt idx="18808">
                  <c:v>124099</c:v>
                </c:pt>
                <c:pt idx="18809">
                  <c:v>124094</c:v>
                </c:pt>
                <c:pt idx="18810">
                  <c:v>124093</c:v>
                </c:pt>
                <c:pt idx="18811">
                  <c:v>124090</c:v>
                </c:pt>
                <c:pt idx="18812">
                  <c:v>124089</c:v>
                </c:pt>
                <c:pt idx="18813">
                  <c:v>124083</c:v>
                </c:pt>
                <c:pt idx="18814">
                  <c:v>124076</c:v>
                </c:pt>
                <c:pt idx="18815">
                  <c:v>124074</c:v>
                </c:pt>
                <c:pt idx="18816">
                  <c:v>124060</c:v>
                </c:pt>
                <c:pt idx="18817">
                  <c:v>124054</c:v>
                </c:pt>
                <c:pt idx="18818">
                  <c:v>124054</c:v>
                </c:pt>
                <c:pt idx="18819">
                  <c:v>124053</c:v>
                </c:pt>
                <c:pt idx="18820">
                  <c:v>124051</c:v>
                </c:pt>
                <c:pt idx="18821">
                  <c:v>124049</c:v>
                </c:pt>
                <c:pt idx="18822">
                  <c:v>124049</c:v>
                </c:pt>
                <c:pt idx="18823">
                  <c:v>124043</c:v>
                </c:pt>
                <c:pt idx="18824">
                  <c:v>124041</c:v>
                </c:pt>
                <c:pt idx="18825">
                  <c:v>124038</c:v>
                </c:pt>
                <c:pt idx="18826">
                  <c:v>124037</c:v>
                </c:pt>
                <c:pt idx="18827">
                  <c:v>124034</c:v>
                </c:pt>
                <c:pt idx="18828">
                  <c:v>124032</c:v>
                </c:pt>
                <c:pt idx="18829">
                  <c:v>124032</c:v>
                </c:pt>
                <c:pt idx="18830">
                  <c:v>124017</c:v>
                </c:pt>
                <c:pt idx="18831">
                  <c:v>124017</c:v>
                </c:pt>
                <c:pt idx="18832">
                  <c:v>124009</c:v>
                </c:pt>
                <c:pt idx="18833">
                  <c:v>124005</c:v>
                </c:pt>
                <c:pt idx="18834">
                  <c:v>124003</c:v>
                </c:pt>
                <c:pt idx="18835">
                  <c:v>123999</c:v>
                </c:pt>
                <c:pt idx="18836">
                  <c:v>123998</c:v>
                </c:pt>
                <c:pt idx="18837">
                  <c:v>123996</c:v>
                </c:pt>
                <c:pt idx="18838">
                  <c:v>123992</c:v>
                </c:pt>
                <c:pt idx="18839">
                  <c:v>123981</c:v>
                </c:pt>
                <c:pt idx="18840">
                  <c:v>123981</c:v>
                </c:pt>
                <c:pt idx="18841">
                  <c:v>123978</c:v>
                </c:pt>
                <c:pt idx="18842">
                  <c:v>123977</c:v>
                </c:pt>
                <c:pt idx="18843">
                  <c:v>123968</c:v>
                </c:pt>
                <c:pt idx="18844">
                  <c:v>123968</c:v>
                </c:pt>
                <c:pt idx="18845">
                  <c:v>123959</c:v>
                </c:pt>
                <c:pt idx="18846">
                  <c:v>123954</c:v>
                </c:pt>
                <c:pt idx="18847">
                  <c:v>123950</c:v>
                </c:pt>
                <c:pt idx="18848">
                  <c:v>123947</c:v>
                </c:pt>
                <c:pt idx="18849">
                  <c:v>123941</c:v>
                </c:pt>
                <c:pt idx="18850">
                  <c:v>123941</c:v>
                </c:pt>
                <c:pt idx="18851">
                  <c:v>123940</c:v>
                </c:pt>
                <c:pt idx="18852">
                  <c:v>123929</c:v>
                </c:pt>
                <c:pt idx="18853">
                  <c:v>123927</c:v>
                </c:pt>
                <c:pt idx="18854">
                  <c:v>123927</c:v>
                </c:pt>
                <c:pt idx="18855">
                  <c:v>123920</c:v>
                </c:pt>
                <c:pt idx="18856">
                  <c:v>123915</c:v>
                </c:pt>
                <c:pt idx="18857">
                  <c:v>123915</c:v>
                </c:pt>
                <c:pt idx="18858">
                  <c:v>123914</c:v>
                </c:pt>
                <c:pt idx="18859">
                  <c:v>123913</c:v>
                </c:pt>
                <c:pt idx="18860">
                  <c:v>123911</c:v>
                </c:pt>
                <c:pt idx="18861">
                  <c:v>123903</c:v>
                </c:pt>
                <c:pt idx="18862">
                  <c:v>123899</c:v>
                </c:pt>
                <c:pt idx="18863">
                  <c:v>123899</c:v>
                </c:pt>
                <c:pt idx="18864">
                  <c:v>123898</c:v>
                </c:pt>
                <c:pt idx="18865">
                  <c:v>123897</c:v>
                </c:pt>
                <c:pt idx="18866">
                  <c:v>123894</c:v>
                </c:pt>
                <c:pt idx="18867">
                  <c:v>123883</c:v>
                </c:pt>
                <c:pt idx="18868">
                  <c:v>123882</c:v>
                </c:pt>
                <c:pt idx="18869">
                  <c:v>123879</c:v>
                </c:pt>
                <c:pt idx="18870">
                  <c:v>123874</c:v>
                </c:pt>
                <c:pt idx="18871">
                  <c:v>123867</c:v>
                </c:pt>
                <c:pt idx="18872">
                  <c:v>123863</c:v>
                </c:pt>
                <c:pt idx="18873">
                  <c:v>123857</c:v>
                </c:pt>
                <c:pt idx="18874">
                  <c:v>123855</c:v>
                </c:pt>
                <c:pt idx="18875">
                  <c:v>123854</c:v>
                </c:pt>
                <c:pt idx="18876">
                  <c:v>123850</c:v>
                </c:pt>
                <c:pt idx="18877">
                  <c:v>123844</c:v>
                </c:pt>
                <c:pt idx="18878">
                  <c:v>123840</c:v>
                </c:pt>
                <c:pt idx="18879">
                  <c:v>123834</c:v>
                </c:pt>
                <c:pt idx="18880">
                  <c:v>123828</c:v>
                </c:pt>
                <c:pt idx="18881">
                  <c:v>123824</c:v>
                </c:pt>
                <c:pt idx="18882">
                  <c:v>123823</c:v>
                </c:pt>
                <c:pt idx="18883">
                  <c:v>123823</c:v>
                </c:pt>
                <c:pt idx="18884">
                  <c:v>123822</c:v>
                </c:pt>
                <c:pt idx="18885">
                  <c:v>123819</c:v>
                </c:pt>
                <c:pt idx="18886">
                  <c:v>123816</c:v>
                </c:pt>
                <c:pt idx="18887">
                  <c:v>123810</c:v>
                </c:pt>
                <c:pt idx="18888">
                  <c:v>123810</c:v>
                </c:pt>
                <c:pt idx="18889">
                  <c:v>123803</c:v>
                </c:pt>
                <c:pt idx="18890">
                  <c:v>123802</c:v>
                </c:pt>
                <c:pt idx="18891">
                  <c:v>123801</c:v>
                </c:pt>
                <c:pt idx="18892">
                  <c:v>123801</c:v>
                </c:pt>
                <c:pt idx="18893">
                  <c:v>123801</c:v>
                </c:pt>
                <c:pt idx="18894">
                  <c:v>123797</c:v>
                </c:pt>
                <c:pt idx="18895">
                  <c:v>123795</c:v>
                </c:pt>
                <c:pt idx="18896">
                  <c:v>123795</c:v>
                </c:pt>
                <c:pt idx="18897">
                  <c:v>123790</c:v>
                </c:pt>
                <c:pt idx="18898">
                  <c:v>123789</c:v>
                </c:pt>
                <c:pt idx="18899">
                  <c:v>123789</c:v>
                </c:pt>
                <c:pt idx="18900">
                  <c:v>123772</c:v>
                </c:pt>
                <c:pt idx="18901">
                  <c:v>123769</c:v>
                </c:pt>
                <c:pt idx="18902">
                  <c:v>123768</c:v>
                </c:pt>
                <c:pt idx="18903">
                  <c:v>123760</c:v>
                </c:pt>
                <c:pt idx="18904">
                  <c:v>123756</c:v>
                </c:pt>
                <c:pt idx="18905">
                  <c:v>123752</c:v>
                </c:pt>
                <c:pt idx="18906">
                  <c:v>123746</c:v>
                </c:pt>
                <c:pt idx="18907">
                  <c:v>123744</c:v>
                </c:pt>
                <c:pt idx="18908">
                  <c:v>123737</c:v>
                </c:pt>
                <c:pt idx="18909">
                  <c:v>123735</c:v>
                </c:pt>
                <c:pt idx="18910">
                  <c:v>123733</c:v>
                </c:pt>
                <c:pt idx="18911">
                  <c:v>123732</c:v>
                </c:pt>
                <c:pt idx="18912">
                  <c:v>123730</c:v>
                </c:pt>
                <c:pt idx="18913">
                  <c:v>123729</c:v>
                </c:pt>
                <c:pt idx="18914">
                  <c:v>123719</c:v>
                </c:pt>
                <c:pt idx="18915">
                  <c:v>123719</c:v>
                </c:pt>
                <c:pt idx="18916">
                  <c:v>123718</c:v>
                </c:pt>
                <c:pt idx="18917">
                  <c:v>123713</c:v>
                </c:pt>
                <c:pt idx="18918">
                  <c:v>123712</c:v>
                </c:pt>
                <c:pt idx="18919">
                  <c:v>123711</c:v>
                </c:pt>
                <c:pt idx="18920">
                  <c:v>123705</c:v>
                </c:pt>
                <c:pt idx="18921">
                  <c:v>123703</c:v>
                </c:pt>
                <c:pt idx="18922">
                  <c:v>123703</c:v>
                </c:pt>
                <c:pt idx="18923">
                  <c:v>123702</c:v>
                </c:pt>
                <c:pt idx="18924">
                  <c:v>123700</c:v>
                </c:pt>
                <c:pt idx="18925">
                  <c:v>123692</c:v>
                </c:pt>
                <c:pt idx="18926">
                  <c:v>123686</c:v>
                </c:pt>
                <c:pt idx="18927">
                  <c:v>123683</c:v>
                </c:pt>
                <c:pt idx="18928">
                  <c:v>123681</c:v>
                </c:pt>
                <c:pt idx="18929">
                  <c:v>123676</c:v>
                </c:pt>
                <c:pt idx="18930">
                  <c:v>123674</c:v>
                </c:pt>
                <c:pt idx="18931">
                  <c:v>123671</c:v>
                </c:pt>
                <c:pt idx="18932">
                  <c:v>123668</c:v>
                </c:pt>
                <c:pt idx="18933">
                  <c:v>123665</c:v>
                </c:pt>
                <c:pt idx="18934">
                  <c:v>123663</c:v>
                </c:pt>
                <c:pt idx="18935">
                  <c:v>123663</c:v>
                </c:pt>
                <c:pt idx="18936">
                  <c:v>123658</c:v>
                </c:pt>
                <c:pt idx="18937">
                  <c:v>123653</c:v>
                </c:pt>
                <c:pt idx="18938">
                  <c:v>123647</c:v>
                </c:pt>
                <c:pt idx="18939">
                  <c:v>123646</c:v>
                </c:pt>
                <c:pt idx="18940">
                  <c:v>123637</c:v>
                </c:pt>
                <c:pt idx="18941">
                  <c:v>123633</c:v>
                </c:pt>
                <c:pt idx="18942">
                  <c:v>123629</c:v>
                </c:pt>
                <c:pt idx="18943">
                  <c:v>123629</c:v>
                </c:pt>
                <c:pt idx="18944">
                  <c:v>123628</c:v>
                </c:pt>
                <c:pt idx="18945">
                  <c:v>123626</c:v>
                </c:pt>
                <c:pt idx="18946">
                  <c:v>123625</c:v>
                </c:pt>
                <c:pt idx="18947">
                  <c:v>123621</c:v>
                </c:pt>
                <c:pt idx="18948">
                  <c:v>123621</c:v>
                </c:pt>
                <c:pt idx="18949">
                  <c:v>123617</c:v>
                </c:pt>
                <c:pt idx="18950">
                  <c:v>123617</c:v>
                </c:pt>
                <c:pt idx="18951">
                  <c:v>123616</c:v>
                </c:pt>
                <c:pt idx="18952">
                  <c:v>123613</c:v>
                </c:pt>
                <c:pt idx="18953">
                  <c:v>123604</c:v>
                </c:pt>
                <c:pt idx="18954">
                  <c:v>123604</c:v>
                </c:pt>
                <c:pt idx="18955">
                  <c:v>123599</c:v>
                </c:pt>
                <c:pt idx="18956">
                  <c:v>123595</c:v>
                </c:pt>
                <c:pt idx="18957">
                  <c:v>123593</c:v>
                </c:pt>
                <c:pt idx="18958">
                  <c:v>123593</c:v>
                </c:pt>
                <c:pt idx="18959">
                  <c:v>123592</c:v>
                </c:pt>
                <c:pt idx="18960">
                  <c:v>123584</c:v>
                </c:pt>
                <c:pt idx="18961">
                  <c:v>123584</c:v>
                </c:pt>
                <c:pt idx="18962">
                  <c:v>123580</c:v>
                </c:pt>
                <c:pt idx="18963">
                  <c:v>123572</c:v>
                </c:pt>
                <c:pt idx="18964">
                  <c:v>123572</c:v>
                </c:pt>
                <c:pt idx="18965">
                  <c:v>123571</c:v>
                </c:pt>
                <c:pt idx="18966">
                  <c:v>123570</c:v>
                </c:pt>
                <c:pt idx="18967">
                  <c:v>123564</c:v>
                </c:pt>
                <c:pt idx="18968">
                  <c:v>123560</c:v>
                </c:pt>
                <c:pt idx="18969">
                  <c:v>123558</c:v>
                </c:pt>
                <c:pt idx="18970">
                  <c:v>123557</c:v>
                </c:pt>
                <c:pt idx="18971">
                  <c:v>123556</c:v>
                </c:pt>
                <c:pt idx="18972">
                  <c:v>123555</c:v>
                </c:pt>
                <c:pt idx="18973">
                  <c:v>123554</c:v>
                </c:pt>
                <c:pt idx="18974">
                  <c:v>123552</c:v>
                </c:pt>
                <c:pt idx="18975">
                  <c:v>123551</c:v>
                </c:pt>
                <c:pt idx="18976">
                  <c:v>123544</c:v>
                </c:pt>
                <c:pt idx="18977">
                  <c:v>123543</c:v>
                </c:pt>
                <c:pt idx="18978">
                  <c:v>123542</c:v>
                </c:pt>
                <c:pt idx="18979">
                  <c:v>123540</c:v>
                </c:pt>
                <c:pt idx="18980">
                  <c:v>123537</c:v>
                </c:pt>
                <c:pt idx="18981">
                  <c:v>123531</c:v>
                </c:pt>
                <c:pt idx="18982">
                  <c:v>123528</c:v>
                </c:pt>
                <c:pt idx="18983">
                  <c:v>123519</c:v>
                </c:pt>
                <c:pt idx="18984">
                  <c:v>123518</c:v>
                </c:pt>
                <c:pt idx="18985">
                  <c:v>123516</c:v>
                </c:pt>
                <c:pt idx="18986">
                  <c:v>123516</c:v>
                </c:pt>
                <c:pt idx="18987">
                  <c:v>123510</c:v>
                </c:pt>
                <c:pt idx="18988">
                  <c:v>123508</c:v>
                </c:pt>
                <c:pt idx="18989">
                  <c:v>123508</c:v>
                </c:pt>
                <c:pt idx="18990">
                  <c:v>123504</c:v>
                </c:pt>
                <c:pt idx="18991">
                  <c:v>123503</c:v>
                </c:pt>
                <c:pt idx="18992">
                  <c:v>123501</c:v>
                </c:pt>
                <c:pt idx="18993">
                  <c:v>123500</c:v>
                </c:pt>
                <c:pt idx="18994">
                  <c:v>123497</c:v>
                </c:pt>
                <c:pt idx="18995">
                  <c:v>123485</c:v>
                </c:pt>
                <c:pt idx="18996">
                  <c:v>123482</c:v>
                </c:pt>
                <c:pt idx="18997">
                  <c:v>123481</c:v>
                </c:pt>
                <c:pt idx="18998">
                  <c:v>123480</c:v>
                </c:pt>
                <c:pt idx="18999">
                  <c:v>123479</c:v>
                </c:pt>
                <c:pt idx="19000">
                  <c:v>123478</c:v>
                </c:pt>
                <c:pt idx="19001">
                  <c:v>123475</c:v>
                </c:pt>
                <c:pt idx="19002">
                  <c:v>123473</c:v>
                </c:pt>
                <c:pt idx="19003">
                  <c:v>123470</c:v>
                </c:pt>
                <c:pt idx="19004">
                  <c:v>123465</c:v>
                </c:pt>
                <c:pt idx="19005">
                  <c:v>123459</c:v>
                </c:pt>
                <c:pt idx="19006">
                  <c:v>123440</c:v>
                </c:pt>
                <c:pt idx="19007">
                  <c:v>123438</c:v>
                </c:pt>
                <c:pt idx="19008">
                  <c:v>123437</c:v>
                </c:pt>
                <c:pt idx="19009">
                  <c:v>123435</c:v>
                </c:pt>
                <c:pt idx="19010">
                  <c:v>123429</c:v>
                </c:pt>
                <c:pt idx="19011">
                  <c:v>123428</c:v>
                </c:pt>
                <c:pt idx="19012">
                  <c:v>123426</c:v>
                </c:pt>
                <c:pt idx="19013">
                  <c:v>123421</c:v>
                </c:pt>
                <c:pt idx="19014">
                  <c:v>123419</c:v>
                </c:pt>
                <c:pt idx="19015">
                  <c:v>123418</c:v>
                </c:pt>
                <c:pt idx="19016">
                  <c:v>123413</c:v>
                </c:pt>
                <c:pt idx="19017">
                  <c:v>123411</c:v>
                </c:pt>
                <c:pt idx="19018">
                  <c:v>123410</c:v>
                </c:pt>
                <c:pt idx="19019">
                  <c:v>123408</c:v>
                </c:pt>
                <c:pt idx="19020">
                  <c:v>123401</c:v>
                </c:pt>
                <c:pt idx="19021">
                  <c:v>123400</c:v>
                </c:pt>
                <c:pt idx="19022">
                  <c:v>123397</c:v>
                </c:pt>
                <c:pt idx="19023">
                  <c:v>123394</c:v>
                </c:pt>
                <c:pt idx="19024">
                  <c:v>123391</c:v>
                </c:pt>
                <c:pt idx="19025">
                  <c:v>123387</c:v>
                </c:pt>
                <c:pt idx="19026">
                  <c:v>123386</c:v>
                </c:pt>
                <c:pt idx="19027">
                  <c:v>123384</c:v>
                </c:pt>
                <c:pt idx="19028">
                  <c:v>123383</c:v>
                </c:pt>
                <c:pt idx="19029">
                  <c:v>123383</c:v>
                </c:pt>
                <c:pt idx="19030">
                  <c:v>123379</c:v>
                </c:pt>
                <c:pt idx="19031">
                  <c:v>123378</c:v>
                </c:pt>
                <c:pt idx="19032">
                  <c:v>123378</c:v>
                </c:pt>
                <c:pt idx="19033">
                  <c:v>123376</c:v>
                </c:pt>
                <c:pt idx="19034">
                  <c:v>123374</c:v>
                </c:pt>
                <c:pt idx="19035">
                  <c:v>123366</c:v>
                </c:pt>
                <c:pt idx="19036">
                  <c:v>123365</c:v>
                </c:pt>
                <c:pt idx="19037">
                  <c:v>123363</c:v>
                </c:pt>
                <c:pt idx="19038">
                  <c:v>123360</c:v>
                </c:pt>
                <c:pt idx="19039">
                  <c:v>123359</c:v>
                </c:pt>
                <c:pt idx="19040">
                  <c:v>123350</c:v>
                </c:pt>
                <c:pt idx="19041">
                  <c:v>123346</c:v>
                </c:pt>
                <c:pt idx="19042">
                  <c:v>123345</c:v>
                </c:pt>
                <c:pt idx="19043">
                  <c:v>123342</c:v>
                </c:pt>
                <c:pt idx="19044">
                  <c:v>123341</c:v>
                </c:pt>
                <c:pt idx="19045">
                  <c:v>123340</c:v>
                </c:pt>
                <c:pt idx="19046">
                  <c:v>123333</c:v>
                </c:pt>
                <c:pt idx="19047">
                  <c:v>123333</c:v>
                </c:pt>
                <c:pt idx="19048">
                  <c:v>123333</c:v>
                </c:pt>
                <c:pt idx="19049">
                  <c:v>123327</c:v>
                </c:pt>
                <c:pt idx="19050">
                  <c:v>123318</c:v>
                </c:pt>
                <c:pt idx="19051">
                  <c:v>123314</c:v>
                </c:pt>
                <c:pt idx="19052">
                  <c:v>123306</c:v>
                </c:pt>
                <c:pt idx="19053">
                  <c:v>123305</c:v>
                </c:pt>
                <c:pt idx="19054">
                  <c:v>123299</c:v>
                </c:pt>
                <c:pt idx="19055">
                  <c:v>123298</c:v>
                </c:pt>
                <c:pt idx="19056">
                  <c:v>123290</c:v>
                </c:pt>
                <c:pt idx="19057">
                  <c:v>123286</c:v>
                </c:pt>
                <c:pt idx="19058">
                  <c:v>123281</c:v>
                </c:pt>
                <c:pt idx="19059">
                  <c:v>123276</c:v>
                </c:pt>
                <c:pt idx="19060">
                  <c:v>123274</c:v>
                </c:pt>
                <c:pt idx="19061">
                  <c:v>123271</c:v>
                </c:pt>
                <c:pt idx="19062">
                  <c:v>123268</c:v>
                </c:pt>
                <c:pt idx="19063">
                  <c:v>123266</c:v>
                </c:pt>
                <c:pt idx="19064">
                  <c:v>123261</c:v>
                </c:pt>
                <c:pt idx="19065">
                  <c:v>123261</c:v>
                </c:pt>
                <c:pt idx="19066">
                  <c:v>123261</c:v>
                </c:pt>
                <c:pt idx="19067">
                  <c:v>123258</c:v>
                </c:pt>
                <c:pt idx="19068">
                  <c:v>123254</c:v>
                </c:pt>
                <c:pt idx="19069">
                  <c:v>123245</c:v>
                </c:pt>
                <c:pt idx="19070">
                  <c:v>123234</c:v>
                </c:pt>
                <c:pt idx="19071">
                  <c:v>123233</c:v>
                </c:pt>
                <c:pt idx="19072">
                  <c:v>123230</c:v>
                </c:pt>
                <c:pt idx="19073">
                  <c:v>123229</c:v>
                </c:pt>
                <c:pt idx="19074">
                  <c:v>123223</c:v>
                </c:pt>
                <c:pt idx="19075">
                  <c:v>123221</c:v>
                </c:pt>
                <c:pt idx="19076">
                  <c:v>123220</c:v>
                </c:pt>
                <c:pt idx="19077">
                  <c:v>123218</c:v>
                </c:pt>
                <c:pt idx="19078">
                  <c:v>123218</c:v>
                </c:pt>
                <c:pt idx="19079">
                  <c:v>123211</c:v>
                </c:pt>
                <c:pt idx="19080">
                  <c:v>123208</c:v>
                </c:pt>
                <c:pt idx="19081">
                  <c:v>123205</c:v>
                </c:pt>
                <c:pt idx="19082">
                  <c:v>123203</c:v>
                </c:pt>
                <c:pt idx="19083">
                  <c:v>123202</c:v>
                </c:pt>
                <c:pt idx="19084">
                  <c:v>123200</c:v>
                </c:pt>
                <c:pt idx="19085">
                  <c:v>123199</c:v>
                </c:pt>
                <c:pt idx="19086">
                  <c:v>123197</c:v>
                </c:pt>
                <c:pt idx="19087">
                  <c:v>123197</c:v>
                </c:pt>
                <c:pt idx="19088">
                  <c:v>123196</c:v>
                </c:pt>
                <c:pt idx="19089">
                  <c:v>123191</c:v>
                </c:pt>
                <c:pt idx="19090">
                  <c:v>123183</c:v>
                </c:pt>
                <c:pt idx="19091">
                  <c:v>123179</c:v>
                </c:pt>
                <c:pt idx="19092">
                  <c:v>123178</c:v>
                </c:pt>
                <c:pt idx="19093">
                  <c:v>123174</c:v>
                </c:pt>
                <c:pt idx="19094">
                  <c:v>123171</c:v>
                </c:pt>
                <c:pt idx="19095">
                  <c:v>123159</c:v>
                </c:pt>
                <c:pt idx="19096">
                  <c:v>123158</c:v>
                </c:pt>
                <c:pt idx="19097">
                  <c:v>123157</c:v>
                </c:pt>
                <c:pt idx="19098">
                  <c:v>123148</c:v>
                </c:pt>
                <c:pt idx="19099">
                  <c:v>123145</c:v>
                </c:pt>
                <c:pt idx="19100">
                  <c:v>123142</c:v>
                </c:pt>
                <c:pt idx="19101">
                  <c:v>123136</c:v>
                </c:pt>
                <c:pt idx="19102">
                  <c:v>123127</c:v>
                </c:pt>
                <c:pt idx="19103">
                  <c:v>123122</c:v>
                </c:pt>
                <c:pt idx="19104">
                  <c:v>123119</c:v>
                </c:pt>
                <c:pt idx="19105">
                  <c:v>123117</c:v>
                </c:pt>
                <c:pt idx="19106">
                  <c:v>123108</c:v>
                </c:pt>
                <c:pt idx="19107">
                  <c:v>123108</c:v>
                </c:pt>
                <c:pt idx="19108">
                  <c:v>123105</c:v>
                </c:pt>
                <c:pt idx="19109">
                  <c:v>123098</c:v>
                </c:pt>
                <c:pt idx="19110">
                  <c:v>123090</c:v>
                </c:pt>
                <c:pt idx="19111">
                  <c:v>123080</c:v>
                </c:pt>
                <c:pt idx="19112">
                  <c:v>123076</c:v>
                </c:pt>
                <c:pt idx="19113">
                  <c:v>123075</c:v>
                </c:pt>
                <c:pt idx="19114">
                  <c:v>123067</c:v>
                </c:pt>
                <c:pt idx="19115">
                  <c:v>123064</c:v>
                </c:pt>
                <c:pt idx="19116">
                  <c:v>123060</c:v>
                </c:pt>
                <c:pt idx="19117">
                  <c:v>123056</c:v>
                </c:pt>
                <c:pt idx="19118">
                  <c:v>123056</c:v>
                </c:pt>
                <c:pt idx="19119">
                  <c:v>123048</c:v>
                </c:pt>
                <c:pt idx="19120">
                  <c:v>123044</c:v>
                </c:pt>
                <c:pt idx="19121">
                  <c:v>123027</c:v>
                </c:pt>
                <c:pt idx="19122">
                  <c:v>123020</c:v>
                </c:pt>
                <c:pt idx="19123">
                  <c:v>123016</c:v>
                </c:pt>
                <c:pt idx="19124">
                  <c:v>123015</c:v>
                </c:pt>
                <c:pt idx="19125">
                  <c:v>123009</c:v>
                </c:pt>
                <c:pt idx="19126">
                  <c:v>123008</c:v>
                </c:pt>
                <c:pt idx="19127">
                  <c:v>123008</c:v>
                </c:pt>
                <c:pt idx="19128">
                  <c:v>123005</c:v>
                </c:pt>
                <c:pt idx="19129">
                  <c:v>123003</c:v>
                </c:pt>
                <c:pt idx="19130">
                  <c:v>123002</c:v>
                </c:pt>
                <c:pt idx="19131">
                  <c:v>123000</c:v>
                </c:pt>
                <c:pt idx="19132">
                  <c:v>122998</c:v>
                </c:pt>
                <c:pt idx="19133">
                  <c:v>122993</c:v>
                </c:pt>
                <c:pt idx="19134">
                  <c:v>122992</c:v>
                </c:pt>
                <c:pt idx="19135">
                  <c:v>122981</c:v>
                </c:pt>
                <c:pt idx="19136">
                  <c:v>122980</c:v>
                </c:pt>
                <c:pt idx="19137">
                  <c:v>122976</c:v>
                </c:pt>
                <c:pt idx="19138">
                  <c:v>122972</c:v>
                </c:pt>
                <c:pt idx="19139">
                  <c:v>122970</c:v>
                </c:pt>
                <c:pt idx="19140">
                  <c:v>122968</c:v>
                </c:pt>
                <c:pt idx="19141">
                  <c:v>122959</c:v>
                </c:pt>
                <c:pt idx="19142">
                  <c:v>122958</c:v>
                </c:pt>
                <c:pt idx="19143">
                  <c:v>122952</c:v>
                </c:pt>
                <c:pt idx="19144">
                  <c:v>122950</c:v>
                </c:pt>
                <c:pt idx="19145">
                  <c:v>122950</c:v>
                </c:pt>
                <c:pt idx="19146">
                  <c:v>122943</c:v>
                </c:pt>
                <c:pt idx="19147">
                  <c:v>122942</c:v>
                </c:pt>
                <c:pt idx="19148">
                  <c:v>122942</c:v>
                </c:pt>
                <c:pt idx="19149">
                  <c:v>122939</c:v>
                </c:pt>
                <c:pt idx="19150">
                  <c:v>122937</c:v>
                </c:pt>
                <c:pt idx="19151">
                  <c:v>122937</c:v>
                </c:pt>
                <c:pt idx="19152">
                  <c:v>122935</c:v>
                </c:pt>
                <c:pt idx="19153">
                  <c:v>122928</c:v>
                </c:pt>
                <c:pt idx="19154">
                  <c:v>122927</c:v>
                </c:pt>
                <c:pt idx="19155">
                  <c:v>122924</c:v>
                </c:pt>
                <c:pt idx="19156">
                  <c:v>122917</c:v>
                </c:pt>
                <c:pt idx="19157">
                  <c:v>122917</c:v>
                </c:pt>
                <c:pt idx="19158">
                  <c:v>122909</c:v>
                </c:pt>
                <c:pt idx="19159">
                  <c:v>122907</c:v>
                </c:pt>
                <c:pt idx="19160">
                  <c:v>122907</c:v>
                </c:pt>
                <c:pt idx="19161">
                  <c:v>122906</c:v>
                </c:pt>
                <c:pt idx="19162">
                  <c:v>122903</c:v>
                </c:pt>
                <c:pt idx="19163">
                  <c:v>122900</c:v>
                </c:pt>
                <c:pt idx="19164">
                  <c:v>122897</c:v>
                </c:pt>
                <c:pt idx="19165">
                  <c:v>122897</c:v>
                </c:pt>
                <c:pt idx="19166">
                  <c:v>122895</c:v>
                </c:pt>
                <c:pt idx="19167">
                  <c:v>122892</c:v>
                </c:pt>
                <c:pt idx="19168">
                  <c:v>122890</c:v>
                </c:pt>
                <c:pt idx="19169">
                  <c:v>122886</c:v>
                </c:pt>
                <c:pt idx="19170">
                  <c:v>122885</c:v>
                </c:pt>
                <c:pt idx="19171">
                  <c:v>122883</c:v>
                </c:pt>
                <c:pt idx="19172">
                  <c:v>122882</c:v>
                </c:pt>
                <c:pt idx="19173">
                  <c:v>122881</c:v>
                </c:pt>
                <c:pt idx="19174">
                  <c:v>122867</c:v>
                </c:pt>
                <c:pt idx="19175">
                  <c:v>122866</c:v>
                </c:pt>
                <c:pt idx="19176">
                  <c:v>122857</c:v>
                </c:pt>
                <c:pt idx="19177">
                  <c:v>122853</c:v>
                </c:pt>
                <c:pt idx="19178">
                  <c:v>122850</c:v>
                </c:pt>
                <c:pt idx="19179">
                  <c:v>122850</c:v>
                </c:pt>
                <c:pt idx="19180">
                  <c:v>122848</c:v>
                </c:pt>
                <c:pt idx="19181">
                  <c:v>122848</c:v>
                </c:pt>
                <c:pt idx="19182">
                  <c:v>122848</c:v>
                </c:pt>
                <c:pt idx="19183">
                  <c:v>122846</c:v>
                </c:pt>
                <c:pt idx="19184">
                  <c:v>122846</c:v>
                </c:pt>
                <c:pt idx="19185">
                  <c:v>122845</c:v>
                </c:pt>
                <c:pt idx="19186">
                  <c:v>122842</c:v>
                </c:pt>
                <c:pt idx="19187">
                  <c:v>122833</c:v>
                </c:pt>
                <c:pt idx="19188">
                  <c:v>122831</c:v>
                </c:pt>
                <c:pt idx="19189">
                  <c:v>122819</c:v>
                </c:pt>
                <c:pt idx="19190">
                  <c:v>122817</c:v>
                </c:pt>
                <c:pt idx="19191">
                  <c:v>122816</c:v>
                </c:pt>
                <c:pt idx="19192">
                  <c:v>122814</c:v>
                </c:pt>
                <c:pt idx="19193">
                  <c:v>122802</c:v>
                </c:pt>
                <c:pt idx="19194">
                  <c:v>122790</c:v>
                </c:pt>
                <c:pt idx="19195">
                  <c:v>122788</c:v>
                </c:pt>
                <c:pt idx="19196">
                  <c:v>122786</c:v>
                </c:pt>
                <c:pt idx="19197">
                  <c:v>122786</c:v>
                </c:pt>
                <c:pt idx="19198">
                  <c:v>122776</c:v>
                </c:pt>
                <c:pt idx="19199">
                  <c:v>122773</c:v>
                </c:pt>
                <c:pt idx="19200">
                  <c:v>122768</c:v>
                </c:pt>
                <c:pt idx="19201">
                  <c:v>122759</c:v>
                </c:pt>
                <c:pt idx="19202">
                  <c:v>122754</c:v>
                </c:pt>
                <c:pt idx="19203">
                  <c:v>122753</c:v>
                </c:pt>
                <c:pt idx="19204">
                  <c:v>122752</c:v>
                </c:pt>
                <c:pt idx="19205">
                  <c:v>122750</c:v>
                </c:pt>
                <c:pt idx="19206">
                  <c:v>122745</c:v>
                </c:pt>
                <c:pt idx="19207">
                  <c:v>122741</c:v>
                </c:pt>
                <c:pt idx="19208">
                  <c:v>122737</c:v>
                </c:pt>
                <c:pt idx="19209">
                  <c:v>122734</c:v>
                </c:pt>
                <c:pt idx="19210">
                  <c:v>122732</c:v>
                </c:pt>
                <c:pt idx="19211">
                  <c:v>122729</c:v>
                </c:pt>
                <c:pt idx="19212">
                  <c:v>122726</c:v>
                </c:pt>
                <c:pt idx="19213">
                  <c:v>122725</c:v>
                </c:pt>
                <c:pt idx="19214">
                  <c:v>122724</c:v>
                </c:pt>
                <c:pt idx="19215">
                  <c:v>122715</c:v>
                </c:pt>
                <c:pt idx="19216">
                  <c:v>122712</c:v>
                </c:pt>
                <c:pt idx="19217">
                  <c:v>122710</c:v>
                </c:pt>
                <c:pt idx="19218">
                  <c:v>122705</c:v>
                </c:pt>
                <c:pt idx="19219">
                  <c:v>122701</c:v>
                </c:pt>
                <c:pt idx="19220">
                  <c:v>122701</c:v>
                </c:pt>
                <c:pt idx="19221">
                  <c:v>122701</c:v>
                </c:pt>
                <c:pt idx="19222">
                  <c:v>122701</c:v>
                </c:pt>
                <c:pt idx="19223">
                  <c:v>122700</c:v>
                </c:pt>
                <c:pt idx="19224">
                  <c:v>122700</c:v>
                </c:pt>
                <c:pt idx="19225">
                  <c:v>122697</c:v>
                </c:pt>
                <c:pt idx="19226">
                  <c:v>122693</c:v>
                </c:pt>
                <c:pt idx="19227">
                  <c:v>122690</c:v>
                </c:pt>
                <c:pt idx="19228">
                  <c:v>122688</c:v>
                </c:pt>
                <c:pt idx="19229">
                  <c:v>122688</c:v>
                </c:pt>
                <c:pt idx="19230">
                  <c:v>122687</c:v>
                </c:pt>
                <c:pt idx="19231">
                  <c:v>122683</c:v>
                </c:pt>
                <c:pt idx="19232">
                  <c:v>122682</c:v>
                </c:pt>
                <c:pt idx="19233">
                  <c:v>122681</c:v>
                </c:pt>
                <c:pt idx="19234">
                  <c:v>122681</c:v>
                </c:pt>
                <c:pt idx="19235">
                  <c:v>122680</c:v>
                </c:pt>
                <c:pt idx="19236">
                  <c:v>122680</c:v>
                </c:pt>
                <c:pt idx="19237">
                  <c:v>122676</c:v>
                </c:pt>
                <c:pt idx="19238">
                  <c:v>122674</c:v>
                </c:pt>
                <c:pt idx="19239">
                  <c:v>122668</c:v>
                </c:pt>
                <c:pt idx="19240">
                  <c:v>122659</c:v>
                </c:pt>
                <c:pt idx="19241">
                  <c:v>122650</c:v>
                </c:pt>
                <c:pt idx="19242">
                  <c:v>122648</c:v>
                </c:pt>
                <c:pt idx="19243">
                  <c:v>122646</c:v>
                </c:pt>
                <c:pt idx="19244">
                  <c:v>122639</c:v>
                </c:pt>
                <c:pt idx="19245">
                  <c:v>122622</c:v>
                </c:pt>
                <c:pt idx="19246">
                  <c:v>122621</c:v>
                </c:pt>
                <c:pt idx="19247">
                  <c:v>122615</c:v>
                </c:pt>
                <c:pt idx="19248">
                  <c:v>122603</c:v>
                </c:pt>
                <c:pt idx="19249">
                  <c:v>122597</c:v>
                </c:pt>
                <c:pt idx="19250">
                  <c:v>122595</c:v>
                </c:pt>
                <c:pt idx="19251">
                  <c:v>122586</c:v>
                </c:pt>
                <c:pt idx="19252">
                  <c:v>122575</c:v>
                </c:pt>
                <c:pt idx="19253">
                  <c:v>122575</c:v>
                </c:pt>
                <c:pt idx="19254">
                  <c:v>122572</c:v>
                </c:pt>
                <c:pt idx="19255">
                  <c:v>122571</c:v>
                </c:pt>
                <c:pt idx="19256">
                  <c:v>122571</c:v>
                </c:pt>
                <c:pt idx="19257">
                  <c:v>122569</c:v>
                </c:pt>
                <c:pt idx="19258">
                  <c:v>122567</c:v>
                </c:pt>
                <c:pt idx="19259">
                  <c:v>122565</c:v>
                </c:pt>
                <c:pt idx="19260">
                  <c:v>122556</c:v>
                </c:pt>
                <c:pt idx="19261">
                  <c:v>122554</c:v>
                </c:pt>
                <c:pt idx="19262">
                  <c:v>122554</c:v>
                </c:pt>
                <c:pt idx="19263">
                  <c:v>122554</c:v>
                </c:pt>
                <c:pt idx="19264">
                  <c:v>122553</c:v>
                </c:pt>
                <c:pt idx="19265">
                  <c:v>122537</c:v>
                </c:pt>
                <c:pt idx="19266">
                  <c:v>122520</c:v>
                </c:pt>
                <c:pt idx="19267">
                  <c:v>122519</c:v>
                </c:pt>
                <c:pt idx="19268">
                  <c:v>122519</c:v>
                </c:pt>
                <c:pt idx="19269">
                  <c:v>122516</c:v>
                </c:pt>
                <c:pt idx="19270">
                  <c:v>122512</c:v>
                </c:pt>
                <c:pt idx="19271">
                  <c:v>122512</c:v>
                </c:pt>
                <c:pt idx="19272">
                  <c:v>122510</c:v>
                </c:pt>
                <c:pt idx="19273">
                  <c:v>122505</c:v>
                </c:pt>
                <c:pt idx="19274">
                  <c:v>122502</c:v>
                </c:pt>
                <c:pt idx="19275">
                  <c:v>122501</c:v>
                </c:pt>
                <c:pt idx="19276">
                  <c:v>122501</c:v>
                </c:pt>
                <c:pt idx="19277">
                  <c:v>122500</c:v>
                </c:pt>
                <c:pt idx="19278">
                  <c:v>122496</c:v>
                </c:pt>
                <c:pt idx="19279">
                  <c:v>122495</c:v>
                </c:pt>
                <c:pt idx="19280">
                  <c:v>122484</c:v>
                </c:pt>
                <c:pt idx="19281">
                  <c:v>122482</c:v>
                </c:pt>
                <c:pt idx="19282">
                  <c:v>122474</c:v>
                </c:pt>
                <c:pt idx="19283">
                  <c:v>122469</c:v>
                </c:pt>
                <c:pt idx="19284">
                  <c:v>122468</c:v>
                </c:pt>
                <c:pt idx="19285">
                  <c:v>122465</c:v>
                </c:pt>
                <c:pt idx="19286">
                  <c:v>122460</c:v>
                </c:pt>
                <c:pt idx="19287">
                  <c:v>122451</c:v>
                </c:pt>
                <c:pt idx="19288">
                  <c:v>122447</c:v>
                </c:pt>
                <c:pt idx="19289">
                  <c:v>122446</c:v>
                </c:pt>
                <c:pt idx="19290">
                  <c:v>122445</c:v>
                </c:pt>
                <c:pt idx="19291">
                  <c:v>122444</c:v>
                </c:pt>
                <c:pt idx="19292">
                  <c:v>122441</c:v>
                </c:pt>
                <c:pt idx="19293">
                  <c:v>122436</c:v>
                </c:pt>
                <c:pt idx="19294">
                  <c:v>122432</c:v>
                </c:pt>
                <c:pt idx="19295">
                  <c:v>122431</c:v>
                </c:pt>
                <c:pt idx="19296">
                  <c:v>122430</c:v>
                </c:pt>
                <c:pt idx="19297">
                  <c:v>122429</c:v>
                </c:pt>
                <c:pt idx="19298">
                  <c:v>122427</c:v>
                </c:pt>
                <c:pt idx="19299">
                  <c:v>122417</c:v>
                </c:pt>
                <c:pt idx="19300">
                  <c:v>122414</c:v>
                </c:pt>
                <c:pt idx="19301">
                  <c:v>122407</c:v>
                </c:pt>
                <c:pt idx="19302">
                  <c:v>122406</c:v>
                </c:pt>
                <c:pt idx="19303">
                  <c:v>122402</c:v>
                </c:pt>
                <c:pt idx="19304">
                  <c:v>122399</c:v>
                </c:pt>
                <c:pt idx="19305">
                  <c:v>122393</c:v>
                </c:pt>
                <c:pt idx="19306">
                  <c:v>122390</c:v>
                </c:pt>
                <c:pt idx="19307">
                  <c:v>122389</c:v>
                </c:pt>
                <c:pt idx="19308">
                  <c:v>122388</c:v>
                </c:pt>
                <c:pt idx="19309">
                  <c:v>122386</c:v>
                </c:pt>
                <c:pt idx="19310">
                  <c:v>122385</c:v>
                </c:pt>
                <c:pt idx="19311">
                  <c:v>122382</c:v>
                </c:pt>
                <c:pt idx="19312">
                  <c:v>122382</c:v>
                </c:pt>
                <c:pt idx="19313">
                  <c:v>122377</c:v>
                </c:pt>
                <c:pt idx="19314">
                  <c:v>122373</c:v>
                </c:pt>
                <c:pt idx="19315">
                  <c:v>122371</c:v>
                </c:pt>
                <c:pt idx="19316">
                  <c:v>122370</c:v>
                </c:pt>
                <c:pt idx="19317">
                  <c:v>122369</c:v>
                </c:pt>
                <c:pt idx="19318">
                  <c:v>122367</c:v>
                </c:pt>
                <c:pt idx="19319">
                  <c:v>122366</c:v>
                </c:pt>
                <c:pt idx="19320">
                  <c:v>122354</c:v>
                </c:pt>
                <c:pt idx="19321">
                  <c:v>122350</c:v>
                </c:pt>
                <c:pt idx="19322">
                  <c:v>122345</c:v>
                </c:pt>
                <c:pt idx="19323">
                  <c:v>122337</c:v>
                </c:pt>
                <c:pt idx="19324">
                  <c:v>122334</c:v>
                </c:pt>
                <c:pt idx="19325">
                  <c:v>122334</c:v>
                </c:pt>
                <c:pt idx="19326">
                  <c:v>122327</c:v>
                </c:pt>
                <c:pt idx="19327">
                  <c:v>122317</c:v>
                </c:pt>
                <c:pt idx="19328">
                  <c:v>122317</c:v>
                </c:pt>
                <c:pt idx="19329">
                  <c:v>122317</c:v>
                </c:pt>
                <c:pt idx="19330">
                  <c:v>122314</c:v>
                </c:pt>
                <c:pt idx="19331">
                  <c:v>122314</c:v>
                </c:pt>
                <c:pt idx="19332">
                  <c:v>122311</c:v>
                </c:pt>
                <c:pt idx="19333">
                  <c:v>122309</c:v>
                </c:pt>
                <c:pt idx="19334">
                  <c:v>122308</c:v>
                </c:pt>
                <c:pt idx="19335">
                  <c:v>122301</c:v>
                </c:pt>
                <c:pt idx="19336">
                  <c:v>122297</c:v>
                </c:pt>
                <c:pt idx="19337">
                  <c:v>122296</c:v>
                </c:pt>
                <c:pt idx="19338">
                  <c:v>122288</c:v>
                </c:pt>
                <c:pt idx="19339">
                  <c:v>122285</c:v>
                </c:pt>
                <c:pt idx="19340">
                  <c:v>122280</c:v>
                </c:pt>
                <c:pt idx="19341">
                  <c:v>122280</c:v>
                </c:pt>
                <c:pt idx="19342">
                  <c:v>122254</c:v>
                </c:pt>
                <c:pt idx="19343">
                  <c:v>122254</c:v>
                </c:pt>
                <c:pt idx="19344">
                  <c:v>122254</c:v>
                </c:pt>
                <c:pt idx="19345">
                  <c:v>122250</c:v>
                </c:pt>
                <c:pt idx="19346">
                  <c:v>122245</c:v>
                </c:pt>
                <c:pt idx="19347">
                  <c:v>122245</c:v>
                </c:pt>
                <c:pt idx="19348">
                  <c:v>122238</c:v>
                </c:pt>
                <c:pt idx="19349">
                  <c:v>122238</c:v>
                </c:pt>
                <c:pt idx="19350">
                  <c:v>122237</c:v>
                </c:pt>
                <c:pt idx="19351">
                  <c:v>122231</c:v>
                </c:pt>
                <c:pt idx="19352">
                  <c:v>122230</c:v>
                </c:pt>
                <c:pt idx="19353">
                  <c:v>122228</c:v>
                </c:pt>
                <c:pt idx="19354">
                  <c:v>122217</c:v>
                </c:pt>
                <c:pt idx="19355">
                  <c:v>122214</c:v>
                </c:pt>
                <c:pt idx="19356">
                  <c:v>122206</c:v>
                </c:pt>
                <c:pt idx="19357">
                  <c:v>122205</c:v>
                </c:pt>
                <c:pt idx="19358">
                  <c:v>122189</c:v>
                </c:pt>
                <c:pt idx="19359">
                  <c:v>122187</c:v>
                </c:pt>
                <c:pt idx="19360">
                  <c:v>122183</c:v>
                </c:pt>
                <c:pt idx="19361">
                  <c:v>122175</c:v>
                </c:pt>
                <c:pt idx="19362">
                  <c:v>122174</c:v>
                </c:pt>
                <c:pt idx="19363">
                  <c:v>122170</c:v>
                </c:pt>
                <c:pt idx="19364">
                  <c:v>122158</c:v>
                </c:pt>
                <c:pt idx="19365">
                  <c:v>122155</c:v>
                </c:pt>
                <c:pt idx="19366">
                  <c:v>122149</c:v>
                </c:pt>
                <c:pt idx="19367">
                  <c:v>122141</c:v>
                </c:pt>
                <c:pt idx="19368">
                  <c:v>122139</c:v>
                </c:pt>
                <c:pt idx="19369">
                  <c:v>122137</c:v>
                </c:pt>
                <c:pt idx="19370">
                  <c:v>122131</c:v>
                </c:pt>
                <c:pt idx="19371">
                  <c:v>122131</c:v>
                </c:pt>
                <c:pt idx="19372">
                  <c:v>122125</c:v>
                </c:pt>
                <c:pt idx="19373">
                  <c:v>122119</c:v>
                </c:pt>
                <c:pt idx="19374">
                  <c:v>122119</c:v>
                </c:pt>
                <c:pt idx="19375">
                  <c:v>122115</c:v>
                </c:pt>
                <c:pt idx="19376">
                  <c:v>122111</c:v>
                </c:pt>
                <c:pt idx="19377">
                  <c:v>122111</c:v>
                </c:pt>
                <c:pt idx="19378">
                  <c:v>122109</c:v>
                </c:pt>
                <c:pt idx="19379">
                  <c:v>122109</c:v>
                </c:pt>
                <c:pt idx="19380">
                  <c:v>122105</c:v>
                </c:pt>
                <c:pt idx="19381">
                  <c:v>122101</c:v>
                </c:pt>
                <c:pt idx="19382">
                  <c:v>122099</c:v>
                </c:pt>
                <c:pt idx="19383">
                  <c:v>122095</c:v>
                </c:pt>
                <c:pt idx="19384">
                  <c:v>122092</c:v>
                </c:pt>
                <c:pt idx="19385">
                  <c:v>122083</c:v>
                </c:pt>
                <c:pt idx="19386">
                  <c:v>122079</c:v>
                </c:pt>
                <c:pt idx="19387">
                  <c:v>122079</c:v>
                </c:pt>
                <c:pt idx="19388">
                  <c:v>122078</c:v>
                </c:pt>
                <c:pt idx="19389">
                  <c:v>122077</c:v>
                </c:pt>
                <c:pt idx="19390">
                  <c:v>122077</c:v>
                </c:pt>
                <c:pt idx="19391">
                  <c:v>122073</c:v>
                </c:pt>
                <c:pt idx="19392">
                  <c:v>122073</c:v>
                </c:pt>
                <c:pt idx="19393">
                  <c:v>122069</c:v>
                </c:pt>
                <c:pt idx="19394">
                  <c:v>122067</c:v>
                </c:pt>
                <c:pt idx="19395">
                  <c:v>122059</c:v>
                </c:pt>
                <c:pt idx="19396">
                  <c:v>122050</c:v>
                </c:pt>
                <c:pt idx="19397">
                  <c:v>122049</c:v>
                </c:pt>
                <c:pt idx="19398">
                  <c:v>122049</c:v>
                </c:pt>
                <c:pt idx="19399">
                  <c:v>122046</c:v>
                </c:pt>
                <c:pt idx="19400">
                  <c:v>122045</c:v>
                </c:pt>
                <c:pt idx="19401">
                  <c:v>122044</c:v>
                </c:pt>
                <c:pt idx="19402">
                  <c:v>122044</c:v>
                </c:pt>
                <c:pt idx="19403">
                  <c:v>122043</c:v>
                </c:pt>
                <c:pt idx="19404">
                  <c:v>122042</c:v>
                </c:pt>
                <c:pt idx="19405">
                  <c:v>122036</c:v>
                </c:pt>
                <c:pt idx="19406">
                  <c:v>122019</c:v>
                </c:pt>
                <c:pt idx="19407">
                  <c:v>122012</c:v>
                </c:pt>
                <c:pt idx="19408">
                  <c:v>122005</c:v>
                </c:pt>
                <c:pt idx="19409">
                  <c:v>122004</c:v>
                </c:pt>
                <c:pt idx="19410">
                  <c:v>122004</c:v>
                </c:pt>
                <c:pt idx="19411">
                  <c:v>122002</c:v>
                </c:pt>
                <c:pt idx="19412">
                  <c:v>121998</c:v>
                </c:pt>
                <c:pt idx="19413">
                  <c:v>121985</c:v>
                </c:pt>
                <c:pt idx="19414">
                  <c:v>121985</c:v>
                </c:pt>
                <c:pt idx="19415">
                  <c:v>121979</c:v>
                </c:pt>
                <c:pt idx="19416">
                  <c:v>121978</c:v>
                </c:pt>
                <c:pt idx="19417">
                  <c:v>121975</c:v>
                </c:pt>
                <c:pt idx="19418">
                  <c:v>121975</c:v>
                </c:pt>
                <c:pt idx="19419">
                  <c:v>121970</c:v>
                </c:pt>
                <c:pt idx="19420">
                  <c:v>121969</c:v>
                </c:pt>
                <c:pt idx="19421">
                  <c:v>121964</c:v>
                </c:pt>
                <c:pt idx="19422">
                  <c:v>121964</c:v>
                </c:pt>
                <c:pt idx="19423">
                  <c:v>121958</c:v>
                </c:pt>
                <c:pt idx="19424">
                  <c:v>121958</c:v>
                </c:pt>
                <c:pt idx="19425">
                  <c:v>121956</c:v>
                </c:pt>
                <c:pt idx="19426">
                  <c:v>121948</c:v>
                </c:pt>
                <c:pt idx="19427">
                  <c:v>121941</c:v>
                </c:pt>
                <c:pt idx="19428">
                  <c:v>121937</c:v>
                </c:pt>
                <c:pt idx="19429">
                  <c:v>121930</c:v>
                </c:pt>
                <c:pt idx="19430">
                  <c:v>121926</c:v>
                </c:pt>
                <c:pt idx="19431">
                  <c:v>121924</c:v>
                </c:pt>
                <c:pt idx="19432">
                  <c:v>121924</c:v>
                </c:pt>
                <c:pt idx="19433">
                  <c:v>121919</c:v>
                </c:pt>
                <c:pt idx="19434">
                  <c:v>121917</c:v>
                </c:pt>
                <c:pt idx="19435">
                  <c:v>121910</c:v>
                </c:pt>
                <c:pt idx="19436">
                  <c:v>121908</c:v>
                </c:pt>
                <c:pt idx="19437">
                  <c:v>121907</c:v>
                </c:pt>
                <c:pt idx="19438">
                  <c:v>121905</c:v>
                </c:pt>
                <c:pt idx="19439">
                  <c:v>121904</c:v>
                </c:pt>
                <c:pt idx="19440">
                  <c:v>121895</c:v>
                </c:pt>
                <c:pt idx="19441">
                  <c:v>121892</c:v>
                </c:pt>
                <c:pt idx="19442">
                  <c:v>121888</c:v>
                </c:pt>
                <c:pt idx="19443">
                  <c:v>121885</c:v>
                </c:pt>
                <c:pt idx="19444">
                  <c:v>121884</c:v>
                </c:pt>
                <c:pt idx="19445">
                  <c:v>121878</c:v>
                </c:pt>
                <c:pt idx="19446">
                  <c:v>121876</c:v>
                </c:pt>
                <c:pt idx="19447">
                  <c:v>121874</c:v>
                </c:pt>
                <c:pt idx="19448">
                  <c:v>121874</c:v>
                </c:pt>
                <c:pt idx="19449">
                  <c:v>121874</c:v>
                </c:pt>
                <c:pt idx="19450">
                  <c:v>121868</c:v>
                </c:pt>
                <c:pt idx="19451">
                  <c:v>121868</c:v>
                </c:pt>
                <c:pt idx="19452">
                  <c:v>121860</c:v>
                </c:pt>
                <c:pt idx="19453">
                  <c:v>121859</c:v>
                </c:pt>
                <c:pt idx="19454">
                  <c:v>121858</c:v>
                </c:pt>
                <c:pt idx="19455">
                  <c:v>121852</c:v>
                </c:pt>
                <c:pt idx="19456">
                  <c:v>121851</c:v>
                </c:pt>
                <c:pt idx="19457">
                  <c:v>121846</c:v>
                </c:pt>
                <c:pt idx="19458">
                  <c:v>121840</c:v>
                </c:pt>
                <c:pt idx="19459">
                  <c:v>121837</c:v>
                </c:pt>
                <c:pt idx="19460">
                  <c:v>121835</c:v>
                </c:pt>
                <c:pt idx="19461">
                  <c:v>121834</c:v>
                </c:pt>
                <c:pt idx="19462">
                  <c:v>121833</c:v>
                </c:pt>
                <c:pt idx="19463">
                  <c:v>121833</c:v>
                </c:pt>
                <c:pt idx="19464">
                  <c:v>121831</c:v>
                </c:pt>
                <c:pt idx="19465">
                  <c:v>121831</c:v>
                </c:pt>
                <c:pt idx="19466">
                  <c:v>121829</c:v>
                </c:pt>
                <c:pt idx="19467">
                  <c:v>121819</c:v>
                </c:pt>
                <c:pt idx="19468">
                  <c:v>121816</c:v>
                </c:pt>
                <c:pt idx="19469">
                  <c:v>121808</c:v>
                </c:pt>
                <c:pt idx="19470">
                  <c:v>121806</c:v>
                </c:pt>
                <c:pt idx="19471">
                  <c:v>121804</c:v>
                </c:pt>
                <c:pt idx="19472">
                  <c:v>121800</c:v>
                </c:pt>
                <c:pt idx="19473">
                  <c:v>121797</c:v>
                </c:pt>
                <c:pt idx="19474">
                  <c:v>121794</c:v>
                </c:pt>
                <c:pt idx="19475">
                  <c:v>121793</c:v>
                </c:pt>
                <c:pt idx="19476">
                  <c:v>121774</c:v>
                </c:pt>
                <c:pt idx="19477">
                  <c:v>121773</c:v>
                </c:pt>
                <c:pt idx="19478">
                  <c:v>121766</c:v>
                </c:pt>
                <c:pt idx="19479">
                  <c:v>121765</c:v>
                </c:pt>
                <c:pt idx="19480">
                  <c:v>121765</c:v>
                </c:pt>
                <c:pt idx="19481">
                  <c:v>121763</c:v>
                </c:pt>
                <c:pt idx="19482">
                  <c:v>121746</c:v>
                </c:pt>
                <c:pt idx="19483">
                  <c:v>121742</c:v>
                </c:pt>
                <c:pt idx="19484">
                  <c:v>121737</c:v>
                </c:pt>
                <c:pt idx="19485">
                  <c:v>121736</c:v>
                </c:pt>
                <c:pt idx="19486">
                  <c:v>121732</c:v>
                </c:pt>
                <c:pt idx="19487">
                  <c:v>121730</c:v>
                </c:pt>
                <c:pt idx="19488">
                  <c:v>121727</c:v>
                </c:pt>
                <c:pt idx="19489">
                  <c:v>121725</c:v>
                </c:pt>
                <c:pt idx="19490">
                  <c:v>121719</c:v>
                </c:pt>
                <c:pt idx="19491">
                  <c:v>121718</c:v>
                </c:pt>
                <c:pt idx="19492">
                  <c:v>121717</c:v>
                </c:pt>
                <c:pt idx="19493">
                  <c:v>121714</c:v>
                </c:pt>
                <c:pt idx="19494">
                  <c:v>121714</c:v>
                </c:pt>
                <c:pt idx="19495">
                  <c:v>121707</c:v>
                </c:pt>
                <c:pt idx="19496">
                  <c:v>121699</c:v>
                </c:pt>
                <c:pt idx="19497">
                  <c:v>121698</c:v>
                </c:pt>
                <c:pt idx="19498">
                  <c:v>121691</c:v>
                </c:pt>
                <c:pt idx="19499">
                  <c:v>121686</c:v>
                </c:pt>
                <c:pt idx="19500">
                  <c:v>121685</c:v>
                </c:pt>
                <c:pt idx="19501">
                  <c:v>121683</c:v>
                </c:pt>
                <c:pt idx="19502">
                  <c:v>121682</c:v>
                </c:pt>
                <c:pt idx="19503">
                  <c:v>121679</c:v>
                </c:pt>
                <c:pt idx="19504">
                  <c:v>121674</c:v>
                </c:pt>
                <c:pt idx="19505">
                  <c:v>121669</c:v>
                </c:pt>
                <c:pt idx="19506">
                  <c:v>121667</c:v>
                </c:pt>
                <c:pt idx="19507">
                  <c:v>121661</c:v>
                </c:pt>
                <c:pt idx="19508">
                  <c:v>121659</c:v>
                </c:pt>
                <c:pt idx="19509">
                  <c:v>121658</c:v>
                </c:pt>
                <c:pt idx="19510">
                  <c:v>121656</c:v>
                </c:pt>
                <c:pt idx="19511">
                  <c:v>121654</c:v>
                </c:pt>
                <c:pt idx="19512">
                  <c:v>121653</c:v>
                </c:pt>
                <c:pt idx="19513">
                  <c:v>121650</c:v>
                </c:pt>
                <c:pt idx="19514">
                  <c:v>121650</c:v>
                </c:pt>
                <c:pt idx="19515">
                  <c:v>121648</c:v>
                </c:pt>
                <c:pt idx="19516">
                  <c:v>121647</c:v>
                </c:pt>
                <c:pt idx="19517">
                  <c:v>121644</c:v>
                </c:pt>
                <c:pt idx="19518">
                  <c:v>121632</c:v>
                </c:pt>
                <c:pt idx="19519">
                  <c:v>121626</c:v>
                </c:pt>
                <c:pt idx="19520">
                  <c:v>121626</c:v>
                </c:pt>
                <c:pt idx="19521">
                  <c:v>121626</c:v>
                </c:pt>
                <c:pt idx="19522">
                  <c:v>121619</c:v>
                </c:pt>
                <c:pt idx="19523">
                  <c:v>121619</c:v>
                </c:pt>
                <c:pt idx="19524">
                  <c:v>121616</c:v>
                </c:pt>
                <c:pt idx="19525">
                  <c:v>121614</c:v>
                </c:pt>
                <c:pt idx="19526">
                  <c:v>121611</c:v>
                </c:pt>
                <c:pt idx="19527">
                  <c:v>121608</c:v>
                </c:pt>
                <c:pt idx="19528">
                  <c:v>121608</c:v>
                </c:pt>
                <c:pt idx="19529">
                  <c:v>121607</c:v>
                </c:pt>
                <c:pt idx="19530">
                  <c:v>121605</c:v>
                </c:pt>
                <c:pt idx="19531">
                  <c:v>121602</c:v>
                </c:pt>
                <c:pt idx="19532">
                  <c:v>121598</c:v>
                </c:pt>
                <c:pt idx="19533">
                  <c:v>121595</c:v>
                </c:pt>
                <c:pt idx="19534">
                  <c:v>121595</c:v>
                </c:pt>
                <c:pt idx="19535">
                  <c:v>121588</c:v>
                </c:pt>
                <c:pt idx="19536">
                  <c:v>121587</c:v>
                </c:pt>
                <c:pt idx="19537">
                  <c:v>121581</c:v>
                </c:pt>
                <c:pt idx="19538">
                  <c:v>121576</c:v>
                </c:pt>
                <c:pt idx="19539">
                  <c:v>121573</c:v>
                </c:pt>
                <c:pt idx="19540">
                  <c:v>121568</c:v>
                </c:pt>
                <c:pt idx="19541">
                  <c:v>121564</c:v>
                </c:pt>
                <c:pt idx="19542">
                  <c:v>121562</c:v>
                </c:pt>
                <c:pt idx="19543">
                  <c:v>121553</c:v>
                </c:pt>
                <c:pt idx="19544">
                  <c:v>121549</c:v>
                </c:pt>
                <c:pt idx="19545">
                  <c:v>121544</c:v>
                </c:pt>
                <c:pt idx="19546">
                  <c:v>121544</c:v>
                </c:pt>
                <c:pt idx="19547">
                  <c:v>121539</c:v>
                </c:pt>
                <c:pt idx="19548">
                  <c:v>121535</c:v>
                </c:pt>
                <c:pt idx="19549">
                  <c:v>121534</c:v>
                </c:pt>
                <c:pt idx="19550">
                  <c:v>121531</c:v>
                </c:pt>
                <c:pt idx="19551">
                  <c:v>121527</c:v>
                </c:pt>
                <c:pt idx="19552">
                  <c:v>121521</c:v>
                </c:pt>
                <c:pt idx="19553">
                  <c:v>121508</c:v>
                </c:pt>
                <c:pt idx="19554">
                  <c:v>121505</c:v>
                </c:pt>
                <c:pt idx="19555">
                  <c:v>121501</c:v>
                </c:pt>
                <c:pt idx="19556">
                  <c:v>121499</c:v>
                </c:pt>
                <c:pt idx="19557">
                  <c:v>121494</c:v>
                </c:pt>
                <c:pt idx="19558">
                  <c:v>121492</c:v>
                </c:pt>
                <c:pt idx="19559">
                  <c:v>121492</c:v>
                </c:pt>
                <c:pt idx="19560">
                  <c:v>121487</c:v>
                </c:pt>
                <c:pt idx="19561">
                  <c:v>121478</c:v>
                </c:pt>
                <c:pt idx="19562">
                  <c:v>121477</c:v>
                </c:pt>
                <c:pt idx="19563">
                  <c:v>121467</c:v>
                </c:pt>
                <c:pt idx="19564">
                  <c:v>121466</c:v>
                </c:pt>
                <c:pt idx="19565">
                  <c:v>121461</c:v>
                </c:pt>
                <c:pt idx="19566">
                  <c:v>121461</c:v>
                </c:pt>
                <c:pt idx="19567">
                  <c:v>121461</c:v>
                </c:pt>
                <c:pt idx="19568">
                  <c:v>121458</c:v>
                </c:pt>
                <c:pt idx="19569">
                  <c:v>121453</c:v>
                </c:pt>
                <c:pt idx="19570">
                  <c:v>121452</c:v>
                </c:pt>
                <c:pt idx="19571">
                  <c:v>121444</c:v>
                </c:pt>
                <c:pt idx="19572">
                  <c:v>121443</c:v>
                </c:pt>
                <c:pt idx="19573">
                  <c:v>121439</c:v>
                </c:pt>
                <c:pt idx="19574">
                  <c:v>121437</c:v>
                </c:pt>
                <c:pt idx="19575">
                  <c:v>121436</c:v>
                </c:pt>
                <c:pt idx="19576">
                  <c:v>121435</c:v>
                </c:pt>
                <c:pt idx="19577">
                  <c:v>121434</c:v>
                </c:pt>
                <c:pt idx="19578">
                  <c:v>121430</c:v>
                </c:pt>
                <c:pt idx="19579">
                  <c:v>121430</c:v>
                </c:pt>
                <c:pt idx="19580">
                  <c:v>121427</c:v>
                </c:pt>
                <c:pt idx="19581">
                  <c:v>121423</c:v>
                </c:pt>
                <c:pt idx="19582">
                  <c:v>121422</c:v>
                </c:pt>
                <c:pt idx="19583">
                  <c:v>121402</c:v>
                </c:pt>
                <c:pt idx="19584">
                  <c:v>121401</c:v>
                </c:pt>
                <c:pt idx="19585">
                  <c:v>121398</c:v>
                </c:pt>
                <c:pt idx="19586">
                  <c:v>121395</c:v>
                </c:pt>
                <c:pt idx="19587">
                  <c:v>121392</c:v>
                </c:pt>
                <c:pt idx="19588">
                  <c:v>121376</c:v>
                </c:pt>
                <c:pt idx="19589">
                  <c:v>121376</c:v>
                </c:pt>
                <c:pt idx="19590">
                  <c:v>121369</c:v>
                </c:pt>
                <c:pt idx="19591">
                  <c:v>121364</c:v>
                </c:pt>
                <c:pt idx="19592">
                  <c:v>121364</c:v>
                </c:pt>
                <c:pt idx="19593">
                  <c:v>121357</c:v>
                </c:pt>
                <c:pt idx="19594">
                  <c:v>121348</c:v>
                </c:pt>
                <c:pt idx="19595">
                  <c:v>121344</c:v>
                </c:pt>
                <c:pt idx="19596">
                  <c:v>121341</c:v>
                </c:pt>
                <c:pt idx="19597">
                  <c:v>121341</c:v>
                </c:pt>
                <c:pt idx="19598">
                  <c:v>121337</c:v>
                </c:pt>
                <c:pt idx="19599">
                  <c:v>121335</c:v>
                </c:pt>
                <c:pt idx="19600">
                  <c:v>121334</c:v>
                </c:pt>
                <c:pt idx="19601">
                  <c:v>121322</c:v>
                </c:pt>
                <c:pt idx="19602">
                  <c:v>121321</c:v>
                </c:pt>
                <c:pt idx="19603">
                  <c:v>121320</c:v>
                </c:pt>
                <c:pt idx="19604">
                  <c:v>121318</c:v>
                </c:pt>
                <c:pt idx="19605">
                  <c:v>121315</c:v>
                </c:pt>
                <c:pt idx="19606">
                  <c:v>121312</c:v>
                </c:pt>
                <c:pt idx="19607">
                  <c:v>121307</c:v>
                </c:pt>
                <c:pt idx="19608">
                  <c:v>121306</c:v>
                </c:pt>
                <c:pt idx="19609">
                  <c:v>121304</c:v>
                </c:pt>
                <c:pt idx="19610">
                  <c:v>121303</c:v>
                </c:pt>
                <c:pt idx="19611">
                  <c:v>121303</c:v>
                </c:pt>
                <c:pt idx="19612">
                  <c:v>121289</c:v>
                </c:pt>
                <c:pt idx="19613">
                  <c:v>121287</c:v>
                </c:pt>
                <c:pt idx="19614">
                  <c:v>121284</c:v>
                </c:pt>
                <c:pt idx="19615">
                  <c:v>121283</c:v>
                </c:pt>
                <c:pt idx="19616">
                  <c:v>121273</c:v>
                </c:pt>
                <c:pt idx="19617">
                  <c:v>121272</c:v>
                </c:pt>
                <c:pt idx="19618">
                  <c:v>121267</c:v>
                </c:pt>
                <c:pt idx="19619">
                  <c:v>121264</c:v>
                </c:pt>
                <c:pt idx="19620">
                  <c:v>121260</c:v>
                </c:pt>
                <c:pt idx="19621">
                  <c:v>121253</c:v>
                </c:pt>
                <c:pt idx="19622">
                  <c:v>121252</c:v>
                </c:pt>
                <c:pt idx="19623">
                  <c:v>121250</c:v>
                </c:pt>
                <c:pt idx="19624">
                  <c:v>121250</c:v>
                </c:pt>
                <c:pt idx="19625">
                  <c:v>121249</c:v>
                </c:pt>
                <c:pt idx="19626">
                  <c:v>121248</c:v>
                </c:pt>
                <c:pt idx="19627">
                  <c:v>121245</c:v>
                </c:pt>
                <c:pt idx="19628">
                  <c:v>121241</c:v>
                </c:pt>
                <c:pt idx="19629">
                  <c:v>121238</c:v>
                </c:pt>
                <c:pt idx="19630">
                  <c:v>121232</c:v>
                </c:pt>
                <c:pt idx="19631">
                  <c:v>121232</c:v>
                </c:pt>
                <c:pt idx="19632">
                  <c:v>121231</c:v>
                </c:pt>
                <c:pt idx="19633">
                  <c:v>121230</c:v>
                </c:pt>
                <c:pt idx="19634">
                  <c:v>121225</c:v>
                </c:pt>
                <c:pt idx="19635">
                  <c:v>121224</c:v>
                </c:pt>
                <c:pt idx="19636">
                  <c:v>121223</c:v>
                </c:pt>
                <c:pt idx="19637">
                  <c:v>121212</c:v>
                </c:pt>
                <c:pt idx="19638">
                  <c:v>121210</c:v>
                </c:pt>
                <c:pt idx="19639">
                  <c:v>121208</c:v>
                </c:pt>
                <c:pt idx="19640">
                  <c:v>121206</c:v>
                </c:pt>
                <c:pt idx="19641">
                  <c:v>121197</c:v>
                </c:pt>
                <c:pt idx="19642">
                  <c:v>121196</c:v>
                </c:pt>
                <c:pt idx="19643">
                  <c:v>121195</c:v>
                </c:pt>
                <c:pt idx="19644">
                  <c:v>121192</c:v>
                </c:pt>
                <c:pt idx="19645">
                  <c:v>121185</c:v>
                </c:pt>
                <c:pt idx="19646">
                  <c:v>121183</c:v>
                </c:pt>
                <c:pt idx="19647">
                  <c:v>121178</c:v>
                </c:pt>
                <c:pt idx="19648">
                  <c:v>121173</c:v>
                </c:pt>
                <c:pt idx="19649">
                  <c:v>121168</c:v>
                </c:pt>
                <c:pt idx="19650">
                  <c:v>121159</c:v>
                </c:pt>
                <c:pt idx="19651">
                  <c:v>121155</c:v>
                </c:pt>
                <c:pt idx="19652">
                  <c:v>121154</c:v>
                </c:pt>
                <c:pt idx="19653">
                  <c:v>121154</c:v>
                </c:pt>
                <c:pt idx="19654">
                  <c:v>121151</c:v>
                </c:pt>
                <c:pt idx="19655">
                  <c:v>121151</c:v>
                </c:pt>
                <c:pt idx="19656">
                  <c:v>121145</c:v>
                </c:pt>
                <c:pt idx="19657">
                  <c:v>121131</c:v>
                </c:pt>
                <c:pt idx="19658">
                  <c:v>121131</c:v>
                </c:pt>
                <c:pt idx="19659">
                  <c:v>121130</c:v>
                </c:pt>
                <c:pt idx="19660">
                  <c:v>121129</c:v>
                </c:pt>
                <c:pt idx="19661">
                  <c:v>121129</c:v>
                </c:pt>
                <c:pt idx="19662">
                  <c:v>121128</c:v>
                </c:pt>
                <c:pt idx="19663">
                  <c:v>121118</c:v>
                </c:pt>
                <c:pt idx="19664">
                  <c:v>121117</c:v>
                </c:pt>
                <c:pt idx="19665">
                  <c:v>121117</c:v>
                </c:pt>
                <c:pt idx="19666">
                  <c:v>121107</c:v>
                </c:pt>
                <c:pt idx="19667">
                  <c:v>121102</c:v>
                </c:pt>
                <c:pt idx="19668">
                  <c:v>121101</c:v>
                </c:pt>
                <c:pt idx="19669">
                  <c:v>121099</c:v>
                </c:pt>
                <c:pt idx="19670">
                  <c:v>121096</c:v>
                </c:pt>
                <c:pt idx="19671">
                  <c:v>121089</c:v>
                </c:pt>
                <c:pt idx="19672">
                  <c:v>121086</c:v>
                </c:pt>
                <c:pt idx="19673">
                  <c:v>121085</c:v>
                </c:pt>
                <c:pt idx="19674">
                  <c:v>121075</c:v>
                </c:pt>
                <c:pt idx="19675">
                  <c:v>121068</c:v>
                </c:pt>
                <c:pt idx="19676">
                  <c:v>121051</c:v>
                </c:pt>
                <c:pt idx="19677">
                  <c:v>121048</c:v>
                </c:pt>
                <c:pt idx="19678">
                  <c:v>121038</c:v>
                </c:pt>
                <c:pt idx="19679">
                  <c:v>121037</c:v>
                </c:pt>
                <c:pt idx="19680">
                  <c:v>121033</c:v>
                </c:pt>
                <c:pt idx="19681">
                  <c:v>121025</c:v>
                </c:pt>
                <c:pt idx="19682">
                  <c:v>121023</c:v>
                </c:pt>
                <c:pt idx="19683">
                  <c:v>121022</c:v>
                </c:pt>
                <c:pt idx="19684">
                  <c:v>121022</c:v>
                </c:pt>
                <c:pt idx="19685">
                  <c:v>121020</c:v>
                </c:pt>
                <c:pt idx="19686">
                  <c:v>121019</c:v>
                </c:pt>
                <c:pt idx="19687">
                  <c:v>121011</c:v>
                </c:pt>
                <c:pt idx="19688">
                  <c:v>121006</c:v>
                </c:pt>
                <c:pt idx="19689">
                  <c:v>121003</c:v>
                </c:pt>
                <c:pt idx="19690">
                  <c:v>120998</c:v>
                </c:pt>
                <c:pt idx="19691">
                  <c:v>120998</c:v>
                </c:pt>
                <c:pt idx="19692">
                  <c:v>120994</c:v>
                </c:pt>
                <c:pt idx="19693">
                  <c:v>120994</c:v>
                </c:pt>
                <c:pt idx="19694">
                  <c:v>120991</c:v>
                </c:pt>
                <c:pt idx="19695">
                  <c:v>120989</c:v>
                </c:pt>
                <c:pt idx="19696">
                  <c:v>120988</c:v>
                </c:pt>
                <c:pt idx="19697">
                  <c:v>120986</c:v>
                </c:pt>
                <c:pt idx="19698">
                  <c:v>120984</c:v>
                </c:pt>
                <c:pt idx="19699">
                  <c:v>120982</c:v>
                </c:pt>
                <c:pt idx="19700">
                  <c:v>120978</c:v>
                </c:pt>
                <c:pt idx="19701">
                  <c:v>120977</c:v>
                </c:pt>
                <c:pt idx="19702">
                  <c:v>120977</c:v>
                </c:pt>
                <c:pt idx="19703">
                  <c:v>120976</c:v>
                </c:pt>
                <c:pt idx="19704">
                  <c:v>120970</c:v>
                </c:pt>
                <c:pt idx="19705">
                  <c:v>120970</c:v>
                </c:pt>
                <c:pt idx="19706">
                  <c:v>120966</c:v>
                </c:pt>
                <c:pt idx="19707">
                  <c:v>120963</c:v>
                </c:pt>
                <c:pt idx="19708">
                  <c:v>120959</c:v>
                </c:pt>
                <c:pt idx="19709">
                  <c:v>120958</c:v>
                </c:pt>
                <c:pt idx="19710">
                  <c:v>120952</c:v>
                </c:pt>
                <c:pt idx="19711">
                  <c:v>120950</c:v>
                </c:pt>
                <c:pt idx="19712">
                  <c:v>120950</c:v>
                </c:pt>
                <c:pt idx="19713">
                  <c:v>120945</c:v>
                </c:pt>
                <c:pt idx="19714">
                  <c:v>120945</c:v>
                </c:pt>
                <c:pt idx="19715">
                  <c:v>120942</c:v>
                </c:pt>
                <c:pt idx="19716">
                  <c:v>120939</c:v>
                </c:pt>
                <c:pt idx="19717">
                  <c:v>120937</c:v>
                </c:pt>
                <c:pt idx="19718">
                  <c:v>120935</c:v>
                </c:pt>
                <c:pt idx="19719">
                  <c:v>120931</c:v>
                </c:pt>
                <c:pt idx="19720">
                  <c:v>120919</c:v>
                </c:pt>
                <c:pt idx="19721">
                  <c:v>120919</c:v>
                </c:pt>
                <c:pt idx="19722">
                  <c:v>120917</c:v>
                </c:pt>
                <c:pt idx="19723">
                  <c:v>120909</c:v>
                </c:pt>
                <c:pt idx="19724">
                  <c:v>120901</c:v>
                </c:pt>
                <c:pt idx="19725">
                  <c:v>120899</c:v>
                </c:pt>
                <c:pt idx="19726">
                  <c:v>120899</c:v>
                </c:pt>
                <c:pt idx="19727">
                  <c:v>120896</c:v>
                </c:pt>
                <c:pt idx="19728">
                  <c:v>120894</c:v>
                </c:pt>
                <c:pt idx="19729">
                  <c:v>120889</c:v>
                </c:pt>
                <c:pt idx="19730">
                  <c:v>120886</c:v>
                </c:pt>
                <c:pt idx="19731">
                  <c:v>120873</c:v>
                </c:pt>
                <c:pt idx="19732">
                  <c:v>120871</c:v>
                </c:pt>
                <c:pt idx="19733">
                  <c:v>120868</c:v>
                </c:pt>
                <c:pt idx="19734">
                  <c:v>120865</c:v>
                </c:pt>
                <c:pt idx="19735">
                  <c:v>120858</c:v>
                </c:pt>
                <c:pt idx="19736">
                  <c:v>120857</c:v>
                </c:pt>
                <c:pt idx="19737">
                  <c:v>120856</c:v>
                </c:pt>
                <c:pt idx="19738">
                  <c:v>120856</c:v>
                </c:pt>
                <c:pt idx="19739">
                  <c:v>120848</c:v>
                </c:pt>
                <c:pt idx="19740">
                  <c:v>120846</c:v>
                </c:pt>
                <c:pt idx="19741">
                  <c:v>120839</c:v>
                </c:pt>
                <c:pt idx="19742">
                  <c:v>120837</c:v>
                </c:pt>
                <c:pt idx="19743">
                  <c:v>120835</c:v>
                </c:pt>
                <c:pt idx="19744">
                  <c:v>120833</c:v>
                </c:pt>
                <c:pt idx="19745">
                  <c:v>120832</c:v>
                </c:pt>
                <c:pt idx="19746">
                  <c:v>120829</c:v>
                </c:pt>
                <c:pt idx="19747">
                  <c:v>120827</c:v>
                </c:pt>
                <c:pt idx="19748">
                  <c:v>120821</c:v>
                </c:pt>
                <c:pt idx="19749">
                  <c:v>120818</c:v>
                </c:pt>
                <c:pt idx="19750">
                  <c:v>120818</c:v>
                </c:pt>
                <c:pt idx="19751">
                  <c:v>120816</c:v>
                </c:pt>
                <c:pt idx="19752">
                  <c:v>120805</c:v>
                </c:pt>
                <c:pt idx="19753">
                  <c:v>120801</c:v>
                </c:pt>
                <c:pt idx="19754">
                  <c:v>120800</c:v>
                </c:pt>
                <c:pt idx="19755">
                  <c:v>120799</c:v>
                </c:pt>
                <c:pt idx="19756">
                  <c:v>120799</c:v>
                </c:pt>
                <c:pt idx="19757">
                  <c:v>120794</c:v>
                </c:pt>
                <c:pt idx="19758">
                  <c:v>120794</c:v>
                </c:pt>
                <c:pt idx="19759">
                  <c:v>120789</c:v>
                </c:pt>
                <c:pt idx="19760">
                  <c:v>120783</c:v>
                </c:pt>
                <c:pt idx="19761">
                  <c:v>120781</c:v>
                </c:pt>
                <c:pt idx="19762">
                  <c:v>120780</c:v>
                </c:pt>
                <c:pt idx="19763">
                  <c:v>120780</c:v>
                </c:pt>
                <c:pt idx="19764">
                  <c:v>120778</c:v>
                </c:pt>
                <c:pt idx="19765">
                  <c:v>120777</c:v>
                </c:pt>
                <c:pt idx="19766">
                  <c:v>120771</c:v>
                </c:pt>
                <c:pt idx="19767">
                  <c:v>120771</c:v>
                </c:pt>
                <c:pt idx="19768">
                  <c:v>120769</c:v>
                </c:pt>
                <c:pt idx="19769">
                  <c:v>120769</c:v>
                </c:pt>
                <c:pt idx="19770">
                  <c:v>120766</c:v>
                </c:pt>
                <c:pt idx="19771">
                  <c:v>120765</c:v>
                </c:pt>
                <c:pt idx="19772">
                  <c:v>120765</c:v>
                </c:pt>
                <c:pt idx="19773">
                  <c:v>120758</c:v>
                </c:pt>
                <c:pt idx="19774">
                  <c:v>120750</c:v>
                </c:pt>
                <c:pt idx="19775">
                  <c:v>120750</c:v>
                </c:pt>
                <c:pt idx="19776">
                  <c:v>120743</c:v>
                </c:pt>
                <c:pt idx="19777">
                  <c:v>120740</c:v>
                </c:pt>
                <c:pt idx="19778">
                  <c:v>120739</c:v>
                </c:pt>
                <c:pt idx="19779">
                  <c:v>120736</c:v>
                </c:pt>
                <c:pt idx="19780">
                  <c:v>120735</c:v>
                </c:pt>
                <c:pt idx="19781">
                  <c:v>120735</c:v>
                </c:pt>
                <c:pt idx="19782">
                  <c:v>120732</c:v>
                </c:pt>
                <c:pt idx="19783">
                  <c:v>120726</c:v>
                </c:pt>
                <c:pt idx="19784">
                  <c:v>120726</c:v>
                </c:pt>
                <c:pt idx="19785">
                  <c:v>120722</c:v>
                </c:pt>
                <c:pt idx="19786">
                  <c:v>120722</c:v>
                </c:pt>
                <c:pt idx="19787">
                  <c:v>120721</c:v>
                </c:pt>
                <c:pt idx="19788">
                  <c:v>120720</c:v>
                </c:pt>
                <c:pt idx="19789">
                  <c:v>120719</c:v>
                </c:pt>
                <c:pt idx="19790">
                  <c:v>120708</c:v>
                </c:pt>
                <c:pt idx="19791">
                  <c:v>120707</c:v>
                </c:pt>
                <c:pt idx="19792">
                  <c:v>120702</c:v>
                </c:pt>
                <c:pt idx="19793">
                  <c:v>120702</c:v>
                </c:pt>
                <c:pt idx="19794">
                  <c:v>120695</c:v>
                </c:pt>
                <c:pt idx="19795">
                  <c:v>120692</c:v>
                </c:pt>
                <c:pt idx="19796">
                  <c:v>120692</c:v>
                </c:pt>
                <c:pt idx="19797">
                  <c:v>120684</c:v>
                </c:pt>
                <c:pt idx="19798">
                  <c:v>120680</c:v>
                </c:pt>
                <c:pt idx="19799">
                  <c:v>120679</c:v>
                </c:pt>
                <c:pt idx="19800">
                  <c:v>120673</c:v>
                </c:pt>
                <c:pt idx="19801">
                  <c:v>120672</c:v>
                </c:pt>
                <c:pt idx="19802">
                  <c:v>120669</c:v>
                </c:pt>
                <c:pt idx="19803">
                  <c:v>120658</c:v>
                </c:pt>
                <c:pt idx="19804">
                  <c:v>120656</c:v>
                </c:pt>
                <c:pt idx="19805">
                  <c:v>120655</c:v>
                </c:pt>
                <c:pt idx="19806">
                  <c:v>120651</c:v>
                </c:pt>
                <c:pt idx="19807">
                  <c:v>120649</c:v>
                </c:pt>
                <c:pt idx="19808">
                  <c:v>120644</c:v>
                </c:pt>
                <c:pt idx="19809">
                  <c:v>120644</c:v>
                </c:pt>
                <c:pt idx="19810">
                  <c:v>120642</c:v>
                </c:pt>
                <c:pt idx="19811">
                  <c:v>120640</c:v>
                </c:pt>
                <c:pt idx="19812">
                  <c:v>120638</c:v>
                </c:pt>
                <c:pt idx="19813">
                  <c:v>120635</c:v>
                </c:pt>
                <c:pt idx="19814">
                  <c:v>120633</c:v>
                </c:pt>
                <c:pt idx="19815">
                  <c:v>120630</c:v>
                </c:pt>
                <c:pt idx="19816">
                  <c:v>120629</c:v>
                </c:pt>
                <c:pt idx="19817">
                  <c:v>120623</c:v>
                </c:pt>
                <c:pt idx="19818">
                  <c:v>120596</c:v>
                </c:pt>
                <c:pt idx="19819">
                  <c:v>120594</c:v>
                </c:pt>
                <c:pt idx="19820">
                  <c:v>120592</c:v>
                </c:pt>
                <c:pt idx="19821">
                  <c:v>120588</c:v>
                </c:pt>
                <c:pt idx="19822">
                  <c:v>120587</c:v>
                </c:pt>
                <c:pt idx="19823">
                  <c:v>120575</c:v>
                </c:pt>
                <c:pt idx="19824">
                  <c:v>120570</c:v>
                </c:pt>
                <c:pt idx="19825">
                  <c:v>120568</c:v>
                </c:pt>
                <c:pt idx="19826">
                  <c:v>120568</c:v>
                </c:pt>
                <c:pt idx="19827">
                  <c:v>120563</c:v>
                </c:pt>
                <c:pt idx="19828">
                  <c:v>120554</c:v>
                </c:pt>
                <c:pt idx="19829">
                  <c:v>120552</c:v>
                </c:pt>
                <c:pt idx="19830">
                  <c:v>120547</c:v>
                </c:pt>
                <c:pt idx="19831">
                  <c:v>120544</c:v>
                </c:pt>
                <c:pt idx="19832">
                  <c:v>120540</c:v>
                </c:pt>
                <c:pt idx="19833">
                  <c:v>120536</c:v>
                </c:pt>
                <c:pt idx="19834">
                  <c:v>120534</c:v>
                </c:pt>
                <c:pt idx="19835">
                  <c:v>120528</c:v>
                </c:pt>
                <c:pt idx="19836">
                  <c:v>120526</c:v>
                </c:pt>
                <c:pt idx="19837">
                  <c:v>120520</c:v>
                </c:pt>
                <c:pt idx="19838">
                  <c:v>120518</c:v>
                </c:pt>
                <c:pt idx="19839">
                  <c:v>120518</c:v>
                </c:pt>
                <c:pt idx="19840">
                  <c:v>120517</c:v>
                </c:pt>
                <c:pt idx="19841">
                  <c:v>120515</c:v>
                </c:pt>
                <c:pt idx="19842">
                  <c:v>120505</c:v>
                </c:pt>
                <c:pt idx="19843">
                  <c:v>120504</c:v>
                </c:pt>
                <c:pt idx="19844">
                  <c:v>120493</c:v>
                </c:pt>
                <c:pt idx="19845">
                  <c:v>120487</c:v>
                </c:pt>
                <c:pt idx="19846">
                  <c:v>120482</c:v>
                </c:pt>
                <c:pt idx="19847">
                  <c:v>120481</c:v>
                </c:pt>
                <c:pt idx="19848">
                  <c:v>120476</c:v>
                </c:pt>
                <c:pt idx="19849">
                  <c:v>120465</c:v>
                </c:pt>
                <c:pt idx="19850">
                  <c:v>120463</c:v>
                </c:pt>
                <c:pt idx="19851">
                  <c:v>120462</c:v>
                </c:pt>
                <c:pt idx="19852">
                  <c:v>120456</c:v>
                </c:pt>
                <c:pt idx="19853">
                  <c:v>120455</c:v>
                </c:pt>
                <c:pt idx="19854">
                  <c:v>120455</c:v>
                </c:pt>
                <c:pt idx="19855">
                  <c:v>120454</c:v>
                </c:pt>
                <c:pt idx="19856">
                  <c:v>120445</c:v>
                </c:pt>
                <c:pt idx="19857">
                  <c:v>120443</c:v>
                </c:pt>
                <c:pt idx="19858">
                  <c:v>120441</c:v>
                </c:pt>
                <c:pt idx="19859">
                  <c:v>120439</c:v>
                </c:pt>
                <c:pt idx="19860">
                  <c:v>120439</c:v>
                </c:pt>
                <c:pt idx="19861">
                  <c:v>120430</c:v>
                </c:pt>
                <c:pt idx="19862">
                  <c:v>120425</c:v>
                </c:pt>
                <c:pt idx="19863">
                  <c:v>120422</c:v>
                </c:pt>
                <c:pt idx="19864">
                  <c:v>120414</c:v>
                </c:pt>
                <c:pt idx="19865">
                  <c:v>120414</c:v>
                </c:pt>
                <c:pt idx="19866">
                  <c:v>120407</c:v>
                </c:pt>
                <c:pt idx="19867">
                  <c:v>120398</c:v>
                </c:pt>
                <c:pt idx="19868">
                  <c:v>120396</c:v>
                </c:pt>
                <c:pt idx="19869">
                  <c:v>120395</c:v>
                </c:pt>
                <c:pt idx="19870">
                  <c:v>120394</c:v>
                </c:pt>
                <c:pt idx="19871">
                  <c:v>120378</c:v>
                </c:pt>
                <c:pt idx="19872">
                  <c:v>120369</c:v>
                </c:pt>
                <c:pt idx="19873">
                  <c:v>120362</c:v>
                </c:pt>
                <c:pt idx="19874">
                  <c:v>120362</c:v>
                </c:pt>
                <c:pt idx="19875">
                  <c:v>120353</c:v>
                </c:pt>
                <c:pt idx="19876">
                  <c:v>120348</c:v>
                </c:pt>
                <c:pt idx="19877">
                  <c:v>120343</c:v>
                </c:pt>
                <c:pt idx="19878">
                  <c:v>120343</c:v>
                </c:pt>
                <c:pt idx="19879">
                  <c:v>120340</c:v>
                </c:pt>
                <c:pt idx="19880">
                  <c:v>120339</c:v>
                </c:pt>
                <c:pt idx="19881">
                  <c:v>120338</c:v>
                </c:pt>
                <c:pt idx="19882">
                  <c:v>120337</c:v>
                </c:pt>
                <c:pt idx="19883">
                  <c:v>120336</c:v>
                </c:pt>
                <c:pt idx="19884">
                  <c:v>120333</c:v>
                </c:pt>
                <c:pt idx="19885">
                  <c:v>120333</c:v>
                </c:pt>
                <c:pt idx="19886">
                  <c:v>120327</c:v>
                </c:pt>
                <c:pt idx="19887">
                  <c:v>120312</c:v>
                </c:pt>
                <c:pt idx="19888">
                  <c:v>120309</c:v>
                </c:pt>
                <c:pt idx="19889">
                  <c:v>120308</c:v>
                </c:pt>
                <c:pt idx="19890">
                  <c:v>120305</c:v>
                </c:pt>
                <c:pt idx="19891">
                  <c:v>120300</c:v>
                </c:pt>
                <c:pt idx="19892">
                  <c:v>120294</c:v>
                </c:pt>
                <c:pt idx="19893">
                  <c:v>120294</c:v>
                </c:pt>
                <c:pt idx="19894">
                  <c:v>120293</c:v>
                </c:pt>
                <c:pt idx="19895">
                  <c:v>120293</c:v>
                </c:pt>
                <c:pt idx="19896">
                  <c:v>120293</c:v>
                </c:pt>
                <c:pt idx="19897">
                  <c:v>120290</c:v>
                </c:pt>
                <c:pt idx="19898">
                  <c:v>120289</c:v>
                </c:pt>
                <c:pt idx="19899">
                  <c:v>120288</c:v>
                </c:pt>
                <c:pt idx="19900">
                  <c:v>120287</c:v>
                </c:pt>
                <c:pt idx="19901">
                  <c:v>120286</c:v>
                </c:pt>
                <c:pt idx="19902">
                  <c:v>120279</c:v>
                </c:pt>
                <c:pt idx="19903">
                  <c:v>120275</c:v>
                </c:pt>
                <c:pt idx="19904">
                  <c:v>120274</c:v>
                </c:pt>
                <c:pt idx="19905">
                  <c:v>120271</c:v>
                </c:pt>
                <c:pt idx="19906">
                  <c:v>120257</c:v>
                </c:pt>
                <c:pt idx="19907">
                  <c:v>120247</c:v>
                </c:pt>
                <c:pt idx="19908">
                  <c:v>120242</c:v>
                </c:pt>
                <c:pt idx="19909">
                  <c:v>120241</c:v>
                </c:pt>
                <c:pt idx="19910">
                  <c:v>120235</c:v>
                </c:pt>
                <c:pt idx="19911">
                  <c:v>120233</c:v>
                </c:pt>
                <c:pt idx="19912">
                  <c:v>120228</c:v>
                </c:pt>
                <c:pt idx="19913">
                  <c:v>120227</c:v>
                </c:pt>
                <c:pt idx="19914">
                  <c:v>120221</c:v>
                </c:pt>
                <c:pt idx="19915">
                  <c:v>120208</c:v>
                </c:pt>
                <c:pt idx="19916">
                  <c:v>120207</c:v>
                </c:pt>
                <c:pt idx="19917">
                  <c:v>120204</c:v>
                </c:pt>
                <c:pt idx="19918">
                  <c:v>120202</c:v>
                </c:pt>
                <c:pt idx="19919">
                  <c:v>120200</c:v>
                </c:pt>
                <c:pt idx="19920">
                  <c:v>120193</c:v>
                </c:pt>
                <c:pt idx="19921">
                  <c:v>120191</c:v>
                </c:pt>
                <c:pt idx="19922">
                  <c:v>120185</c:v>
                </c:pt>
                <c:pt idx="19923">
                  <c:v>120183</c:v>
                </c:pt>
                <c:pt idx="19924">
                  <c:v>120179</c:v>
                </c:pt>
                <c:pt idx="19925">
                  <c:v>120177</c:v>
                </c:pt>
                <c:pt idx="19926">
                  <c:v>120176</c:v>
                </c:pt>
                <c:pt idx="19927">
                  <c:v>120168</c:v>
                </c:pt>
                <c:pt idx="19928">
                  <c:v>120166</c:v>
                </c:pt>
                <c:pt idx="19929">
                  <c:v>120165</c:v>
                </c:pt>
                <c:pt idx="19930">
                  <c:v>120164</c:v>
                </c:pt>
                <c:pt idx="19931">
                  <c:v>120162</c:v>
                </c:pt>
                <c:pt idx="19932">
                  <c:v>120162</c:v>
                </c:pt>
                <c:pt idx="19933">
                  <c:v>120160</c:v>
                </c:pt>
                <c:pt idx="19934">
                  <c:v>120160</c:v>
                </c:pt>
                <c:pt idx="19935">
                  <c:v>120139</c:v>
                </c:pt>
                <c:pt idx="19936">
                  <c:v>120138</c:v>
                </c:pt>
                <c:pt idx="19937">
                  <c:v>120138</c:v>
                </c:pt>
                <c:pt idx="19938">
                  <c:v>120135</c:v>
                </c:pt>
                <c:pt idx="19939">
                  <c:v>120129</c:v>
                </c:pt>
                <c:pt idx="19940">
                  <c:v>120127</c:v>
                </c:pt>
                <c:pt idx="19941">
                  <c:v>120126</c:v>
                </c:pt>
                <c:pt idx="19942">
                  <c:v>120118</c:v>
                </c:pt>
                <c:pt idx="19943">
                  <c:v>120114</c:v>
                </c:pt>
                <c:pt idx="19944">
                  <c:v>120113</c:v>
                </c:pt>
                <c:pt idx="19945">
                  <c:v>120109</c:v>
                </c:pt>
                <c:pt idx="19946">
                  <c:v>120101</c:v>
                </c:pt>
                <c:pt idx="19947">
                  <c:v>120101</c:v>
                </c:pt>
                <c:pt idx="19948">
                  <c:v>120097</c:v>
                </c:pt>
                <c:pt idx="19949">
                  <c:v>120091</c:v>
                </c:pt>
                <c:pt idx="19950">
                  <c:v>120077</c:v>
                </c:pt>
                <c:pt idx="19951">
                  <c:v>120076</c:v>
                </c:pt>
                <c:pt idx="19952">
                  <c:v>120069</c:v>
                </c:pt>
                <c:pt idx="19953">
                  <c:v>120069</c:v>
                </c:pt>
                <c:pt idx="19954">
                  <c:v>120068</c:v>
                </c:pt>
                <c:pt idx="19955">
                  <c:v>120068</c:v>
                </c:pt>
                <c:pt idx="19956">
                  <c:v>120065</c:v>
                </c:pt>
                <c:pt idx="19957">
                  <c:v>120063</c:v>
                </c:pt>
                <c:pt idx="19958">
                  <c:v>120061</c:v>
                </c:pt>
                <c:pt idx="19959">
                  <c:v>120061</c:v>
                </c:pt>
                <c:pt idx="19960">
                  <c:v>120060</c:v>
                </c:pt>
                <c:pt idx="19961">
                  <c:v>120060</c:v>
                </c:pt>
                <c:pt idx="19962">
                  <c:v>120058</c:v>
                </c:pt>
                <c:pt idx="19963">
                  <c:v>120056</c:v>
                </c:pt>
                <c:pt idx="19964">
                  <c:v>120051</c:v>
                </c:pt>
                <c:pt idx="19965">
                  <c:v>120048</c:v>
                </c:pt>
                <c:pt idx="19966">
                  <c:v>120043</c:v>
                </c:pt>
                <c:pt idx="19967">
                  <c:v>120035</c:v>
                </c:pt>
                <c:pt idx="19968">
                  <c:v>120029</c:v>
                </c:pt>
                <c:pt idx="19969">
                  <c:v>120027</c:v>
                </c:pt>
                <c:pt idx="19970">
                  <c:v>120023</c:v>
                </c:pt>
                <c:pt idx="19971">
                  <c:v>120015</c:v>
                </c:pt>
                <c:pt idx="19972">
                  <c:v>120014</c:v>
                </c:pt>
                <c:pt idx="19973">
                  <c:v>120012</c:v>
                </c:pt>
                <c:pt idx="19974">
                  <c:v>120007</c:v>
                </c:pt>
                <c:pt idx="19975">
                  <c:v>120000</c:v>
                </c:pt>
                <c:pt idx="19976">
                  <c:v>119986</c:v>
                </c:pt>
                <c:pt idx="19977">
                  <c:v>119984</c:v>
                </c:pt>
                <c:pt idx="19978">
                  <c:v>119984</c:v>
                </c:pt>
                <c:pt idx="19979">
                  <c:v>119975</c:v>
                </c:pt>
                <c:pt idx="19980">
                  <c:v>119972</c:v>
                </c:pt>
                <c:pt idx="19981">
                  <c:v>119972</c:v>
                </c:pt>
                <c:pt idx="19982">
                  <c:v>119972</c:v>
                </c:pt>
                <c:pt idx="19983">
                  <c:v>119970</c:v>
                </c:pt>
                <c:pt idx="19984">
                  <c:v>119969</c:v>
                </c:pt>
                <c:pt idx="19985">
                  <c:v>119967</c:v>
                </c:pt>
                <c:pt idx="19986">
                  <c:v>119963</c:v>
                </c:pt>
                <c:pt idx="19987">
                  <c:v>119959</c:v>
                </c:pt>
                <c:pt idx="19988">
                  <c:v>119959</c:v>
                </c:pt>
                <c:pt idx="19989">
                  <c:v>119953</c:v>
                </c:pt>
                <c:pt idx="19990">
                  <c:v>119951</c:v>
                </c:pt>
                <c:pt idx="19991">
                  <c:v>119949</c:v>
                </c:pt>
                <c:pt idx="19992">
                  <c:v>119948</c:v>
                </c:pt>
                <c:pt idx="19993">
                  <c:v>119947</c:v>
                </c:pt>
                <c:pt idx="19994">
                  <c:v>119937</c:v>
                </c:pt>
                <c:pt idx="19995">
                  <c:v>119933</c:v>
                </c:pt>
                <c:pt idx="19996">
                  <c:v>119926</c:v>
                </c:pt>
                <c:pt idx="19997">
                  <c:v>119922</c:v>
                </c:pt>
                <c:pt idx="19998">
                  <c:v>119918</c:v>
                </c:pt>
                <c:pt idx="19999">
                  <c:v>119916</c:v>
                </c:pt>
                <c:pt idx="20000">
                  <c:v>119915</c:v>
                </c:pt>
                <c:pt idx="20001">
                  <c:v>119912</c:v>
                </c:pt>
                <c:pt idx="20002">
                  <c:v>119905</c:v>
                </c:pt>
                <c:pt idx="20003">
                  <c:v>119904</c:v>
                </c:pt>
                <c:pt idx="20004">
                  <c:v>119902</c:v>
                </c:pt>
                <c:pt idx="20005">
                  <c:v>119900</c:v>
                </c:pt>
                <c:pt idx="20006">
                  <c:v>119891</c:v>
                </c:pt>
                <c:pt idx="20007">
                  <c:v>119886</c:v>
                </c:pt>
                <c:pt idx="20008">
                  <c:v>119884</c:v>
                </c:pt>
                <c:pt idx="20009">
                  <c:v>119880</c:v>
                </c:pt>
                <c:pt idx="20010">
                  <c:v>119880</c:v>
                </c:pt>
                <c:pt idx="20011">
                  <c:v>119874</c:v>
                </c:pt>
                <c:pt idx="20012">
                  <c:v>119871</c:v>
                </c:pt>
                <c:pt idx="20013">
                  <c:v>119868</c:v>
                </c:pt>
                <c:pt idx="20014">
                  <c:v>119865</c:v>
                </c:pt>
                <c:pt idx="20015">
                  <c:v>119854</c:v>
                </c:pt>
                <c:pt idx="20016">
                  <c:v>119849</c:v>
                </c:pt>
                <c:pt idx="20017">
                  <c:v>119844</c:v>
                </c:pt>
                <c:pt idx="20018">
                  <c:v>119842</c:v>
                </c:pt>
                <c:pt idx="20019">
                  <c:v>119839</c:v>
                </c:pt>
                <c:pt idx="20020">
                  <c:v>119829</c:v>
                </c:pt>
                <c:pt idx="20021">
                  <c:v>119828</c:v>
                </c:pt>
                <c:pt idx="20022">
                  <c:v>119817</c:v>
                </c:pt>
                <c:pt idx="20023">
                  <c:v>119814</c:v>
                </c:pt>
                <c:pt idx="20024">
                  <c:v>119812</c:v>
                </c:pt>
                <c:pt idx="20025">
                  <c:v>119806</c:v>
                </c:pt>
                <c:pt idx="20026">
                  <c:v>119804</c:v>
                </c:pt>
                <c:pt idx="20027">
                  <c:v>119800</c:v>
                </c:pt>
                <c:pt idx="20028">
                  <c:v>119799</c:v>
                </c:pt>
                <c:pt idx="20029">
                  <c:v>119797</c:v>
                </c:pt>
                <c:pt idx="20030">
                  <c:v>119791</c:v>
                </c:pt>
                <c:pt idx="20031">
                  <c:v>119788</c:v>
                </c:pt>
                <c:pt idx="20032">
                  <c:v>119779</c:v>
                </c:pt>
                <c:pt idx="20033">
                  <c:v>119778</c:v>
                </c:pt>
                <c:pt idx="20034">
                  <c:v>119773</c:v>
                </c:pt>
                <c:pt idx="20035">
                  <c:v>119769</c:v>
                </c:pt>
                <c:pt idx="20036">
                  <c:v>119767</c:v>
                </c:pt>
                <c:pt idx="20037">
                  <c:v>119766</c:v>
                </c:pt>
                <c:pt idx="20038">
                  <c:v>119764</c:v>
                </c:pt>
                <c:pt idx="20039">
                  <c:v>119759</c:v>
                </c:pt>
                <c:pt idx="20040">
                  <c:v>119751</c:v>
                </c:pt>
                <c:pt idx="20041">
                  <c:v>119746</c:v>
                </c:pt>
                <c:pt idx="20042">
                  <c:v>119743</c:v>
                </c:pt>
                <c:pt idx="20043">
                  <c:v>119743</c:v>
                </c:pt>
                <c:pt idx="20044">
                  <c:v>119736</c:v>
                </c:pt>
                <c:pt idx="20045">
                  <c:v>119735</c:v>
                </c:pt>
                <c:pt idx="20046">
                  <c:v>119730</c:v>
                </c:pt>
                <c:pt idx="20047">
                  <c:v>119729</c:v>
                </c:pt>
                <c:pt idx="20048">
                  <c:v>119729</c:v>
                </c:pt>
                <c:pt idx="20049">
                  <c:v>119717</c:v>
                </c:pt>
                <c:pt idx="20050">
                  <c:v>119709</c:v>
                </c:pt>
                <c:pt idx="20051">
                  <c:v>119706</c:v>
                </c:pt>
                <c:pt idx="20052">
                  <c:v>119705</c:v>
                </c:pt>
                <c:pt idx="20053">
                  <c:v>119704</c:v>
                </c:pt>
                <c:pt idx="20054">
                  <c:v>119700</c:v>
                </c:pt>
                <c:pt idx="20055">
                  <c:v>119699</c:v>
                </c:pt>
                <c:pt idx="20056">
                  <c:v>119696</c:v>
                </c:pt>
                <c:pt idx="20057">
                  <c:v>119692</c:v>
                </c:pt>
                <c:pt idx="20058">
                  <c:v>119691</c:v>
                </c:pt>
                <c:pt idx="20059">
                  <c:v>119690</c:v>
                </c:pt>
                <c:pt idx="20060">
                  <c:v>119689</c:v>
                </c:pt>
                <c:pt idx="20061">
                  <c:v>119681</c:v>
                </c:pt>
                <c:pt idx="20062">
                  <c:v>119666</c:v>
                </c:pt>
                <c:pt idx="20063">
                  <c:v>119665</c:v>
                </c:pt>
                <c:pt idx="20064">
                  <c:v>119665</c:v>
                </c:pt>
                <c:pt idx="20065">
                  <c:v>119663</c:v>
                </c:pt>
                <c:pt idx="20066">
                  <c:v>119663</c:v>
                </c:pt>
                <c:pt idx="20067">
                  <c:v>119660</c:v>
                </c:pt>
                <c:pt idx="20068">
                  <c:v>119660</c:v>
                </c:pt>
                <c:pt idx="20069">
                  <c:v>119658</c:v>
                </c:pt>
                <c:pt idx="20070">
                  <c:v>119654</c:v>
                </c:pt>
                <c:pt idx="20071">
                  <c:v>119649</c:v>
                </c:pt>
                <c:pt idx="20072">
                  <c:v>119644</c:v>
                </c:pt>
                <c:pt idx="20073">
                  <c:v>119641</c:v>
                </c:pt>
                <c:pt idx="20074">
                  <c:v>119639</c:v>
                </c:pt>
                <c:pt idx="20075">
                  <c:v>119629</c:v>
                </c:pt>
                <c:pt idx="20076">
                  <c:v>119618</c:v>
                </c:pt>
                <c:pt idx="20077">
                  <c:v>119617</c:v>
                </c:pt>
                <c:pt idx="20078">
                  <c:v>119610</c:v>
                </c:pt>
                <c:pt idx="20079">
                  <c:v>119606</c:v>
                </c:pt>
                <c:pt idx="20080">
                  <c:v>119596</c:v>
                </c:pt>
                <c:pt idx="20081">
                  <c:v>119594</c:v>
                </c:pt>
                <c:pt idx="20082">
                  <c:v>119594</c:v>
                </c:pt>
                <c:pt idx="20083">
                  <c:v>119594</c:v>
                </c:pt>
                <c:pt idx="20084">
                  <c:v>119592</c:v>
                </c:pt>
                <c:pt idx="20085">
                  <c:v>119580</c:v>
                </c:pt>
                <c:pt idx="20086">
                  <c:v>119577</c:v>
                </c:pt>
                <c:pt idx="20087">
                  <c:v>119568</c:v>
                </c:pt>
                <c:pt idx="20088">
                  <c:v>119567</c:v>
                </c:pt>
                <c:pt idx="20089">
                  <c:v>119566</c:v>
                </c:pt>
                <c:pt idx="20090">
                  <c:v>119562</c:v>
                </c:pt>
                <c:pt idx="20091">
                  <c:v>119561</c:v>
                </c:pt>
                <c:pt idx="20092">
                  <c:v>119559</c:v>
                </c:pt>
                <c:pt idx="20093">
                  <c:v>119554</c:v>
                </c:pt>
                <c:pt idx="20094">
                  <c:v>119552</c:v>
                </c:pt>
                <c:pt idx="20095">
                  <c:v>119542</c:v>
                </c:pt>
                <c:pt idx="20096">
                  <c:v>119541</c:v>
                </c:pt>
                <c:pt idx="20097">
                  <c:v>119532</c:v>
                </c:pt>
                <c:pt idx="20098">
                  <c:v>119529</c:v>
                </c:pt>
                <c:pt idx="20099">
                  <c:v>119518</c:v>
                </c:pt>
                <c:pt idx="20100">
                  <c:v>119517</c:v>
                </c:pt>
                <c:pt idx="20101">
                  <c:v>119511</c:v>
                </c:pt>
                <c:pt idx="20102">
                  <c:v>119510</c:v>
                </c:pt>
                <c:pt idx="20103">
                  <c:v>119506</c:v>
                </c:pt>
                <c:pt idx="20104">
                  <c:v>119505</c:v>
                </c:pt>
                <c:pt idx="20105">
                  <c:v>119503</c:v>
                </c:pt>
                <c:pt idx="20106">
                  <c:v>119501</c:v>
                </c:pt>
                <c:pt idx="20107">
                  <c:v>119501</c:v>
                </c:pt>
                <c:pt idx="20108">
                  <c:v>119496</c:v>
                </c:pt>
                <c:pt idx="20109">
                  <c:v>119490</c:v>
                </c:pt>
                <c:pt idx="20110">
                  <c:v>119485</c:v>
                </c:pt>
                <c:pt idx="20111">
                  <c:v>119485</c:v>
                </c:pt>
                <c:pt idx="20112">
                  <c:v>119480</c:v>
                </c:pt>
                <c:pt idx="20113">
                  <c:v>119480</c:v>
                </c:pt>
                <c:pt idx="20114">
                  <c:v>119477</c:v>
                </c:pt>
                <c:pt idx="20115">
                  <c:v>119476</c:v>
                </c:pt>
                <c:pt idx="20116">
                  <c:v>119476</c:v>
                </c:pt>
                <c:pt idx="20117">
                  <c:v>119475</c:v>
                </c:pt>
                <c:pt idx="20118">
                  <c:v>119475</c:v>
                </c:pt>
                <c:pt idx="20119">
                  <c:v>119463</c:v>
                </c:pt>
                <c:pt idx="20120">
                  <c:v>119450</c:v>
                </c:pt>
                <c:pt idx="20121">
                  <c:v>119447</c:v>
                </c:pt>
                <c:pt idx="20122">
                  <c:v>119437</c:v>
                </c:pt>
                <c:pt idx="20123">
                  <c:v>119436</c:v>
                </c:pt>
                <c:pt idx="20124">
                  <c:v>119424</c:v>
                </c:pt>
                <c:pt idx="20125">
                  <c:v>119421</c:v>
                </c:pt>
                <c:pt idx="20126">
                  <c:v>119421</c:v>
                </c:pt>
                <c:pt idx="20127">
                  <c:v>119417</c:v>
                </c:pt>
                <c:pt idx="20128">
                  <c:v>119407</c:v>
                </c:pt>
                <c:pt idx="20129">
                  <c:v>119405</c:v>
                </c:pt>
                <c:pt idx="20130">
                  <c:v>119405</c:v>
                </c:pt>
                <c:pt idx="20131">
                  <c:v>119403</c:v>
                </c:pt>
                <c:pt idx="20132">
                  <c:v>119403</c:v>
                </c:pt>
                <c:pt idx="20133">
                  <c:v>119395</c:v>
                </c:pt>
                <c:pt idx="20134">
                  <c:v>119384</c:v>
                </c:pt>
                <c:pt idx="20135">
                  <c:v>119384</c:v>
                </c:pt>
                <c:pt idx="20136">
                  <c:v>119380</c:v>
                </c:pt>
                <c:pt idx="20137">
                  <c:v>119376</c:v>
                </c:pt>
                <c:pt idx="20138">
                  <c:v>119374</c:v>
                </c:pt>
                <c:pt idx="20139">
                  <c:v>119370</c:v>
                </c:pt>
                <c:pt idx="20140">
                  <c:v>119364</c:v>
                </c:pt>
                <c:pt idx="20141">
                  <c:v>119361</c:v>
                </c:pt>
                <c:pt idx="20142">
                  <c:v>119360</c:v>
                </c:pt>
                <c:pt idx="20143">
                  <c:v>119359</c:v>
                </c:pt>
                <c:pt idx="20144">
                  <c:v>119353</c:v>
                </c:pt>
                <c:pt idx="20145">
                  <c:v>119341</c:v>
                </c:pt>
                <c:pt idx="20146">
                  <c:v>119339</c:v>
                </c:pt>
                <c:pt idx="20147">
                  <c:v>119338</c:v>
                </c:pt>
                <c:pt idx="20148">
                  <c:v>119332</c:v>
                </c:pt>
                <c:pt idx="20149">
                  <c:v>119329</c:v>
                </c:pt>
                <c:pt idx="20150">
                  <c:v>119328</c:v>
                </c:pt>
                <c:pt idx="20151">
                  <c:v>119327</c:v>
                </c:pt>
                <c:pt idx="20152">
                  <c:v>119325</c:v>
                </c:pt>
                <c:pt idx="20153">
                  <c:v>119323</c:v>
                </c:pt>
                <c:pt idx="20154">
                  <c:v>119320</c:v>
                </c:pt>
                <c:pt idx="20155">
                  <c:v>119319</c:v>
                </c:pt>
                <c:pt idx="20156">
                  <c:v>119319</c:v>
                </c:pt>
                <c:pt idx="20157">
                  <c:v>119316</c:v>
                </c:pt>
                <c:pt idx="20158">
                  <c:v>119315</c:v>
                </c:pt>
                <c:pt idx="20159">
                  <c:v>119315</c:v>
                </c:pt>
                <c:pt idx="20160">
                  <c:v>119311</c:v>
                </c:pt>
                <c:pt idx="20161">
                  <c:v>119304</c:v>
                </c:pt>
                <c:pt idx="20162">
                  <c:v>119304</c:v>
                </c:pt>
                <c:pt idx="20163">
                  <c:v>119298</c:v>
                </c:pt>
                <c:pt idx="20164">
                  <c:v>119298</c:v>
                </c:pt>
                <c:pt idx="20165">
                  <c:v>119295</c:v>
                </c:pt>
                <c:pt idx="20166">
                  <c:v>119294</c:v>
                </c:pt>
                <c:pt idx="20167">
                  <c:v>119293</c:v>
                </c:pt>
                <c:pt idx="20168">
                  <c:v>119291</c:v>
                </c:pt>
                <c:pt idx="20169">
                  <c:v>119290</c:v>
                </c:pt>
                <c:pt idx="20170">
                  <c:v>119290</c:v>
                </c:pt>
                <c:pt idx="20171">
                  <c:v>119289</c:v>
                </c:pt>
                <c:pt idx="20172">
                  <c:v>119287</c:v>
                </c:pt>
                <c:pt idx="20173">
                  <c:v>119283</c:v>
                </c:pt>
                <c:pt idx="20174">
                  <c:v>119278</c:v>
                </c:pt>
                <c:pt idx="20175">
                  <c:v>119268</c:v>
                </c:pt>
                <c:pt idx="20176">
                  <c:v>119263</c:v>
                </c:pt>
                <c:pt idx="20177">
                  <c:v>119260</c:v>
                </c:pt>
                <c:pt idx="20178">
                  <c:v>119260</c:v>
                </c:pt>
                <c:pt idx="20179">
                  <c:v>119257</c:v>
                </c:pt>
                <c:pt idx="20180">
                  <c:v>119256</c:v>
                </c:pt>
                <c:pt idx="20181">
                  <c:v>119253</c:v>
                </c:pt>
                <c:pt idx="20182">
                  <c:v>119249</c:v>
                </c:pt>
                <c:pt idx="20183">
                  <c:v>119246</c:v>
                </c:pt>
                <c:pt idx="20184">
                  <c:v>119238</c:v>
                </c:pt>
                <c:pt idx="20185">
                  <c:v>119236</c:v>
                </c:pt>
                <c:pt idx="20186">
                  <c:v>119236</c:v>
                </c:pt>
                <c:pt idx="20187">
                  <c:v>119234</c:v>
                </c:pt>
                <c:pt idx="20188">
                  <c:v>119232</c:v>
                </c:pt>
                <c:pt idx="20189">
                  <c:v>119231</c:v>
                </c:pt>
                <c:pt idx="20190">
                  <c:v>119226</c:v>
                </c:pt>
                <c:pt idx="20191">
                  <c:v>119225</c:v>
                </c:pt>
                <c:pt idx="20192">
                  <c:v>119224</c:v>
                </c:pt>
                <c:pt idx="20193">
                  <c:v>119223</c:v>
                </c:pt>
                <c:pt idx="20194">
                  <c:v>119223</c:v>
                </c:pt>
                <c:pt idx="20195">
                  <c:v>119205</c:v>
                </c:pt>
                <c:pt idx="20196">
                  <c:v>119202</c:v>
                </c:pt>
                <c:pt idx="20197">
                  <c:v>119201</c:v>
                </c:pt>
                <c:pt idx="20198">
                  <c:v>119201</c:v>
                </c:pt>
                <c:pt idx="20199">
                  <c:v>119199</c:v>
                </c:pt>
                <c:pt idx="20200">
                  <c:v>119199</c:v>
                </c:pt>
                <c:pt idx="20201">
                  <c:v>119197</c:v>
                </c:pt>
                <c:pt idx="20202">
                  <c:v>119196</c:v>
                </c:pt>
                <c:pt idx="20203">
                  <c:v>119192</c:v>
                </c:pt>
                <c:pt idx="20204">
                  <c:v>119188</c:v>
                </c:pt>
                <c:pt idx="20205">
                  <c:v>119184</c:v>
                </c:pt>
                <c:pt idx="20206">
                  <c:v>119175</c:v>
                </c:pt>
                <c:pt idx="20207">
                  <c:v>119173</c:v>
                </c:pt>
                <c:pt idx="20208">
                  <c:v>119172</c:v>
                </c:pt>
                <c:pt idx="20209">
                  <c:v>119168</c:v>
                </c:pt>
                <c:pt idx="20210">
                  <c:v>119167</c:v>
                </c:pt>
                <c:pt idx="20211">
                  <c:v>119164</c:v>
                </c:pt>
                <c:pt idx="20212">
                  <c:v>119162</c:v>
                </c:pt>
                <c:pt idx="20213">
                  <c:v>119160</c:v>
                </c:pt>
                <c:pt idx="20214">
                  <c:v>119158</c:v>
                </c:pt>
                <c:pt idx="20215">
                  <c:v>119150</c:v>
                </c:pt>
                <c:pt idx="20216">
                  <c:v>119148</c:v>
                </c:pt>
                <c:pt idx="20217">
                  <c:v>119143</c:v>
                </c:pt>
                <c:pt idx="20218">
                  <c:v>119135</c:v>
                </c:pt>
                <c:pt idx="20219">
                  <c:v>119134</c:v>
                </c:pt>
                <c:pt idx="20220">
                  <c:v>119132</c:v>
                </c:pt>
                <c:pt idx="20221">
                  <c:v>119122</c:v>
                </c:pt>
                <c:pt idx="20222">
                  <c:v>119120</c:v>
                </c:pt>
                <c:pt idx="20223">
                  <c:v>119119</c:v>
                </c:pt>
                <c:pt idx="20224">
                  <c:v>119115</c:v>
                </c:pt>
                <c:pt idx="20225">
                  <c:v>119099</c:v>
                </c:pt>
                <c:pt idx="20226">
                  <c:v>119097</c:v>
                </c:pt>
                <c:pt idx="20227">
                  <c:v>119094</c:v>
                </c:pt>
                <c:pt idx="20228">
                  <c:v>119090</c:v>
                </c:pt>
                <c:pt idx="20229">
                  <c:v>119087</c:v>
                </c:pt>
                <c:pt idx="20230">
                  <c:v>119086</c:v>
                </c:pt>
                <c:pt idx="20231">
                  <c:v>119084</c:v>
                </c:pt>
                <c:pt idx="20232">
                  <c:v>119082</c:v>
                </c:pt>
                <c:pt idx="20233">
                  <c:v>119082</c:v>
                </c:pt>
                <c:pt idx="20234">
                  <c:v>119079</c:v>
                </c:pt>
                <c:pt idx="20235">
                  <c:v>119077</c:v>
                </c:pt>
                <c:pt idx="20236">
                  <c:v>119072</c:v>
                </c:pt>
                <c:pt idx="20237">
                  <c:v>119066</c:v>
                </c:pt>
                <c:pt idx="20238">
                  <c:v>119066</c:v>
                </c:pt>
                <c:pt idx="20239">
                  <c:v>119065</c:v>
                </c:pt>
                <c:pt idx="20240">
                  <c:v>119057</c:v>
                </c:pt>
                <c:pt idx="20241">
                  <c:v>119055</c:v>
                </c:pt>
                <c:pt idx="20242">
                  <c:v>119054</c:v>
                </c:pt>
                <c:pt idx="20243">
                  <c:v>119053</c:v>
                </c:pt>
                <c:pt idx="20244">
                  <c:v>119053</c:v>
                </c:pt>
                <c:pt idx="20245">
                  <c:v>119052</c:v>
                </c:pt>
                <c:pt idx="20246">
                  <c:v>119045</c:v>
                </c:pt>
                <c:pt idx="20247">
                  <c:v>119038</c:v>
                </c:pt>
                <c:pt idx="20248">
                  <c:v>119037</c:v>
                </c:pt>
                <c:pt idx="20249">
                  <c:v>119036</c:v>
                </c:pt>
                <c:pt idx="20250">
                  <c:v>119036</c:v>
                </c:pt>
                <c:pt idx="20251">
                  <c:v>119032</c:v>
                </c:pt>
                <c:pt idx="20252">
                  <c:v>119025</c:v>
                </c:pt>
                <c:pt idx="20253">
                  <c:v>119024</c:v>
                </c:pt>
                <c:pt idx="20254">
                  <c:v>119018</c:v>
                </c:pt>
                <c:pt idx="20255">
                  <c:v>119018</c:v>
                </c:pt>
                <c:pt idx="20256">
                  <c:v>119017</c:v>
                </c:pt>
                <c:pt idx="20257">
                  <c:v>119013</c:v>
                </c:pt>
                <c:pt idx="20258">
                  <c:v>119008</c:v>
                </c:pt>
                <c:pt idx="20259">
                  <c:v>119005</c:v>
                </c:pt>
                <c:pt idx="20260">
                  <c:v>119004</c:v>
                </c:pt>
                <c:pt idx="20261">
                  <c:v>118997</c:v>
                </c:pt>
                <c:pt idx="20262">
                  <c:v>118995</c:v>
                </c:pt>
                <c:pt idx="20263">
                  <c:v>118992</c:v>
                </c:pt>
                <c:pt idx="20264">
                  <c:v>118992</c:v>
                </c:pt>
                <c:pt idx="20265">
                  <c:v>118991</c:v>
                </c:pt>
                <c:pt idx="20266">
                  <c:v>118987</c:v>
                </c:pt>
                <c:pt idx="20267">
                  <c:v>118983</c:v>
                </c:pt>
                <c:pt idx="20268">
                  <c:v>118979</c:v>
                </c:pt>
                <c:pt idx="20269">
                  <c:v>118978</c:v>
                </c:pt>
                <c:pt idx="20270">
                  <c:v>118978</c:v>
                </c:pt>
                <c:pt idx="20271">
                  <c:v>118973</c:v>
                </c:pt>
                <c:pt idx="20272">
                  <c:v>118971</c:v>
                </c:pt>
                <c:pt idx="20273">
                  <c:v>118968</c:v>
                </c:pt>
                <c:pt idx="20274">
                  <c:v>118960</c:v>
                </c:pt>
                <c:pt idx="20275">
                  <c:v>118958</c:v>
                </c:pt>
                <c:pt idx="20276">
                  <c:v>118939</c:v>
                </c:pt>
                <c:pt idx="20277">
                  <c:v>118937</c:v>
                </c:pt>
                <c:pt idx="20278">
                  <c:v>118929</c:v>
                </c:pt>
                <c:pt idx="20279">
                  <c:v>118923</c:v>
                </c:pt>
                <c:pt idx="20280">
                  <c:v>118923</c:v>
                </c:pt>
                <c:pt idx="20281">
                  <c:v>118915</c:v>
                </c:pt>
                <c:pt idx="20282">
                  <c:v>118915</c:v>
                </c:pt>
                <c:pt idx="20283">
                  <c:v>118913</c:v>
                </c:pt>
                <c:pt idx="20284">
                  <c:v>118911</c:v>
                </c:pt>
                <c:pt idx="20285">
                  <c:v>118911</c:v>
                </c:pt>
                <c:pt idx="20286">
                  <c:v>118910</c:v>
                </c:pt>
                <c:pt idx="20287">
                  <c:v>118906</c:v>
                </c:pt>
                <c:pt idx="20288">
                  <c:v>118905</c:v>
                </c:pt>
                <c:pt idx="20289">
                  <c:v>118895</c:v>
                </c:pt>
                <c:pt idx="20290">
                  <c:v>118889</c:v>
                </c:pt>
                <c:pt idx="20291">
                  <c:v>118888</c:v>
                </c:pt>
                <c:pt idx="20292">
                  <c:v>118885</c:v>
                </c:pt>
                <c:pt idx="20293">
                  <c:v>118883</c:v>
                </c:pt>
                <c:pt idx="20294">
                  <c:v>118873</c:v>
                </c:pt>
                <c:pt idx="20295">
                  <c:v>118872</c:v>
                </c:pt>
                <c:pt idx="20296">
                  <c:v>118869</c:v>
                </c:pt>
                <c:pt idx="20297">
                  <c:v>118866</c:v>
                </c:pt>
                <c:pt idx="20298">
                  <c:v>118865</c:v>
                </c:pt>
                <c:pt idx="20299">
                  <c:v>118844</c:v>
                </c:pt>
                <c:pt idx="20300">
                  <c:v>118838</c:v>
                </c:pt>
                <c:pt idx="20301">
                  <c:v>118834</c:v>
                </c:pt>
                <c:pt idx="20302">
                  <c:v>118830</c:v>
                </c:pt>
                <c:pt idx="20303">
                  <c:v>118828</c:v>
                </c:pt>
                <c:pt idx="20304">
                  <c:v>118827</c:v>
                </c:pt>
                <c:pt idx="20305">
                  <c:v>118823</c:v>
                </c:pt>
                <c:pt idx="20306">
                  <c:v>118820</c:v>
                </c:pt>
                <c:pt idx="20307">
                  <c:v>118814</c:v>
                </c:pt>
                <c:pt idx="20308">
                  <c:v>118813</c:v>
                </c:pt>
                <c:pt idx="20309">
                  <c:v>118803</c:v>
                </c:pt>
                <c:pt idx="20310">
                  <c:v>118798</c:v>
                </c:pt>
                <c:pt idx="20311">
                  <c:v>118797</c:v>
                </c:pt>
                <c:pt idx="20312">
                  <c:v>118792</c:v>
                </c:pt>
                <c:pt idx="20313">
                  <c:v>118791</c:v>
                </c:pt>
                <c:pt idx="20314">
                  <c:v>118789</c:v>
                </c:pt>
                <c:pt idx="20315">
                  <c:v>118785</c:v>
                </c:pt>
                <c:pt idx="20316">
                  <c:v>118783</c:v>
                </c:pt>
                <c:pt idx="20317">
                  <c:v>118773</c:v>
                </c:pt>
                <c:pt idx="20318">
                  <c:v>118768</c:v>
                </c:pt>
                <c:pt idx="20319">
                  <c:v>118768</c:v>
                </c:pt>
                <c:pt idx="20320">
                  <c:v>118767</c:v>
                </c:pt>
                <c:pt idx="20321">
                  <c:v>118766</c:v>
                </c:pt>
                <c:pt idx="20322">
                  <c:v>118761</c:v>
                </c:pt>
                <c:pt idx="20323">
                  <c:v>118758</c:v>
                </c:pt>
                <c:pt idx="20324">
                  <c:v>118750</c:v>
                </c:pt>
                <c:pt idx="20325">
                  <c:v>118746</c:v>
                </c:pt>
                <c:pt idx="20326">
                  <c:v>118746</c:v>
                </c:pt>
                <c:pt idx="20327">
                  <c:v>118746</c:v>
                </c:pt>
                <c:pt idx="20328">
                  <c:v>118741</c:v>
                </c:pt>
                <c:pt idx="20329">
                  <c:v>118740</c:v>
                </c:pt>
                <c:pt idx="20330">
                  <c:v>118736</c:v>
                </c:pt>
                <c:pt idx="20331">
                  <c:v>118736</c:v>
                </c:pt>
                <c:pt idx="20332">
                  <c:v>118736</c:v>
                </c:pt>
                <c:pt idx="20333">
                  <c:v>118729</c:v>
                </c:pt>
                <c:pt idx="20334">
                  <c:v>118727</c:v>
                </c:pt>
                <c:pt idx="20335">
                  <c:v>118725</c:v>
                </c:pt>
                <c:pt idx="20336">
                  <c:v>118719</c:v>
                </c:pt>
                <c:pt idx="20337">
                  <c:v>118716</c:v>
                </c:pt>
                <c:pt idx="20338">
                  <c:v>118715</c:v>
                </c:pt>
                <c:pt idx="20339">
                  <c:v>118712</c:v>
                </c:pt>
                <c:pt idx="20340">
                  <c:v>118705</c:v>
                </c:pt>
                <c:pt idx="20341">
                  <c:v>118705</c:v>
                </c:pt>
                <c:pt idx="20342">
                  <c:v>118704</c:v>
                </c:pt>
                <c:pt idx="20343">
                  <c:v>118698</c:v>
                </c:pt>
                <c:pt idx="20344">
                  <c:v>118697</c:v>
                </c:pt>
                <c:pt idx="20345">
                  <c:v>118697</c:v>
                </c:pt>
                <c:pt idx="20346">
                  <c:v>118696</c:v>
                </c:pt>
                <c:pt idx="20347">
                  <c:v>118692</c:v>
                </c:pt>
                <c:pt idx="20348">
                  <c:v>118692</c:v>
                </c:pt>
                <c:pt idx="20349">
                  <c:v>118687</c:v>
                </c:pt>
                <c:pt idx="20350">
                  <c:v>118682</c:v>
                </c:pt>
                <c:pt idx="20351">
                  <c:v>118681</c:v>
                </c:pt>
                <c:pt idx="20352">
                  <c:v>118675</c:v>
                </c:pt>
                <c:pt idx="20353">
                  <c:v>118670</c:v>
                </c:pt>
                <c:pt idx="20354">
                  <c:v>118669</c:v>
                </c:pt>
                <c:pt idx="20355">
                  <c:v>118668</c:v>
                </c:pt>
                <c:pt idx="20356">
                  <c:v>118666</c:v>
                </c:pt>
                <c:pt idx="20357">
                  <c:v>118666</c:v>
                </c:pt>
                <c:pt idx="20358">
                  <c:v>118663</c:v>
                </c:pt>
                <c:pt idx="20359">
                  <c:v>118655</c:v>
                </c:pt>
                <c:pt idx="20360">
                  <c:v>118655</c:v>
                </c:pt>
                <c:pt idx="20361">
                  <c:v>118655</c:v>
                </c:pt>
                <c:pt idx="20362">
                  <c:v>118655</c:v>
                </c:pt>
                <c:pt idx="20363">
                  <c:v>118653</c:v>
                </c:pt>
                <c:pt idx="20364">
                  <c:v>118647</c:v>
                </c:pt>
                <c:pt idx="20365">
                  <c:v>118645</c:v>
                </c:pt>
                <c:pt idx="20366">
                  <c:v>118643</c:v>
                </c:pt>
                <c:pt idx="20367">
                  <c:v>118642</c:v>
                </c:pt>
                <c:pt idx="20368">
                  <c:v>118640</c:v>
                </c:pt>
                <c:pt idx="20369">
                  <c:v>118638</c:v>
                </c:pt>
                <c:pt idx="20370">
                  <c:v>118635</c:v>
                </c:pt>
                <c:pt idx="20371">
                  <c:v>118635</c:v>
                </c:pt>
                <c:pt idx="20372">
                  <c:v>118630</c:v>
                </c:pt>
                <c:pt idx="20373">
                  <c:v>118630</c:v>
                </c:pt>
                <c:pt idx="20374">
                  <c:v>118625</c:v>
                </c:pt>
                <c:pt idx="20375">
                  <c:v>118624</c:v>
                </c:pt>
                <c:pt idx="20376">
                  <c:v>118610</c:v>
                </c:pt>
                <c:pt idx="20377">
                  <c:v>118604</c:v>
                </c:pt>
                <c:pt idx="20378">
                  <c:v>118603</c:v>
                </c:pt>
                <c:pt idx="20379">
                  <c:v>118599</c:v>
                </c:pt>
                <c:pt idx="20380">
                  <c:v>118597</c:v>
                </c:pt>
                <c:pt idx="20381">
                  <c:v>118597</c:v>
                </c:pt>
                <c:pt idx="20382">
                  <c:v>118595</c:v>
                </c:pt>
                <c:pt idx="20383">
                  <c:v>118590</c:v>
                </c:pt>
                <c:pt idx="20384">
                  <c:v>118576</c:v>
                </c:pt>
                <c:pt idx="20385">
                  <c:v>118573</c:v>
                </c:pt>
                <c:pt idx="20386">
                  <c:v>118554</c:v>
                </c:pt>
                <c:pt idx="20387">
                  <c:v>118551</c:v>
                </c:pt>
                <c:pt idx="20388">
                  <c:v>118540</c:v>
                </c:pt>
                <c:pt idx="20389">
                  <c:v>118533</c:v>
                </c:pt>
                <c:pt idx="20390">
                  <c:v>118530</c:v>
                </c:pt>
                <c:pt idx="20391">
                  <c:v>118525</c:v>
                </c:pt>
                <c:pt idx="20392">
                  <c:v>118522</c:v>
                </c:pt>
                <c:pt idx="20393">
                  <c:v>118521</c:v>
                </c:pt>
                <c:pt idx="20394">
                  <c:v>118516</c:v>
                </c:pt>
                <c:pt idx="20395">
                  <c:v>118508</c:v>
                </c:pt>
                <c:pt idx="20396">
                  <c:v>118505</c:v>
                </c:pt>
                <c:pt idx="20397">
                  <c:v>118505</c:v>
                </c:pt>
                <c:pt idx="20398">
                  <c:v>118502</c:v>
                </c:pt>
                <c:pt idx="20399">
                  <c:v>118500</c:v>
                </c:pt>
                <c:pt idx="20400">
                  <c:v>118498</c:v>
                </c:pt>
                <c:pt idx="20401">
                  <c:v>118497</c:v>
                </c:pt>
                <c:pt idx="20402">
                  <c:v>118496</c:v>
                </c:pt>
                <c:pt idx="20403">
                  <c:v>118494</c:v>
                </c:pt>
                <c:pt idx="20404">
                  <c:v>118494</c:v>
                </c:pt>
                <c:pt idx="20405">
                  <c:v>118489</c:v>
                </c:pt>
                <c:pt idx="20406">
                  <c:v>118487</c:v>
                </c:pt>
                <c:pt idx="20407">
                  <c:v>118487</c:v>
                </c:pt>
                <c:pt idx="20408">
                  <c:v>118486</c:v>
                </c:pt>
                <c:pt idx="20409">
                  <c:v>118480</c:v>
                </c:pt>
                <c:pt idx="20410">
                  <c:v>118477</c:v>
                </c:pt>
                <c:pt idx="20411">
                  <c:v>118472</c:v>
                </c:pt>
                <c:pt idx="20412">
                  <c:v>118468</c:v>
                </c:pt>
                <c:pt idx="20413">
                  <c:v>118465</c:v>
                </c:pt>
                <c:pt idx="20414">
                  <c:v>118465</c:v>
                </c:pt>
                <c:pt idx="20415">
                  <c:v>118464</c:v>
                </c:pt>
                <c:pt idx="20416">
                  <c:v>118460</c:v>
                </c:pt>
                <c:pt idx="20417">
                  <c:v>118459</c:v>
                </c:pt>
                <c:pt idx="20418">
                  <c:v>118457</c:v>
                </c:pt>
                <c:pt idx="20419">
                  <c:v>118455</c:v>
                </c:pt>
                <c:pt idx="20420">
                  <c:v>118454</c:v>
                </c:pt>
                <c:pt idx="20421">
                  <c:v>118452</c:v>
                </c:pt>
                <c:pt idx="20422">
                  <c:v>118448</c:v>
                </c:pt>
                <c:pt idx="20423">
                  <c:v>118446</c:v>
                </c:pt>
                <c:pt idx="20424">
                  <c:v>118445</c:v>
                </c:pt>
                <c:pt idx="20425">
                  <c:v>118444</c:v>
                </c:pt>
                <c:pt idx="20426">
                  <c:v>118444</c:v>
                </c:pt>
                <c:pt idx="20427">
                  <c:v>118440</c:v>
                </c:pt>
                <c:pt idx="20428">
                  <c:v>118439</c:v>
                </c:pt>
                <c:pt idx="20429">
                  <c:v>118438</c:v>
                </c:pt>
                <c:pt idx="20430">
                  <c:v>118436</c:v>
                </c:pt>
                <c:pt idx="20431">
                  <c:v>118435</c:v>
                </c:pt>
                <c:pt idx="20432">
                  <c:v>118429</c:v>
                </c:pt>
                <c:pt idx="20433">
                  <c:v>118423</c:v>
                </c:pt>
                <c:pt idx="20434">
                  <c:v>118422</c:v>
                </c:pt>
                <c:pt idx="20435">
                  <c:v>118421</c:v>
                </c:pt>
                <c:pt idx="20436">
                  <c:v>118406</c:v>
                </c:pt>
                <c:pt idx="20437">
                  <c:v>118406</c:v>
                </c:pt>
                <c:pt idx="20438">
                  <c:v>118404</c:v>
                </c:pt>
                <c:pt idx="20439">
                  <c:v>118401</c:v>
                </c:pt>
                <c:pt idx="20440">
                  <c:v>118401</c:v>
                </c:pt>
                <c:pt idx="20441">
                  <c:v>118400</c:v>
                </c:pt>
                <c:pt idx="20442">
                  <c:v>118400</c:v>
                </c:pt>
                <c:pt idx="20443">
                  <c:v>118399</c:v>
                </c:pt>
                <c:pt idx="20444">
                  <c:v>118395</c:v>
                </c:pt>
                <c:pt idx="20445">
                  <c:v>118392</c:v>
                </c:pt>
                <c:pt idx="20446">
                  <c:v>118391</c:v>
                </c:pt>
                <c:pt idx="20447">
                  <c:v>118384</c:v>
                </c:pt>
                <c:pt idx="20448">
                  <c:v>118382</c:v>
                </c:pt>
                <c:pt idx="20449">
                  <c:v>118381</c:v>
                </c:pt>
                <c:pt idx="20450">
                  <c:v>118381</c:v>
                </c:pt>
                <c:pt idx="20451">
                  <c:v>118380</c:v>
                </c:pt>
                <c:pt idx="20452">
                  <c:v>118376</c:v>
                </c:pt>
                <c:pt idx="20453">
                  <c:v>118373</c:v>
                </c:pt>
                <c:pt idx="20454">
                  <c:v>118371</c:v>
                </c:pt>
                <c:pt idx="20455">
                  <c:v>118369</c:v>
                </c:pt>
                <c:pt idx="20456">
                  <c:v>118368</c:v>
                </c:pt>
                <c:pt idx="20457">
                  <c:v>118367</c:v>
                </c:pt>
                <c:pt idx="20458">
                  <c:v>118367</c:v>
                </c:pt>
                <c:pt idx="20459">
                  <c:v>118366</c:v>
                </c:pt>
                <c:pt idx="20460">
                  <c:v>118361</c:v>
                </c:pt>
                <c:pt idx="20461">
                  <c:v>118359</c:v>
                </c:pt>
                <c:pt idx="20462">
                  <c:v>118357</c:v>
                </c:pt>
                <c:pt idx="20463">
                  <c:v>118341</c:v>
                </c:pt>
                <c:pt idx="20464">
                  <c:v>118336</c:v>
                </c:pt>
                <c:pt idx="20465">
                  <c:v>118334</c:v>
                </c:pt>
                <c:pt idx="20466">
                  <c:v>118326</c:v>
                </c:pt>
                <c:pt idx="20467">
                  <c:v>118324</c:v>
                </c:pt>
                <c:pt idx="20468">
                  <c:v>118321</c:v>
                </c:pt>
                <c:pt idx="20469">
                  <c:v>118315</c:v>
                </c:pt>
                <c:pt idx="20470">
                  <c:v>118311</c:v>
                </c:pt>
                <c:pt idx="20471">
                  <c:v>118310</c:v>
                </c:pt>
                <c:pt idx="20472">
                  <c:v>118294</c:v>
                </c:pt>
                <c:pt idx="20473">
                  <c:v>118281</c:v>
                </c:pt>
                <c:pt idx="20474">
                  <c:v>118272</c:v>
                </c:pt>
                <c:pt idx="20475">
                  <c:v>118270</c:v>
                </c:pt>
                <c:pt idx="20476">
                  <c:v>118267</c:v>
                </c:pt>
                <c:pt idx="20477">
                  <c:v>118267</c:v>
                </c:pt>
                <c:pt idx="20478">
                  <c:v>118262</c:v>
                </c:pt>
                <c:pt idx="20479">
                  <c:v>118260</c:v>
                </c:pt>
                <c:pt idx="20480">
                  <c:v>118259</c:v>
                </c:pt>
                <c:pt idx="20481">
                  <c:v>118256</c:v>
                </c:pt>
                <c:pt idx="20482">
                  <c:v>118252</c:v>
                </c:pt>
                <c:pt idx="20483">
                  <c:v>118249</c:v>
                </c:pt>
                <c:pt idx="20484">
                  <c:v>118249</c:v>
                </c:pt>
                <c:pt idx="20485">
                  <c:v>118243</c:v>
                </c:pt>
                <c:pt idx="20486">
                  <c:v>118239</c:v>
                </c:pt>
                <c:pt idx="20487">
                  <c:v>118233</c:v>
                </c:pt>
                <c:pt idx="20488">
                  <c:v>118229</c:v>
                </c:pt>
                <c:pt idx="20489">
                  <c:v>118223</c:v>
                </c:pt>
                <c:pt idx="20490">
                  <c:v>118221</c:v>
                </c:pt>
                <c:pt idx="20491">
                  <c:v>118220</c:v>
                </c:pt>
                <c:pt idx="20492">
                  <c:v>118212</c:v>
                </c:pt>
                <c:pt idx="20493">
                  <c:v>118212</c:v>
                </c:pt>
                <c:pt idx="20494">
                  <c:v>118202</c:v>
                </c:pt>
                <c:pt idx="20495">
                  <c:v>118199</c:v>
                </c:pt>
                <c:pt idx="20496">
                  <c:v>118194</c:v>
                </c:pt>
                <c:pt idx="20497">
                  <c:v>118188</c:v>
                </c:pt>
                <c:pt idx="20498">
                  <c:v>118183</c:v>
                </c:pt>
                <c:pt idx="20499">
                  <c:v>118181</c:v>
                </c:pt>
                <c:pt idx="20500">
                  <c:v>118181</c:v>
                </c:pt>
                <c:pt idx="20501">
                  <c:v>118175</c:v>
                </c:pt>
                <c:pt idx="20502">
                  <c:v>118175</c:v>
                </c:pt>
                <c:pt idx="20503">
                  <c:v>118172</c:v>
                </c:pt>
                <c:pt idx="20504">
                  <c:v>118168</c:v>
                </c:pt>
                <c:pt idx="20505">
                  <c:v>118166</c:v>
                </c:pt>
                <c:pt idx="20506">
                  <c:v>118166</c:v>
                </c:pt>
                <c:pt idx="20507">
                  <c:v>118161</c:v>
                </c:pt>
                <c:pt idx="20508">
                  <c:v>118152</c:v>
                </c:pt>
                <c:pt idx="20509">
                  <c:v>118151</c:v>
                </c:pt>
                <c:pt idx="20510">
                  <c:v>118150</c:v>
                </c:pt>
                <c:pt idx="20511">
                  <c:v>118148</c:v>
                </c:pt>
                <c:pt idx="20512">
                  <c:v>118138</c:v>
                </c:pt>
                <c:pt idx="20513">
                  <c:v>118133</c:v>
                </c:pt>
                <c:pt idx="20514">
                  <c:v>118133</c:v>
                </c:pt>
                <c:pt idx="20515">
                  <c:v>118131</c:v>
                </c:pt>
                <c:pt idx="20516">
                  <c:v>118130</c:v>
                </c:pt>
                <c:pt idx="20517">
                  <c:v>118127</c:v>
                </c:pt>
                <c:pt idx="20518">
                  <c:v>118124</c:v>
                </c:pt>
                <c:pt idx="20519">
                  <c:v>118121</c:v>
                </c:pt>
                <c:pt idx="20520">
                  <c:v>118121</c:v>
                </c:pt>
                <c:pt idx="20521">
                  <c:v>118117</c:v>
                </c:pt>
                <c:pt idx="20522">
                  <c:v>118115</c:v>
                </c:pt>
                <c:pt idx="20523">
                  <c:v>118097</c:v>
                </c:pt>
                <c:pt idx="20524">
                  <c:v>118088</c:v>
                </c:pt>
                <c:pt idx="20525">
                  <c:v>118086</c:v>
                </c:pt>
                <c:pt idx="20526">
                  <c:v>118080</c:v>
                </c:pt>
                <c:pt idx="20527">
                  <c:v>118069</c:v>
                </c:pt>
                <c:pt idx="20528">
                  <c:v>118069</c:v>
                </c:pt>
                <c:pt idx="20529">
                  <c:v>118067</c:v>
                </c:pt>
                <c:pt idx="20530">
                  <c:v>118059</c:v>
                </c:pt>
                <c:pt idx="20531">
                  <c:v>118057</c:v>
                </c:pt>
                <c:pt idx="20532">
                  <c:v>118055</c:v>
                </c:pt>
                <c:pt idx="20533">
                  <c:v>118055</c:v>
                </c:pt>
                <c:pt idx="20534">
                  <c:v>118054</c:v>
                </c:pt>
                <c:pt idx="20535">
                  <c:v>118047</c:v>
                </c:pt>
                <c:pt idx="20536">
                  <c:v>118043</c:v>
                </c:pt>
                <c:pt idx="20537">
                  <c:v>118041</c:v>
                </c:pt>
                <c:pt idx="20538">
                  <c:v>118040</c:v>
                </c:pt>
                <c:pt idx="20539">
                  <c:v>118034</c:v>
                </c:pt>
                <c:pt idx="20540">
                  <c:v>118033</c:v>
                </c:pt>
                <c:pt idx="20541">
                  <c:v>118032</c:v>
                </c:pt>
                <c:pt idx="20542">
                  <c:v>118032</c:v>
                </c:pt>
                <c:pt idx="20543">
                  <c:v>118030</c:v>
                </c:pt>
                <c:pt idx="20544">
                  <c:v>118030</c:v>
                </c:pt>
                <c:pt idx="20545">
                  <c:v>118029</c:v>
                </c:pt>
                <c:pt idx="20546">
                  <c:v>118024</c:v>
                </c:pt>
                <c:pt idx="20547">
                  <c:v>118022</c:v>
                </c:pt>
                <c:pt idx="20548">
                  <c:v>118019</c:v>
                </c:pt>
                <c:pt idx="20549">
                  <c:v>118015</c:v>
                </c:pt>
                <c:pt idx="20550">
                  <c:v>118008</c:v>
                </c:pt>
                <c:pt idx="20551">
                  <c:v>118008</c:v>
                </c:pt>
                <c:pt idx="20552">
                  <c:v>118006</c:v>
                </c:pt>
                <c:pt idx="20553">
                  <c:v>118003</c:v>
                </c:pt>
                <c:pt idx="20554">
                  <c:v>117995</c:v>
                </c:pt>
                <c:pt idx="20555">
                  <c:v>117989</c:v>
                </c:pt>
                <c:pt idx="20556">
                  <c:v>117988</c:v>
                </c:pt>
                <c:pt idx="20557">
                  <c:v>117981</c:v>
                </c:pt>
                <c:pt idx="20558">
                  <c:v>117976</c:v>
                </c:pt>
                <c:pt idx="20559">
                  <c:v>117974</c:v>
                </c:pt>
                <c:pt idx="20560">
                  <c:v>117969</c:v>
                </c:pt>
                <c:pt idx="20561">
                  <c:v>117967</c:v>
                </c:pt>
                <c:pt idx="20562">
                  <c:v>117966</c:v>
                </c:pt>
                <c:pt idx="20563">
                  <c:v>117952</c:v>
                </c:pt>
                <c:pt idx="20564">
                  <c:v>117950</c:v>
                </c:pt>
                <c:pt idx="20565">
                  <c:v>117946</c:v>
                </c:pt>
                <c:pt idx="20566">
                  <c:v>117945</c:v>
                </c:pt>
                <c:pt idx="20567">
                  <c:v>117944</c:v>
                </c:pt>
                <c:pt idx="20568">
                  <c:v>117942</c:v>
                </c:pt>
                <c:pt idx="20569">
                  <c:v>117939</c:v>
                </c:pt>
                <c:pt idx="20570">
                  <c:v>117939</c:v>
                </c:pt>
                <c:pt idx="20571">
                  <c:v>117935</c:v>
                </c:pt>
                <c:pt idx="20572">
                  <c:v>117935</c:v>
                </c:pt>
                <c:pt idx="20573">
                  <c:v>117929</c:v>
                </c:pt>
                <c:pt idx="20574">
                  <c:v>117927</c:v>
                </c:pt>
                <c:pt idx="20575">
                  <c:v>117915</c:v>
                </c:pt>
                <c:pt idx="20576">
                  <c:v>117914</c:v>
                </c:pt>
                <c:pt idx="20577">
                  <c:v>117905</c:v>
                </c:pt>
                <c:pt idx="20578">
                  <c:v>117904</c:v>
                </c:pt>
                <c:pt idx="20579">
                  <c:v>117902</c:v>
                </c:pt>
                <c:pt idx="20580">
                  <c:v>117901</c:v>
                </c:pt>
                <c:pt idx="20581">
                  <c:v>117898</c:v>
                </c:pt>
                <c:pt idx="20582">
                  <c:v>117897</c:v>
                </c:pt>
                <c:pt idx="20583">
                  <c:v>117897</c:v>
                </c:pt>
                <c:pt idx="20584">
                  <c:v>117892</c:v>
                </c:pt>
                <c:pt idx="20585">
                  <c:v>117888</c:v>
                </c:pt>
                <c:pt idx="20586">
                  <c:v>117887</c:v>
                </c:pt>
                <c:pt idx="20587">
                  <c:v>117884</c:v>
                </c:pt>
                <c:pt idx="20588">
                  <c:v>117884</c:v>
                </c:pt>
                <c:pt idx="20589">
                  <c:v>117882</c:v>
                </c:pt>
                <c:pt idx="20590">
                  <c:v>117879</c:v>
                </c:pt>
                <c:pt idx="20591">
                  <c:v>117878</c:v>
                </c:pt>
                <c:pt idx="20592">
                  <c:v>117874</c:v>
                </c:pt>
                <c:pt idx="20593">
                  <c:v>117869</c:v>
                </c:pt>
                <c:pt idx="20594">
                  <c:v>117869</c:v>
                </c:pt>
                <c:pt idx="20595">
                  <c:v>117866</c:v>
                </c:pt>
                <c:pt idx="20596">
                  <c:v>117857</c:v>
                </c:pt>
                <c:pt idx="20597">
                  <c:v>117856</c:v>
                </c:pt>
                <c:pt idx="20598">
                  <c:v>117856</c:v>
                </c:pt>
                <c:pt idx="20599">
                  <c:v>117846</c:v>
                </c:pt>
                <c:pt idx="20600">
                  <c:v>117838</c:v>
                </c:pt>
                <c:pt idx="20601">
                  <c:v>117836</c:v>
                </c:pt>
                <c:pt idx="20602">
                  <c:v>117828</c:v>
                </c:pt>
                <c:pt idx="20603">
                  <c:v>117828</c:v>
                </c:pt>
                <c:pt idx="20604">
                  <c:v>117820</c:v>
                </c:pt>
                <c:pt idx="20605">
                  <c:v>117820</c:v>
                </c:pt>
                <c:pt idx="20606">
                  <c:v>117818</c:v>
                </c:pt>
                <c:pt idx="20607">
                  <c:v>117817</c:v>
                </c:pt>
                <c:pt idx="20608">
                  <c:v>117814</c:v>
                </c:pt>
                <c:pt idx="20609">
                  <c:v>117812</c:v>
                </c:pt>
                <c:pt idx="20610">
                  <c:v>117808</c:v>
                </c:pt>
                <c:pt idx="20611">
                  <c:v>117803</c:v>
                </c:pt>
                <c:pt idx="20612">
                  <c:v>117798</c:v>
                </c:pt>
                <c:pt idx="20613">
                  <c:v>117795</c:v>
                </c:pt>
                <c:pt idx="20614">
                  <c:v>117789</c:v>
                </c:pt>
                <c:pt idx="20615">
                  <c:v>117788</c:v>
                </c:pt>
                <c:pt idx="20616">
                  <c:v>117784</c:v>
                </c:pt>
                <c:pt idx="20617">
                  <c:v>117783</c:v>
                </c:pt>
                <c:pt idx="20618">
                  <c:v>117781</c:v>
                </c:pt>
                <c:pt idx="20619">
                  <c:v>117776</c:v>
                </c:pt>
                <c:pt idx="20620">
                  <c:v>117766</c:v>
                </c:pt>
                <c:pt idx="20621">
                  <c:v>117759</c:v>
                </c:pt>
                <c:pt idx="20622">
                  <c:v>117758</c:v>
                </c:pt>
                <c:pt idx="20623">
                  <c:v>117757</c:v>
                </c:pt>
                <c:pt idx="20624">
                  <c:v>117755</c:v>
                </c:pt>
                <c:pt idx="20625">
                  <c:v>117754</c:v>
                </c:pt>
                <c:pt idx="20626">
                  <c:v>117744</c:v>
                </c:pt>
                <c:pt idx="20627">
                  <c:v>117744</c:v>
                </c:pt>
                <c:pt idx="20628">
                  <c:v>117733</c:v>
                </c:pt>
                <c:pt idx="20629">
                  <c:v>117731</c:v>
                </c:pt>
                <c:pt idx="20630">
                  <c:v>117714</c:v>
                </c:pt>
                <c:pt idx="20631">
                  <c:v>117712</c:v>
                </c:pt>
                <c:pt idx="20632">
                  <c:v>117710</c:v>
                </c:pt>
                <c:pt idx="20633">
                  <c:v>117703</c:v>
                </c:pt>
                <c:pt idx="20634">
                  <c:v>117700</c:v>
                </c:pt>
                <c:pt idx="20635">
                  <c:v>117697</c:v>
                </c:pt>
                <c:pt idx="20636">
                  <c:v>117694</c:v>
                </c:pt>
                <c:pt idx="20637">
                  <c:v>117692</c:v>
                </c:pt>
                <c:pt idx="20638">
                  <c:v>117690</c:v>
                </c:pt>
                <c:pt idx="20639">
                  <c:v>117675</c:v>
                </c:pt>
                <c:pt idx="20640">
                  <c:v>117669</c:v>
                </c:pt>
                <c:pt idx="20641">
                  <c:v>117664</c:v>
                </c:pt>
                <c:pt idx="20642">
                  <c:v>117663</c:v>
                </c:pt>
                <c:pt idx="20643">
                  <c:v>117658</c:v>
                </c:pt>
                <c:pt idx="20644">
                  <c:v>117652</c:v>
                </c:pt>
                <c:pt idx="20645">
                  <c:v>117651</c:v>
                </c:pt>
                <c:pt idx="20646">
                  <c:v>117649</c:v>
                </c:pt>
                <c:pt idx="20647">
                  <c:v>117647</c:v>
                </c:pt>
                <c:pt idx="20648">
                  <c:v>117646</c:v>
                </c:pt>
                <c:pt idx="20649">
                  <c:v>117632</c:v>
                </c:pt>
                <c:pt idx="20650">
                  <c:v>117628</c:v>
                </c:pt>
                <c:pt idx="20651">
                  <c:v>117626</c:v>
                </c:pt>
                <c:pt idx="20652">
                  <c:v>117621</c:v>
                </c:pt>
                <c:pt idx="20653">
                  <c:v>117618</c:v>
                </c:pt>
                <c:pt idx="20654">
                  <c:v>117613</c:v>
                </c:pt>
                <c:pt idx="20655">
                  <c:v>117612</c:v>
                </c:pt>
                <c:pt idx="20656">
                  <c:v>117611</c:v>
                </c:pt>
                <c:pt idx="20657">
                  <c:v>117607</c:v>
                </c:pt>
                <c:pt idx="20658">
                  <c:v>117605</c:v>
                </c:pt>
                <c:pt idx="20659">
                  <c:v>117599</c:v>
                </c:pt>
                <c:pt idx="20660">
                  <c:v>117588</c:v>
                </c:pt>
                <c:pt idx="20661">
                  <c:v>117587</c:v>
                </c:pt>
                <c:pt idx="20662">
                  <c:v>117586</c:v>
                </c:pt>
                <c:pt idx="20663">
                  <c:v>117584</c:v>
                </c:pt>
                <c:pt idx="20664">
                  <c:v>117572</c:v>
                </c:pt>
                <c:pt idx="20665">
                  <c:v>117571</c:v>
                </c:pt>
                <c:pt idx="20666">
                  <c:v>117568</c:v>
                </c:pt>
                <c:pt idx="20667">
                  <c:v>117567</c:v>
                </c:pt>
                <c:pt idx="20668">
                  <c:v>117564</c:v>
                </c:pt>
                <c:pt idx="20669">
                  <c:v>117558</c:v>
                </c:pt>
                <c:pt idx="20670">
                  <c:v>117553</c:v>
                </c:pt>
                <c:pt idx="20671">
                  <c:v>117552</c:v>
                </c:pt>
                <c:pt idx="20672">
                  <c:v>117550</c:v>
                </c:pt>
                <c:pt idx="20673">
                  <c:v>117547</c:v>
                </c:pt>
                <c:pt idx="20674">
                  <c:v>117543</c:v>
                </c:pt>
                <c:pt idx="20675">
                  <c:v>117536</c:v>
                </c:pt>
                <c:pt idx="20676">
                  <c:v>117535</c:v>
                </c:pt>
                <c:pt idx="20677">
                  <c:v>117535</c:v>
                </c:pt>
                <c:pt idx="20678">
                  <c:v>117533</c:v>
                </c:pt>
                <c:pt idx="20679">
                  <c:v>117523</c:v>
                </c:pt>
                <c:pt idx="20680">
                  <c:v>117521</c:v>
                </c:pt>
                <c:pt idx="20681">
                  <c:v>117519</c:v>
                </c:pt>
                <c:pt idx="20682">
                  <c:v>117518</c:v>
                </c:pt>
                <c:pt idx="20683">
                  <c:v>117517</c:v>
                </c:pt>
                <c:pt idx="20684">
                  <c:v>117510</c:v>
                </c:pt>
                <c:pt idx="20685">
                  <c:v>117510</c:v>
                </c:pt>
                <c:pt idx="20686">
                  <c:v>117507</c:v>
                </c:pt>
                <c:pt idx="20687">
                  <c:v>117504</c:v>
                </c:pt>
                <c:pt idx="20688">
                  <c:v>117501</c:v>
                </c:pt>
                <c:pt idx="20689">
                  <c:v>117499</c:v>
                </c:pt>
                <c:pt idx="20690">
                  <c:v>117497</c:v>
                </c:pt>
                <c:pt idx="20691">
                  <c:v>117497</c:v>
                </c:pt>
                <c:pt idx="20692">
                  <c:v>117497</c:v>
                </c:pt>
                <c:pt idx="20693">
                  <c:v>117493</c:v>
                </c:pt>
                <c:pt idx="20694">
                  <c:v>117490</c:v>
                </c:pt>
                <c:pt idx="20695">
                  <c:v>117485</c:v>
                </c:pt>
                <c:pt idx="20696">
                  <c:v>117483</c:v>
                </c:pt>
                <c:pt idx="20697">
                  <c:v>117464</c:v>
                </c:pt>
                <c:pt idx="20698">
                  <c:v>117463</c:v>
                </c:pt>
                <c:pt idx="20699">
                  <c:v>117463</c:v>
                </c:pt>
                <c:pt idx="20700">
                  <c:v>117453</c:v>
                </c:pt>
                <c:pt idx="20701">
                  <c:v>117445</c:v>
                </c:pt>
                <c:pt idx="20702">
                  <c:v>117442</c:v>
                </c:pt>
                <c:pt idx="20703">
                  <c:v>117442</c:v>
                </c:pt>
                <c:pt idx="20704">
                  <c:v>117439</c:v>
                </c:pt>
                <c:pt idx="20705">
                  <c:v>117439</c:v>
                </c:pt>
                <c:pt idx="20706">
                  <c:v>117435</c:v>
                </c:pt>
                <c:pt idx="20707">
                  <c:v>117435</c:v>
                </c:pt>
                <c:pt idx="20708">
                  <c:v>117427</c:v>
                </c:pt>
                <c:pt idx="20709">
                  <c:v>117422</c:v>
                </c:pt>
                <c:pt idx="20710">
                  <c:v>117405</c:v>
                </c:pt>
                <c:pt idx="20711">
                  <c:v>117400</c:v>
                </c:pt>
                <c:pt idx="20712">
                  <c:v>117400</c:v>
                </c:pt>
                <c:pt idx="20713">
                  <c:v>117400</c:v>
                </c:pt>
                <c:pt idx="20714">
                  <c:v>117397</c:v>
                </c:pt>
                <c:pt idx="20715">
                  <c:v>117391</c:v>
                </c:pt>
                <c:pt idx="20716">
                  <c:v>117391</c:v>
                </c:pt>
                <c:pt idx="20717">
                  <c:v>117388</c:v>
                </c:pt>
                <c:pt idx="20718">
                  <c:v>117384</c:v>
                </c:pt>
                <c:pt idx="20719">
                  <c:v>117381</c:v>
                </c:pt>
                <c:pt idx="20720">
                  <c:v>117379</c:v>
                </c:pt>
                <c:pt idx="20721">
                  <c:v>117378</c:v>
                </c:pt>
                <c:pt idx="20722">
                  <c:v>117378</c:v>
                </c:pt>
                <c:pt idx="20723">
                  <c:v>117370</c:v>
                </c:pt>
                <c:pt idx="20724">
                  <c:v>117365</c:v>
                </c:pt>
                <c:pt idx="20725">
                  <c:v>117365</c:v>
                </c:pt>
                <c:pt idx="20726">
                  <c:v>117364</c:v>
                </c:pt>
                <c:pt idx="20727">
                  <c:v>117360</c:v>
                </c:pt>
                <c:pt idx="20728">
                  <c:v>117351</c:v>
                </c:pt>
                <c:pt idx="20729">
                  <c:v>117351</c:v>
                </c:pt>
                <c:pt idx="20730">
                  <c:v>117345</c:v>
                </c:pt>
                <c:pt idx="20731">
                  <c:v>117343</c:v>
                </c:pt>
                <c:pt idx="20732">
                  <c:v>117343</c:v>
                </c:pt>
                <c:pt idx="20733">
                  <c:v>117340</c:v>
                </c:pt>
                <c:pt idx="20734">
                  <c:v>117339</c:v>
                </c:pt>
                <c:pt idx="20735">
                  <c:v>117337</c:v>
                </c:pt>
                <c:pt idx="20736">
                  <c:v>117334</c:v>
                </c:pt>
                <c:pt idx="20737">
                  <c:v>117334</c:v>
                </c:pt>
                <c:pt idx="20738">
                  <c:v>117330</c:v>
                </c:pt>
                <c:pt idx="20739">
                  <c:v>117329</c:v>
                </c:pt>
                <c:pt idx="20740">
                  <c:v>117328</c:v>
                </c:pt>
                <c:pt idx="20741">
                  <c:v>117327</c:v>
                </c:pt>
                <c:pt idx="20742">
                  <c:v>117326</c:v>
                </c:pt>
                <c:pt idx="20743">
                  <c:v>117323</c:v>
                </c:pt>
                <c:pt idx="20744">
                  <c:v>117322</c:v>
                </c:pt>
                <c:pt idx="20745">
                  <c:v>117322</c:v>
                </c:pt>
                <c:pt idx="20746">
                  <c:v>117320</c:v>
                </c:pt>
                <c:pt idx="20747">
                  <c:v>117311</c:v>
                </c:pt>
                <c:pt idx="20748">
                  <c:v>117309</c:v>
                </c:pt>
                <c:pt idx="20749">
                  <c:v>117305</c:v>
                </c:pt>
                <c:pt idx="20750">
                  <c:v>117300</c:v>
                </c:pt>
                <c:pt idx="20751">
                  <c:v>117295</c:v>
                </c:pt>
                <c:pt idx="20752">
                  <c:v>117290</c:v>
                </c:pt>
                <c:pt idx="20753">
                  <c:v>117284</c:v>
                </c:pt>
                <c:pt idx="20754">
                  <c:v>117284</c:v>
                </c:pt>
                <c:pt idx="20755">
                  <c:v>117283</c:v>
                </c:pt>
                <c:pt idx="20756">
                  <c:v>117282</c:v>
                </c:pt>
                <c:pt idx="20757">
                  <c:v>117279</c:v>
                </c:pt>
                <c:pt idx="20758">
                  <c:v>117278</c:v>
                </c:pt>
                <c:pt idx="20759">
                  <c:v>117276</c:v>
                </c:pt>
                <c:pt idx="20760">
                  <c:v>117275</c:v>
                </c:pt>
                <c:pt idx="20761">
                  <c:v>117271</c:v>
                </c:pt>
                <c:pt idx="20762">
                  <c:v>117270</c:v>
                </c:pt>
                <c:pt idx="20763">
                  <c:v>117266</c:v>
                </c:pt>
                <c:pt idx="20764">
                  <c:v>117264</c:v>
                </c:pt>
                <c:pt idx="20765">
                  <c:v>117262</c:v>
                </c:pt>
                <c:pt idx="20766">
                  <c:v>117259</c:v>
                </c:pt>
                <c:pt idx="20767">
                  <c:v>117249</c:v>
                </c:pt>
                <c:pt idx="20768">
                  <c:v>117248</c:v>
                </c:pt>
                <c:pt idx="20769">
                  <c:v>117245</c:v>
                </c:pt>
                <c:pt idx="20770">
                  <c:v>117243</c:v>
                </c:pt>
                <c:pt idx="20771">
                  <c:v>117241</c:v>
                </c:pt>
                <c:pt idx="20772">
                  <c:v>117238</c:v>
                </c:pt>
                <c:pt idx="20773">
                  <c:v>117235</c:v>
                </c:pt>
                <c:pt idx="20774">
                  <c:v>117234</c:v>
                </c:pt>
                <c:pt idx="20775">
                  <c:v>117233</c:v>
                </c:pt>
                <c:pt idx="20776">
                  <c:v>117233</c:v>
                </c:pt>
                <c:pt idx="20777">
                  <c:v>117229</c:v>
                </c:pt>
                <c:pt idx="20778">
                  <c:v>117221</c:v>
                </c:pt>
                <c:pt idx="20779">
                  <c:v>117218</c:v>
                </c:pt>
                <c:pt idx="20780">
                  <c:v>117217</c:v>
                </c:pt>
                <c:pt idx="20781">
                  <c:v>117212</c:v>
                </c:pt>
                <c:pt idx="20782">
                  <c:v>117211</c:v>
                </c:pt>
                <c:pt idx="20783">
                  <c:v>117209</c:v>
                </c:pt>
                <c:pt idx="20784">
                  <c:v>117197</c:v>
                </c:pt>
                <c:pt idx="20785">
                  <c:v>117196</c:v>
                </c:pt>
                <c:pt idx="20786">
                  <c:v>117191</c:v>
                </c:pt>
                <c:pt idx="20787">
                  <c:v>117188</c:v>
                </c:pt>
                <c:pt idx="20788">
                  <c:v>117188</c:v>
                </c:pt>
                <c:pt idx="20789">
                  <c:v>117183</c:v>
                </c:pt>
                <c:pt idx="20790">
                  <c:v>117170</c:v>
                </c:pt>
                <c:pt idx="20791">
                  <c:v>117169</c:v>
                </c:pt>
                <c:pt idx="20792">
                  <c:v>117163</c:v>
                </c:pt>
                <c:pt idx="20793">
                  <c:v>117163</c:v>
                </c:pt>
                <c:pt idx="20794">
                  <c:v>117153</c:v>
                </c:pt>
                <c:pt idx="20795">
                  <c:v>117148</c:v>
                </c:pt>
                <c:pt idx="20796">
                  <c:v>117146</c:v>
                </c:pt>
                <c:pt idx="20797">
                  <c:v>117138</c:v>
                </c:pt>
                <c:pt idx="20798">
                  <c:v>117137</c:v>
                </c:pt>
                <c:pt idx="20799">
                  <c:v>117136</c:v>
                </c:pt>
                <c:pt idx="20800">
                  <c:v>117131</c:v>
                </c:pt>
                <c:pt idx="20801">
                  <c:v>117126</c:v>
                </c:pt>
                <c:pt idx="20802">
                  <c:v>117124</c:v>
                </c:pt>
                <c:pt idx="20803">
                  <c:v>117119</c:v>
                </c:pt>
                <c:pt idx="20804">
                  <c:v>117118</c:v>
                </c:pt>
                <c:pt idx="20805">
                  <c:v>117111</c:v>
                </c:pt>
                <c:pt idx="20806">
                  <c:v>117110</c:v>
                </c:pt>
                <c:pt idx="20807">
                  <c:v>117109</c:v>
                </c:pt>
                <c:pt idx="20808">
                  <c:v>117103</c:v>
                </c:pt>
                <c:pt idx="20809">
                  <c:v>117099</c:v>
                </c:pt>
                <c:pt idx="20810">
                  <c:v>117099</c:v>
                </c:pt>
                <c:pt idx="20811">
                  <c:v>117098</c:v>
                </c:pt>
                <c:pt idx="20812">
                  <c:v>117097</c:v>
                </c:pt>
                <c:pt idx="20813">
                  <c:v>117093</c:v>
                </c:pt>
                <c:pt idx="20814">
                  <c:v>117089</c:v>
                </c:pt>
                <c:pt idx="20815">
                  <c:v>117074</c:v>
                </c:pt>
                <c:pt idx="20816">
                  <c:v>117070</c:v>
                </c:pt>
                <c:pt idx="20817">
                  <c:v>117069</c:v>
                </c:pt>
                <c:pt idx="20818">
                  <c:v>117068</c:v>
                </c:pt>
                <c:pt idx="20819">
                  <c:v>117066</c:v>
                </c:pt>
                <c:pt idx="20820">
                  <c:v>117065</c:v>
                </c:pt>
                <c:pt idx="20821">
                  <c:v>117063</c:v>
                </c:pt>
                <c:pt idx="20822">
                  <c:v>117060</c:v>
                </c:pt>
                <c:pt idx="20823">
                  <c:v>117058</c:v>
                </c:pt>
                <c:pt idx="20824">
                  <c:v>117055</c:v>
                </c:pt>
                <c:pt idx="20825">
                  <c:v>117054</c:v>
                </c:pt>
                <c:pt idx="20826">
                  <c:v>117053</c:v>
                </c:pt>
                <c:pt idx="20827">
                  <c:v>117053</c:v>
                </c:pt>
                <c:pt idx="20828">
                  <c:v>117051</c:v>
                </c:pt>
                <c:pt idx="20829">
                  <c:v>117049</c:v>
                </c:pt>
                <c:pt idx="20830">
                  <c:v>117049</c:v>
                </c:pt>
                <c:pt idx="20831">
                  <c:v>117048</c:v>
                </c:pt>
                <c:pt idx="20832">
                  <c:v>117045</c:v>
                </c:pt>
                <c:pt idx="20833">
                  <c:v>117043</c:v>
                </c:pt>
                <c:pt idx="20834">
                  <c:v>117039</c:v>
                </c:pt>
                <c:pt idx="20835">
                  <c:v>117038</c:v>
                </c:pt>
                <c:pt idx="20836">
                  <c:v>117028</c:v>
                </c:pt>
                <c:pt idx="20837">
                  <c:v>117027</c:v>
                </c:pt>
                <c:pt idx="20838">
                  <c:v>117024</c:v>
                </c:pt>
                <c:pt idx="20839">
                  <c:v>117017</c:v>
                </c:pt>
                <c:pt idx="20840">
                  <c:v>117015</c:v>
                </c:pt>
                <c:pt idx="20841">
                  <c:v>117003</c:v>
                </c:pt>
                <c:pt idx="20842">
                  <c:v>117002</c:v>
                </c:pt>
                <c:pt idx="20843">
                  <c:v>117000</c:v>
                </c:pt>
                <c:pt idx="20844">
                  <c:v>116999</c:v>
                </c:pt>
                <c:pt idx="20845">
                  <c:v>116998</c:v>
                </c:pt>
                <c:pt idx="20846">
                  <c:v>116998</c:v>
                </c:pt>
                <c:pt idx="20847">
                  <c:v>116996</c:v>
                </c:pt>
                <c:pt idx="20848">
                  <c:v>116987</c:v>
                </c:pt>
                <c:pt idx="20849">
                  <c:v>116985</c:v>
                </c:pt>
                <c:pt idx="20850">
                  <c:v>116981</c:v>
                </c:pt>
                <c:pt idx="20851">
                  <c:v>116977</c:v>
                </c:pt>
                <c:pt idx="20852">
                  <c:v>116976</c:v>
                </c:pt>
                <c:pt idx="20853">
                  <c:v>116966</c:v>
                </c:pt>
                <c:pt idx="20854">
                  <c:v>116965</c:v>
                </c:pt>
                <c:pt idx="20855">
                  <c:v>116963</c:v>
                </c:pt>
                <c:pt idx="20856">
                  <c:v>116958</c:v>
                </c:pt>
                <c:pt idx="20857">
                  <c:v>116953</c:v>
                </c:pt>
                <c:pt idx="20858">
                  <c:v>116947</c:v>
                </c:pt>
                <c:pt idx="20859">
                  <c:v>116945</c:v>
                </c:pt>
                <c:pt idx="20860">
                  <c:v>116943</c:v>
                </c:pt>
                <c:pt idx="20861">
                  <c:v>116936</c:v>
                </c:pt>
                <c:pt idx="20862">
                  <c:v>116934</c:v>
                </c:pt>
                <c:pt idx="20863">
                  <c:v>116933</c:v>
                </c:pt>
                <c:pt idx="20864">
                  <c:v>116921</c:v>
                </c:pt>
                <c:pt idx="20865">
                  <c:v>116920</c:v>
                </c:pt>
                <c:pt idx="20866">
                  <c:v>116919</c:v>
                </c:pt>
                <c:pt idx="20867">
                  <c:v>116919</c:v>
                </c:pt>
                <c:pt idx="20868">
                  <c:v>116913</c:v>
                </c:pt>
                <c:pt idx="20869">
                  <c:v>116912</c:v>
                </c:pt>
                <c:pt idx="20870">
                  <c:v>116909</c:v>
                </c:pt>
                <c:pt idx="20871">
                  <c:v>116908</c:v>
                </c:pt>
                <c:pt idx="20872">
                  <c:v>116907</c:v>
                </c:pt>
                <c:pt idx="20873">
                  <c:v>116906</c:v>
                </c:pt>
                <c:pt idx="20874">
                  <c:v>116904</c:v>
                </c:pt>
                <c:pt idx="20875">
                  <c:v>116904</c:v>
                </c:pt>
                <c:pt idx="20876">
                  <c:v>116901</c:v>
                </c:pt>
                <c:pt idx="20877">
                  <c:v>116899</c:v>
                </c:pt>
                <c:pt idx="20878">
                  <c:v>116895</c:v>
                </c:pt>
                <c:pt idx="20879">
                  <c:v>116887</c:v>
                </c:pt>
                <c:pt idx="20880">
                  <c:v>116886</c:v>
                </c:pt>
                <c:pt idx="20881">
                  <c:v>116886</c:v>
                </c:pt>
                <c:pt idx="20882">
                  <c:v>116880</c:v>
                </c:pt>
                <c:pt idx="20883">
                  <c:v>116880</c:v>
                </c:pt>
                <c:pt idx="20884">
                  <c:v>116878</c:v>
                </c:pt>
                <c:pt idx="20885">
                  <c:v>116876</c:v>
                </c:pt>
                <c:pt idx="20886">
                  <c:v>116874</c:v>
                </c:pt>
                <c:pt idx="20887">
                  <c:v>116872</c:v>
                </c:pt>
                <c:pt idx="20888">
                  <c:v>116868</c:v>
                </c:pt>
                <c:pt idx="20889">
                  <c:v>116865</c:v>
                </c:pt>
                <c:pt idx="20890">
                  <c:v>116863</c:v>
                </c:pt>
                <c:pt idx="20891">
                  <c:v>116860</c:v>
                </c:pt>
                <c:pt idx="20892">
                  <c:v>116852</c:v>
                </c:pt>
                <c:pt idx="20893">
                  <c:v>116845</c:v>
                </c:pt>
                <c:pt idx="20894">
                  <c:v>116830</c:v>
                </c:pt>
                <c:pt idx="20895">
                  <c:v>116829</c:v>
                </c:pt>
                <c:pt idx="20896">
                  <c:v>116829</c:v>
                </c:pt>
                <c:pt idx="20897">
                  <c:v>116827</c:v>
                </c:pt>
                <c:pt idx="20898">
                  <c:v>116823</c:v>
                </c:pt>
                <c:pt idx="20899">
                  <c:v>116819</c:v>
                </c:pt>
                <c:pt idx="20900">
                  <c:v>116816</c:v>
                </c:pt>
                <c:pt idx="20901">
                  <c:v>116813</c:v>
                </c:pt>
                <c:pt idx="20902">
                  <c:v>116812</c:v>
                </c:pt>
                <c:pt idx="20903">
                  <c:v>116807</c:v>
                </c:pt>
                <c:pt idx="20904">
                  <c:v>116807</c:v>
                </c:pt>
                <c:pt idx="20905">
                  <c:v>116802</c:v>
                </c:pt>
                <c:pt idx="20906">
                  <c:v>116801</c:v>
                </c:pt>
                <c:pt idx="20907">
                  <c:v>116798</c:v>
                </c:pt>
                <c:pt idx="20908">
                  <c:v>116792</c:v>
                </c:pt>
                <c:pt idx="20909">
                  <c:v>116788</c:v>
                </c:pt>
                <c:pt idx="20910">
                  <c:v>116786</c:v>
                </c:pt>
                <c:pt idx="20911">
                  <c:v>116777</c:v>
                </c:pt>
                <c:pt idx="20912">
                  <c:v>116771</c:v>
                </c:pt>
                <c:pt idx="20913">
                  <c:v>116770</c:v>
                </c:pt>
                <c:pt idx="20914">
                  <c:v>116768</c:v>
                </c:pt>
                <c:pt idx="20915">
                  <c:v>116768</c:v>
                </c:pt>
                <c:pt idx="20916">
                  <c:v>116764</c:v>
                </c:pt>
                <c:pt idx="20917">
                  <c:v>116763</c:v>
                </c:pt>
                <c:pt idx="20918">
                  <c:v>116761</c:v>
                </c:pt>
                <c:pt idx="20919">
                  <c:v>116746</c:v>
                </c:pt>
                <c:pt idx="20920">
                  <c:v>116745</c:v>
                </c:pt>
                <c:pt idx="20921">
                  <c:v>116744</c:v>
                </c:pt>
                <c:pt idx="20922">
                  <c:v>116744</c:v>
                </c:pt>
                <c:pt idx="20923">
                  <c:v>116742</c:v>
                </c:pt>
                <c:pt idx="20924">
                  <c:v>116737</c:v>
                </c:pt>
                <c:pt idx="20925">
                  <c:v>116728</c:v>
                </c:pt>
                <c:pt idx="20926">
                  <c:v>116727</c:v>
                </c:pt>
                <c:pt idx="20927">
                  <c:v>116725</c:v>
                </c:pt>
                <c:pt idx="20928">
                  <c:v>116722</c:v>
                </c:pt>
                <c:pt idx="20929">
                  <c:v>116720</c:v>
                </c:pt>
                <c:pt idx="20930">
                  <c:v>116719</c:v>
                </c:pt>
                <c:pt idx="20931">
                  <c:v>116717</c:v>
                </c:pt>
                <c:pt idx="20932">
                  <c:v>116715</c:v>
                </c:pt>
                <c:pt idx="20933">
                  <c:v>116710</c:v>
                </c:pt>
                <c:pt idx="20934">
                  <c:v>116709</c:v>
                </c:pt>
                <c:pt idx="20935">
                  <c:v>116709</c:v>
                </c:pt>
                <c:pt idx="20936">
                  <c:v>116706</c:v>
                </c:pt>
                <c:pt idx="20937">
                  <c:v>116700</c:v>
                </c:pt>
                <c:pt idx="20938">
                  <c:v>116687</c:v>
                </c:pt>
                <c:pt idx="20939">
                  <c:v>116686</c:v>
                </c:pt>
                <c:pt idx="20940">
                  <c:v>116685</c:v>
                </c:pt>
                <c:pt idx="20941">
                  <c:v>116685</c:v>
                </c:pt>
                <c:pt idx="20942">
                  <c:v>116684</c:v>
                </c:pt>
                <c:pt idx="20943">
                  <c:v>116683</c:v>
                </c:pt>
                <c:pt idx="20944">
                  <c:v>116681</c:v>
                </c:pt>
                <c:pt idx="20945">
                  <c:v>116670</c:v>
                </c:pt>
                <c:pt idx="20946">
                  <c:v>116660</c:v>
                </c:pt>
                <c:pt idx="20947">
                  <c:v>116660</c:v>
                </c:pt>
                <c:pt idx="20948">
                  <c:v>116659</c:v>
                </c:pt>
                <c:pt idx="20949">
                  <c:v>116655</c:v>
                </c:pt>
                <c:pt idx="20950">
                  <c:v>116652</c:v>
                </c:pt>
                <c:pt idx="20951">
                  <c:v>116632</c:v>
                </c:pt>
                <c:pt idx="20952">
                  <c:v>116628</c:v>
                </c:pt>
                <c:pt idx="20953">
                  <c:v>116626</c:v>
                </c:pt>
                <c:pt idx="20954">
                  <c:v>116623</c:v>
                </c:pt>
                <c:pt idx="20955">
                  <c:v>116620</c:v>
                </c:pt>
                <c:pt idx="20956">
                  <c:v>116618</c:v>
                </c:pt>
                <c:pt idx="20957">
                  <c:v>116612</c:v>
                </c:pt>
                <c:pt idx="20958">
                  <c:v>116600</c:v>
                </c:pt>
                <c:pt idx="20959">
                  <c:v>116597</c:v>
                </c:pt>
                <c:pt idx="20960">
                  <c:v>116596</c:v>
                </c:pt>
                <c:pt idx="20961">
                  <c:v>116596</c:v>
                </c:pt>
                <c:pt idx="20962">
                  <c:v>116589</c:v>
                </c:pt>
                <c:pt idx="20963">
                  <c:v>116586</c:v>
                </c:pt>
                <c:pt idx="20964">
                  <c:v>116586</c:v>
                </c:pt>
                <c:pt idx="20965">
                  <c:v>116583</c:v>
                </c:pt>
                <c:pt idx="20966">
                  <c:v>116579</c:v>
                </c:pt>
                <c:pt idx="20967">
                  <c:v>116578</c:v>
                </c:pt>
                <c:pt idx="20968">
                  <c:v>116577</c:v>
                </c:pt>
                <c:pt idx="20969">
                  <c:v>116574</c:v>
                </c:pt>
                <c:pt idx="20970">
                  <c:v>116563</c:v>
                </c:pt>
                <c:pt idx="20971">
                  <c:v>116562</c:v>
                </c:pt>
                <c:pt idx="20972">
                  <c:v>116561</c:v>
                </c:pt>
                <c:pt idx="20973">
                  <c:v>116556</c:v>
                </c:pt>
                <c:pt idx="20974">
                  <c:v>116556</c:v>
                </c:pt>
                <c:pt idx="20975">
                  <c:v>116548</c:v>
                </c:pt>
                <c:pt idx="20976">
                  <c:v>116545</c:v>
                </c:pt>
                <c:pt idx="20977">
                  <c:v>116542</c:v>
                </c:pt>
                <c:pt idx="20978">
                  <c:v>116536</c:v>
                </c:pt>
                <c:pt idx="20979">
                  <c:v>116532</c:v>
                </c:pt>
                <c:pt idx="20980">
                  <c:v>116531</c:v>
                </c:pt>
                <c:pt idx="20981">
                  <c:v>116527</c:v>
                </c:pt>
                <c:pt idx="20982">
                  <c:v>116520</c:v>
                </c:pt>
                <c:pt idx="20983">
                  <c:v>116509</c:v>
                </c:pt>
                <c:pt idx="20984">
                  <c:v>116509</c:v>
                </c:pt>
                <c:pt idx="20985">
                  <c:v>116507</c:v>
                </c:pt>
                <c:pt idx="20986">
                  <c:v>116506</c:v>
                </c:pt>
                <c:pt idx="20987">
                  <c:v>116504</c:v>
                </c:pt>
                <c:pt idx="20988">
                  <c:v>116495</c:v>
                </c:pt>
                <c:pt idx="20989">
                  <c:v>116493</c:v>
                </c:pt>
                <c:pt idx="20990">
                  <c:v>116485</c:v>
                </c:pt>
                <c:pt idx="20991">
                  <c:v>116484</c:v>
                </c:pt>
                <c:pt idx="20992">
                  <c:v>116483</c:v>
                </c:pt>
                <c:pt idx="20993">
                  <c:v>116473</c:v>
                </c:pt>
                <c:pt idx="20994">
                  <c:v>116472</c:v>
                </c:pt>
                <c:pt idx="20995">
                  <c:v>116468</c:v>
                </c:pt>
                <c:pt idx="20996">
                  <c:v>116467</c:v>
                </c:pt>
                <c:pt idx="20997">
                  <c:v>116460</c:v>
                </c:pt>
                <c:pt idx="20998">
                  <c:v>116458</c:v>
                </c:pt>
                <c:pt idx="20999">
                  <c:v>116455</c:v>
                </c:pt>
                <c:pt idx="21000">
                  <c:v>116454</c:v>
                </c:pt>
                <c:pt idx="21001">
                  <c:v>116450</c:v>
                </c:pt>
                <c:pt idx="21002">
                  <c:v>116447</c:v>
                </c:pt>
                <c:pt idx="21003">
                  <c:v>116447</c:v>
                </c:pt>
                <c:pt idx="21004">
                  <c:v>116446</c:v>
                </c:pt>
                <c:pt idx="21005">
                  <c:v>116441</c:v>
                </c:pt>
                <c:pt idx="21006">
                  <c:v>116436</c:v>
                </c:pt>
                <c:pt idx="21007">
                  <c:v>116433</c:v>
                </c:pt>
                <c:pt idx="21008">
                  <c:v>116431</c:v>
                </c:pt>
                <c:pt idx="21009">
                  <c:v>116431</c:v>
                </c:pt>
                <c:pt idx="21010">
                  <c:v>116425</c:v>
                </c:pt>
                <c:pt idx="21011">
                  <c:v>116425</c:v>
                </c:pt>
                <c:pt idx="21012">
                  <c:v>116422</c:v>
                </c:pt>
                <c:pt idx="21013">
                  <c:v>116421</c:v>
                </c:pt>
                <c:pt idx="21014">
                  <c:v>116411</c:v>
                </c:pt>
                <c:pt idx="21015">
                  <c:v>116409</c:v>
                </c:pt>
                <c:pt idx="21016">
                  <c:v>116409</c:v>
                </c:pt>
                <c:pt idx="21017">
                  <c:v>116402</c:v>
                </c:pt>
                <c:pt idx="21018">
                  <c:v>116402</c:v>
                </c:pt>
                <c:pt idx="21019">
                  <c:v>116398</c:v>
                </c:pt>
                <c:pt idx="21020">
                  <c:v>116398</c:v>
                </c:pt>
                <c:pt idx="21021">
                  <c:v>116393</c:v>
                </c:pt>
                <c:pt idx="21022">
                  <c:v>116390</c:v>
                </c:pt>
                <c:pt idx="21023">
                  <c:v>116385</c:v>
                </c:pt>
                <c:pt idx="21024">
                  <c:v>116383</c:v>
                </c:pt>
                <c:pt idx="21025">
                  <c:v>116380</c:v>
                </c:pt>
                <c:pt idx="21026">
                  <c:v>116379</c:v>
                </c:pt>
                <c:pt idx="21027">
                  <c:v>116378</c:v>
                </c:pt>
                <c:pt idx="21028">
                  <c:v>116378</c:v>
                </c:pt>
                <c:pt idx="21029">
                  <c:v>116368</c:v>
                </c:pt>
                <c:pt idx="21030">
                  <c:v>116361</c:v>
                </c:pt>
                <c:pt idx="21031">
                  <c:v>116360</c:v>
                </c:pt>
                <c:pt idx="21032">
                  <c:v>116358</c:v>
                </c:pt>
                <c:pt idx="21033">
                  <c:v>116353</c:v>
                </c:pt>
                <c:pt idx="21034">
                  <c:v>116350</c:v>
                </c:pt>
                <c:pt idx="21035">
                  <c:v>116341</c:v>
                </c:pt>
                <c:pt idx="21036">
                  <c:v>116339</c:v>
                </c:pt>
                <c:pt idx="21037">
                  <c:v>116339</c:v>
                </c:pt>
                <c:pt idx="21038">
                  <c:v>116336</c:v>
                </c:pt>
                <c:pt idx="21039">
                  <c:v>116335</c:v>
                </c:pt>
                <c:pt idx="21040">
                  <c:v>116330</c:v>
                </c:pt>
                <c:pt idx="21041">
                  <c:v>116322</c:v>
                </c:pt>
                <c:pt idx="21042">
                  <c:v>116320</c:v>
                </c:pt>
                <c:pt idx="21043">
                  <c:v>116314</c:v>
                </c:pt>
                <c:pt idx="21044">
                  <c:v>116309</c:v>
                </c:pt>
                <c:pt idx="21045">
                  <c:v>116307</c:v>
                </c:pt>
                <c:pt idx="21046">
                  <c:v>116305</c:v>
                </c:pt>
                <c:pt idx="21047">
                  <c:v>116305</c:v>
                </c:pt>
                <c:pt idx="21048">
                  <c:v>116305</c:v>
                </c:pt>
                <c:pt idx="21049">
                  <c:v>116297</c:v>
                </c:pt>
                <c:pt idx="21050">
                  <c:v>116296</c:v>
                </c:pt>
                <c:pt idx="21051">
                  <c:v>116294</c:v>
                </c:pt>
                <c:pt idx="21052">
                  <c:v>116293</c:v>
                </c:pt>
                <c:pt idx="21053">
                  <c:v>116290</c:v>
                </c:pt>
                <c:pt idx="21054">
                  <c:v>116289</c:v>
                </c:pt>
                <c:pt idx="21055">
                  <c:v>116283</c:v>
                </c:pt>
                <c:pt idx="21056">
                  <c:v>116275</c:v>
                </c:pt>
                <c:pt idx="21057">
                  <c:v>116275</c:v>
                </c:pt>
                <c:pt idx="21058">
                  <c:v>116273</c:v>
                </c:pt>
                <c:pt idx="21059">
                  <c:v>116266</c:v>
                </c:pt>
                <c:pt idx="21060">
                  <c:v>116260</c:v>
                </c:pt>
                <c:pt idx="21061">
                  <c:v>116250</c:v>
                </c:pt>
                <c:pt idx="21062">
                  <c:v>116246</c:v>
                </c:pt>
                <c:pt idx="21063">
                  <c:v>116246</c:v>
                </c:pt>
                <c:pt idx="21064">
                  <c:v>116246</c:v>
                </c:pt>
                <c:pt idx="21065">
                  <c:v>116243</c:v>
                </c:pt>
                <c:pt idx="21066">
                  <c:v>116239</c:v>
                </c:pt>
                <c:pt idx="21067">
                  <c:v>116237</c:v>
                </c:pt>
                <c:pt idx="21068">
                  <c:v>116233</c:v>
                </c:pt>
                <c:pt idx="21069">
                  <c:v>116232</c:v>
                </c:pt>
                <c:pt idx="21070">
                  <c:v>116232</c:v>
                </c:pt>
                <c:pt idx="21071">
                  <c:v>116227</c:v>
                </c:pt>
                <c:pt idx="21072">
                  <c:v>116223</c:v>
                </c:pt>
                <c:pt idx="21073">
                  <c:v>116223</c:v>
                </c:pt>
                <c:pt idx="21074">
                  <c:v>116222</c:v>
                </c:pt>
                <c:pt idx="21075">
                  <c:v>116218</c:v>
                </c:pt>
                <c:pt idx="21076">
                  <c:v>116213</c:v>
                </c:pt>
                <c:pt idx="21077">
                  <c:v>116213</c:v>
                </c:pt>
                <c:pt idx="21078">
                  <c:v>116211</c:v>
                </c:pt>
                <c:pt idx="21079">
                  <c:v>116209</c:v>
                </c:pt>
                <c:pt idx="21080">
                  <c:v>116208</c:v>
                </c:pt>
                <c:pt idx="21081">
                  <c:v>116201</c:v>
                </c:pt>
                <c:pt idx="21082">
                  <c:v>116194</c:v>
                </c:pt>
                <c:pt idx="21083">
                  <c:v>116190</c:v>
                </c:pt>
                <c:pt idx="21084">
                  <c:v>116188</c:v>
                </c:pt>
                <c:pt idx="21085">
                  <c:v>116188</c:v>
                </c:pt>
                <c:pt idx="21086">
                  <c:v>116184</c:v>
                </c:pt>
                <c:pt idx="21087">
                  <c:v>116175</c:v>
                </c:pt>
                <c:pt idx="21088">
                  <c:v>116171</c:v>
                </c:pt>
                <c:pt idx="21089">
                  <c:v>116170</c:v>
                </c:pt>
                <c:pt idx="21090">
                  <c:v>116169</c:v>
                </c:pt>
                <c:pt idx="21091">
                  <c:v>116168</c:v>
                </c:pt>
                <c:pt idx="21092">
                  <c:v>116155</c:v>
                </c:pt>
                <c:pt idx="21093">
                  <c:v>116147</c:v>
                </c:pt>
                <c:pt idx="21094">
                  <c:v>116146</c:v>
                </c:pt>
                <c:pt idx="21095">
                  <c:v>116143</c:v>
                </c:pt>
                <c:pt idx="21096">
                  <c:v>116142</c:v>
                </c:pt>
                <c:pt idx="21097">
                  <c:v>116137</c:v>
                </c:pt>
                <c:pt idx="21098">
                  <c:v>116137</c:v>
                </c:pt>
                <c:pt idx="21099">
                  <c:v>116136</c:v>
                </c:pt>
                <c:pt idx="21100">
                  <c:v>116126</c:v>
                </c:pt>
                <c:pt idx="21101">
                  <c:v>116126</c:v>
                </c:pt>
                <c:pt idx="21102">
                  <c:v>116122</c:v>
                </c:pt>
                <c:pt idx="21103">
                  <c:v>116121</c:v>
                </c:pt>
                <c:pt idx="21104">
                  <c:v>116121</c:v>
                </c:pt>
                <c:pt idx="21105">
                  <c:v>116115</c:v>
                </c:pt>
                <c:pt idx="21106">
                  <c:v>116112</c:v>
                </c:pt>
                <c:pt idx="21107">
                  <c:v>116107</c:v>
                </c:pt>
                <c:pt idx="21108">
                  <c:v>116107</c:v>
                </c:pt>
                <c:pt idx="21109">
                  <c:v>116104</c:v>
                </c:pt>
                <c:pt idx="21110">
                  <c:v>116101</c:v>
                </c:pt>
                <c:pt idx="21111">
                  <c:v>116098</c:v>
                </c:pt>
                <c:pt idx="21112">
                  <c:v>116096</c:v>
                </c:pt>
                <c:pt idx="21113">
                  <c:v>116094</c:v>
                </c:pt>
                <c:pt idx="21114">
                  <c:v>116089</c:v>
                </c:pt>
                <c:pt idx="21115">
                  <c:v>116089</c:v>
                </c:pt>
                <c:pt idx="21116">
                  <c:v>116087</c:v>
                </c:pt>
                <c:pt idx="21117">
                  <c:v>116085</c:v>
                </c:pt>
                <c:pt idx="21118">
                  <c:v>116083</c:v>
                </c:pt>
                <c:pt idx="21119">
                  <c:v>116079</c:v>
                </c:pt>
                <c:pt idx="21120">
                  <c:v>116076</c:v>
                </c:pt>
                <c:pt idx="21121">
                  <c:v>116076</c:v>
                </c:pt>
                <c:pt idx="21122">
                  <c:v>116074</c:v>
                </c:pt>
                <c:pt idx="21123">
                  <c:v>116071</c:v>
                </c:pt>
                <c:pt idx="21124">
                  <c:v>116065</c:v>
                </c:pt>
                <c:pt idx="21125">
                  <c:v>116062</c:v>
                </c:pt>
                <c:pt idx="21126">
                  <c:v>116058</c:v>
                </c:pt>
                <c:pt idx="21127">
                  <c:v>116056</c:v>
                </c:pt>
                <c:pt idx="21128">
                  <c:v>116055</c:v>
                </c:pt>
                <c:pt idx="21129">
                  <c:v>116053</c:v>
                </c:pt>
                <c:pt idx="21130">
                  <c:v>116052</c:v>
                </c:pt>
                <c:pt idx="21131">
                  <c:v>116046</c:v>
                </c:pt>
                <c:pt idx="21132">
                  <c:v>116045</c:v>
                </c:pt>
                <c:pt idx="21133">
                  <c:v>116044</c:v>
                </c:pt>
                <c:pt idx="21134">
                  <c:v>116036</c:v>
                </c:pt>
                <c:pt idx="21135">
                  <c:v>116034</c:v>
                </c:pt>
                <c:pt idx="21136">
                  <c:v>116027</c:v>
                </c:pt>
                <c:pt idx="21137">
                  <c:v>116027</c:v>
                </c:pt>
                <c:pt idx="21138">
                  <c:v>116023</c:v>
                </c:pt>
                <c:pt idx="21139">
                  <c:v>116021</c:v>
                </c:pt>
                <c:pt idx="21140">
                  <c:v>116019</c:v>
                </c:pt>
                <c:pt idx="21141">
                  <c:v>116016</c:v>
                </c:pt>
                <c:pt idx="21142">
                  <c:v>116016</c:v>
                </c:pt>
                <c:pt idx="21143">
                  <c:v>116010</c:v>
                </c:pt>
                <c:pt idx="21144">
                  <c:v>116009</c:v>
                </c:pt>
                <c:pt idx="21145">
                  <c:v>116008</c:v>
                </c:pt>
                <c:pt idx="21146">
                  <c:v>116007</c:v>
                </c:pt>
                <c:pt idx="21147">
                  <c:v>116006</c:v>
                </c:pt>
                <c:pt idx="21148">
                  <c:v>116004</c:v>
                </c:pt>
                <c:pt idx="21149">
                  <c:v>115999</c:v>
                </c:pt>
                <c:pt idx="21150">
                  <c:v>115994</c:v>
                </c:pt>
                <c:pt idx="21151">
                  <c:v>115988</c:v>
                </c:pt>
                <c:pt idx="21152">
                  <c:v>115987</c:v>
                </c:pt>
                <c:pt idx="21153">
                  <c:v>115981</c:v>
                </c:pt>
                <c:pt idx="21154">
                  <c:v>115981</c:v>
                </c:pt>
                <c:pt idx="21155">
                  <c:v>115978</c:v>
                </c:pt>
                <c:pt idx="21156">
                  <c:v>115977</c:v>
                </c:pt>
                <c:pt idx="21157">
                  <c:v>115977</c:v>
                </c:pt>
                <c:pt idx="21158">
                  <c:v>115974</c:v>
                </c:pt>
                <c:pt idx="21159">
                  <c:v>115973</c:v>
                </c:pt>
                <c:pt idx="21160">
                  <c:v>115963</c:v>
                </c:pt>
                <c:pt idx="21161">
                  <c:v>115963</c:v>
                </c:pt>
                <c:pt idx="21162">
                  <c:v>115963</c:v>
                </c:pt>
                <c:pt idx="21163">
                  <c:v>115957</c:v>
                </c:pt>
                <c:pt idx="21164">
                  <c:v>115957</c:v>
                </c:pt>
                <c:pt idx="21165">
                  <c:v>115944</c:v>
                </c:pt>
                <c:pt idx="21166">
                  <c:v>115941</c:v>
                </c:pt>
                <c:pt idx="21167">
                  <c:v>115939</c:v>
                </c:pt>
                <c:pt idx="21168">
                  <c:v>115939</c:v>
                </c:pt>
                <c:pt idx="21169">
                  <c:v>115932</c:v>
                </c:pt>
                <c:pt idx="21170">
                  <c:v>115926</c:v>
                </c:pt>
                <c:pt idx="21171">
                  <c:v>115921</c:v>
                </c:pt>
                <c:pt idx="21172">
                  <c:v>115920</c:v>
                </c:pt>
                <c:pt idx="21173">
                  <c:v>115913</c:v>
                </c:pt>
                <c:pt idx="21174">
                  <c:v>115911</c:v>
                </c:pt>
                <c:pt idx="21175">
                  <c:v>115911</c:v>
                </c:pt>
                <c:pt idx="21176">
                  <c:v>115906</c:v>
                </c:pt>
                <c:pt idx="21177">
                  <c:v>115902</c:v>
                </c:pt>
                <c:pt idx="21178">
                  <c:v>115900</c:v>
                </c:pt>
                <c:pt idx="21179">
                  <c:v>115899</c:v>
                </c:pt>
                <c:pt idx="21180">
                  <c:v>115894</c:v>
                </c:pt>
                <c:pt idx="21181">
                  <c:v>115893</c:v>
                </c:pt>
                <c:pt idx="21182">
                  <c:v>115891</c:v>
                </c:pt>
                <c:pt idx="21183">
                  <c:v>115889</c:v>
                </c:pt>
                <c:pt idx="21184">
                  <c:v>115882</c:v>
                </c:pt>
                <c:pt idx="21185">
                  <c:v>115876</c:v>
                </c:pt>
                <c:pt idx="21186">
                  <c:v>115876</c:v>
                </c:pt>
                <c:pt idx="21187">
                  <c:v>115876</c:v>
                </c:pt>
                <c:pt idx="21188">
                  <c:v>115868</c:v>
                </c:pt>
                <c:pt idx="21189">
                  <c:v>115859</c:v>
                </c:pt>
                <c:pt idx="21190">
                  <c:v>115858</c:v>
                </c:pt>
                <c:pt idx="21191">
                  <c:v>115846</c:v>
                </c:pt>
                <c:pt idx="21192">
                  <c:v>115845</c:v>
                </c:pt>
                <c:pt idx="21193">
                  <c:v>115841</c:v>
                </c:pt>
                <c:pt idx="21194">
                  <c:v>115836</c:v>
                </c:pt>
                <c:pt idx="21195">
                  <c:v>115834</c:v>
                </c:pt>
                <c:pt idx="21196">
                  <c:v>115833</c:v>
                </c:pt>
                <c:pt idx="21197">
                  <c:v>115830</c:v>
                </c:pt>
                <c:pt idx="21198">
                  <c:v>115829</c:v>
                </c:pt>
                <c:pt idx="21199">
                  <c:v>115828</c:v>
                </c:pt>
                <c:pt idx="21200">
                  <c:v>115828</c:v>
                </c:pt>
                <c:pt idx="21201">
                  <c:v>115823</c:v>
                </c:pt>
                <c:pt idx="21202">
                  <c:v>115822</c:v>
                </c:pt>
                <c:pt idx="21203">
                  <c:v>115819</c:v>
                </c:pt>
                <c:pt idx="21204">
                  <c:v>115818</c:v>
                </c:pt>
                <c:pt idx="21205">
                  <c:v>115816</c:v>
                </c:pt>
                <c:pt idx="21206">
                  <c:v>115814</c:v>
                </c:pt>
                <c:pt idx="21207">
                  <c:v>115814</c:v>
                </c:pt>
                <c:pt idx="21208">
                  <c:v>115806</c:v>
                </c:pt>
                <c:pt idx="21209">
                  <c:v>115800</c:v>
                </c:pt>
                <c:pt idx="21210">
                  <c:v>115795</c:v>
                </c:pt>
                <c:pt idx="21211">
                  <c:v>115791</c:v>
                </c:pt>
                <c:pt idx="21212">
                  <c:v>115784</c:v>
                </c:pt>
                <c:pt idx="21213">
                  <c:v>115782</c:v>
                </c:pt>
                <c:pt idx="21214">
                  <c:v>115776</c:v>
                </c:pt>
                <c:pt idx="21215">
                  <c:v>115776</c:v>
                </c:pt>
                <c:pt idx="21216">
                  <c:v>115769</c:v>
                </c:pt>
                <c:pt idx="21217">
                  <c:v>115768</c:v>
                </c:pt>
                <c:pt idx="21218">
                  <c:v>115757</c:v>
                </c:pt>
                <c:pt idx="21219">
                  <c:v>115744</c:v>
                </c:pt>
                <c:pt idx="21220">
                  <c:v>115734</c:v>
                </c:pt>
                <c:pt idx="21221">
                  <c:v>115734</c:v>
                </c:pt>
                <c:pt idx="21222">
                  <c:v>115734</c:v>
                </c:pt>
                <c:pt idx="21223">
                  <c:v>115730</c:v>
                </c:pt>
                <c:pt idx="21224">
                  <c:v>115728</c:v>
                </c:pt>
                <c:pt idx="21225">
                  <c:v>115726</c:v>
                </c:pt>
                <c:pt idx="21226">
                  <c:v>115719</c:v>
                </c:pt>
                <c:pt idx="21227">
                  <c:v>115716</c:v>
                </c:pt>
                <c:pt idx="21228">
                  <c:v>115715</c:v>
                </c:pt>
                <c:pt idx="21229">
                  <c:v>115714</c:v>
                </c:pt>
                <c:pt idx="21230">
                  <c:v>115713</c:v>
                </c:pt>
                <c:pt idx="21231">
                  <c:v>115709</c:v>
                </c:pt>
                <c:pt idx="21232">
                  <c:v>115700</c:v>
                </c:pt>
                <c:pt idx="21233">
                  <c:v>115699</c:v>
                </c:pt>
                <c:pt idx="21234">
                  <c:v>115690</c:v>
                </c:pt>
                <c:pt idx="21235">
                  <c:v>115686</c:v>
                </c:pt>
                <c:pt idx="21236">
                  <c:v>115684</c:v>
                </c:pt>
                <c:pt idx="21237">
                  <c:v>115683</c:v>
                </c:pt>
                <c:pt idx="21238">
                  <c:v>115683</c:v>
                </c:pt>
                <c:pt idx="21239">
                  <c:v>115682</c:v>
                </c:pt>
                <c:pt idx="21240">
                  <c:v>115677</c:v>
                </c:pt>
                <c:pt idx="21241">
                  <c:v>115665</c:v>
                </c:pt>
                <c:pt idx="21242">
                  <c:v>115665</c:v>
                </c:pt>
                <c:pt idx="21243">
                  <c:v>115663</c:v>
                </c:pt>
                <c:pt idx="21244">
                  <c:v>115655</c:v>
                </c:pt>
                <c:pt idx="21245">
                  <c:v>115642</c:v>
                </c:pt>
                <c:pt idx="21246">
                  <c:v>115640</c:v>
                </c:pt>
                <c:pt idx="21247">
                  <c:v>115636</c:v>
                </c:pt>
                <c:pt idx="21248">
                  <c:v>115636</c:v>
                </c:pt>
                <c:pt idx="21249">
                  <c:v>115636</c:v>
                </c:pt>
                <c:pt idx="21250">
                  <c:v>115632</c:v>
                </c:pt>
                <c:pt idx="21251">
                  <c:v>115631</c:v>
                </c:pt>
                <c:pt idx="21252">
                  <c:v>115628</c:v>
                </c:pt>
                <c:pt idx="21253">
                  <c:v>115627</c:v>
                </c:pt>
                <c:pt idx="21254">
                  <c:v>115616</c:v>
                </c:pt>
                <c:pt idx="21255">
                  <c:v>115615</c:v>
                </c:pt>
                <c:pt idx="21256">
                  <c:v>115613</c:v>
                </c:pt>
                <c:pt idx="21257">
                  <c:v>115606</c:v>
                </c:pt>
                <c:pt idx="21258">
                  <c:v>115603</c:v>
                </c:pt>
                <c:pt idx="21259">
                  <c:v>115599</c:v>
                </c:pt>
                <c:pt idx="21260">
                  <c:v>115590</c:v>
                </c:pt>
                <c:pt idx="21261">
                  <c:v>115578</c:v>
                </c:pt>
                <c:pt idx="21262">
                  <c:v>115577</c:v>
                </c:pt>
                <c:pt idx="21263">
                  <c:v>115573</c:v>
                </c:pt>
                <c:pt idx="21264">
                  <c:v>115558</c:v>
                </c:pt>
                <c:pt idx="21265">
                  <c:v>115555</c:v>
                </c:pt>
                <c:pt idx="21266">
                  <c:v>115554</c:v>
                </c:pt>
                <c:pt idx="21267">
                  <c:v>115551</c:v>
                </c:pt>
                <c:pt idx="21268">
                  <c:v>115546</c:v>
                </c:pt>
                <c:pt idx="21269">
                  <c:v>115545</c:v>
                </c:pt>
                <c:pt idx="21270">
                  <c:v>115537</c:v>
                </c:pt>
                <c:pt idx="21271">
                  <c:v>115537</c:v>
                </c:pt>
                <c:pt idx="21272">
                  <c:v>115536</c:v>
                </c:pt>
                <c:pt idx="21273">
                  <c:v>115535</c:v>
                </c:pt>
                <c:pt idx="21274">
                  <c:v>115533</c:v>
                </c:pt>
                <c:pt idx="21275">
                  <c:v>115531</c:v>
                </c:pt>
                <c:pt idx="21276">
                  <c:v>115530</c:v>
                </c:pt>
                <c:pt idx="21277">
                  <c:v>115525</c:v>
                </c:pt>
                <c:pt idx="21278">
                  <c:v>115518</c:v>
                </c:pt>
                <c:pt idx="21279">
                  <c:v>115514</c:v>
                </c:pt>
                <c:pt idx="21280">
                  <c:v>115508</c:v>
                </c:pt>
                <c:pt idx="21281">
                  <c:v>115505</c:v>
                </c:pt>
                <c:pt idx="21282">
                  <c:v>115505</c:v>
                </c:pt>
                <c:pt idx="21283">
                  <c:v>115496</c:v>
                </c:pt>
                <c:pt idx="21284">
                  <c:v>115494</c:v>
                </c:pt>
                <c:pt idx="21285">
                  <c:v>115488</c:v>
                </c:pt>
                <c:pt idx="21286">
                  <c:v>115482</c:v>
                </c:pt>
                <c:pt idx="21287">
                  <c:v>115481</c:v>
                </c:pt>
                <c:pt idx="21288">
                  <c:v>115480</c:v>
                </c:pt>
                <c:pt idx="21289">
                  <c:v>115477</c:v>
                </c:pt>
                <c:pt idx="21290">
                  <c:v>115476</c:v>
                </c:pt>
                <c:pt idx="21291">
                  <c:v>115468</c:v>
                </c:pt>
                <c:pt idx="21292">
                  <c:v>115465</c:v>
                </c:pt>
                <c:pt idx="21293">
                  <c:v>115464</c:v>
                </c:pt>
                <c:pt idx="21294">
                  <c:v>115463</c:v>
                </c:pt>
                <c:pt idx="21295">
                  <c:v>115453</c:v>
                </c:pt>
                <c:pt idx="21296">
                  <c:v>115449</c:v>
                </c:pt>
                <c:pt idx="21297">
                  <c:v>115439</c:v>
                </c:pt>
                <c:pt idx="21298">
                  <c:v>115438</c:v>
                </c:pt>
                <c:pt idx="21299">
                  <c:v>115438</c:v>
                </c:pt>
                <c:pt idx="21300">
                  <c:v>115436</c:v>
                </c:pt>
                <c:pt idx="21301">
                  <c:v>115429</c:v>
                </c:pt>
                <c:pt idx="21302">
                  <c:v>115428</c:v>
                </c:pt>
                <c:pt idx="21303">
                  <c:v>115420</c:v>
                </c:pt>
                <c:pt idx="21304">
                  <c:v>115418</c:v>
                </c:pt>
                <c:pt idx="21305">
                  <c:v>115415</c:v>
                </c:pt>
                <c:pt idx="21306">
                  <c:v>115410</c:v>
                </c:pt>
                <c:pt idx="21307">
                  <c:v>115405</c:v>
                </c:pt>
                <c:pt idx="21308">
                  <c:v>115404</c:v>
                </c:pt>
                <c:pt idx="21309">
                  <c:v>115401</c:v>
                </c:pt>
                <c:pt idx="21310">
                  <c:v>115401</c:v>
                </c:pt>
                <c:pt idx="21311">
                  <c:v>115395</c:v>
                </c:pt>
                <c:pt idx="21312">
                  <c:v>115384</c:v>
                </c:pt>
                <c:pt idx="21313">
                  <c:v>115382</c:v>
                </c:pt>
                <c:pt idx="21314">
                  <c:v>115381</c:v>
                </c:pt>
                <c:pt idx="21315">
                  <c:v>115377</c:v>
                </c:pt>
                <c:pt idx="21316">
                  <c:v>115377</c:v>
                </c:pt>
                <c:pt idx="21317">
                  <c:v>115375</c:v>
                </c:pt>
                <c:pt idx="21318">
                  <c:v>115372</c:v>
                </c:pt>
                <c:pt idx="21319">
                  <c:v>115370</c:v>
                </c:pt>
                <c:pt idx="21320">
                  <c:v>115368</c:v>
                </c:pt>
                <c:pt idx="21321">
                  <c:v>115366</c:v>
                </c:pt>
                <c:pt idx="21322">
                  <c:v>115360</c:v>
                </c:pt>
                <c:pt idx="21323">
                  <c:v>115357</c:v>
                </c:pt>
                <c:pt idx="21324">
                  <c:v>115357</c:v>
                </c:pt>
                <c:pt idx="21325">
                  <c:v>115355</c:v>
                </c:pt>
                <c:pt idx="21326">
                  <c:v>115354</c:v>
                </c:pt>
                <c:pt idx="21327">
                  <c:v>115352</c:v>
                </c:pt>
                <c:pt idx="21328">
                  <c:v>115346</c:v>
                </c:pt>
                <c:pt idx="21329">
                  <c:v>115339</c:v>
                </c:pt>
                <c:pt idx="21330">
                  <c:v>115336</c:v>
                </c:pt>
                <c:pt idx="21331">
                  <c:v>115332</c:v>
                </c:pt>
                <c:pt idx="21332">
                  <c:v>115327</c:v>
                </c:pt>
                <c:pt idx="21333">
                  <c:v>115326</c:v>
                </c:pt>
                <c:pt idx="21334">
                  <c:v>115325</c:v>
                </c:pt>
                <c:pt idx="21335">
                  <c:v>115323</c:v>
                </c:pt>
                <c:pt idx="21336">
                  <c:v>115306</c:v>
                </c:pt>
                <c:pt idx="21337">
                  <c:v>115305</c:v>
                </c:pt>
                <c:pt idx="21338">
                  <c:v>115305</c:v>
                </c:pt>
                <c:pt idx="21339">
                  <c:v>115303</c:v>
                </c:pt>
                <c:pt idx="21340">
                  <c:v>115302</c:v>
                </c:pt>
                <c:pt idx="21341">
                  <c:v>115302</c:v>
                </c:pt>
                <c:pt idx="21342">
                  <c:v>115301</c:v>
                </c:pt>
                <c:pt idx="21343">
                  <c:v>115294</c:v>
                </c:pt>
                <c:pt idx="21344">
                  <c:v>115286</c:v>
                </c:pt>
                <c:pt idx="21345">
                  <c:v>115282</c:v>
                </c:pt>
                <c:pt idx="21346">
                  <c:v>115273</c:v>
                </c:pt>
                <c:pt idx="21347">
                  <c:v>115271</c:v>
                </c:pt>
                <c:pt idx="21348">
                  <c:v>115268</c:v>
                </c:pt>
                <c:pt idx="21349">
                  <c:v>115268</c:v>
                </c:pt>
                <c:pt idx="21350">
                  <c:v>115265</c:v>
                </c:pt>
                <c:pt idx="21351">
                  <c:v>115263</c:v>
                </c:pt>
                <c:pt idx="21352">
                  <c:v>115254</c:v>
                </c:pt>
                <c:pt idx="21353">
                  <c:v>115251</c:v>
                </c:pt>
                <c:pt idx="21354">
                  <c:v>115250</c:v>
                </c:pt>
                <c:pt idx="21355">
                  <c:v>115250</c:v>
                </c:pt>
                <c:pt idx="21356">
                  <c:v>115248</c:v>
                </c:pt>
                <c:pt idx="21357">
                  <c:v>115244</c:v>
                </c:pt>
                <c:pt idx="21358">
                  <c:v>115228</c:v>
                </c:pt>
                <c:pt idx="21359">
                  <c:v>115221</c:v>
                </c:pt>
                <c:pt idx="21360">
                  <c:v>115220</c:v>
                </c:pt>
                <c:pt idx="21361">
                  <c:v>115219</c:v>
                </c:pt>
                <c:pt idx="21362">
                  <c:v>115216</c:v>
                </c:pt>
                <c:pt idx="21363">
                  <c:v>115198</c:v>
                </c:pt>
                <c:pt idx="21364">
                  <c:v>115196</c:v>
                </c:pt>
                <c:pt idx="21365">
                  <c:v>115196</c:v>
                </c:pt>
                <c:pt idx="21366">
                  <c:v>115195</c:v>
                </c:pt>
                <c:pt idx="21367">
                  <c:v>115173</c:v>
                </c:pt>
                <c:pt idx="21368">
                  <c:v>115173</c:v>
                </c:pt>
                <c:pt idx="21369">
                  <c:v>115168</c:v>
                </c:pt>
                <c:pt idx="21370">
                  <c:v>115165</c:v>
                </c:pt>
                <c:pt idx="21371">
                  <c:v>115157</c:v>
                </c:pt>
                <c:pt idx="21372">
                  <c:v>115156</c:v>
                </c:pt>
                <c:pt idx="21373">
                  <c:v>115150</c:v>
                </c:pt>
                <c:pt idx="21374">
                  <c:v>115146</c:v>
                </c:pt>
                <c:pt idx="21375">
                  <c:v>115145</c:v>
                </c:pt>
                <c:pt idx="21376">
                  <c:v>115138</c:v>
                </c:pt>
                <c:pt idx="21377">
                  <c:v>115132</c:v>
                </c:pt>
                <c:pt idx="21378">
                  <c:v>115131</c:v>
                </c:pt>
                <c:pt idx="21379">
                  <c:v>115113</c:v>
                </c:pt>
                <c:pt idx="21380">
                  <c:v>115111</c:v>
                </c:pt>
                <c:pt idx="21381">
                  <c:v>115103</c:v>
                </c:pt>
                <c:pt idx="21382">
                  <c:v>115102</c:v>
                </c:pt>
                <c:pt idx="21383">
                  <c:v>115100</c:v>
                </c:pt>
                <c:pt idx="21384">
                  <c:v>115097</c:v>
                </c:pt>
                <c:pt idx="21385">
                  <c:v>115088</c:v>
                </c:pt>
                <c:pt idx="21386">
                  <c:v>115084</c:v>
                </c:pt>
                <c:pt idx="21387">
                  <c:v>115083</c:v>
                </c:pt>
                <c:pt idx="21388">
                  <c:v>115080</c:v>
                </c:pt>
                <c:pt idx="21389">
                  <c:v>115080</c:v>
                </c:pt>
                <c:pt idx="21390">
                  <c:v>115076</c:v>
                </c:pt>
                <c:pt idx="21391">
                  <c:v>115075</c:v>
                </c:pt>
                <c:pt idx="21392">
                  <c:v>115072</c:v>
                </c:pt>
                <c:pt idx="21393">
                  <c:v>115069</c:v>
                </c:pt>
                <c:pt idx="21394">
                  <c:v>115069</c:v>
                </c:pt>
                <c:pt idx="21395">
                  <c:v>115066</c:v>
                </c:pt>
                <c:pt idx="21396">
                  <c:v>115065</c:v>
                </c:pt>
                <c:pt idx="21397">
                  <c:v>115064</c:v>
                </c:pt>
                <c:pt idx="21398">
                  <c:v>115053</c:v>
                </c:pt>
                <c:pt idx="21399">
                  <c:v>115045</c:v>
                </c:pt>
                <c:pt idx="21400">
                  <c:v>115045</c:v>
                </c:pt>
                <c:pt idx="21401">
                  <c:v>115044</c:v>
                </c:pt>
                <c:pt idx="21402">
                  <c:v>115044</c:v>
                </c:pt>
                <c:pt idx="21403">
                  <c:v>115041</c:v>
                </c:pt>
                <c:pt idx="21404">
                  <c:v>115036</c:v>
                </c:pt>
                <c:pt idx="21405">
                  <c:v>115033</c:v>
                </c:pt>
                <c:pt idx="21406">
                  <c:v>115030</c:v>
                </c:pt>
                <c:pt idx="21407">
                  <c:v>115029</c:v>
                </c:pt>
                <c:pt idx="21408">
                  <c:v>115025</c:v>
                </c:pt>
                <c:pt idx="21409">
                  <c:v>115021</c:v>
                </c:pt>
                <c:pt idx="21410">
                  <c:v>115019</c:v>
                </c:pt>
                <c:pt idx="21411">
                  <c:v>115015</c:v>
                </c:pt>
                <c:pt idx="21412">
                  <c:v>115013</c:v>
                </c:pt>
                <c:pt idx="21413">
                  <c:v>115013</c:v>
                </c:pt>
                <c:pt idx="21414">
                  <c:v>115003</c:v>
                </c:pt>
                <c:pt idx="21415">
                  <c:v>115003</c:v>
                </c:pt>
                <c:pt idx="21416">
                  <c:v>114990</c:v>
                </c:pt>
                <c:pt idx="21417">
                  <c:v>114988</c:v>
                </c:pt>
                <c:pt idx="21418">
                  <c:v>114985</c:v>
                </c:pt>
                <c:pt idx="21419">
                  <c:v>114979</c:v>
                </c:pt>
                <c:pt idx="21420">
                  <c:v>114976</c:v>
                </c:pt>
                <c:pt idx="21421">
                  <c:v>114967</c:v>
                </c:pt>
                <c:pt idx="21422">
                  <c:v>114965</c:v>
                </c:pt>
                <c:pt idx="21423">
                  <c:v>114965</c:v>
                </c:pt>
                <c:pt idx="21424">
                  <c:v>114963</c:v>
                </c:pt>
                <c:pt idx="21425">
                  <c:v>114957</c:v>
                </c:pt>
                <c:pt idx="21426">
                  <c:v>114956</c:v>
                </c:pt>
                <c:pt idx="21427">
                  <c:v>114954</c:v>
                </c:pt>
                <c:pt idx="21428">
                  <c:v>114951</c:v>
                </c:pt>
                <c:pt idx="21429">
                  <c:v>114950</c:v>
                </c:pt>
                <c:pt idx="21430">
                  <c:v>114948</c:v>
                </c:pt>
                <c:pt idx="21431">
                  <c:v>114946</c:v>
                </c:pt>
                <c:pt idx="21432">
                  <c:v>114944</c:v>
                </c:pt>
                <c:pt idx="21433">
                  <c:v>114942</c:v>
                </c:pt>
                <c:pt idx="21434">
                  <c:v>114937</c:v>
                </c:pt>
                <c:pt idx="21435">
                  <c:v>114936</c:v>
                </c:pt>
                <c:pt idx="21436">
                  <c:v>114932</c:v>
                </c:pt>
                <c:pt idx="21437">
                  <c:v>114930</c:v>
                </c:pt>
                <c:pt idx="21438">
                  <c:v>114924</c:v>
                </c:pt>
                <c:pt idx="21439">
                  <c:v>114921</c:v>
                </c:pt>
                <c:pt idx="21440">
                  <c:v>114920</c:v>
                </c:pt>
                <c:pt idx="21441">
                  <c:v>114919</c:v>
                </c:pt>
                <c:pt idx="21442">
                  <c:v>114913</c:v>
                </c:pt>
                <c:pt idx="21443">
                  <c:v>114912</c:v>
                </c:pt>
                <c:pt idx="21444">
                  <c:v>114911</c:v>
                </c:pt>
                <c:pt idx="21445">
                  <c:v>114911</c:v>
                </c:pt>
                <c:pt idx="21446">
                  <c:v>114910</c:v>
                </c:pt>
                <c:pt idx="21447">
                  <c:v>114893</c:v>
                </c:pt>
                <c:pt idx="21448">
                  <c:v>114889</c:v>
                </c:pt>
                <c:pt idx="21449">
                  <c:v>114887</c:v>
                </c:pt>
                <c:pt idx="21450">
                  <c:v>114879</c:v>
                </c:pt>
                <c:pt idx="21451">
                  <c:v>114878</c:v>
                </c:pt>
                <c:pt idx="21452">
                  <c:v>114870</c:v>
                </c:pt>
                <c:pt idx="21453">
                  <c:v>114868</c:v>
                </c:pt>
                <c:pt idx="21454">
                  <c:v>114866</c:v>
                </c:pt>
                <c:pt idx="21455">
                  <c:v>114864</c:v>
                </c:pt>
                <c:pt idx="21456">
                  <c:v>114863</c:v>
                </c:pt>
                <c:pt idx="21457">
                  <c:v>114860</c:v>
                </c:pt>
                <c:pt idx="21458">
                  <c:v>114858</c:v>
                </c:pt>
                <c:pt idx="21459">
                  <c:v>114857</c:v>
                </c:pt>
                <c:pt idx="21460">
                  <c:v>114841</c:v>
                </c:pt>
                <c:pt idx="21461">
                  <c:v>114840</c:v>
                </c:pt>
                <c:pt idx="21462">
                  <c:v>114839</c:v>
                </c:pt>
                <c:pt idx="21463">
                  <c:v>114836</c:v>
                </c:pt>
                <c:pt idx="21464">
                  <c:v>114835</c:v>
                </c:pt>
                <c:pt idx="21465">
                  <c:v>114834</c:v>
                </c:pt>
                <c:pt idx="21466">
                  <c:v>114834</c:v>
                </c:pt>
                <c:pt idx="21467">
                  <c:v>114832</c:v>
                </c:pt>
                <c:pt idx="21468">
                  <c:v>114827</c:v>
                </c:pt>
                <c:pt idx="21469">
                  <c:v>114826</c:v>
                </c:pt>
                <c:pt idx="21470">
                  <c:v>114823</c:v>
                </c:pt>
                <c:pt idx="21471">
                  <c:v>114816</c:v>
                </c:pt>
                <c:pt idx="21472">
                  <c:v>114816</c:v>
                </c:pt>
                <c:pt idx="21473">
                  <c:v>114808</c:v>
                </c:pt>
                <c:pt idx="21474">
                  <c:v>114806</c:v>
                </c:pt>
                <c:pt idx="21475">
                  <c:v>114806</c:v>
                </c:pt>
                <c:pt idx="21476">
                  <c:v>114805</c:v>
                </c:pt>
                <c:pt idx="21477">
                  <c:v>114803</c:v>
                </c:pt>
                <c:pt idx="21478">
                  <c:v>114803</c:v>
                </c:pt>
                <c:pt idx="21479">
                  <c:v>114800</c:v>
                </c:pt>
                <c:pt idx="21480">
                  <c:v>114793</c:v>
                </c:pt>
                <c:pt idx="21481">
                  <c:v>114788</c:v>
                </c:pt>
                <c:pt idx="21482">
                  <c:v>114787</c:v>
                </c:pt>
                <c:pt idx="21483">
                  <c:v>114782</c:v>
                </c:pt>
                <c:pt idx="21484">
                  <c:v>114774</c:v>
                </c:pt>
                <c:pt idx="21485">
                  <c:v>114770</c:v>
                </c:pt>
                <c:pt idx="21486">
                  <c:v>114768</c:v>
                </c:pt>
                <c:pt idx="21487">
                  <c:v>114767</c:v>
                </c:pt>
                <c:pt idx="21488">
                  <c:v>114765</c:v>
                </c:pt>
                <c:pt idx="21489">
                  <c:v>114764</c:v>
                </c:pt>
                <c:pt idx="21490">
                  <c:v>114763</c:v>
                </c:pt>
                <c:pt idx="21491">
                  <c:v>114757</c:v>
                </c:pt>
                <c:pt idx="21492">
                  <c:v>114752</c:v>
                </c:pt>
                <c:pt idx="21493">
                  <c:v>114750</c:v>
                </c:pt>
                <c:pt idx="21494">
                  <c:v>114743</c:v>
                </c:pt>
                <c:pt idx="21495">
                  <c:v>114742</c:v>
                </c:pt>
                <c:pt idx="21496">
                  <c:v>114742</c:v>
                </c:pt>
                <c:pt idx="21497">
                  <c:v>114739</c:v>
                </c:pt>
                <c:pt idx="21498">
                  <c:v>114735</c:v>
                </c:pt>
                <c:pt idx="21499">
                  <c:v>114724</c:v>
                </c:pt>
                <c:pt idx="21500">
                  <c:v>114724</c:v>
                </c:pt>
                <c:pt idx="21501">
                  <c:v>114723</c:v>
                </c:pt>
                <c:pt idx="21502">
                  <c:v>114704</c:v>
                </c:pt>
                <c:pt idx="21503">
                  <c:v>114703</c:v>
                </c:pt>
                <c:pt idx="21504">
                  <c:v>114703</c:v>
                </c:pt>
                <c:pt idx="21505">
                  <c:v>114701</c:v>
                </c:pt>
                <c:pt idx="21506">
                  <c:v>114700</c:v>
                </c:pt>
                <c:pt idx="21507">
                  <c:v>114688</c:v>
                </c:pt>
                <c:pt idx="21508">
                  <c:v>114687</c:v>
                </c:pt>
                <c:pt idx="21509">
                  <c:v>114684</c:v>
                </c:pt>
                <c:pt idx="21510">
                  <c:v>114680</c:v>
                </c:pt>
                <c:pt idx="21511">
                  <c:v>114679</c:v>
                </c:pt>
                <c:pt idx="21512">
                  <c:v>114663</c:v>
                </c:pt>
                <c:pt idx="21513">
                  <c:v>114662</c:v>
                </c:pt>
                <c:pt idx="21514">
                  <c:v>114661</c:v>
                </c:pt>
                <c:pt idx="21515">
                  <c:v>114661</c:v>
                </c:pt>
                <c:pt idx="21516">
                  <c:v>114659</c:v>
                </c:pt>
                <c:pt idx="21517">
                  <c:v>114657</c:v>
                </c:pt>
                <c:pt idx="21518">
                  <c:v>114647</c:v>
                </c:pt>
                <c:pt idx="21519">
                  <c:v>114647</c:v>
                </c:pt>
                <c:pt idx="21520">
                  <c:v>114642</c:v>
                </c:pt>
                <c:pt idx="21521">
                  <c:v>114639</c:v>
                </c:pt>
                <c:pt idx="21522">
                  <c:v>114637</c:v>
                </c:pt>
                <c:pt idx="21523">
                  <c:v>114636</c:v>
                </c:pt>
                <c:pt idx="21524">
                  <c:v>114635</c:v>
                </c:pt>
                <c:pt idx="21525">
                  <c:v>114634</c:v>
                </c:pt>
                <c:pt idx="21526">
                  <c:v>114634</c:v>
                </c:pt>
                <c:pt idx="21527">
                  <c:v>114630</c:v>
                </c:pt>
                <c:pt idx="21528">
                  <c:v>114630</c:v>
                </c:pt>
                <c:pt idx="21529">
                  <c:v>114622</c:v>
                </c:pt>
                <c:pt idx="21530">
                  <c:v>114621</c:v>
                </c:pt>
                <c:pt idx="21531">
                  <c:v>114620</c:v>
                </c:pt>
                <c:pt idx="21532">
                  <c:v>114616</c:v>
                </c:pt>
                <c:pt idx="21533">
                  <c:v>114615</c:v>
                </c:pt>
                <c:pt idx="21534">
                  <c:v>114615</c:v>
                </c:pt>
                <c:pt idx="21535">
                  <c:v>114614</c:v>
                </c:pt>
                <c:pt idx="21536">
                  <c:v>114614</c:v>
                </c:pt>
                <c:pt idx="21537">
                  <c:v>114614</c:v>
                </c:pt>
                <c:pt idx="21538">
                  <c:v>114610</c:v>
                </c:pt>
                <c:pt idx="21539">
                  <c:v>114603</c:v>
                </c:pt>
                <c:pt idx="21540">
                  <c:v>114603</c:v>
                </c:pt>
                <c:pt idx="21541">
                  <c:v>114602</c:v>
                </c:pt>
                <c:pt idx="21542">
                  <c:v>114600</c:v>
                </c:pt>
                <c:pt idx="21543">
                  <c:v>114598</c:v>
                </c:pt>
                <c:pt idx="21544">
                  <c:v>114584</c:v>
                </c:pt>
                <c:pt idx="21545">
                  <c:v>114578</c:v>
                </c:pt>
                <c:pt idx="21546">
                  <c:v>114576</c:v>
                </c:pt>
                <c:pt idx="21547">
                  <c:v>114575</c:v>
                </c:pt>
                <c:pt idx="21548">
                  <c:v>114572</c:v>
                </c:pt>
                <c:pt idx="21549">
                  <c:v>114571</c:v>
                </c:pt>
                <c:pt idx="21550">
                  <c:v>114571</c:v>
                </c:pt>
                <c:pt idx="21551">
                  <c:v>114566</c:v>
                </c:pt>
                <c:pt idx="21552">
                  <c:v>114565</c:v>
                </c:pt>
                <c:pt idx="21553">
                  <c:v>114555</c:v>
                </c:pt>
                <c:pt idx="21554">
                  <c:v>114545</c:v>
                </c:pt>
                <c:pt idx="21555">
                  <c:v>114540</c:v>
                </c:pt>
                <c:pt idx="21556">
                  <c:v>114539</c:v>
                </c:pt>
                <c:pt idx="21557">
                  <c:v>114532</c:v>
                </c:pt>
                <c:pt idx="21558">
                  <c:v>114523</c:v>
                </c:pt>
                <c:pt idx="21559">
                  <c:v>114514</c:v>
                </c:pt>
                <c:pt idx="21560">
                  <c:v>114512</c:v>
                </c:pt>
                <c:pt idx="21561">
                  <c:v>114510</c:v>
                </c:pt>
                <c:pt idx="21562">
                  <c:v>114502</c:v>
                </c:pt>
                <c:pt idx="21563">
                  <c:v>114498</c:v>
                </c:pt>
                <c:pt idx="21564">
                  <c:v>114492</c:v>
                </c:pt>
                <c:pt idx="21565">
                  <c:v>114489</c:v>
                </c:pt>
                <c:pt idx="21566">
                  <c:v>114488</c:v>
                </c:pt>
                <c:pt idx="21567">
                  <c:v>114488</c:v>
                </c:pt>
                <c:pt idx="21568">
                  <c:v>114485</c:v>
                </c:pt>
                <c:pt idx="21569">
                  <c:v>114481</c:v>
                </c:pt>
                <c:pt idx="21570">
                  <c:v>114480</c:v>
                </c:pt>
                <c:pt idx="21571">
                  <c:v>114479</c:v>
                </c:pt>
                <c:pt idx="21572">
                  <c:v>114479</c:v>
                </c:pt>
                <c:pt idx="21573">
                  <c:v>114464</c:v>
                </c:pt>
                <c:pt idx="21574">
                  <c:v>114462</c:v>
                </c:pt>
                <c:pt idx="21575">
                  <c:v>114459</c:v>
                </c:pt>
                <c:pt idx="21576">
                  <c:v>114458</c:v>
                </c:pt>
                <c:pt idx="21577">
                  <c:v>114456</c:v>
                </c:pt>
                <c:pt idx="21578">
                  <c:v>114446</c:v>
                </c:pt>
                <c:pt idx="21579">
                  <c:v>114440</c:v>
                </c:pt>
                <c:pt idx="21580">
                  <c:v>114438</c:v>
                </c:pt>
                <c:pt idx="21581">
                  <c:v>114438</c:v>
                </c:pt>
                <c:pt idx="21582">
                  <c:v>114438</c:v>
                </c:pt>
                <c:pt idx="21583">
                  <c:v>114429</c:v>
                </c:pt>
                <c:pt idx="21584">
                  <c:v>114428</c:v>
                </c:pt>
                <c:pt idx="21585">
                  <c:v>114426</c:v>
                </c:pt>
                <c:pt idx="21586">
                  <c:v>114424</c:v>
                </c:pt>
                <c:pt idx="21587">
                  <c:v>114423</c:v>
                </c:pt>
                <c:pt idx="21588">
                  <c:v>114420</c:v>
                </c:pt>
                <c:pt idx="21589">
                  <c:v>114416</c:v>
                </c:pt>
                <c:pt idx="21590">
                  <c:v>114415</c:v>
                </c:pt>
                <c:pt idx="21591">
                  <c:v>114411</c:v>
                </c:pt>
                <c:pt idx="21592">
                  <c:v>114402</c:v>
                </c:pt>
                <c:pt idx="21593">
                  <c:v>114399</c:v>
                </c:pt>
                <c:pt idx="21594">
                  <c:v>114398</c:v>
                </c:pt>
                <c:pt idx="21595">
                  <c:v>114393</c:v>
                </c:pt>
                <c:pt idx="21596">
                  <c:v>114390</c:v>
                </c:pt>
                <c:pt idx="21597">
                  <c:v>114386</c:v>
                </c:pt>
                <c:pt idx="21598">
                  <c:v>114381</c:v>
                </c:pt>
                <c:pt idx="21599">
                  <c:v>114380</c:v>
                </c:pt>
                <c:pt idx="21600">
                  <c:v>114380</c:v>
                </c:pt>
                <c:pt idx="21601">
                  <c:v>114377</c:v>
                </c:pt>
                <c:pt idx="21602">
                  <c:v>114374</c:v>
                </c:pt>
                <c:pt idx="21603">
                  <c:v>114373</c:v>
                </c:pt>
                <c:pt idx="21604">
                  <c:v>114369</c:v>
                </c:pt>
                <c:pt idx="21605">
                  <c:v>114354</c:v>
                </c:pt>
                <c:pt idx="21606">
                  <c:v>114353</c:v>
                </c:pt>
                <c:pt idx="21607">
                  <c:v>114347</c:v>
                </c:pt>
                <c:pt idx="21608">
                  <c:v>114347</c:v>
                </c:pt>
                <c:pt idx="21609">
                  <c:v>114345</c:v>
                </c:pt>
                <c:pt idx="21610">
                  <c:v>114331</c:v>
                </c:pt>
                <c:pt idx="21611">
                  <c:v>114331</c:v>
                </c:pt>
                <c:pt idx="21612">
                  <c:v>114330</c:v>
                </c:pt>
                <c:pt idx="21613">
                  <c:v>114330</c:v>
                </c:pt>
                <c:pt idx="21614">
                  <c:v>114321</c:v>
                </c:pt>
                <c:pt idx="21615">
                  <c:v>114318</c:v>
                </c:pt>
                <c:pt idx="21616">
                  <c:v>114317</c:v>
                </c:pt>
                <c:pt idx="21617">
                  <c:v>114315</c:v>
                </c:pt>
                <c:pt idx="21618">
                  <c:v>114312</c:v>
                </c:pt>
                <c:pt idx="21619">
                  <c:v>114308</c:v>
                </c:pt>
                <c:pt idx="21620">
                  <c:v>114304</c:v>
                </c:pt>
                <c:pt idx="21621">
                  <c:v>114303</c:v>
                </c:pt>
                <c:pt idx="21622">
                  <c:v>114302</c:v>
                </c:pt>
                <c:pt idx="21623">
                  <c:v>114300</c:v>
                </c:pt>
                <c:pt idx="21624">
                  <c:v>114297</c:v>
                </c:pt>
                <c:pt idx="21625">
                  <c:v>114284</c:v>
                </c:pt>
                <c:pt idx="21626">
                  <c:v>114280</c:v>
                </c:pt>
                <c:pt idx="21627">
                  <c:v>114277</c:v>
                </c:pt>
                <c:pt idx="21628">
                  <c:v>114276</c:v>
                </c:pt>
                <c:pt idx="21629">
                  <c:v>114274</c:v>
                </c:pt>
                <c:pt idx="21630">
                  <c:v>114270</c:v>
                </c:pt>
                <c:pt idx="21631">
                  <c:v>114261</c:v>
                </c:pt>
                <c:pt idx="21632">
                  <c:v>114254</c:v>
                </c:pt>
                <c:pt idx="21633">
                  <c:v>114251</c:v>
                </c:pt>
                <c:pt idx="21634">
                  <c:v>114243</c:v>
                </c:pt>
                <c:pt idx="21635">
                  <c:v>114242</c:v>
                </c:pt>
                <c:pt idx="21636">
                  <c:v>114240</c:v>
                </c:pt>
                <c:pt idx="21637">
                  <c:v>114240</c:v>
                </c:pt>
                <c:pt idx="21638">
                  <c:v>114235</c:v>
                </c:pt>
                <c:pt idx="21639">
                  <c:v>114232</c:v>
                </c:pt>
                <c:pt idx="21640">
                  <c:v>114229</c:v>
                </c:pt>
                <c:pt idx="21641">
                  <c:v>114227</c:v>
                </c:pt>
                <c:pt idx="21642">
                  <c:v>114225</c:v>
                </c:pt>
                <c:pt idx="21643">
                  <c:v>114221</c:v>
                </c:pt>
                <c:pt idx="21644">
                  <c:v>114208</c:v>
                </c:pt>
                <c:pt idx="21645">
                  <c:v>114206</c:v>
                </c:pt>
                <c:pt idx="21646">
                  <c:v>114203</c:v>
                </c:pt>
                <c:pt idx="21647">
                  <c:v>114202</c:v>
                </c:pt>
                <c:pt idx="21648">
                  <c:v>114197</c:v>
                </c:pt>
                <c:pt idx="21649">
                  <c:v>114196</c:v>
                </c:pt>
                <c:pt idx="21650">
                  <c:v>114195</c:v>
                </c:pt>
                <c:pt idx="21651">
                  <c:v>114191</c:v>
                </c:pt>
                <c:pt idx="21652">
                  <c:v>114190</c:v>
                </c:pt>
                <c:pt idx="21653">
                  <c:v>114184</c:v>
                </c:pt>
                <c:pt idx="21654">
                  <c:v>114181</c:v>
                </c:pt>
                <c:pt idx="21655">
                  <c:v>114180</c:v>
                </c:pt>
                <c:pt idx="21656">
                  <c:v>114180</c:v>
                </c:pt>
                <c:pt idx="21657">
                  <c:v>114179</c:v>
                </c:pt>
                <c:pt idx="21658">
                  <c:v>114178</c:v>
                </c:pt>
                <c:pt idx="21659">
                  <c:v>114178</c:v>
                </c:pt>
                <c:pt idx="21660">
                  <c:v>114177</c:v>
                </c:pt>
                <c:pt idx="21661">
                  <c:v>114172</c:v>
                </c:pt>
                <c:pt idx="21662">
                  <c:v>114172</c:v>
                </c:pt>
                <c:pt idx="21663">
                  <c:v>114164</c:v>
                </c:pt>
                <c:pt idx="21664">
                  <c:v>114155</c:v>
                </c:pt>
                <c:pt idx="21665">
                  <c:v>114154</c:v>
                </c:pt>
                <c:pt idx="21666">
                  <c:v>114150</c:v>
                </c:pt>
                <c:pt idx="21667">
                  <c:v>114148</c:v>
                </c:pt>
                <c:pt idx="21668">
                  <c:v>114142</c:v>
                </c:pt>
                <c:pt idx="21669">
                  <c:v>114141</c:v>
                </c:pt>
                <c:pt idx="21670">
                  <c:v>114139</c:v>
                </c:pt>
                <c:pt idx="21671">
                  <c:v>114138</c:v>
                </c:pt>
                <c:pt idx="21672">
                  <c:v>114132</c:v>
                </c:pt>
                <c:pt idx="21673">
                  <c:v>114129</c:v>
                </c:pt>
                <c:pt idx="21674">
                  <c:v>114128</c:v>
                </c:pt>
                <c:pt idx="21675">
                  <c:v>114128</c:v>
                </c:pt>
                <c:pt idx="21676">
                  <c:v>114127</c:v>
                </c:pt>
                <c:pt idx="21677">
                  <c:v>114126</c:v>
                </c:pt>
                <c:pt idx="21678">
                  <c:v>114123</c:v>
                </c:pt>
                <c:pt idx="21679">
                  <c:v>114118</c:v>
                </c:pt>
                <c:pt idx="21680">
                  <c:v>114111</c:v>
                </c:pt>
                <c:pt idx="21681">
                  <c:v>114110</c:v>
                </c:pt>
                <c:pt idx="21682">
                  <c:v>114110</c:v>
                </c:pt>
                <c:pt idx="21683">
                  <c:v>114104</c:v>
                </c:pt>
                <c:pt idx="21684">
                  <c:v>114102</c:v>
                </c:pt>
                <c:pt idx="21685">
                  <c:v>114099</c:v>
                </c:pt>
                <c:pt idx="21686">
                  <c:v>114098</c:v>
                </c:pt>
                <c:pt idx="21687">
                  <c:v>114098</c:v>
                </c:pt>
                <c:pt idx="21688">
                  <c:v>114097</c:v>
                </c:pt>
                <c:pt idx="21689">
                  <c:v>114092</c:v>
                </c:pt>
                <c:pt idx="21690">
                  <c:v>114091</c:v>
                </c:pt>
                <c:pt idx="21691">
                  <c:v>114081</c:v>
                </c:pt>
                <c:pt idx="21692">
                  <c:v>114079</c:v>
                </c:pt>
                <c:pt idx="21693">
                  <c:v>114073</c:v>
                </c:pt>
                <c:pt idx="21694">
                  <c:v>114068</c:v>
                </c:pt>
                <c:pt idx="21695">
                  <c:v>114067</c:v>
                </c:pt>
                <c:pt idx="21696">
                  <c:v>114060</c:v>
                </c:pt>
                <c:pt idx="21697">
                  <c:v>114056</c:v>
                </c:pt>
                <c:pt idx="21698">
                  <c:v>114054</c:v>
                </c:pt>
                <c:pt idx="21699">
                  <c:v>114049</c:v>
                </c:pt>
                <c:pt idx="21700">
                  <c:v>114048</c:v>
                </c:pt>
                <c:pt idx="21701">
                  <c:v>114031</c:v>
                </c:pt>
                <c:pt idx="21702">
                  <c:v>114017</c:v>
                </c:pt>
                <c:pt idx="21703">
                  <c:v>114015</c:v>
                </c:pt>
                <c:pt idx="21704">
                  <c:v>114009</c:v>
                </c:pt>
                <c:pt idx="21705">
                  <c:v>114006</c:v>
                </c:pt>
                <c:pt idx="21706">
                  <c:v>113997</c:v>
                </c:pt>
                <c:pt idx="21707">
                  <c:v>113994</c:v>
                </c:pt>
                <c:pt idx="21708">
                  <c:v>113989</c:v>
                </c:pt>
                <c:pt idx="21709">
                  <c:v>113984</c:v>
                </c:pt>
                <c:pt idx="21710">
                  <c:v>113983</c:v>
                </c:pt>
                <c:pt idx="21711">
                  <c:v>113976</c:v>
                </c:pt>
                <c:pt idx="21712">
                  <c:v>113975</c:v>
                </c:pt>
                <c:pt idx="21713">
                  <c:v>113969</c:v>
                </c:pt>
                <c:pt idx="21714">
                  <c:v>113967</c:v>
                </c:pt>
                <c:pt idx="21715">
                  <c:v>113965</c:v>
                </c:pt>
                <c:pt idx="21716">
                  <c:v>113956</c:v>
                </c:pt>
                <c:pt idx="21717">
                  <c:v>113952</c:v>
                </c:pt>
                <c:pt idx="21718">
                  <c:v>113948</c:v>
                </c:pt>
                <c:pt idx="21719">
                  <c:v>113947</c:v>
                </c:pt>
                <c:pt idx="21720">
                  <c:v>113935</c:v>
                </c:pt>
                <c:pt idx="21721">
                  <c:v>113934</c:v>
                </c:pt>
                <c:pt idx="21722">
                  <c:v>113933</c:v>
                </c:pt>
                <c:pt idx="21723">
                  <c:v>113931</c:v>
                </c:pt>
                <c:pt idx="21724">
                  <c:v>113925</c:v>
                </c:pt>
                <c:pt idx="21725">
                  <c:v>113916</c:v>
                </c:pt>
                <c:pt idx="21726">
                  <c:v>113911</c:v>
                </c:pt>
                <c:pt idx="21727">
                  <c:v>113905</c:v>
                </c:pt>
                <c:pt idx="21728">
                  <c:v>113900</c:v>
                </c:pt>
                <c:pt idx="21729">
                  <c:v>113900</c:v>
                </c:pt>
                <c:pt idx="21730">
                  <c:v>113893</c:v>
                </c:pt>
                <c:pt idx="21731">
                  <c:v>113893</c:v>
                </c:pt>
                <c:pt idx="21732">
                  <c:v>113891</c:v>
                </c:pt>
                <c:pt idx="21733">
                  <c:v>113890</c:v>
                </c:pt>
                <c:pt idx="21734">
                  <c:v>113886</c:v>
                </c:pt>
                <c:pt idx="21735">
                  <c:v>113881</c:v>
                </c:pt>
                <c:pt idx="21736">
                  <c:v>113880</c:v>
                </c:pt>
                <c:pt idx="21737">
                  <c:v>113879</c:v>
                </c:pt>
                <c:pt idx="21738">
                  <c:v>113872</c:v>
                </c:pt>
                <c:pt idx="21739">
                  <c:v>113871</c:v>
                </c:pt>
                <c:pt idx="21740">
                  <c:v>113870</c:v>
                </c:pt>
                <c:pt idx="21741">
                  <c:v>113867</c:v>
                </c:pt>
                <c:pt idx="21742">
                  <c:v>113865</c:v>
                </c:pt>
                <c:pt idx="21743">
                  <c:v>113859</c:v>
                </c:pt>
                <c:pt idx="21744">
                  <c:v>113859</c:v>
                </c:pt>
                <c:pt idx="21745">
                  <c:v>113857</c:v>
                </c:pt>
                <c:pt idx="21746">
                  <c:v>113857</c:v>
                </c:pt>
                <c:pt idx="21747">
                  <c:v>113855</c:v>
                </c:pt>
                <c:pt idx="21748">
                  <c:v>113855</c:v>
                </c:pt>
                <c:pt idx="21749">
                  <c:v>113855</c:v>
                </c:pt>
                <c:pt idx="21750">
                  <c:v>113853</c:v>
                </c:pt>
                <c:pt idx="21751">
                  <c:v>113851</c:v>
                </c:pt>
                <c:pt idx="21752">
                  <c:v>113851</c:v>
                </c:pt>
                <c:pt idx="21753">
                  <c:v>113843</c:v>
                </c:pt>
                <c:pt idx="21754">
                  <c:v>113841</c:v>
                </c:pt>
                <c:pt idx="21755">
                  <c:v>113839</c:v>
                </c:pt>
                <c:pt idx="21756">
                  <c:v>113838</c:v>
                </c:pt>
                <c:pt idx="21757">
                  <c:v>113835</c:v>
                </c:pt>
                <c:pt idx="21758">
                  <c:v>113831</c:v>
                </c:pt>
                <c:pt idx="21759">
                  <c:v>113831</c:v>
                </c:pt>
                <c:pt idx="21760">
                  <c:v>113826</c:v>
                </c:pt>
                <c:pt idx="21761">
                  <c:v>113826</c:v>
                </c:pt>
                <c:pt idx="21762">
                  <c:v>113826</c:v>
                </c:pt>
                <c:pt idx="21763">
                  <c:v>113818</c:v>
                </c:pt>
                <c:pt idx="21764">
                  <c:v>113816</c:v>
                </c:pt>
                <c:pt idx="21765">
                  <c:v>113816</c:v>
                </c:pt>
                <c:pt idx="21766">
                  <c:v>113814</c:v>
                </c:pt>
                <c:pt idx="21767">
                  <c:v>113814</c:v>
                </c:pt>
                <c:pt idx="21768">
                  <c:v>113813</c:v>
                </c:pt>
                <c:pt idx="21769">
                  <c:v>113811</c:v>
                </c:pt>
                <c:pt idx="21770">
                  <c:v>113807</c:v>
                </c:pt>
                <c:pt idx="21771">
                  <c:v>113804</c:v>
                </c:pt>
                <c:pt idx="21772">
                  <c:v>113801</c:v>
                </c:pt>
                <c:pt idx="21773">
                  <c:v>113798</c:v>
                </c:pt>
                <c:pt idx="21774">
                  <c:v>113782</c:v>
                </c:pt>
                <c:pt idx="21775">
                  <c:v>113781</c:v>
                </c:pt>
                <c:pt idx="21776">
                  <c:v>113778</c:v>
                </c:pt>
                <c:pt idx="21777">
                  <c:v>113773</c:v>
                </c:pt>
                <c:pt idx="21778">
                  <c:v>113771</c:v>
                </c:pt>
                <c:pt idx="21779">
                  <c:v>113768</c:v>
                </c:pt>
                <c:pt idx="21780">
                  <c:v>113757</c:v>
                </c:pt>
                <c:pt idx="21781">
                  <c:v>113753</c:v>
                </c:pt>
                <c:pt idx="21782">
                  <c:v>113752</c:v>
                </c:pt>
                <c:pt idx="21783">
                  <c:v>113748</c:v>
                </c:pt>
                <c:pt idx="21784">
                  <c:v>113745</c:v>
                </c:pt>
                <c:pt idx="21785">
                  <c:v>113732</c:v>
                </c:pt>
                <c:pt idx="21786">
                  <c:v>113731</c:v>
                </c:pt>
                <c:pt idx="21787">
                  <c:v>113731</c:v>
                </c:pt>
                <c:pt idx="21788">
                  <c:v>113725</c:v>
                </c:pt>
                <c:pt idx="21789">
                  <c:v>113724</c:v>
                </c:pt>
                <c:pt idx="21790">
                  <c:v>113718</c:v>
                </c:pt>
                <c:pt idx="21791">
                  <c:v>113706</c:v>
                </c:pt>
                <c:pt idx="21792">
                  <c:v>113704</c:v>
                </c:pt>
                <c:pt idx="21793">
                  <c:v>113703</c:v>
                </c:pt>
                <c:pt idx="21794">
                  <c:v>113703</c:v>
                </c:pt>
                <c:pt idx="21795">
                  <c:v>113701</c:v>
                </c:pt>
                <c:pt idx="21796">
                  <c:v>113701</c:v>
                </c:pt>
                <c:pt idx="21797">
                  <c:v>113699</c:v>
                </c:pt>
                <c:pt idx="21798">
                  <c:v>113693</c:v>
                </c:pt>
                <c:pt idx="21799">
                  <c:v>113692</c:v>
                </c:pt>
                <c:pt idx="21800">
                  <c:v>113690</c:v>
                </c:pt>
                <c:pt idx="21801">
                  <c:v>113690</c:v>
                </c:pt>
                <c:pt idx="21802">
                  <c:v>113682</c:v>
                </c:pt>
                <c:pt idx="21803">
                  <c:v>113682</c:v>
                </c:pt>
                <c:pt idx="21804">
                  <c:v>113679</c:v>
                </c:pt>
                <c:pt idx="21805">
                  <c:v>113678</c:v>
                </c:pt>
                <c:pt idx="21806">
                  <c:v>113677</c:v>
                </c:pt>
                <c:pt idx="21807">
                  <c:v>113675</c:v>
                </c:pt>
                <c:pt idx="21808">
                  <c:v>113675</c:v>
                </c:pt>
                <c:pt idx="21809">
                  <c:v>113675</c:v>
                </c:pt>
                <c:pt idx="21810">
                  <c:v>113669</c:v>
                </c:pt>
                <c:pt idx="21811">
                  <c:v>113669</c:v>
                </c:pt>
                <c:pt idx="21812">
                  <c:v>113667</c:v>
                </c:pt>
                <c:pt idx="21813">
                  <c:v>113666</c:v>
                </c:pt>
                <c:pt idx="21814">
                  <c:v>113661</c:v>
                </c:pt>
                <c:pt idx="21815">
                  <c:v>113657</c:v>
                </c:pt>
                <c:pt idx="21816">
                  <c:v>113656</c:v>
                </c:pt>
                <c:pt idx="21817">
                  <c:v>113655</c:v>
                </c:pt>
                <c:pt idx="21818">
                  <c:v>113652</c:v>
                </c:pt>
                <c:pt idx="21819">
                  <c:v>113647</c:v>
                </c:pt>
                <c:pt idx="21820">
                  <c:v>113647</c:v>
                </c:pt>
                <c:pt idx="21821">
                  <c:v>113633</c:v>
                </c:pt>
                <c:pt idx="21822">
                  <c:v>113633</c:v>
                </c:pt>
                <c:pt idx="21823">
                  <c:v>113631</c:v>
                </c:pt>
                <c:pt idx="21824">
                  <c:v>113631</c:v>
                </c:pt>
                <c:pt idx="21825">
                  <c:v>113629</c:v>
                </c:pt>
                <c:pt idx="21826">
                  <c:v>113628</c:v>
                </c:pt>
                <c:pt idx="21827">
                  <c:v>113623</c:v>
                </c:pt>
                <c:pt idx="21828">
                  <c:v>113621</c:v>
                </c:pt>
                <c:pt idx="21829">
                  <c:v>113619</c:v>
                </c:pt>
                <c:pt idx="21830">
                  <c:v>113617</c:v>
                </c:pt>
                <c:pt idx="21831">
                  <c:v>113607</c:v>
                </c:pt>
                <c:pt idx="21832">
                  <c:v>113606</c:v>
                </c:pt>
                <c:pt idx="21833">
                  <c:v>113602</c:v>
                </c:pt>
                <c:pt idx="21834">
                  <c:v>113602</c:v>
                </c:pt>
                <c:pt idx="21835">
                  <c:v>113599</c:v>
                </c:pt>
                <c:pt idx="21836">
                  <c:v>113597</c:v>
                </c:pt>
                <c:pt idx="21837">
                  <c:v>113595</c:v>
                </c:pt>
                <c:pt idx="21838">
                  <c:v>113594</c:v>
                </c:pt>
                <c:pt idx="21839">
                  <c:v>113592</c:v>
                </c:pt>
                <c:pt idx="21840">
                  <c:v>113590</c:v>
                </c:pt>
                <c:pt idx="21841">
                  <c:v>113588</c:v>
                </c:pt>
                <c:pt idx="21842">
                  <c:v>113587</c:v>
                </c:pt>
                <c:pt idx="21843">
                  <c:v>113586</c:v>
                </c:pt>
                <c:pt idx="21844">
                  <c:v>113584</c:v>
                </c:pt>
                <c:pt idx="21845">
                  <c:v>113584</c:v>
                </c:pt>
                <c:pt idx="21846">
                  <c:v>113581</c:v>
                </c:pt>
                <c:pt idx="21847">
                  <c:v>113571</c:v>
                </c:pt>
                <c:pt idx="21848">
                  <c:v>113568</c:v>
                </c:pt>
                <c:pt idx="21849">
                  <c:v>113567</c:v>
                </c:pt>
                <c:pt idx="21850">
                  <c:v>113567</c:v>
                </c:pt>
                <c:pt idx="21851">
                  <c:v>113562</c:v>
                </c:pt>
                <c:pt idx="21852">
                  <c:v>113557</c:v>
                </c:pt>
                <c:pt idx="21853">
                  <c:v>113556</c:v>
                </c:pt>
                <c:pt idx="21854">
                  <c:v>113553</c:v>
                </c:pt>
                <c:pt idx="21855">
                  <c:v>113550</c:v>
                </c:pt>
                <c:pt idx="21856">
                  <c:v>113550</c:v>
                </c:pt>
                <c:pt idx="21857">
                  <c:v>113548</c:v>
                </c:pt>
                <c:pt idx="21858">
                  <c:v>113547</c:v>
                </c:pt>
                <c:pt idx="21859">
                  <c:v>113547</c:v>
                </c:pt>
                <c:pt idx="21860">
                  <c:v>113546</c:v>
                </c:pt>
                <c:pt idx="21861">
                  <c:v>113546</c:v>
                </c:pt>
                <c:pt idx="21862">
                  <c:v>113535</c:v>
                </c:pt>
                <c:pt idx="21863">
                  <c:v>113533</c:v>
                </c:pt>
                <c:pt idx="21864">
                  <c:v>113529</c:v>
                </c:pt>
                <c:pt idx="21865">
                  <c:v>113528</c:v>
                </c:pt>
                <c:pt idx="21866">
                  <c:v>113525</c:v>
                </c:pt>
                <c:pt idx="21867">
                  <c:v>113525</c:v>
                </c:pt>
                <c:pt idx="21868">
                  <c:v>113517</c:v>
                </c:pt>
                <c:pt idx="21869">
                  <c:v>113513</c:v>
                </c:pt>
                <c:pt idx="21870">
                  <c:v>113511</c:v>
                </c:pt>
                <c:pt idx="21871">
                  <c:v>113510</c:v>
                </c:pt>
                <c:pt idx="21872">
                  <c:v>113508</c:v>
                </c:pt>
                <c:pt idx="21873">
                  <c:v>113507</c:v>
                </c:pt>
                <c:pt idx="21874">
                  <c:v>113503</c:v>
                </c:pt>
                <c:pt idx="21875">
                  <c:v>113499</c:v>
                </c:pt>
                <c:pt idx="21876">
                  <c:v>113499</c:v>
                </c:pt>
                <c:pt idx="21877">
                  <c:v>113497</c:v>
                </c:pt>
                <c:pt idx="21878">
                  <c:v>113496</c:v>
                </c:pt>
                <c:pt idx="21879">
                  <c:v>113496</c:v>
                </c:pt>
                <c:pt idx="21880">
                  <c:v>113492</c:v>
                </c:pt>
                <c:pt idx="21881">
                  <c:v>113491</c:v>
                </c:pt>
                <c:pt idx="21882">
                  <c:v>113484</c:v>
                </c:pt>
                <c:pt idx="21883">
                  <c:v>113483</c:v>
                </c:pt>
                <c:pt idx="21884">
                  <c:v>113482</c:v>
                </c:pt>
                <c:pt idx="21885">
                  <c:v>113481</c:v>
                </c:pt>
                <c:pt idx="21886">
                  <c:v>113481</c:v>
                </c:pt>
                <c:pt idx="21887">
                  <c:v>113479</c:v>
                </c:pt>
                <c:pt idx="21888">
                  <c:v>113478</c:v>
                </c:pt>
                <c:pt idx="21889">
                  <c:v>113475</c:v>
                </c:pt>
                <c:pt idx="21890">
                  <c:v>113475</c:v>
                </c:pt>
                <c:pt idx="21891">
                  <c:v>113473</c:v>
                </c:pt>
                <c:pt idx="21892">
                  <c:v>113471</c:v>
                </c:pt>
                <c:pt idx="21893">
                  <c:v>113466</c:v>
                </c:pt>
                <c:pt idx="21894">
                  <c:v>113465</c:v>
                </c:pt>
                <c:pt idx="21895">
                  <c:v>113464</c:v>
                </c:pt>
                <c:pt idx="21896">
                  <c:v>113461</c:v>
                </c:pt>
                <c:pt idx="21897">
                  <c:v>113460</c:v>
                </c:pt>
                <c:pt idx="21898">
                  <c:v>113456</c:v>
                </c:pt>
                <c:pt idx="21899">
                  <c:v>113453</c:v>
                </c:pt>
                <c:pt idx="21900">
                  <c:v>113449</c:v>
                </c:pt>
                <c:pt idx="21901">
                  <c:v>113448</c:v>
                </c:pt>
                <c:pt idx="21902">
                  <c:v>113445</c:v>
                </c:pt>
                <c:pt idx="21903">
                  <c:v>113444</c:v>
                </c:pt>
                <c:pt idx="21904">
                  <c:v>113440</c:v>
                </c:pt>
                <c:pt idx="21905">
                  <c:v>113439</c:v>
                </c:pt>
                <c:pt idx="21906">
                  <c:v>113437</c:v>
                </c:pt>
                <c:pt idx="21907">
                  <c:v>113432</c:v>
                </c:pt>
                <c:pt idx="21908">
                  <c:v>113427</c:v>
                </c:pt>
                <c:pt idx="21909">
                  <c:v>113417</c:v>
                </c:pt>
                <c:pt idx="21910">
                  <c:v>113414</c:v>
                </c:pt>
                <c:pt idx="21911">
                  <c:v>113411</c:v>
                </c:pt>
                <c:pt idx="21912">
                  <c:v>113409</c:v>
                </c:pt>
                <c:pt idx="21913">
                  <c:v>113408</c:v>
                </c:pt>
                <c:pt idx="21914">
                  <c:v>113405</c:v>
                </c:pt>
                <c:pt idx="21915">
                  <c:v>113402</c:v>
                </c:pt>
                <c:pt idx="21916">
                  <c:v>113402</c:v>
                </c:pt>
                <c:pt idx="21917">
                  <c:v>113397</c:v>
                </c:pt>
                <c:pt idx="21918">
                  <c:v>113393</c:v>
                </c:pt>
                <c:pt idx="21919">
                  <c:v>113391</c:v>
                </c:pt>
                <c:pt idx="21920">
                  <c:v>113389</c:v>
                </c:pt>
                <c:pt idx="21921">
                  <c:v>113388</c:v>
                </c:pt>
                <c:pt idx="21922">
                  <c:v>113385</c:v>
                </c:pt>
                <c:pt idx="21923">
                  <c:v>113383</c:v>
                </c:pt>
                <c:pt idx="21924">
                  <c:v>113349</c:v>
                </c:pt>
                <c:pt idx="21925">
                  <c:v>113346</c:v>
                </c:pt>
                <c:pt idx="21926">
                  <c:v>113339</c:v>
                </c:pt>
                <c:pt idx="21927">
                  <c:v>113336</c:v>
                </c:pt>
                <c:pt idx="21928">
                  <c:v>113333</c:v>
                </c:pt>
                <c:pt idx="21929">
                  <c:v>113317</c:v>
                </c:pt>
                <c:pt idx="21930">
                  <c:v>113315</c:v>
                </c:pt>
                <c:pt idx="21931">
                  <c:v>113315</c:v>
                </c:pt>
                <c:pt idx="21932">
                  <c:v>113314</c:v>
                </c:pt>
                <c:pt idx="21933">
                  <c:v>113311</c:v>
                </c:pt>
                <c:pt idx="21934">
                  <c:v>113310</c:v>
                </c:pt>
                <c:pt idx="21935">
                  <c:v>113306</c:v>
                </c:pt>
                <c:pt idx="21936">
                  <c:v>113303</c:v>
                </c:pt>
                <c:pt idx="21937">
                  <c:v>113298</c:v>
                </c:pt>
                <c:pt idx="21938">
                  <c:v>113298</c:v>
                </c:pt>
                <c:pt idx="21939">
                  <c:v>113295</c:v>
                </c:pt>
                <c:pt idx="21940">
                  <c:v>113294</c:v>
                </c:pt>
                <c:pt idx="21941">
                  <c:v>113291</c:v>
                </c:pt>
                <c:pt idx="21942">
                  <c:v>113291</c:v>
                </c:pt>
                <c:pt idx="21943">
                  <c:v>113287</c:v>
                </c:pt>
                <c:pt idx="21944">
                  <c:v>113282</c:v>
                </c:pt>
                <c:pt idx="21945">
                  <c:v>113282</c:v>
                </c:pt>
                <c:pt idx="21946">
                  <c:v>113276</c:v>
                </c:pt>
                <c:pt idx="21947">
                  <c:v>113273</c:v>
                </c:pt>
                <c:pt idx="21948">
                  <c:v>113267</c:v>
                </c:pt>
                <c:pt idx="21949">
                  <c:v>113265</c:v>
                </c:pt>
                <c:pt idx="21950">
                  <c:v>113261</c:v>
                </c:pt>
                <c:pt idx="21951">
                  <c:v>113251</c:v>
                </c:pt>
                <c:pt idx="21952">
                  <c:v>113250</c:v>
                </c:pt>
                <c:pt idx="21953">
                  <c:v>113246</c:v>
                </c:pt>
                <c:pt idx="21954">
                  <c:v>113244</c:v>
                </c:pt>
                <c:pt idx="21955">
                  <c:v>113243</c:v>
                </c:pt>
                <c:pt idx="21956">
                  <c:v>113241</c:v>
                </c:pt>
                <c:pt idx="21957">
                  <c:v>113226</c:v>
                </c:pt>
                <c:pt idx="21958">
                  <c:v>113225</c:v>
                </c:pt>
                <c:pt idx="21959">
                  <c:v>113225</c:v>
                </c:pt>
                <c:pt idx="21960">
                  <c:v>113224</c:v>
                </c:pt>
                <c:pt idx="21961">
                  <c:v>113223</c:v>
                </c:pt>
                <c:pt idx="21962">
                  <c:v>113221</c:v>
                </c:pt>
                <c:pt idx="21963">
                  <c:v>113218</c:v>
                </c:pt>
                <c:pt idx="21964">
                  <c:v>113211</c:v>
                </c:pt>
                <c:pt idx="21965">
                  <c:v>113211</c:v>
                </c:pt>
                <c:pt idx="21966">
                  <c:v>113209</c:v>
                </c:pt>
                <c:pt idx="21967">
                  <c:v>113206</c:v>
                </c:pt>
                <c:pt idx="21968">
                  <c:v>113206</c:v>
                </c:pt>
                <c:pt idx="21969">
                  <c:v>113204</c:v>
                </c:pt>
                <c:pt idx="21970">
                  <c:v>113200</c:v>
                </c:pt>
                <c:pt idx="21971">
                  <c:v>113199</c:v>
                </c:pt>
                <c:pt idx="21972">
                  <c:v>113197</c:v>
                </c:pt>
                <c:pt idx="21973">
                  <c:v>113189</c:v>
                </c:pt>
                <c:pt idx="21974">
                  <c:v>113185</c:v>
                </c:pt>
                <c:pt idx="21975">
                  <c:v>113176</c:v>
                </c:pt>
                <c:pt idx="21976">
                  <c:v>113171</c:v>
                </c:pt>
                <c:pt idx="21977">
                  <c:v>113165</c:v>
                </c:pt>
                <c:pt idx="21978">
                  <c:v>113164</c:v>
                </c:pt>
                <c:pt idx="21979">
                  <c:v>113164</c:v>
                </c:pt>
                <c:pt idx="21980">
                  <c:v>113153</c:v>
                </c:pt>
                <c:pt idx="21981">
                  <c:v>113149</c:v>
                </c:pt>
                <c:pt idx="21982">
                  <c:v>113147</c:v>
                </c:pt>
                <c:pt idx="21983">
                  <c:v>113143</c:v>
                </c:pt>
                <c:pt idx="21984">
                  <c:v>113138</c:v>
                </c:pt>
                <c:pt idx="21985">
                  <c:v>113134</c:v>
                </c:pt>
                <c:pt idx="21986">
                  <c:v>113130</c:v>
                </c:pt>
                <c:pt idx="21987">
                  <c:v>113128</c:v>
                </c:pt>
                <c:pt idx="21988">
                  <c:v>113126</c:v>
                </c:pt>
                <c:pt idx="21989">
                  <c:v>113125</c:v>
                </c:pt>
                <c:pt idx="21990">
                  <c:v>113120</c:v>
                </c:pt>
                <c:pt idx="21991">
                  <c:v>113115</c:v>
                </c:pt>
                <c:pt idx="21992">
                  <c:v>113113</c:v>
                </c:pt>
                <c:pt idx="21993">
                  <c:v>113109</c:v>
                </c:pt>
                <c:pt idx="21994">
                  <c:v>113107</c:v>
                </c:pt>
                <c:pt idx="21995">
                  <c:v>113103</c:v>
                </c:pt>
                <c:pt idx="21996">
                  <c:v>113101</c:v>
                </c:pt>
                <c:pt idx="21997">
                  <c:v>113098</c:v>
                </c:pt>
                <c:pt idx="21998">
                  <c:v>113084</c:v>
                </c:pt>
                <c:pt idx="21999">
                  <c:v>113081</c:v>
                </c:pt>
                <c:pt idx="22000">
                  <c:v>113081</c:v>
                </c:pt>
                <c:pt idx="22001">
                  <c:v>113078</c:v>
                </c:pt>
                <c:pt idx="22002">
                  <c:v>113070</c:v>
                </c:pt>
                <c:pt idx="22003">
                  <c:v>113067</c:v>
                </c:pt>
                <c:pt idx="22004">
                  <c:v>113064</c:v>
                </c:pt>
                <c:pt idx="22005">
                  <c:v>113063</c:v>
                </c:pt>
                <c:pt idx="22006">
                  <c:v>113060</c:v>
                </c:pt>
                <c:pt idx="22007">
                  <c:v>113058</c:v>
                </c:pt>
                <c:pt idx="22008">
                  <c:v>113058</c:v>
                </c:pt>
                <c:pt idx="22009">
                  <c:v>113056</c:v>
                </c:pt>
                <c:pt idx="22010">
                  <c:v>113043</c:v>
                </c:pt>
                <c:pt idx="22011">
                  <c:v>113037</c:v>
                </c:pt>
                <c:pt idx="22012">
                  <c:v>113036</c:v>
                </c:pt>
                <c:pt idx="22013">
                  <c:v>113032</c:v>
                </c:pt>
                <c:pt idx="22014">
                  <c:v>113020</c:v>
                </c:pt>
                <c:pt idx="22015">
                  <c:v>113019</c:v>
                </c:pt>
                <c:pt idx="22016">
                  <c:v>113012</c:v>
                </c:pt>
                <c:pt idx="22017">
                  <c:v>113010</c:v>
                </c:pt>
                <c:pt idx="22018">
                  <c:v>113008</c:v>
                </c:pt>
                <c:pt idx="22019">
                  <c:v>113002</c:v>
                </c:pt>
                <c:pt idx="22020">
                  <c:v>113001</c:v>
                </c:pt>
                <c:pt idx="22021">
                  <c:v>113000</c:v>
                </c:pt>
                <c:pt idx="22022">
                  <c:v>112998</c:v>
                </c:pt>
                <c:pt idx="22023">
                  <c:v>112995</c:v>
                </c:pt>
                <c:pt idx="22024">
                  <c:v>112991</c:v>
                </c:pt>
                <c:pt idx="22025">
                  <c:v>112990</c:v>
                </c:pt>
                <c:pt idx="22026">
                  <c:v>112988</c:v>
                </c:pt>
                <c:pt idx="22027">
                  <c:v>112984</c:v>
                </c:pt>
                <c:pt idx="22028">
                  <c:v>112980</c:v>
                </c:pt>
                <c:pt idx="22029">
                  <c:v>112969</c:v>
                </c:pt>
                <c:pt idx="22030">
                  <c:v>112967</c:v>
                </c:pt>
                <c:pt idx="22031">
                  <c:v>112965</c:v>
                </c:pt>
                <c:pt idx="22032">
                  <c:v>112964</c:v>
                </c:pt>
                <c:pt idx="22033">
                  <c:v>112962</c:v>
                </c:pt>
                <c:pt idx="22034">
                  <c:v>112955</c:v>
                </c:pt>
                <c:pt idx="22035">
                  <c:v>112951</c:v>
                </c:pt>
                <c:pt idx="22036">
                  <c:v>112948</c:v>
                </c:pt>
                <c:pt idx="22037">
                  <c:v>112947</c:v>
                </c:pt>
                <c:pt idx="22038">
                  <c:v>112938</c:v>
                </c:pt>
                <c:pt idx="22039">
                  <c:v>112937</c:v>
                </c:pt>
                <c:pt idx="22040">
                  <c:v>112918</c:v>
                </c:pt>
                <c:pt idx="22041">
                  <c:v>112915</c:v>
                </c:pt>
                <c:pt idx="22042">
                  <c:v>112913</c:v>
                </c:pt>
                <c:pt idx="22043">
                  <c:v>112908</c:v>
                </c:pt>
                <c:pt idx="22044">
                  <c:v>112907</c:v>
                </c:pt>
                <c:pt idx="22045">
                  <c:v>112907</c:v>
                </c:pt>
                <c:pt idx="22046">
                  <c:v>112904</c:v>
                </c:pt>
                <c:pt idx="22047">
                  <c:v>112902</c:v>
                </c:pt>
                <c:pt idx="22048">
                  <c:v>112901</c:v>
                </c:pt>
                <c:pt idx="22049">
                  <c:v>112899</c:v>
                </c:pt>
                <c:pt idx="22050">
                  <c:v>112892</c:v>
                </c:pt>
                <c:pt idx="22051">
                  <c:v>112890</c:v>
                </c:pt>
                <c:pt idx="22052">
                  <c:v>112884</c:v>
                </c:pt>
                <c:pt idx="22053">
                  <c:v>112882</c:v>
                </c:pt>
                <c:pt idx="22054">
                  <c:v>112876</c:v>
                </c:pt>
                <c:pt idx="22055">
                  <c:v>112874</c:v>
                </c:pt>
                <c:pt idx="22056">
                  <c:v>112872</c:v>
                </c:pt>
                <c:pt idx="22057">
                  <c:v>112868</c:v>
                </c:pt>
                <c:pt idx="22058">
                  <c:v>112864</c:v>
                </c:pt>
                <c:pt idx="22059">
                  <c:v>112862</c:v>
                </c:pt>
                <c:pt idx="22060">
                  <c:v>112861</c:v>
                </c:pt>
                <c:pt idx="22061">
                  <c:v>112860</c:v>
                </c:pt>
                <c:pt idx="22062">
                  <c:v>112858</c:v>
                </c:pt>
                <c:pt idx="22063">
                  <c:v>112857</c:v>
                </c:pt>
                <c:pt idx="22064">
                  <c:v>112855</c:v>
                </c:pt>
                <c:pt idx="22065">
                  <c:v>112848</c:v>
                </c:pt>
                <c:pt idx="22066">
                  <c:v>112843</c:v>
                </c:pt>
                <c:pt idx="22067">
                  <c:v>112842</c:v>
                </c:pt>
                <c:pt idx="22068">
                  <c:v>112841</c:v>
                </c:pt>
                <c:pt idx="22069">
                  <c:v>112838</c:v>
                </c:pt>
                <c:pt idx="22070">
                  <c:v>112834</c:v>
                </c:pt>
                <c:pt idx="22071">
                  <c:v>112832</c:v>
                </c:pt>
                <c:pt idx="22072">
                  <c:v>112830</c:v>
                </c:pt>
                <c:pt idx="22073">
                  <c:v>112829</c:v>
                </c:pt>
                <c:pt idx="22074">
                  <c:v>112823</c:v>
                </c:pt>
                <c:pt idx="22075">
                  <c:v>112811</c:v>
                </c:pt>
                <c:pt idx="22076">
                  <c:v>112805</c:v>
                </c:pt>
                <c:pt idx="22077">
                  <c:v>112803</c:v>
                </c:pt>
                <c:pt idx="22078">
                  <c:v>112802</c:v>
                </c:pt>
                <c:pt idx="22079">
                  <c:v>112799</c:v>
                </c:pt>
                <c:pt idx="22080">
                  <c:v>112799</c:v>
                </c:pt>
                <c:pt idx="22081">
                  <c:v>112791</c:v>
                </c:pt>
                <c:pt idx="22082">
                  <c:v>112789</c:v>
                </c:pt>
                <c:pt idx="22083">
                  <c:v>112788</c:v>
                </c:pt>
                <c:pt idx="22084">
                  <c:v>112781</c:v>
                </c:pt>
                <c:pt idx="22085">
                  <c:v>112781</c:v>
                </c:pt>
                <c:pt idx="22086">
                  <c:v>112778</c:v>
                </c:pt>
                <c:pt idx="22087">
                  <c:v>112770</c:v>
                </c:pt>
                <c:pt idx="22088">
                  <c:v>112761</c:v>
                </c:pt>
                <c:pt idx="22089">
                  <c:v>112757</c:v>
                </c:pt>
                <c:pt idx="22090">
                  <c:v>112752</c:v>
                </c:pt>
                <c:pt idx="22091">
                  <c:v>112740</c:v>
                </c:pt>
                <c:pt idx="22092">
                  <c:v>112733</c:v>
                </c:pt>
                <c:pt idx="22093">
                  <c:v>112731</c:v>
                </c:pt>
                <c:pt idx="22094">
                  <c:v>112729</c:v>
                </c:pt>
                <c:pt idx="22095">
                  <c:v>112729</c:v>
                </c:pt>
                <c:pt idx="22096">
                  <c:v>112728</c:v>
                </c:pt>
                <c:pt idx="22097">
                  <c:v>112728</c:v>
                </c:pt>
                <c:pt idx="22098">
                  <c:v>112724</c:v>
                </c:pt>
                <c:pt idx="22099">
                  <c:v>112719</c:v>
                </c:pt>
                <c:pt idx="22100">
                  <c:v>112719</c:v>
                </c:pt>
                <c:pt idx="22101">
                  <c:v>112718</c:v>
                </c:pt>
                <c:pt idx="22102">
                  <c:v>112715</c:v>
                </c:pt>
                <c:pt idx="22103">
                  <c:v>112711</c:v>
                </c:pt>
                <c:pt idx="22104">
                  <c:v>112700</c:v>
                </c:pt>
                <c:pt idx="22105">
                  <c:v>112694</c:v>
                </c:pt>
                <c:pt idx="22106">
                  <c:v>112693</c:v>
                </c:pt>
                <c:pt idx="22107">
                  <c:v>112682</c:v>
                </c:pt>
                <c:pt idx="22108">
                  <c:v>112679</c:v>
                </c:pt>
                <c:pt idx="22109">
                  <c:v>112674</c:v>
                </c:pt>
                <c:pt idx="22110">
                  <c:v>112674</c:v>
                </c:pt>
                <c:pt idx="22111">
                  <c:v>112674</c:v>
                </c:pt>
                <c:pt idx="22112">
                  <c:v>112673</c:v>
                </c:pt>
                <c:pt idx="22113">
                  <c:v>112671</c:v>
                </c:pt>
                <c:pt idx="22114">
                  <c:v>112662</c:v>
                </c:pt>
                <c:pt idx="22115">
                  <c:v>112661</c:v>
                </c:pt>
                <c:pt idx="22116">
                  <c:v>112651</c:v>
                </c:pt>
                <c:pt idx="22117">
                  <c:v>112649</c:v>
                </c:pt>
                <c:pt idx="22118">
                  <c:v>112638</c:v>
                </c:pt>
                <c:pt idx="22119">
                  <c:v>112637</c:v>
                </c:pt>
                <c:pt idx="22120">
                  <c:v>112628</c:v>
                </c:pt>
                <c:pt idx="22121">
                  <c:v>112626</c:v>
                </c:pt>
                <c:pt idx="22122">
                  <c:v>112625</c:v>
                </c:pt>
                <c:pt idx="22123">
                  <c:v>112622</c:v>
                </c:pt>
                <c:pt idx="22124">
                  <c:v>112621</c:v>
                </c:pt>
                <c:pt idx="22125">
                  <c:v>112603</c:v>
                </c:pt>
                <c:pt idx="22126">
                  <c:v>112602</c:v>
                </c:pt>
                <c:pt idx="22127">
                  <c:v>112598</c:v>
                </c:pt>
                <c:pt idx="22128">
                  <c:v>112597</c:v>
                </c:pt>
                <c:pt idx="22129">
                  <c:v>112596</c:v>
                </c:pt>
                <c:pt idx="22130">
                  <c:v>112594</c:v>
                </c:pt>
                <c:pt idx="22131">
                  <c:v>112593</c:v>
                </c:pt>
                <c:pt idx="22132">
                  <c:v>112585</c:v>
                </c:pt>
                <c:pt idx="22133">
                  <c:v>112581</c:v>
                </c:pt>
                <c:pt idx="22134">
                  <c:v>112581</c:v>
                </c:pt>
                <c:pt idx="22135">
                  <c:v>112575</c:v>
                </c:pt>
                <c:pt idx="22136">
                  <c:v>112575</c:v>
                </c:pt>
                <c:pt idx="22137">
                  <c:v>112575</c:v>
                </c:pt>
                <c:pt idx="22138">
                  <c:v>112567</c:v>
                </c:pt>
                <c:pt idx="22139">
                  <c:v>112566</c:v>
                </c:pt>
                <c:pt idx="22140">
                  <c:v>112565</c:v>
                </c:pt>
                <c:pt idx="22141">
                  <c:v>112563</c:v>
                </c:pt>
                <c:pt idx="22142">
                  <c:v>112562</c:v>
                </c:pt>
                <c:pt idx="22143">
                  <c:v>112555</c:v>
                </c:pt>
                <c:pt idx="22144">
                  <c:v>112553</c:v>
                </c:pt>
                <c:pt idx="22145">
                  <c:v>112550</c:v>
                </c:pt>
                <c:pt idx="22146">
                  <c:v>112545</c:v>
                </c:pt>
                <c:pt idx="22147">
                  <c:v>112543</c:v>
                </c:pt>
                <c:pt idx="22148">
                  <c:v>112538</c:v>
                </c:pt>
                <c:pt idx="22149">
                  <c:v>112527</c:v>
                </c:pt>
                <c:pt idx="22150">
                  <c:v>112527</c:v>
                </c:pt>
                <c:pt idx="22151">
                  <c:v>112517</c:v>
                </c:pt>
                <c:pt idx="22152">
                  <c:v>112514</c:v>
                </c:pt>
                <c:pt idx="22153">
                  <c:v>112512</c:v>
                </c:pt>
                <c:pt idx="22154">
                  <c:v>112510</c:v>
                </c:pt>
                <c:pt idx="22155">
                  <c:v>112505</c:v>
                </c:pt>
                <c:pt idx="22156">
                  <c:v>112505</c:v>
                </c:pt>
                <c:pt idx="22157">
                  <c:v>112499</c:v>
                </c:pt>
                <c:pt idx="22158">
                  <c:v>112491</c:v>
                </c:pt>
                <c:pt idx="22159">
                  <c:v>112488</c:v>
                </c:pt>
                <c:pt idx="22160">
                  <c:v>112485</c:v>
                </c:pt>
                <c:pt idx="22161">
                  <c:v>112484</c:v>
                </c:pt>
                <c:pt idx="22162">
                  <c:v>112483</c:v>
                </c:pt>
                <c:pt idx="22163">
                  <c:v>112483</c:v>
                </c:pt>
                <c:pt idx="22164">
                  <c:v>112480</c:v>
                </c:pt>
                <c:pt idx="22165">
                  <c:v>112478</c:v>
                </c:pt>
                <c:pt idx="22166">
                  <c:v>112478</c:v>
                </c:pt>
                <c:pt idx="22167">
                  <c:v>112476</c:v>
                </c:pt>
                <c:pt idx="22168">
                  <c:v>112473</c:v>
                </c:pt>
                <c:pt idx="22169">
                  <c:v>112473</c:v>
                </c:pt>
                <c:pt idx="22170">
                  <c:v>112471</c:v>
                </c:pt>
                <c:pt idx="22171">
                  <c:v>112467</c:v>
                </c:pt>
                <c:pt idx="22172">
                  <c:v>112463</c:v>
                </c:pt>
                <c:pt idx="22173">
                  <c:v>112461</c:v>
                </c:pt>
                <c:pt idx="22174">
                  <c:v>112459</c:v>
                </c:pt>
                <c:pt idx="22175">
                  <c:v>112458</c:v>
                </c:pt>
                <c:pt idx="22176">
                  <c:v>112458</c:v>
                </c:pt>
                <c:pt idx="22177">
                  <c:v>112457</c:v>
                </c:pt>
                <c:pt idx="22178">
                  <c:v>112441</c:v>
                </c:pt>
                <c:pt idx="22179">
                  <c:v>112434</c:v>
                </c:pt>
                <c:pt idx="22180">
                  <c:v>112434</c:v>
                </c:pt>
                <c:pt idx="22181">
                  <c:v>112434</c:v>
                </c:pt>
                <c:pt idx="22182">
                  <c:v>112430</c:v>
                </c:pt>
                <c:pt idx="22183">
                  <c:v>112426</c:v>
                </c:pt>
                <c:pt idx="22184">
                  <c:v>112421</c:v>
                </c:pt>
                <c:pt idx="22185">
                  <c:v>112415</c:v>
                </c:pt>
                <c:pt idx="22186">
                  <c:v>112410</c:v>
                </c:pt>
                <c:pt idx="22187">
                  <c:v>112406</c:v>
                </c:pt>
                <c:pt idx="22188">
                  <c:v>112405</c:v>
                </c:pt>
                <c:pt idx="22189">
                  <c:v>112404</c:v>
                </c:pt>
                <c:pt idx="22190">
                  <c:v>112400</c:v>
                </c:pt>
                <c:pt idx="22191">
                  <c:v>112393</c:v>
                </c:pt>
                <c:pt idx="22192">
                  <c:v>112392</c:v>
                </c:pt>
                <c:pt idx="22193">
                  <c:v>112391</c:v>
                </c:pt>
                <c:pt idx="22194">
                  <c:v>112388</c:v>
                </c:pt>
                <c:pt idx="22195">
                  <c:v>112384</c:v>
                </c:pt>
                <c:pt idx="22196">
                  <c:v>112380</c:v>
                </c:pt>
                <c:pt idx="22197">
                  <c:v>112369</c:v>
                </c:pt>
                <c:pt idx="22198">
                  <c:v>112362</c:v>
                </c:pt>
                <c:pt idx="22199">
                  <c:v>112360</c:v>
                </c:pt>
                <c:pt idx="22200">
                  <c:v>112352</c:v>
                </c:pt>
                <c:pt idx="22201">
                  <c:v>112349</c:v>
                </c:pt>
                <c:pt idx="22202">
                  <c:v>112344</c:v>
                </c:pt>
                <c:pt idx="22203">
                  <c:v>112340</c:v>
                </c:pt>
                <c:pt idx="22204">
                  <c:v>112336</c:v>
                </c:pt>
                <c:pt idx="22205">
                  <c:v>112336</c:v>
                </c:pt>
                <c:pt idx="22206">
                  <c:v>112334</c:v>
                </c:pt>
                <c:pt idx="22207">
                  <c:v>112329</c:v>
                </c:pt>
                <c:pt idx="22208">
                  <c:v>112328</c:v>
                </c:pt>
                <c:pt idx="22209">
                  <c:v>112327</c:v>
                </c:pt>
                <c:pt idx="22210">
                  <c:v>112325</c:v>
                </c:pt>
                <c:pt idx="22211">
                  <c:v>112322</c:v>
                </c:pt>
                <c:pt idx="22212">
                  <c:v>112320</c:v>
                </c:pt>
                <c:pt idx="22213">
                  <c:v>112318</c:v>
                </c:pt>
                <c:pt idx="22214">
                  <c:v>112318</c:v>
                </c:pt>
                <c:pt idx="22215">
                  <c:v>112313</c:v>
                </c:pt>
                <c:pt idx="22216">
                  <c:v>112313</c:v>
                </c:pt>
                <c:pt idx="22217">
                  <c:v>112304</c:v>
                </c:pt>
                <c:pt idx="22218">
                  <c:v>112304</c:v>
                </c:pt>
                <c:pt idx="22219">
                  <c:v>112302</c:v>
                </c:pt>
                <c:pt idx="22220">
                  <c:v>112301</c:v>
                </c:pt>
                <c:pt idx="22221">
                  <c:v>112294</c:v>
                </c:pt>
                <c:pt idx="22222">
                  <c:v>112292</c:v>
                </c:pt>
                <c:pt idx="22223">
                  <c:v>112291</c:v>
                </c:pt>
                <c:pt idx="22224">
                  <c:v>112290</c:v>
                </c:pt>
                <c:pt idx="22225">
                  <c:v>112277</c:v>
                </c:pt>
                <c:pt idx="22226">
                  <c:v>112273</c:v>
                </c:pt>
                <c:pt idx="22227">
                  <c:v>112272</c:v>
                </c:pt>
                <c:pt idx="22228">
                  <c:v>112272</c:v>
                </c:pt>
                <c:pt idx="22229">
                  <c:v>112271</c:v>
                </c:pt>
                <c:pt idx="22230">
                  <c:v>112269</c:v>
                </c:pt>
                <c:pt idx="22231">
                  <c:v>112269</c:v>
                </c:pt>
                <c:pt idx="22232">
                  <c:v>112268</c:v>
                </c:pt>
                <c:pt idx="22233">
                  <c:v>112257</c:v>
                </c:pt>
                <c:pt idx="22234">
                  <c:v>112245</c:v>
                </c:pt>
                <c:pt idx="22235">
                  <c:v>112244</c:v>
                </c:pt>
                <c:pt idx="22236">
                  <c:v>112243</c:v>
                </c:pt>
                <c:pt idx="22237">
                  <c:v>112242</c:v>
                </c:pt>
                <c:pt idx="22238">
                  <c:v>112242</c:v>
                </c:pt>
                <c:pt idx="22239">
                  <c:v>112235</c:v>
                </c:pt>
                <c:pt idx="22240">
                  <c:v>112231</c:v>
                </c:pt>
                <c:pt idx="22241">
                  <c:v>112230</c:v>
                </c:pt>
                <c:pt idx="22242">
                  <c:v>112229</c:v>
                </c:pt>
                <c:pt idx="22243">
                  <c:v>112226</c:v>
                </c:pt>
                <c:pt idx="22244">
                  <c:v>112225</c:v>
                </c:pt>
                <c:pt idx="22245">
                  <c:v>112224</c:v>
                </c:pt>
                <c:pt idx="22246">
                  <c:v>112216</c:v>
                </c:pt>
                <c:pt idx="22247">
                  <c:v>112211</c:v>
                </c:pt>
                <c:pt idx="22248">
                  <c:v>112206</c:v>
                </c:pt>
                <c:pt idx="22249">
                  <c:v>112203</c:v>
                </c:pt>
                <c:pt idx="22250">
                  <c:v>112201</c:v>
                </c:pt>
                <c:pt idx="22251">
                  <c:v>112199</c:v>
                </c:pt>
                <c:pt idx="22252">
                  <c:v>112190</c:v>
                </c:pt>
                <c:pt idx="22253">
                  <c:v>112188</c:v>
                </c:pt>
                <c:pt idx="22254">
                  <c:v>112179</c:v>
                </c:pt>
                <c:pt idx="22255">
                  <c:v>112175</c:v>
                </c:pt>
                <c:pt idx="22256">
                  <c:v>112174</c:v>
                </c:pt>
                <c:pt idx="22257">
                  <c:v>112174</c:v>
                </c:pt>
                <c:pt idx="22258">
                  <c:v>112172</c:v>
                </c:pt>
                <c:pt idx="22259">
                  <c:v>112172</c:v>
                </c:pt>
                <c:pt idx="22260">
                  <c:v>112163</c:v>
                </c:pt>
                <c:pt idx="22261">
                  <c:v>112160</c:v>
                </c:pt>
                <c:pt idx="22262">
                  <c:v>112155</c:v>
                </c:pt>
                <c:pt idx="22263">
                  <c:v>112155</c:v>
                </c:pt>
                <c:pt idx="22264">
                  <c:v>112155</c:v>
                </c:pt>
                <c:pt idx="22265">
                  <c:v>112153</c:v>
                </c:pt>
                <c:pt idx="22266">
                  <c:v>112150</c:v>
                </c:pt>
                <c:pt idx="22267">
                  <c:v>112150</c:v>
                </c:pt>
                <c:pt idx="22268">
                  <c:v>112146</c:v>
                </c:pt>
                <c:pt idx="22269">
                  <c:v>112145</c:v>
                </c:pt>
                <c:pt idx="22270">
                  <c:v>112145</c:v>
                </c:pt>
                <c:pt idx="22271">
                  <c:v>112142</c:v>
                </c:pt>
                <c:pt idx="22272">
                  <c:v>112142</c:v>
                </c:pt>
                <c:pt idx="22273">
                  <c:v>112134</c:v>
                </c:pt>
                <c:pt idx="22274">
                  <c:v>112133</c:v>
                </c:pt>
                <c:pt idx="22275">
                  <c:v>112130</c:v>
                </c:pt>
                <c:pt idx="22276">
                  <c:v>112129</c:v>
                </c:pt>
                <c:pt idx="22277">
                  <c:v>112128</c:v>
                </c:pt>
                <c:pt idx="22278">
                  <c:v>112126</c:v>
                </c:pt>
                <c:pt idx="22279">
                  <c:v>112126</c:v>
                </c:pt>
                <c:pt idx="22280">
                  <c:v>112124</c:v>
                </c:pt>
                <c:pt idx="22281">
                  <c:v>112123</c:v>
                </c:pt>
                <c:pt idx="22282">
                  <c:v>112121</c:v>
                </c:pt>
                <c:pt idx="22283">
                  <c:v>112118</c:v>
                </c:pt>
                <c:pt idx="22284">
                  <c:v>112110</c:v>
                </c:pt>
                <c:pt idx="22285">
                  <c:v>112109</c:v>
                </c:pt>
                <c:pt idx="22286">
                  <c:v>112105</c:v>
                </c:pt>
                <c:pt idx="22287">
                  <c:v>112102</c:v>
                </c:pt>
                <c:pt idx="22288">
                  <c:v>112095</c:v>
                </c:pt>
                <c:pt idx="22289">
                  <c:v>112095</c:v>
                </c:pt>
                <c:pt idx="22290">
                  <c:v>112092</c:v>
                </c:pt>
                <c:pt idx="22291">
                  <c:v>112089</c:v>
                </c:pt>
                <c:pt idx="22292">
                  <c:v>112087</c:v>
                </c:pt>
                <c:pt idx="22293">
                  <c:v>112086</c:v>
                </c:pt>
                <c:pt idx="22294">
                  <c:v>112085</c:v>
                </c:pt>
                <c:pt idx="22295">
                  <c:v>112083</c:v>
                </c:pt>
                <c:pt idx="22296">
                  <c:v>112083</c:v>
                </c:pt>
                <c:pt idx="22297">
                  <c:v>112082</c:v>
                </c:pt>
                <c:pt idx="22298">
                  <c:v>112079</c:v>
                </c:pt>
                <c:pt idx="22299">
                  <c:v>112079</c:v>
                </c:pt>
                <c:pt idx="22300">
                  <c:v>112076</c:v>
                </c:pt>
                <c:pt idx="22301">
                  <c:v>112073</c:v>
                </c:pt>
                <c:pt idx="22302">
                  <c:v>112072</c:v>
                </c:pt>
                <c:pt idx="22303">
                  <c:v>112063</c:v>
                </c:pt>
                <c:pt idx="22304">
                  <c:v>112061</c:v>
                </c:pt>
                <c:pt idx="22305">
                  <c:v>112059</c:v>
                </c:pt>
                <c:pt idx="22306">
                  <c:v>112058</c:v>
                </c:pt>
                <c:pt idx="22307">
                  <c:v>112056</c:v>
                </c:pt>
                <c:pt idx="22308">
                  <c:v>112050</c:v>
                </c:pt>
                <c:pt idx="22309">
                  <c:v>112050</c:v>
                </c:pt>
                <c:pt idx="22310">
                  <c:v>112048</c:v>
                </c:pt>
                <c:pt idx="22311">
                  <c:v>112048</c:v>
                </c:pt>
                <c:pt idx="22312">
                  <c:v>112044</c:v>
                </c:pt>
                <c:pt idx="22313">
                  <c:v>112042</c:v>
                </c:pt>
                <c:pt idx="22314">
                  <c:v>112035</c:v>
                </c:pt>
                <c:pt idx="22315">
                  <c:v>112031</c:v>
                </c:pt>
                <c:pt idx="22316">
                  <c:v>112029</c:v>
                </c:pt>
                <c:pt idx="22317">
                  <c:v>112023</c:v>
                </c:pt>
                <c:pt idx="22318">
                  <c:v>112023</c:v>
                </c:pt>
                <c:pt idx="22319">
                  <c:v>112022</c:v>
                </c:pt>
                <c:pt idx="22320">
                  <c:v>112021</c:v>
                </c:pt>
                <c:pt idx="22321">
                  <c:v>112020</c:v>
                </c:pt>
                <c:pt idx="22322">
                  <c:v>112016</c:v>
                </c:pt>
                <c:pt idx="22323">
                  <c:v>112016</c:v>
                </c:pt>
                <c:pt idx="22324">
                  <c:v>112015</c:v>
                </c:pt>
                <c:pt idx="22325">
                  <c:v>112012</c:v>
                </c:pt>
                <c:pt idx="22326">
                  <c:v>112010</c:v>
                </c:pt>
                <c:pt idx="22327">
                  <c:v>112006</c:v>
                </c:pt>
                <c:pt idx="22328">
                  <c:v>112004</c:v>
                </c:pt>
                <c:pt idx="22329">
                  <c:v>111993</c:v>
                </c:pt>
                <c:pt idx="22330">
                  <c:v>111992</c:v>
                </c:pt>
                <c:pt idx="22331">
                  <c:v>111973</c:v>
                </c:pt>
                <c:pt idx="22332">
                  <c:v>111969</c:v>
                </c:pt>
                <c:pt idx="22333">
                  <c:v>111968</c:v>
                </c:pt>
                <c:pt idx="22334">
                  <c:v>111965</c:v>
                </c:pt>
                <c:pt idx="22335">
                  <c:v>111964</c:v>
                </c:pt>
                <c:pt idx="22336">
                  <c:v>111958</c:v>
                </c:pt>
                <c:pt idx="22337">
                  <c:v>111951</c:v>
                </c:pt>
                <c:pt idx="22338">
                  <c:v>111950</c:v>
                </c:pt>
                <c:pt idx="22339">
                  <c:v>111936</c:v>
                </c:pt>
                <c:pt idx="22340">
                  <c:v>111930</c:v>
                </c:pt>
                <c:pt idx="22341">
                  <c:v>111930</c:v>
                </c:pt>
                <c:pt idx="22342">
                  <c:v>111929</c:v>
                </c:pt>
                <c:pt idx="22343">
                  <c:v>111928</c:v>
                </c:pt>
                <c:pt idx="22344">
                  <c:v>111925</c:v>
                </c:pt>
                <c:pt idx="22345">
                  <c:v>111909</c:v>
                </c:pt>
                <c:pt idx="22346">
                  <c:v>111908</c:v>
                </c:pt>
                <c:pt idx="22347">
                  <c:v>111908</c:v>
                </c:pt>
                <c:pt idx="22348">
                  <c:v>111901</c:v>
                </c:pt>
                <c:pt idx="22349">
                  <c:v>111897</c:v>
                </c:pt>
                <c:pt idx="22350">
                  <c:v>111888</c:v>
                </c:pt>
                <c:pt idx="22351">
                  <c:v>111887</c:v>
                </c:pt>
                <c:pt idx="22352">
                  <c:v>111886</c:v>
                </c:pt>
                <c:pt idx="22353">
                  <c:v>111884</c:v>
                </c:pt>
                <c:pt idx="22354">
                  <c:v>111884</c:v>
                </c:pt>
                <c:pt idx="22355">
                  <c:v>111880</c:v>
                </c:pt>
                <c:pt idx="22356">
                  <c:v>111880</c:v>
                </c:pt>
                <c:pt idx="22357">
                  <c:v>111877</c:v>
                </c:pt>
                <c:pt idx="22358">
                  <c:v>111875</c:v>
                </c:pt>
                <c:pt idx="22359">
                  <c:v>111875</c:v>
                </c:pt>
                <c:pt idx="22360">
                  <c:v>111872</c:v>
                </c:pt>
                <c:pt idx="22361">
                  <c:v>111867</c:v>
                </c:pt>
                <c:pt idx="22362">
                  <c:v>111866</c:v>
                </c:pt>
                <c:pt idx="22363">
                  <c:v>111861</c:v>
                </c:pt>
                <c:pt idx="22364">
                  <c:v>111861</c:v>
                </c:pt>
                <c:pt idx="22365">
                  <c:v>111858</c:v>
                </c:pt>
                <c:pt idx="22366">
                  <c:v>111857</c:v>
                </c:pt>
                <c:pt idx="22367">
                  <c:v>111853</c:v>
                </c:pt>
                <c:pt idx="22368">
                  <c:v>111853</c:v>
                </c:pt>
                <c:pt idx="22369">
                  <c:v>111848</c:v>
                </c:pt>
                <c:pt idx="22370">
                  <c:v>111843</c:v>
                </c:pt>
                <c:pt idx="22371">
                  <c:v>111842</c:v>
                </c:pt>
                <c:pt idx="22372">
                  <c:v>111841</c:v>
                </c:pt>
                <c:pt idx="22373">
                  <c:v>111840</c:v>
                </c:pt>
                <c:pt idx="22374">
                  <c:v>111840</c:v>
                </c:pt>
                <c:pt idx="22375">
                  <c:v>111838</c:v>
                </c:pt>
                <c:pt idx="22376">
                  <c:v>111837</c:v>
                </c:pt>
                <c:pt idx="22377">
                  <c:v>111819</c:v>
                </c:pt>
                <c:pt idx="22378">
                  <c:v>111819</c:v>
                </c:pt>
                <c:pt idx="22379">
                  <c:v>111817</c:v>
                </c:pt>
                <c:pt idx="22380">
                  <c:v>111814</c:v>
                </c:pt>
                <c:pt idx="22381">
                  <c:v>111813</c:v>
                </c:pt>
                <c:pt idx="22382">
                  <c:v>111812</c:v>
                </c:pt>
                <c:pt idx="22383">
                  <c:v>111812</c:v>
                </c:pt>
                <c:pt idx="22384">
                  <c:v>111799</c:v>
                </c:pt>
                <c:pt idx="22385">
                  <c:v>111798</c:v>
                </c:pt>
                <c:pt idx="22386">
                  <c:v>111798</c:v>
                </c:pt>
                <c:pt idx="22387">
                  <c:v>111797</c:v>
                </c:pt>
                <c:pt idx="22388">
                  <c:v>111796</c:v>
                </c:pt>
                <c:pt idx="22389">
                  <c:v>111795</c:v>
                </c:pt>
                <c:pt idx="22390">
                  <c:v>111788</c:v>
                </c:pt>
                <c:pt idx="22391">
                  <c:v>111788</c:v>
                </c:pt>
                <c:pt idx="22392">
                  <c:v>111788</c:v>
                </c:pt>
                <c:pt idx="22393">
                  <c:v>111787</c:v>
                </c:pt>
                <c:pt idx="22394">
                  <c:v>111783</c:v>
                </c:pt>
                <c:pt idx="22395">
                  <c:v>111773</c:v>
                </c:pt>
                <c:pt idx="22396">
                  <c:v>111771</c:v>
                </c:pt>
                <c:pt idx="22397">
                  <c:v>111770</c:v>
                </c:pt>
                <c:pt idx="22398">
                  <c:v>111767</c:v>
                </c:pt>
                <c:pt idx="22399">
                  <c:v>111767</c:v>
                </c:pt>
                <c:pt idx="22400">
                  <c:v>111767</c:v>
                </c:pt>
                <c:pt idx="22401">
                  <c:v>111767</c:v>
                </c:pt>
                <c:pt idx="22402">
                  <c:v>111765</c:v>
                </c:pt>
                <c:pt idx="22403">
                  <c:v>111764</c:v>
                </c:pt>
                <c:pt idx="22404">
                  <c:v>111764</c:v>
                </c:pt>
                <c:pt idx="22405">
                  <c:v>111761</c:v>
                </c:pt>
                <c:pt idx="22406">
                  <c:v>111759</c:v>
                </c:pt>
                <c:pt idx="22407">
                  <c:v>111759</c:v>
                </c:pt>
                <c:pt idx="22408">
                  <c:v>111757</c:v>
                </c:pt>
                <c:pt idx="22409">
                  <c:v>111749</c:v>
                </c:pt>
                <c:pt idx="22410">
                  <c:v>111749</c:v>
                </c:pt>
                <c:pt idx="22411">
                  <c:v>111747</c:v>
                </c:pt>
                <c:pt idx="22412">
                  <c:v>111745</c:v>
                </c:pt>
                <c:pt idx="22413">
                  <c:v>111743</c:v>
                </c:pt>
                <c:pt idx="22414">
                  <c:v>111741</c:v>
                </c:pt>
                <c:pt idx="22415">
                  <c:v>111737</c:v>
                </c:pt>
                <c:pt idx="22416">
                  <c:v>111735</c:v>
                </c:pt>
                <c:pt idx="22417">
                  <c:v>111732</c:v>
                </c:pt>
                <c:pt idx="22418">
                  <c:v>111719</c:v>
                </c:pt>
                <c:pt idx="22419">
                  <c:v>111715</c:v>
                </c:pt>
                <c:pt idx="22420">
                  <c:v>111714</c:v>
                </c:pt>
                <c:pt idx="22421">
                  <c:v>111709</c:v>
                </c:pt>
                <c:pt idx="22422">
                  <c:v>111708</c:v>
                </c:pt>
                <c:pt idx="22423">
                  <c:v>111708</c:v>
                </c:pt>
                <c:pt idx="22424">
                  <c:v>111703</c:v>
                </c:pt>
                <c:pt idx="22425">
                  <c:v>111701</c:v>
                </c:pt>
                <c:pt idx="22426">
                  <c:v>111700</c:v>
                </c:pt>
                <c:pt idx="22427">
                  <c:v>111697</c:v>
                </c:pt>
                <c:pt idx="22428">
                  <c:v>111694</c:v>
                </c:pt>
                <c:pt idx="22429">
                  <c:v>111690</c:v>
                </c:pt>
                <c:pt idx="22430">
                  <c:v>111689</c:v>
                </c:pt>
                <c:pt idx="22431">
                  <c:v>111689</c:v>
                </c:pt>
                <c:pt idx="22432">
                  <c:v>111685</c:v>
                </c:pt>
                <c:pt idx="22433">
                  <c:v>111683</c:v>
                </c:pt>
                <c:pt idx="22434">
                  <c:v>111680</c:v>
                </c:pt>
                <c:pt idx="22435">
                  <c:v>111673</c:v>
                </c:pt>
                <c:pt idx="22436">
                  <c:v>111671</c:v>
                </c:pt>
                <c:pt idx="22437">
                  <c:v>111671</c:v>
                </c:pt>
                <c:pt idx="22438">
                  <c:v>111669</c:v>
                </c:pt>
                <c:pt idx="22439">
                  <c:v>111652</c:v>
                </c:pt>
                <c:pt idx="22440">
                  <c:v>111649</c:v>
                </c:pt>
                <c:pt idx="22441">
                  <c:v>111648</c:v>
                </c:pt>
                <c:pt idx="22442">
                  <c:v>111647</c:v>
                </c:pt>
                <c:pt idx="22443">
                  <c:v>111647</c:v>
                </c:pt>
                <c:pt idx="22444">
                  <c:v>111644</c:v>
                </c:pt>
                <c:pt idx="22445">
                  <c:v>111636</c:v>
                </c:pt>
                <c:pt idx="22446">
                  <c:v>111634</c:v>
                </c:pt>
                <c:pt idx="22447">
                  <c:v>111632</c:v>
                </c:pt>
                <c:pt idx="22448">
                  <c:v>111629</c:v>
                </c:pt>
                <c:pt idx="22449">
                  <c:v>111627</c:v>
                </c:pt>
                <c:pt idx="22450">
                  <c:v>111627</c:v>
                </c:pt>
                <c:pt idx="22451">
                  <c:v>111621</c:v>
                </c:pt>
                <c:pt idx="22452">
                  <c:v>111621</c:v>
                </c:pt>
                <c:pt idx="22453">
                  <c:v>111619</c:v>
                </c:pt>
                <c:pt idx="22454">
                  <c:v>111617</c:v>
                </c:pt>
                <c:pt idx="22455">
                  <c:v>111609</c:v>
                </c:pt>
                <c:pt idx="22456">
                  <c:v>111606</c:v>
                </c:pt>
                <c:pt idx="22457">
                  <c:v>111602</c:v>
                </c:pt>
                <c:pt idx="22458">
                  <c:v>111599</c:v>
                </c:pt>
                <c:pt idx="22459">
                  <c:v>111595</c:v>
                </c:pt>
                <c:pt idx="22460">
                  <c:v>111591</c:v>
                </c:pt>
                <c:pt idx="22461">
                  <c:v>111587</c:v>
                </c:pt>
                <c:pt idx="22462">
                  <c:v>111586</c:v>
                </c:pt>
                <c:pt idx="22463">
                  <c:v>111585</c:v>
                </c:pt>
                <c:pt idx="22464">
                  <c:v>111584</c:v>
                </c:pt>
                <c:pt idx="22465">
                  <c:v>111583</c:v>
                </c:pt>
                <c:pt idx="22466">
                  <c:v>111579</c:v>
                </c:pt>
                <c:pt idx="22467">
                  <c:v>111578</c:v>
                </c:pt>
                <c:pt idx="22468">
                  <c:v>111577</c:v>
                </c:pt>
                <c:pt idx="22469">
                  <c:v>111576</c:v>
                </c:pt>
                <c:pt idx="22470">
                  <c:v>111575</c:v>
                </c:pt>
                <c:pt idx="22471">
                  <c:v>111573</c:v>
                </c:pt>
                <c:pt idx="22472">
                  <c:v>111572</c:v>
                </c:pt>
                <c:pt idx="22473">
                  <c:v>111571</c:v>
                </c:pt>
                <c:pt idx="22474">
                  <c:v>111565</c:v>
                </c:pt>
                <c:pt idx="22475">
                  <c:v>111565</c:v>
                </c:pt>
                <c:pt idx="22476">
                  <c:v>111564</c:v>
                </c:pt>
                <c:pt idx="22477">
                  <c:v>111560</c:v>
                </c:pt>
                <c:pt idx="22478">
                  <c:v>111553</c:v>
                </c:pt>
                <c:pt idx="22479">
                  <c:v>111543</c:v>
                </c:pt>
                <c:pt idx="22480">
                  <c:v>111540</c:v>
                </c:pt>
                <c:pt idx="22481">
                  <c:v>111539</c:v>
                </c:pt>
                <c:pt idx="22482">
                  <c:v>111521</c:v>
                </c:pt>
                <c:pt idx="22483">
                  <c:v>111519</c:v>
                </c:pt>
                <c:pt idx="22484">
                  <c:v>111519</c:v>
                </c:pt>
                <c:pt idx="22485">
                  <c:v>111513</c:v>
                </c:pt>
                <c:pt idx="22486">
                  <c:v>111510</c:v>
                </c:pt>
                <c:pt idx="22487">
                  <c:v>111505</c:v>
                </c:pt>
                <c:pt idx="22488">
                  <c:v>111505</c:v>
                </c:pt>
                <c:pt idx="22489">
                  <c:v>111504</c:v>
                </c:pt>
                <c:pt idx="22490">
                  <c:v>111502</c:v>
                </c:pt>
                <c:pt idx="22491">
                  <c:v>111499</c:v>
                </c:pt>
                <c:pt idx="22492">
                  <c:v>111496</c:v>
                </c:pt>
                <c:pt idx="22493">
                  <c:v>111495</c:v>
                </c:pt>
                <c:pt idx="22494">
                  <c:v>111493</c:v>
                </c:pt>
                <c:pt idx="22495">
                  <c:v>111489</c:v>
                </c:pt>
                <c:pt idx="22496">
                  <c:v>111489</c:v>
                </c:pt>
                <c:pt idx="22497">
                  <c:v>111484</c:v>
                </c:pt>
                <c:pt idx="22498">
                  <c:v>111479</c:v>
                </c:pt>
                <c:pt idx="22499">
                  <c:v>111470</c:v>
                </c:pt>
                <c:pt idx="22500">
                  <c:v>111468</c:v>
                </c:pt>
                <c:pt idx="22501">
                  <c:v>111463</c:v>
                </c:pt>
                <c:pt idx="22502">
                  <c:v>111462</c:v>
                </c:pt>
                <c:pt idx="22503">
                  <c:v>111462</c:v>
                </c:pt>
                <c:pt idx="22504">
                  <c:v>111460</c:v>
                </c:pt>
                <c:pt idx="22505">
                  <c:v>111458</c:v>
                </c:pt>
                <c:pt idx="22506">
                  <c:v>111458</c:v>
                </c:pt>
                <c:pt idx="22507">
                  <c:v>111457</c:v>
                </c:pt>
                <c:pt idx="22508">
                  <c:v>111456</c:v>
                </c:pt>
                <c:pt idx="22509">
                  <c:v>111448</c:v>
                </c:pt>
                <c:pt idx="22510">
                  <c:v>111443</c:v>
                </c:pt>
                <c:pt idx="22511">
                  <c:v>111437</c:v>
                </c:pt>
                <c:pt idx="22512">
                  <c:v>111434</c:v>
                </c:pt>
                <c:pt idx="22513">
                  <c:v>111431</c:v>
                </c:pt>
                <c:pt idx="22514">
                  <c:v>111430</c:v>
                </c:pt>
                <c:pt idx="22515">
                  <c:v>111424</c:v>
                </c:pt>
                <c:pt idx="22516">
                  <c:v>111419</c:v>
                </c:pt>
                <c:pt idx="22517">
                  <c:v>111419</c:v>
                </c:pt>
                <c:pt idx="22518">
                  <c:v>111416</c:v>
                </c:pt>
                <c:pt idx="22519">
                  <c:v>111415</c:v>
                </c:pt>
                <c:pt idx="22520">
                  <c:v>111411</c:v>
                </c:pt>
                <c:pt idx="22521">
                  <c:v>111410</c:v>
                </c:pt>
                <c:pt idx="22522">
                  <c:v>111408</c:v>
                </c:pt>
                <c:pt idx="22523">
                  <c:v>111402</c:v>
                </c:pt>
                <c:pt idx="22524">
                  <c:v>111398</c:v>
                </c:pt>
                <c:pt idx="22525">
                  <c:v>111393</c:v>
                </c:pt>
                <c:pt idx="22526">
                  <c:v>111384</c:v>
                </c:pt>
                <c:pt idx="22527">
                  <c:v>111383</c:v>
                </c:pt>
                <c:pt idx="22528">
                  <c:v>111375</c:v>
                </c:pt>
                <c:pt idx="22529">
                  <c:v>111361</c:v>
                </c:pt>
                <c:pt idx="22530">
                  <c:v>111357</c:v>
                </c:pt>
                <c:pt idx="22531">
                  <c:v>111353</c:v>
                </c:pt>
                <c:pt idx="22532">
                  <c:v>111349</c:v>
                </c:pt>
                <c:pt idx="22533">
                  <c:v>111349</c:v>
                </c:pt>
                <c:pt idx="22534">
                  <c:v>111347</c:v>
                </c:pt>
                <c:pt idx="22535">
                  <c:v>111347</c:v>
                </c:pt>
                <c:pt idx="22536">
                  <c:v>111346</c:v>
                </c:pt>
                <c:pt idx="22537">
                  <c:v>111344</c:v>
                </c:pt>
                <c:pt idx="22538">
                  <c:v>111343</c:v>
                </c:pt>
                <c:pt idx="22539">
                  <c:v>111341</c:v>
                </c:pt>
                <c:pt idx="22540">
                  <c:v>111340</c:v>
                </c:pt>
                <c:pt idx="22541">
                  <c:v>111336</c:v>
                </c:pt>
                <c:pt idx="22542">
                  <c:v>111334</c:v>
                </c:pt>
                <c:pt idx="22543">
                  <c:v>111330</c:v>
                </c:pt>
                <c:pt idx="22544">
                  <c:v>111330</c:v>
                </c:pt>
                <c:pt idx="22545">
                  <c:v>111329</c:v>
                </c:pt>
                <c:pt idx="22546">
                  <c:v>111328</c:v>
                </c:pt>
                <c:pt idx="22547">
                  <c:v>111328</c:v>
                </c:pt>
                <c:pt idx="22548">
                  <c:v>111326</c:v>
                </c:pt>
                <c:pt idx="22549">
                  <c:v>111323</c:v>
                </c:pt>
                <c:pt idx="22550">
                  <c:v>111322</c:v>
                </c:pt>
                <c:pt idx="22551">
                  <c:v>111320</c:v>
                </c:pt>
                <c:pt idx="22552">
                  <c:v>111319</c:v>
                </c:pt>
                <c:pt idx="22553">
                  <c:v>111316</c:v>
                </c:pt>
                <c:pt idx="22554">
                  <c:v>111315</c:v>
                </c:pt>
                <c:pt idx="22555">
                  <c:v>111315</c:v>
                </c:pt>
                <c:pt idx="22556">
                  <c:v>111312</c:v>
                </c:pt>
                <c:pt idx="22557">
                  <c:v>111310</c:v>
                </c:pt>
                <c:pt idx="22558">
                  <c:v>111299</c:v>
                </c:pt>
                <c:pt idx="22559">
                  <c:v>111296</c:v>
                </c:pt>
                <c:pt idx="22560">
                  <c:v>111295</c:v>
                </c:pt>
                <c:pt idx="22561">
                  <c:v>111293</c:v>
                </c:pt>
                <c:pt idx="22562">
                  <c:v>111289</c:v>
                </c:pt>
                <c:pt idx="22563">
                  <c:v>111288</c:v>
                </c:pt>
                <c:pt idx="22564">
                  <c:v>111282</c:v>
                </c:pt>
                <c:pt idx="22565">
                  <c:v>111282</c:v>
                </c:pt>
                <c:pt idx="22566">
                  <c:v>111282</c:v>
                </c:pt>
                <c:pt idx="22567">
                  <c:v>111279</c:v>
                </c:pt>
                <c:pt idx="22568">
                  <c:v>111278</c:v>
                </c:pt>
                <c:pt idx="22569">
                  <c:v>111278</c:v>
                </c:pt>
                <c:pt idx="22570">
                  <c:v>111270</c:v>
                </c:pt>
                <c:pt idx="22571">
                  <c:v>111269</c:v>
                </c:pt>
                <c:pt idx="22572">
                  <c:v>111267</c:v>
                </c:pt>
                <c:pt idx="22573">
                  <c:v>111261</c:v>
                </c:pt>
                <c:pt idx="22574">
                  <c:v>111260</c:v>
                </c:pt>
                <c:pt idx="22575">
                  <c:v>111256</c:v>
                </c:pt>
                <c:pt idx="22576">
                  <c:v>111252</c:v>
                </c:pt>
                <c:pt idx="22577">
                  <c:v>111250</c:v>
                </c:pt>
                <c:pt idx="22578">
                  <c:v>111247</c:v>
                </c:pt>
                <c:pt idx="22579">
                  <c:v>111242</c:v>
                </c:pt>
                <c:pt idx="22580">
                  <c:v>111235</c:v>
                </c:pt>
                <c:pt idx="22581">
                  <c:v>111234</c:v>
                </c:pt>
                <c:pt idx="22582">
                  <c:v>111232</c:v>
                </c:pt>
                <c:pt idx="22583">
                  <c:v>111232</c:v>
                </c:pt>
                <c:pt idx="22584">
                  <c:v>111227</c:v>
                </c:pt>
                <c:pt idx="22585">
                  <c:v>111221</c:v>
                </c:pt>
                <c:pt idx="22586">
                  <c:v>111213</c:v>
                </c:pt>
                <c:pt idx="22587">
                  <c:v>111211</c:v>
                </c:pt>
                <c:pt idx="22588">
                  <c:v>111210</c:v>
                </c:pt>
                <c:pt idx="22589">
                  <c:v>111209</c:v>
                </c:pt>
                <c:pt idx="22590">
                  <c:v>111194</c:v>
                </c:pt>
                <c:pt idx="22591">
                  <c:v>111192</c:v>
                </c:pt>
                <c:pt idx="22592">
                  <c:v>111191</c:v>
                </c:pt>
                <c:pt idx="22593">
                  <c:v>111188</c:v>
                </c:pt>
                <c:pt idx="22594">
                  <c:v>111186</c:v>
                </c:pt>
                <c:pt idx="22595">
                  <c:v>111186</c:v>
                </c:pt>
                <c:pt idx="22596">
                  <c:v>111179</c:v>
                </c:pt>
                <c:pt idx="22597">
                  <c:v>111177</c:v>
                </c:pt>
                <c:pt idx="22598">
                  <c:v>111160</c:v>
                </c:pt>
                <c:pt idx="22599">
                  <c:v>111160</c:v>
                </c:pt>
                <c:pt idx="22600">
                  <c:v>111158</c:v>
                </c:pt>
                <c:pt idx="22601">
                  <c:v>111154</c:v>
                </c:pt>
                <c:pt idx="22602">
                  <c:v>111148</c:v>
                </c:pt>
                <c:pt idx="22603">
                  <c:v>111148</c:v>
                </c:pt>
                <c:pt idx="22604">
                  <c:v>111145</c:v>
                </c:pt>
                <c:pt idx="22605">
                  <c:v>111145</c:v>
                </c:pt>
                <c:pt idx="22606">
                  <c:v>111140</c:v>
                </c:pt>
                <c:pt idx="22607">
                  <c:v>111137</c:v>
                </c:pt>
                <c:pt idx="22608">
                  <c:v>111133</c:v>
                </c:pt>
                <c:pt idx="22609">
                  <c:v>111132</c:v>
                </c:pt>
                <c:pt idx="22610">
                  <c:v>111127</c:v>
                </c:pt>
                <c:pt idx="22611">
                  <c:v>111114</c:v>
                </c:pt>
                <c:pt idx="22612">
                  <c:v>111112</c:v>
                </c:pt>
                <c:pt idx="22613">
                  <c:v>111107</c:v>
                </c:pt>
                <c:pt idx="22614">
                  <c:v>111102</c:v>
                </c:pt>
                <c:pt idx="22615">
                  <c:v>111099</c:v>
                </c:pt>
                <c:pt idx="22616">
                  <c:v>111099</c:v>
                </c:pt>
                <c:pt idx="22617">
                  <c:v>111098</c:v>
                </c:pt>
                <c:pt idx="22618">
                  <c:v>111098</c:v>
                </c:pt>
                <c:pt idx="22619">
                  <c:v>111096</c:v>
                </c:pt>
                <c:pt idx="22620">
                  <c:v>111092</c:v>
                </c:pt>
                <c:pt idx="22621">
                  <c:v>111089</c:v>
                </c:pt>
                <c:pt idx="22622">
                  <c:v>111080</c:v>
                </c:pt>
                <c:pt idx="22623">
                  <c:v>111078</c:v>
                </c:pt>
                <c:pt idx="22624">
                  <c:v>111077</c:v>
                </c:pt>
                <c:pt idx="22625">
                  <c:v>111076</c:v>
                </c:pt>
                <c:pt idx="22626">
                  <c:v>111073</c:v>
                </c:pt>
                <c:pt idx="22627">
                  <c:v>111073</c:v>
                </c:pt>
                <c:pt idx="22628">
                  <c:v>111069</c:v>
                </c:pt>
                <c:pt idx="22629">
                  <c:v>111069</c:v>
                </c:pt>
                <c:pt idx="22630">
                  <c:v>111061</c:v>
                </c:pt>
                <c:pt idx="22631">
                  <c:v>111052</c:v>
                </c:pt>
                <c:pt idx="22632">
                  <c:v>111051</c:v>
                </c:pt>
                <c:pt idx="22633">
                  <c:v>111049</c:v>
                </c:pt>
                <c:pt idx="22634">
                  <c:v>111044</c:v>
                </c:pt>
                <c:pt idx="22635">
                  <c:v>111044</c:v>
                </c:pt>
                <c:pt idx="22636">
                  <c:v>111042</c:v>
                </c:pt>
                <c:pt idx="22637">
                  <c:v>111033</c:v>
                </c:pt>
                <c:pt idx="22638">
                  <c:v>111033</c:v>
                </c:pt>
                <c:pt idx="22639">
                  <c:v>111030</c:v>
                </c:pt>
                <c:pt idx="22640">
                  <c:v>111028</c:v>
                </c:pt>
                <c:pt idx="22641">
                  <c:v>111026</c:v>
                </c:pt>
                <c:pt idx="22642">
                  <c:v>111026</c:v>
                </c:pt>
                <c:pt idx="22643">
                  <c:v>111018</c:v>
                </c:pt>
                <c:pt idx="22644">
                  <c:v>111013</c:v>
                </c:pt>
                <c:pt idx="22645">
                  <c:v>111004</c:v>
                </c:pt>
                <c:pt idx="22646">
                  <c:v>111002</c:v>
                </c:pt>
                <c:pt idx="22647">
                  <c:v>111000</c:v>
                </c:pt>
                <c:pt idx="22648">
                  <c:v>110998</c:v>
                </c:pt>
                <c:pt idx="22649">
                  <c:v>110995</c:v>
                </c:pt>
                <c:pt idx="22650">
                  <c:v>110995</c:v>
                </c:pt>
                <c:pt idx="22651">
                  <c:v>110991</c:v>
                </c:pt>
                <c:pt idx="22652">
                  <c:v>110985</c:v>
                </c:pt>
                <c:pt idx="22653">
                  <c:v>110985</c:v>
                </c:pt>
                <c:pt idx="22654">
                  <c:v>110984</c:v>
                </c:pt>
                <c:pt idx="22655">
                  <c:v>110982</c:v>
                </c:pt>
                <c:pt idx="22656">
                  <c:v>110979</c:v>
                </c:pt>
                <c:pt idx="22657">
                  <c:v>110978</c:v>
                </c:pt>
                <c:pt idx="22658">
                  <c:v>110966</c:v>
                </c:pt>
                <c:pt idx="22659">
                  <c:v>110959</c:v>
                </c:pt>
                <c:pt idx="22660">
                  <c:v>110956</c:v>
                </c:pt>
                <c:pt idx="22661">
                  <c:v>110947</c:v>
                </c:pt>
                <c:pt idx="22662">
                  <c:v>110934</c:v>
                </c:pt>
                <c:pt idx="22663">
                  <c:v>110929</c:v>
                </c:pt>
                <c:pt idx="22664">
                  <c:v>110928</c:v>
                </c:pt>
                <c:pt idx="22665">
                  <c:v>110925</c:v>
                </c:pt>
                <c:pt idx="22666">
                  <c:v>110922</c:v>
                </c:pt>
                <c:pt idx="22667">
                  <c:v>110917</c:v>
                </c:pt>
                <c:pt idx="22668">
                  <c:v>110911</c:v>
                </c:pt>
                <c:pt idx="22669">
                  <c:v>110911</c:v>
                </c:pt>
                <c:pt idx="22670">
                  <c:v>110907</c:v>
                </c:pt>
                <c:pt idx="22671">
                  <c:v>110896</c:v>
                </c:pt>
                <c:pt idx="22672">
                  <c:v>110888</c:v>
                </c:pt>
                <c:pt idx="22673">
                  <c:v>110884</c:v>
                </c:pt>
                <c:pt idx="22674">
                  <c:v>110873</c:v>
                </c:pt>
                <c:pt idx="22675">
                  <c:v>110869</c:v>
                </c:pt>
                <c:pt idx="22676">
                  <c:v>110864</c:v>
                </c:pt>
                <c:pt idx="22677">
                  <c:v>110855</c:v>
                </c:pt>
                <c:pt idx="22678">
                  <c:v>110855</c:v>
                </c:pt>
                <c:pt idx="22679">
                  <c:v>110814</c:v>
                </c:pt>
                <c:pt idx="22680">
                  <c:v>110813</c:v>
                </c:pt>
                <c:pt idx="22681">
                  <c:v>110807</c:v>
                </c:pt>
                <c:pt idx="22682">
                  <c:v>110806</c:v>
                </c:pt>
                <c:pt idx="22683">
                  <c:v>110804</c:v>
                </c:pt>
                <c:pt idx="22684">
                  <c:v>110804</c:v>
                </c:pt>
                <c:pt idx="22685">
                  <c:v>110800</c:v>
                </c:pt>
                <c:pt idx="22686">
                  <c:v>110799</c:v>
                </c:pt>
                <c:pt idx="22687">
                  <c:v>110798</c:v>
                </c:pt>
                <c:pt idx="22688">
                  <c:v>110796</c:v>
                </c:pt>
                <c:pt idx="22689">
                  <c:v>110780</c:v>
                </c:pt>
                <c:pt idx="22690">
                  <c:v>110778</c:v>
                </c:pt>
                <c:pt idx="22691">
                  <c:v>110777</c:v>
                </c:pt>
                <c:pt idx="22692">
                  <c:v>110773</c:v>
                </c:pt>
                <c:pt idx="22693">
                  <c:v>110772</c:v>
                </c:pt>
                <c:pt idx="22694">
                  <c:v>110770</c:v>
                </c:pt>
                <c:pt idx="22695">
                  <c:v>110768</c:v>
                </c:pt>
                <c:pt idx="22696">
                  <c:v>110762</c:v>
                </c:pt>
                <c:pt idx="22697">
                  <c:v>110758</c:v>
                </c:pt>
                <c:pt idx="22698">
                  <c:v>110751</c:v>
                </c:pt>
                <c:pt idx="22699">
                  <c:v>110751</c:v>
                </c:pt>
                <c:pt idx="22700">
                  <c:v>110749</c:v>
                </c:pt>
                <c:pt idx="22701">
                  <c:v>110748</c:v>
                </c:pt>
                <c:pt idx="22702">
                  <c:v>110747</c:v>
                </c:pt>
                <c:pt idx="22703">
                  <c:v>110745</c:v>
                </c:pt>
                <c:pt idx="22704">
                  <c:v>110742</c:v>
                </c:pt>
                <c:pt idx="22705">
                  <c:v>110741</c:v>
                </c:pt>
                <c:pt idx="22706">
                  <c:v>110740</c:v>
                </c:pt>
                <c:pt idx="22707">
                  <c:v>110736</c:v>
                </c:pt>
                <c:pt idx="22708">
                  <c:v>110735</c:v>
                </c:pt>
                <c:pt idx="22709">
                  <c:v>110733</c:v>
                </c:pt>
                <c:pt idx="22710">
                  <c:v>110730</c:v>
                </c:pt>
                <c:pt idx="22711">
                  <c:v>110730</c:v>
                </c:pt>
                <c:pt idx="22712">
                  <c:v>110728</c:v>
                </c:pt>
                <c:pt idx="22713">
                  <c:v>110728</c:v>
                </c:pt>
                <c:pt idx="22714">
                  <c:v>110725</c:v>
                </c:pt>
                <c:pt idx="22715">
                  <c:v>110721</c:v>
                </c:pt>
                <c:pt idx="22716">
                  <c:v>110720</c:v>
                </c:pt>
                <c:pt idx="22717">
                  <c:v>110718</c:v>
                </c:pt>
                <c:pt idx="22718">
                  <c:v>110717</c:v>
                </c:pt>
                <c:pt idx="22719">
                  <c:v>110707</c:v>
                </c:pt>
                <c:pt idx="22720">
                  <c:v>110707</c:v>
                </c:pt>
                <c:pt idx="22721">
                  <c:v>110706</c:v>
                </c:pt>
                <c:pt idx="22722">
                  <c:v>110697</c:v>
                </c:pt>
                <c:pt idx="22723">
                  <c:v>110689</c:v>
                </c:pt>
                <c:pt idx="22724">
                  <c:v>110688</c:v>
                </c:pt>
                <c:pt idx="22725">
                  <c:v>110687</c:v>
                </c:pt>
                <c:pt idx="22726">
                  <c:v>110687</c:v>
                </c:pt>
                <c:pt idx="22727">
                  <c:v>110684</c:v>
                </c:pt>
                <c:pt idx="22728">
                  <c:v>110682</c:v>
                </c:pt>
                <c:pt idx="22729">
                  <c:v>110670</c:v>
                </c:pt>
                <c:pt idx="22730">
                  <c:v>110669</c:v>
                </c:pt>
                <c:pt idx="22731">
                  <c:v>110666</c:v>
                </c:pt>
                <c:pt idx="22732">
                  <c:v>110662</c:v>
                </c:pt>
                <c:pt idx="22733">
                  <c:v>110657</c:v>
                </c:pt>
                <c:pt idx="22734">
                  <c:v>110657</c:v>
                </c:pt>
                <c:pt idx="22735">
                  <c:v>110649</c:v>
                </c:pt>
                <c:pt idx="22736">
                  <c:v>110641</c:v>
                </c:pt>
                <c:pt idx="22737">
                  <c:v>110641</c:v>
                </c:pt>
                <c:pt idx="22738">
                  <c:v>110637</c:v>
                </c:pt>
                <c:pt idx="22739">
                  <c:v>110634</c:v>
                </c:pt>
                <c:pt idx="22740">
                  <c:v>110631</c:v>
                </c:pt>
                <c:pt idx="22741">
                  <c:v>110624</c:v>
                </c:pt>
                <c:pt idx="22742">
                  <c:v>110623</c:v>
                </c:pt>
                <c:pt idx="22743">
                  <c:v>110621</c:v>
                </c:pt>
                <c:pt idx="22744">
                  <c:v>110621</c:v>
                </c:pt>
                <c:pt idx="22745">
                  <c:v>110616</c:v>
                </c:pt>
                <c:pt idx="22746">
                  <c:v>110615</c:v>
                </c:pt>
                <c:pt idx="22747">
                  <c:v>110613</c:v>
                </c:pt>
                <c:pt idx="22748">
                  <c:v>110609</c:v>
                </c:pt>
                <c:pt idx="22749">
                  <c:v>110606</c:v>
                </c:pt>
                <c:pt idx="22750">
                  <c:v>110593</c:v>
                </c:pt>
                <c:pt idx="22751">
                  <c:v>110592</c:v>
                </c:pt>
                <c:pt idx="22752">
                  <c:v>110590</c:v>
                </c:pt>
                <c:pt idx="22753">
                  <c:v>110583</c:v>
                </c:pt>
                <c:pt idx="22754">
                  <c:v>110577</c:v>
                </c:pt>
                <c:pt idx="22755">
                  <c:v>110576</c:v>
                </c:pt>
                <c:pt idx="22756">
                  <c:v>110567</c:v>
                </c:pt>
                <c:pt idx="22757">
                  <c:v>110566</c:v>
                </c:pt>
                <c:pt idx="22758">
                  <c:v>110565</c:v>
                </c:pt>
                <c:pt idx="22759">
                  <c:v>110562</c:v>
                </c:pt>
                <c:pt idx="22760">
                  <c:v>110552</c:v>
                </c:pt>
                <c:pt idx="22761">
                  <c:v>110551</c:v>
                </c:pt>
                <c:pt idx="22762">
                  <c:v>110547</c:v>
                </c:pt>
                <c:pt idx="22763">
                  <c:v>110544</c:v>
                </c:pt>
                <c:pt idx="22764">
                  <c:v>110541</c:v>
                </c:pt>
                <c:pt idx="22765">
                  <c:v>110541</c:v>
                </c:pt>
                <c:pt idx="22766">
                  <c:v>110538</c:v>
                </c:pt>
                <c:pt idx="22767">
                  <c:v>110536</c:v>
                </c:pt>
                <c:pt idx="22768">
                  <c:v>110531</c:v>
                </c:pt>
                <c:pt idx="22769">
                  <c:v>110530</c:v>
                </c:pt>
                <c:pt idx="22770">
                  <c:v>110522</c:v>
                </c:pt>
                <c:pt idx="22771">
                  <c:v>110518</c:v>
                </c:pt>
                <c:pt idx="22772">
                  <c:v>110517</c:v>
                </c:pt>
                <c:pt idx="22773">
                  <c:v>110514</c:v>
                </c:pt>
                <c:pt idx="22774">
                  <c:v>110512</c:v>
                </c:pt>
                <c:pt idx="22775">
                  <c:v>110512</c:v>
                </c:pt>
                <c:pt idx="22776">
                  <c:v>110499</c:v>
                </c:pt>
                <c:pt idx="22777">
                  <c:v>110493</c:v>
                </c:pt>
                <c:pt idx="22778">
                  <c:v>110492</c:v>
                </c:pt>
                <c:pt idx="22779">
                  <c:v>110482</c:v>
                </c:pt>
                <c:pt idx="22780">
                  <c:v>110480</c:v>
                </c:pt>
                <c:pt idx="22781">
                  <c:v>110480</c:v>
                </c:pt>
                <c:pt idx="22782">
                  <c:v>110479</c:v>
                </c:pt>
                <c:pt idx="22783">
                  <c:v>110474</c:v>
                </c:pt>
                <c:pt idx="22784">
                  <c:v>110466</c:v>
                </c:pt>
                <c:pt idx="22785">
                  <c:v>110460</c:v>
                </c:pt>
                <c:pt idx="22786">
                  <c:v>110458</c:v>
                </c:pt>
                <c:pt idx="22787">
                  <c:v>110457</c:v>
                </c:pt>
                <c:pt idx="22788">
                  <c:v>110450</c:v>
                </c:pt>
                <c:pt idx="22789">
                  <c:v>110447</c:v>
                </c:pt>
                <c:pt idx="22790">
                  <c:v>110444</c:v>
                </c:pt>
                <c:pt idx="22791">
                  <c:v>110442</c:v>
                </c:pt>
                <c:pt idx="22792">
                  <c:v>110442</c:v>
                </c:pt>
                <c:pt idx="22793">
                  <c:v>110442</c:v>
                </c:pt>
                <c:pt idx="22794">
                  <c:v>110436</c:v>
                </c:pt>
                <c:pt idx="22795">
                  <c:v>110434</c:v>
                </c:pt>
                <c:pt idx="22796">
                  <c:v>110433</c:v>
                </c:pt>
                <c:pt idx="22797">
                  <c:v>110432</c:v>
                </c:pt>
                <c:pt idx="22798">
                  <c:v>110425</c:v>
                </c:pt>
                <c:pt idx="22799">
                  <c:v>110424</c:v>
                </c:pt>
                <c:pt idx="22800">
                  <c:v>110418</c:v>
                </c:pt>
                <c:pt idx="22801">
                  <c:v>110410</c:v>
                </c:pt>
                <c:pt idx="22802">
                  <c:v>110409</c:v>
                </c:pt>
                <c:pt idx="22803">
                  <c:v>110408</c:v>
                </c:pt>
                <c:pt idx="22804">
                  <c:v>110408</c:v>
                </c:pt>
                <c:pt idx="22805">
                  <c:v>110404</c:v>
                </c:pt>
                <c:pt idx="22806">
                  <c:v>110403</c:v>
                </c:pt>
                <c:pt idx="22807">
                  <c:v>110401</c:v>
                </c:pt>
                <c:pt idx="22808">
                  <c:v>110394</c:v>
                </c:pt>
                <c:pt idx="22809">
                  <c:v>110392</c:v>
                </c:pt>
                <c:pt idx="22810">
                  <c:v>110386</c:v>
                </c:pt>
                <c:pt idx="22811">
                  <c:v>110381</c:v>
                </c:pt>
                <c:pt idx="22812">
                  <c:v>110381</c:v>
                </c:pt>
                <c:pt idx="22813">
                  <c:v>110380</c:v>
                </c:pt>
                <c:pt idx="22814">
                  <c:v>110369</c:v>
                </c:pt>
                <c:pt idx="22815">
                  <c:v>110368</c:v>
                </c:pt>
                <c:pt idx="22816">
                  <c:v>110363</c:v>
                </c:pt>
                <c:pt idx="22817">
                  <c:v>110362</c:v>
                </c:pt>
                <c:pt idx="22818">
                  <c:v>110362</c:v>
                </c:pt>
                <c:pt idx="22819">
                  <c:v>110358</c:v>
                </c:pt>
                <c:pt idx="22820">
                  <c:v>110355</c:v>
                </c:pt>
                <c:pt idx="22821">
                  <c:v>110354</c:v>
                </c:pt>
                <c:pt idx="22822">
                  <c:v>110353</c:v>
                </c:pt>
                <c:pt idx="22823">
                  <c:v>110352</c:v>
                </c:pt>
                <c:pt idx="22824">
                  <c:v>110351</c:v>
                </c:pt>
                <c:pt idx="22825">
                  <c:v>110351</c:v>
                </c:pt>
                <c:pt idx="22826">
                  <c:v>110349</c:v>
                </c:pt>
                <c:pt idx="22827">
                  <c:v>110342</c:v>
                </c:pt>
                <c:pt idx="22828">
                  <c:v>110341</c:v>
                </c:pt>
                <c:pt idx="22829">
                  <c:v>110339</c:v>
                </c:pt>
                <c:pt idx="22830">
                  <c:v>110333</c:v>
                </c:pt>
                <c:pt idx="22831">
                  <c:v>110329</c:v>
                </c:pt>
                <c:pt idx="22832">
                  <c:v>110322</c:v>
                </c:pt>
                <c:pt idx="22833">
                  <c:v>110319</c:v>
                </c:pt>
                <c:pt idx="22834">
                  <c:v>110319</c:v>
                </c:pt>
                <c:pt idx="22835">
                  <c:v>110296</c:v>
                </c:pt>
                <c:pt idx="22836">
                  <c:v>110289</c:v>
                </c:pt>
                <c:pt idx="22837">
                  <c:v>110283</c:v>
                </c:pt>
                <c:pt idx="22838">
                  <c:v>110281</c:v>
                </c:pt>
                <c:pt idx="22839">
                  <c:v>110280</c:v>
                </c:pt>
                <c:pt idx="22840">
                  <c:v>110276</c:v>
                </c:pt>
                <c:pt idx="22841">
                  <c:v>110272</c:v>
                </c:pt>
                <c:pt idx="22842">
                  <c:v>110272</c:v>
                </c:pt>
                <c:pt idx="22843">
                  <c:v>110267</c:v>
                </c:pt>
                <c:pt idx="22844">
                  <c:v>110267</c:v>
                </c:pt>
                <c:pt idx="22845">
                  <c:v>110264</c:v>
                </c:pt>
                <c:pt idx="22846">
                  <c:v>110264</c:v>
                </c:pt>
                <c:pt idx="22847">
                  <c:v>110263</c:v>
                </c:pt>
                <c:pt idx="22848">
                  <c:v>110258</c:v>
                </c:pt>
                <c:pt idx="22849">
                  <c:v>110241</c:v>
                </c:pt>
                <c:pt idx="22850">
                  <c:v>110241</c:v>
                </c:pt>
                <c:pt idx="22851">
                  <c:v>110240</c:v>
                </c:pt>
                <c:pt idx="22852">
                  <c:v>110237</c:v>
                </c:pt>
                <c:pt idx="22853">
                  <c:v>110235</c:v>
                </c:pt>
                <c:pt idx="22854">
                  <c:v>110233</c:v>
                </c:pt>
                <c:pt idx="22855">
                  <c:v>110232</c:v>
                </c:pt>
                <c:pt idx="22856">
                  <c:v>110231</c:v>
                </c:pt>
                <c:pt idx="22857">
                  <c:v>110226</c:v>
                </c:pt>
                <c:pt idx="22858">
                  <c:v>110220</c:v>
                </c:pt>
                <c:pt idx="22859">
                  <c:v>110211</c:v>
                </c:pt>
                <c:pt idx="22860">
                  <c:v>110204</c:v>
                </c:pt>
                <c:pt idx="22861">
                  <c:v>110202</c:v>
                </c:pt>
                <c:pt idx="22862">
                  <c:v>110201</c:v>
                </c:pt>
                <c:pt idx="22863">
                  <c:v>110200</c:v>
                </c:pt>
                <c:pt idx="22864">
                  <c:v>110199</c:v>
                </c:pt>
                <c:pt idx="22865">
                  <c:v>110193</c:v>
                </c:pt>
                <c:pt idx="22866">
                  <c:v>110188</c:v>
                </c:pt>
                <c:pt idx="22867">
                  <c:v>110173</c:v>
                </c:pt>
                <c:pt idx="22868">
                  <c:v>110167</c:v>
                </c:pt>
                <c:pt idx="22869">
                  <c:v>110166</c:v>
                </c:pt>
                <c:pt idx="22870">
                  <c:v>110166</c:v>
                </c:pt>
                <c:pt idx="22871">
                  <c:v>110165</c:v>
                </c:pt>
                <c:pt idx="22872">
                  <c:v>110165</c:v>
                </c:pt>
                <c:pt idx="22873">
                  <c:v>110163</c:v>
                </c:pt>
                <c:pt idx="22874">
                  <c:v>110161</c:v>
                </c:pt>
                <c:pt idx="22875">
                  <c:v>110159</c:v>
                </c:pt>
                <c:pt idx="22876">
                  <c:v>110156</c:v>
                </c:pt>
                <c:pt idx="22877">
                  <c:v>110150</c:v>
                </c:pt>
                <c:pt idx="22878">
                  <c:v>110146</c:v>
                </c:pt>
                <c:pt idx="22879">
                  <c:v>110139</c:v>
                </c:pt>
                <c:pt idx="22880">
                  <c:v>110137</c:v>
                </c:pt>
                <c:pt idx="22881">
                  <c:v>110137</c:v>
                </c:pt>
                <c:pt idx="22882">
                  <c:v>110136</c:v>
                </c:pt>
                <c:pt idx="22883">
                  <c:v>110125</c:v>
                </c:pt>
                <c:pt idx="22884">
                  <c:v>110124</c:v>
                </c:pt>
                <c:pt idx="22885">
                  <c:v>110121</c:v>
                </c:pt>
                <c:pt idx="22886">
                  <c:v>110116</c:v>
                </c:pt>
                <c:pt idx="22887">
                  <c:v>110116</c:v>
                </c:pt>
                <c:pt idx="22888">
                  <c:v>110115</c:v>
                </c:pt>
                <c:pt idx="22889">
                  <c:v>110115</c:v>
                </c:pt>
                <c:pt idx="22890">
                  <c:v>110114</c:v>
                </c:pt>
                <c:pt idx="22891">
                  <c:v>110114</c:v>
                </c:pt>
                <c:pt idx="22892">
                  <c:v>110110</c:v>
                </c:pt>
                <c:pt idx="22893">
                  <c:v>110109</c:v>
                </c:pt>
                <c:pt idx="22894">
                  <c:v>110096</c:v>
                </c:pt>
                <c:pt idx="22895">
                  <c:v>110096</c:v>
                </c:pt>
                <c:pt idx="22896">
                  <c:v>110096</c:v>
                </c:pt>
                <c:pt idx="22897">
                  <c:v>110091</c:v>
                </c:pt>
                <c:pt idx="22898">
                  <c:v>110089</c:v>
                </c:pt>
                <c:pt idx="22899">
                  <c:v>110089</c:v>
                </c:pt>
                <c:pt idx="22900">
                  <c:v>110089</c:v>
                </c:pt>
                <c:pt idx="22901">
                  <c:v>110080</c:v>
                </c:pt>
                <c:pt idx="22902">
                  <c:v>110079</c:v>
                </c:pt>
                <c:pt idx="22903">
                  <c:v>110069</c:v>
                </c:pt>
                <c:pt idx="22904">
                  <c:v>110066</c:v>
                </c:pt>
                <c:pt idx="22905">
                  <c:v>110064</c:v>
                </c:pt>
                <c:pt idx="22906">
                  <c:v>110063</c:v>
                </c:pt>
                <c:pt idx="22907">
                  <c:v>110061</c:v>
                </c:pt>
                <c:pt idx="22908">
                  <c:v>110060</c:v>
                </c:pt>
                <c:pt idx="22909">
                  <c:v>110058</c:v>
                </c:pt>
                <c:pt idx="22910">
                  <c:v>110057</c:v>
                </c:pt>
                <c:pt idx="22911">
                  <c:v>110054</c:v>
                </c:pt>
                <c:pt idx="22912">
                  <c:v>110052</c:v>
                </c:pt>
                <c:pt idx="22913">
                  <c:v>110051</c:v>
                </c:pt>
                <c:pt idx="22914">
                  <c:v>110051</c:v>
                </c:pt>
                <c:pt idx="22915">
                  <c:v>110047</c:v>
                </c:pt>
                <c:pt idx="22916">
                  <c:v>110047</c:v>
                </c:pt>
                <c:pt idx="22917">
                  <c:v>110045</c:v>
                </c:pt>
                <c:pt idx="22918">
                  <c:v>110043</c:v>
                </c:pt>
                <c:pt idx="22919">
                  <c:v>110040</c:v>
                </c:pt>
                <c:pt idx="22920">
                  <c:v>110037</c:v>
                </c:pt>
                <c:pt idx="22921">
                  <c:v>110035</c:v>
                </c:pt>
                <c:pt idx="22922">
                  <c:v>110033</c:v>
                </c:pt>
                <c:pt idx="22923">
                  <c:v>110030</c:v>
                </c:pt>
                <c:pt idx="22924">
                  <c:v>110024</c:v>
                </c:pt>
                <c:pt idx="22925">
                  <c:v>110020</c:v>
                </c:pt>
                <c:pt idx="22926">
                  <c:v>110020</c:v>
                </c:pt>
                <c:pt idx="22927">
                  <c:v>110014</c:v>
                </c:pt>
                <c:pt idx="22928">
                  <c:v>110014</c:v>
                </c:pt>
                <c:pt idx="22929">
                  <c:v>110009</c:v>
                </c:pt>
                <c:pt idx="22930">
                  <c:v>110007</c:v>
                </c:pt>
                <c:pt idx="22931">
                  <c:v>110004</c:v>
                </c:pt>
                <c:pt idx="22932">
                  <c:v>110003</c:v>
                </c:pt>
                <c:pt idx="22933">
                  <c:v>110000</c:v>
                </c:pt>
                <c:pt idx="22934">
                  <c:v>109996</c:v>
                </c:pt>
                <c:pt idx="22935">
                  <c:v>109987</c:v>
                </c:pt>
                <c:pt idx="22936">
                  <c:v>109985</c:v>
                </c:pt>
                <c:pt idx="22937">
                  <c:v>109981</c:v>
                </c:pt>
                <c:pt idx="22938">
                  <c:v>109981</c:v>
                </c:pt>
                <c:pt idx="22939">
                  <c:v>109979</c:v>
                </c:pt>
                <c:pt idx="22940">
                  <c:v>109966</c:v>
                </c:pt>
                <c:pt idx="22941">
                  <c:v>109962</c:v>
                </c:pt>
                <c:pt idx="22942">
                  <c:v>109961</c:v>
                </c:pt>
                <c:pt idx="22943">
                  <c:v>109961</c:v>
                </c:pt>
                <c:pt idx="22944">
                  <c:v>109956</c:v>
                </c:pt>
                <c:pt idx="22945">
                  <c:v>109953</c:v>
                </c:pt>
                <c:pt idx="22946">
                  <c:v>109949</c:v>
                </c:pt>
                <c:pt idx="22947">
                  <c:v>109947</c:v>
                </c:pt>
                <c:pt idx="22948">
                  <c:v>109944</c:v>
                </c:pt>
                <c:pt idx="22949">
                  <c:v>109939</c:v>
                </c:pt>
                <c:pt idx="22950">
                  <c:v>109937</c:v>
                </c:pt>
                <c:pt idx="22951">
                  <c:v>109936</c:v>
                </c:pt>
                <c:pt idx="22952">
                  <c:v>109936</c:v>
                </c:pt>
                <c:pt idx="22953">
                  <c:v>109929</c:v>
                </c:pt>
                <c:pt idx="22954">
                  <c:v>109912</c:v>
                </c:pt>
                <c:pt idx="22955">
                  <c:v>109909</c:v>
                </c:pt>
                <c:pt idx="22956">
                  <c:v>109905</c:v>
                </c:pt>
                <c:pt idx="22957">
                  <c:v>109902</c:v>
                </c:pt>
                <c:pt idx="22958">
                  <c:v>109899</c:v>
                </c:pt>
                <c:pt idx="22959">
                  <c:v>109899</c:v>
                </c:pt>
                <c:pt idx="22960">
                  <c:v>109895</c:v>
                </c:pt>
                <c:pt idx="22961">
                  <c:v>109883</c:v>
                </c:pt>
                <c:pt idx="22962">
                  <c:v>109881</c:v>
                </c:pt>
                <c:pt idx="22963">
                  <c:v>109880</c:v>
                </c:pt>
                <c:pt idx="22964">
                  <c:v>109877</c:v>
                </c:pt>
                <c:pt idx="22965">
                  <c:v>109876</c:v>
                </c:pt>
                <c:pt idx="22966">
                  <c:v>109875</c:v>
                </c:pt>
                <c:pt idx="22967">
                  <c:v>109874</c:v>
                </c:pt>
                <c:pt idx="22968">
                  <c:v>109873</c:v>
                </c:pt>
                <c:pt idx="22969">
                  <c:v>109867</c:v>
                </c:pt>
                <c:pt idx="22970">
                  <c:v>109863</c:v>
                </c:pt>
                <c:pt idx="22971">
                  <c:v>109859</c:v>
                </c:pt>
                <c:pt idx="22972">
                  <c:v>109853</c:v>
                </c:pt>
                <c:pt idx="22973">
                  <c:v>109846</c:v>
                </c:pt>
                <c:pt idx="22974">
                  <c:v>109844</c:v>
                </c:pt>
                <c:pt idx="22975">
                  <c:v>109843</c:v>
                </c:pt>
                <c:pt idx="22976">
                  <c:v>109838</c:v>
                </c:pt>
                <c:pt idx="22977">
                  <c:v>109837</c:v>
                </c:pt>
                <c:pt idx="22978">
                  <c:v>109836</c:v>
                </c:pt>
                <c:pt idx="22979">
                  <c:v>109833</c:v>
                </c:pt>
                <c:pt idx="22980">
                  <c:v>109832</c:v>
                </c:pt>
                <c:pt idx="22981">
                  <c:v>109829</c:v>
                </c:pt>
                <c:pt idx="22982">
                  <c:v>109829</c:v>
                </c:pt>
                <c:pt idx="22983">
                  <c:v>109827</c:v>
                </c:pt>
                <c:pt idx="22984">
                  <c:v>109820</c:v>
                </c:pt>
                <c:pt idx="22985">
                  <c:v>109820</c:v>
                </c:pt>
                <c:pt idx="22986">
                  <c:v>109813</c:v>
                </c:pt>
                <c:pt idx="22987">
                  <c:v>109810</c:v>
                </c:pt>
                <c:pt idx="22988">
                  <c:v>109807</c:v>
                </c:pt>
                <c:pt idx="22989">
                  <c:v>109804</c:v>
                </c:pt>
                <c:pt idx="22990">
                  <c:v>109802</c:v>
                </c:pt>
                <c:pt idx="22991">
                  <c:v>109799</c:v>
                </c:pt>
                <c:pt idx="22992">
                  <c:v>109798</c:v>
                </c:pt>
                <c:pt idx="22993">
                  <c:v>109795</c:v>
                </c:pt>
                <c:pt idx="22994">
                  <c:v>109793</c:v>
                </c:pt>
                <c:pt idx="22995">
                  <c:v>109775</c:v>
                </c:pt>
                <c:pt idx="22996">
                  <c:v>109775</c:v>
                </c:pt>
                <c:pt idx="22997">
                  <c:v>109765</c:v>
                </c:pt>
                <c:pt idx="22998">
                  <c:v>109755</c:v>
                </c:pt>
                <c:pt idx="22999">
                  <c:v>109755</c:v>
                </c:pt>
                <c:pt idx="23000">
                  <c:v>109754</c:v>
                </c:pt>
                <c:pt idx="23001">
                  <c:v>109753</c:v>
                </c:pt>
                <c:pt idx="23002">
                  <c:v>109741</c:v>
                </c:pt>
                <c:pt idx="23003">
                  <c:v>109740</c:v>
                </c:pt>
                <c:pt idx="23004">
                  <c:v>109738</c:v>
                </c:pt>
                <c:pt idx="23005">
                  <c:v>109738</c:v>
                </c:pt>
                <c:pt idx="23006">
                  <c:v>109737</c:v>
                </c:pt>
                <c:pt idx="23007">
                  <c:v>109735</c:v>
                </c:pt>
                <c:pt idx="23008">
                  <c:v>109733</c:v>
                </c:pt>
                <c:pt idx="23009">
                  <c:v>109729</c:v>
                </c:pt>
                <c:pt idx="23010">
                  <c:v>109725</c:v>
                </c:pt>
                <c:pt idx="23011">
                  <c:v>109722</c:v>
                </c:pt>
                <c:pt idx="23012">
                  <c:v>109716</c:v>
                </c:pt>
                <c:pt idx="23013">
                  <c:v>109706</c:v>
                </c:pt>
                <c:pt idx="23014">
                  <c:v>109704</c:v>
                </c:pt>
                <c:pt idx="23015">
                  <c:v>109696</c:v>
                </c:pt>
                <c:pt idx="23016">
                  <c:v>109692</c:v>
                </c:pt>
                <c:pt idx="23017">
                  <c:v>109692</c:v>
                </c:pt>
                <c:pt idx="23018">
                  <c:v>109691</c:v>
                </c:pt>
                <c:pt idx="23019">
                  <c:v>109682</c:v>
                </c:pt>
                <c:pt idx="23020">
                  <c:v>109682</c:v>
                </c:pt>
                <c:pt idx="23021">
                  <c:v>109680</c:v>
                </c:pt>
                <c:pt idx="23022">
                  <c:v>109678</c:v>
                </c:pt>
                <c:pt idx="23023">
                  <c:v>109676</c:v>
                </c:pt>
                <c:pt idx="23024">
                  <c:v>109676</c:v>
                </c:pt>
                <c:pt idx="23025">
                  <c:v>109674</c:v>
                </c:pt>
                <c:pt idx="23026">
                  <c:v>109671</c:v>
                </c:pt>
                <c:pt idx="23027">
                  <c:v>109671</c:v>
                </c:pt>
                <c:pt idx="23028">
                  <c:v>109668</c:v>
                </c:pt>
                <c:pt idx="23029">
                  <c:v>109665</c:v>
                </c:pt>
                <c:pt idx="23030">
                  <c:v>109665</c:v>
                </c:pt>
                <c:pt idx="23031">
                  <c:v>109658</c:v>
                </c:pt>
                <c:pt idx="23032">
                  <c:v>109656</c:v>
                </c:pt>
                <c:pt idx="23033">
                  <c:v>109652</c:v>
                </c:pt>
                <c:pt idx="23034">
                  <c:v>109652</c:v>
                </c:pt>
                <c:pt idx="23035">
                  <c:v>109650</c:v>
                </c:pt>
                <c:pt idx="23036">
                  <c:v>109650</c:v>
                </c:pt>
                <c:pt idx="23037">
                  <c:v>109646</c:v>
                </c:pt>
                <c:pt idx="23038">
                  <c:v>109639</c:v>
                </c:pt>
                <c:pt idx="23039">
                  <c:v>109639</c:v>
                </c:pt>
                <c:pt idx="23040">
                  <c:v>109636</c:v>
                </c:pt>
                <c:pt idx="23041">
                  <c:v>109632</c:v>
                </c:pt>
                <c:pt idx="23042">
                  <c:v>109632</c:v>
                </c:pt>
                <c:pt idx="23043">
                  <c:v>109622</c:v>
                </c:pt>
                <c:pt idx="23044">
                  <c:v>109616</c:v>
                </c:pt>
                <c:pt idx="23045">
                  <c:v>109612</c:v>
                </c:pt>
                <c:pt idx="23046">
                  <c:v>109611</c:v>
                </c:pt>
                <c:pt idx="23047">
                  <c:v>109604</c:v>
                </c:pt>
                <c:pt idx="23048">
                  <c:v>109600</c:v>
                </c:pt>
                <c:pt idx="23049">
                  <c:v>109597</c:v>
                </c:pt>
                <c:pt idx="23050">
                  <c:v>109596</c:v>
                </c:pt>
                <c:pt idx="23051">
                  <c:v>109585</c:v>
                </c:pt>
                <c:pt idx="23052">
                  <c:v>109585</c:v>
                </c:pt>
                <c:pt idx="23053">
                  <c:v>109584</c:v>
                </c:pt>
                <c:pt idx="23054">
                  <c:v>109575</c:v>
                </c:pt>
                <c:pt idx="23055">
                  <c:v>109571</c:v>
                </c:pt>
                <c:pt idx="23056">
                  <c:v>109569</c:v>
                </c:pt>
                <c:pt idx="23057">
                  <c:v>109560</c:v>
                </c:pt>
                <c:pt idx="23058">
                  <c:v>109558</c:v>
                </c:pt>
                <c:pt idx="23059">
                  <c:v>109557</c:v>
                </c:pt>
                <c:pt idx="23060">
                  <c:v>109556</c:v>
                </c:pt>
                <c:pt idx="23061">
                  <c:v>109550</c:v>
                </c:pt>
                <c:pt idx="23062">
                  <c:v>109547</c:v>
                </c:pt>
                <c:pt idx="23063">
                  <c:v>109535</c:v>
                </c:pt>
                <c:pt idx="23064">
                  <c:v>109532</c:v>
                </c:pt>
                <c:pt idx="23065">
                  <c:v>109530</c:v>
                </c:pt>
                <c:pt idx="23066">
                  <c:v>109529</c:v>
                </c:pt>
                <c:pt idx="23067">
                  <c:v>109527</c:v>
                </c:pt>
                <c:pt idx="23068">
                  <c:v>109527</c:v>
                </c:pt>
                <c:pt idx="23069">
                  <c:v>109519</c:v>
                </c:pt>
                <c:pt idx="23070">
                  <c:v>109519</c:v>
                </c:pt>
                <c:pt idx="23071">
                  <c:v>109518</c:v>
                </c:pt>
                <c:pt idx="23072">
                  <c:v>109516</c:v>
                </c:pt>
                <c:pt idx="23073">
                  <c:v>109507</c:v>
                </c:pt>
                <c:pt idx="23074">
                  <c:v>109505</c:v>
                </c:pt>
                <c:pt idx="23075">
                  <c:v>109496</c:v>
                </c:pt>
                <c:pt idx="23076">
                  <c:v>109490</c:v>
                </c:pt>
                <c:pt idx="23077">
                  <c:v>109487</c:v>
                </c:pt>
                <c:pt idx="23078">
                  <c:v>109484</c:v>
                </c:pt>
                <c:pt idx="23079">
                  <c:v>109484</c:v>
                </c:pt>
                <c:pt idx="23080">
                  <c:v>109482</c:v>
                </c:pt>
                <c:pt idx="23081">
                  <c:v>109478</c:v>
                </c:pt>
                <c:pt idx="23082">
                  <c:v>109475</c:v>
                </c:pt>
                <c:pt idx="23083">
                  <c:v>109470</c:v>
                </c:pt>
                <c:pt idx="23084">
                  <c:v>109463</c:v>
                </c:pt>
                <c:pt idx="23085">
                  <c:v>109462</c:v>
                </c:pt>
                <c:pt idx="23086">
                  <c:v>109440</c:v>
                </c:pt>
                <c:pt idx="23087">
                  <c:v>109432</c:v>
                </c:pt>
                <c:pt idx="23088">
                  <c:v>109431</c:v>
                </c:pt>
                <c:pt idx="23089">
                  <c:v>109430</c:v>
                </c:pt>
                <c:pt idx="23090">
                  <c:v>109426</c:v>
                </c:pt>
                <c:pt idx="23091">
                  <c:v>109425</c:v>
                </c:pt>
                <c:pt idx="23092">
                  <c:v>109425</c:v>
                </c:pt>
                <c:pt idx="23093">
                  <c:v>109421</c:v>
                </c:pt>
                <c:pt idx="23094">
                  <c:v>109420</c:v>
                </c:pt>
                <c:pt idx="23095">
                  <c:v>109418</c:v>
                </c:pt>
                <c:pt idx="23096">
                  <c:v>109416</c:v>
                </c:pt>
                <c:pt idx="23097">
                  <c:v>109414</c:v>
                </c:pt>
                <c:pt idx="23098">
                  <c:v>109409</c:v>
                </c:pt>
                <c:pt idx="23099">
                  <c:v>109407</c:v>
                </c:pt>
                <c:pt idx="23100">
                  <c:v>109401</c:v>
                </c:pt>
                <c:pt idx="23101">
                  <c:v>109395</c:v>
                </c:pt>
                <c:pt idx="23102">
                  <c:v>109395</c:v>
                </c:pt>
                <c:pt idx="23103">
                  <c:v>109388</c:v>
                </c:pt>
                <c:pt idx="23104">
                  <c:v>109384</c:v>
                </c:pt>
                <c:pt idx="23105">
                  <c:v>109383</c:v>
                </c:pt>
                <c:pt idx="23106">
                  <c:v>109379</c:v>
                </c:pt>
                <c:pt idx="23107">
                  <c:v>109375</c:v>
                </c:pt>
                <c:pt idx="23108">
                  <c:v>109373</c:v>
                </c:pt>
                <c:pt idx="23109">
                  <c:v>109370</c:v>
                </c:pt>
                <c:pt idx="23110">
                  <c:v>109358</c:v>
                </c:pt>
                <c:pt idx="23111">
                  <c:v>109354</c:v>
                </c:pt>
                <c:pt idx="23112">
                  <c:v>109353</c:v>
                </c:pt>
                <c:pt idx="23113">
                  <c:v>109350</c:v>
                </c:pt>
                <c:pt idx="23114">
                  <c:v>109348</c:v>
                </c:pt>
                <c:pt idx="23115">
                  <c:v>109346</c:v>
                </c:pt>
                <c:pt idx="23116">
                  <c:v>109346</c:v>
                </c:pt>
                <c:pt idx="23117">
                  <c:v>109343</c:v>
                </c:pt>
                <c:pt idx="23118">
                  <c:v>109334</c:v>
                </c:pt>
                <c:pt idx="23119">
                  <c:v>109332</c:v>
                </c:pt>
                <c:pt idx="23120">
                  <c:v>109330</c:v>
                </c:pt>
                <c:pt idx="23121">
                  <c:v>109329</c:v>
                </c:pt>
                <c:pt idx="23122">
                  <c:v>109327</c:v>
                </c:pt>
                <c:pt idx="23123">
                  <c:v>109321</c:v>
                </c:pt>
                <c:pt idx="23124">
                  <c:v>109320</c:v>
                </c:pt>
                <c:pt idx="23125">
                  <c:v>109315</c:v>
                </c:pt>
                <c:pt idx="23126">
                  <c:v>109315</c:v>
                </c:pt>
                <c:pt idx="23127">
                  <c:v>109315</c:v>
                </c:pt>
                <c:pt idx="23128">
                  <c:v>109312</c:v>
                </c:pt>
                <c:pt idx="23129">
                  <c:v>109310</c:v>
                </c:pt>
                <c:pt idx="23130">
                  <c:v>109306</c:v>
                </c:pt>
                <c:pt idx="23131">
                  <c:v>109295</c:v>
                </c:pt>
                <c:pt idx="23132">
                  <c:v>109293</c:v>
                </c:pt>
                <c:pt idx="23133">
                  <c:v>109291</c:v>
                </c:pt>
                <c:pt idx="23134">
                  <c:v>109290</c:v>
                </c:pt>
                <c:pt idx="23135">
                  <c:v>109288</c:v>
                </c:pt>
                <c:pt idx="23136">
                  <c:v>109287</c:v>
                </c:pt>
                <c:pt idx="23137">
                  <c:v>109286</c:v>
                </c:pt>
                <c:pt idx="23138">
                  <c:v>109281</c:v>
                </c:pt>
                <c:pt idx="23139">
                  <c:v>109280</c:v>
                </c:pt>
                <c:pt idx="23140">
                  <c:v>109280</c:v>
                </c:pt>
                <c:pt idx="23141">
                  <c:v>109278</c:v>
                </c:pt>
                <c:pt idx="23142">
                  <c:v>109271</c:v>
                </c:pt>
                <c:pt idx="23143">
                  <c:v>109269</c:v>
                </c:pt>
                <c:pt idx="23144">
                  <c:v>109261</c:v>
                </c:pt>
                <c:pt idx="23145">
                  <c:v>109259</c:v>
                </c:pt>
                <c:pt idx="23146">
                  <c:v>109259</c:v>
                </c:pt>
                <c:pt idx="23147">
                  <c:v>109258</c:v>
                </c:pt>
                <c:pt idx="23148">
                  <c:v>109258</c:v>
                </c:pt>
                <c:pt idx="23149">
                  <c:v>109253</c:v>
                </c:pt>
                <c:pt idx="23150">
                  <c:v>109243</c:v>
                </c:pt>
                <c:pt idx="23151">
                  <c:v>109242</c:v>
                </c:pt>
                <c:pt idx="23152">
                  <c:v>109239</c:v>
                </c:pt>
                <c:pt idx="23153">
                  <c:v>109234</c:v>
                </c:pt>
                <c:pt idx="23154">
                  <c:v>109232</c:v>
                </c:pt>
                <c:pt idx="23155">
                  <c:v>109225</c:v>
                </c:pt>
                <c:pt idx="23156">
                  <c:v>109214</c:v>
                </c:pt>
                <c:pt idx="23157">
                  <c:v>109213</c:v>
                </c:pt>
                <c:pt idx="23158">
                  <c:v>109211</c:v>
                </c:pt>
                <c:pt idx="23159">
                  <c:v>109201</c:v>
                </c:pt>
                <c:pt idx="23160">
                  <c:v>109200</c:v>
                </c:pt>
                <c:pt idx="23161">
                  <c:v>109197</c:v>
                </c:pt>
                <c:pt idx="23162">
                  <c:v>109196</c:v>
                </c:pt>
                <c:pt idx="23163">
                  <c:v>109193</c:v>
                </c:pt>
                <c:pt idx="23164">
                  <c:v>109190</c:v>
                </c:pt>
                <c:pt idx="23165">
                  <c:v>109184</c:v>
                </c:pt>
                <c:pt idx="23166">
                  <c:v>109183</c:v>
                </c:pt>
                <c:pt idx="23167">
                  <c:v>109180</c:v>
                </c:pt>
                <c:pt idx="23168">
                  <c:v>109179</c:v>
                </c:pt>
                <c:pt idx="23169">
                  <c:v>109176</c:v>
                </c:pt>
                <c:pt idx="23170">
                  <c:v>109173</c:v>
                </c:pt>
                <c:pt idx="23171">
                  <c:v>109171</c:v>
                </c:pt>
                <c:pt idx="23172">
                  <c:v>109168</c:v>
                </c:pt>
                <c:pt idx="23173">
                  <c:v>109166</c:v>
                </c:pt>
                <c:pt idx="23174">
                  <c:v>109161</c:v>
                </c:pt>
                <c:pt idx="23175">
                  <c:v>109157</c:v>
                </c:pt>
                <c:pt idx="23176">
                  <c:v>109156</c:v>
                </c:pt>
                <c:pt idx="23177">
                  <c:v>109156</c:v>
                </c:pt>
                <c:pt idx="23178">
                  <c:v>109156</c:v>
                </c:pt>
                <c:pt idx="23179">
                  <c:v>109154</c:v>
                </c:pt>
                <c:pt idx="23180">
                  <c:v>109151</c:v>
                </c:pt>
                <c:pt idx="23181">
                  <c:v>109149</c:v>
                </c:pt>
                <c:pt idx="23182">
                  <c:v>109142</c:v>
                </c:pt>
                <c:pt idx="23183">
                  <c:v>109140</c:v>
                </c:pt>
                <c:pt idx="23184">
                  <c:v>109139</c:v>
                </c:pt>
                <c:pt idx="23185">
                  <c:v>109138</c:v>
                </c:pt>
                <c:pt idx="23186">
                  <c:v>109136</c:v>
                </c:pt>
                <c:pt idx="23187">
                  <c:v>109134</c:v>
                </c:pt>
                <c:pt idx="23188">
                  <c:v>109127</c:v>
                </c:pt>
                <c:pt idx="23189">
                  <c:v>109125</c:v>
                </c:pt>
                <c:pt idx="23190">
                  <c:v>109124</c:v>
                </c:pt>
                <c:pt idx="23191">
                  <c:v>109119</c:v>
                </c:pt>
                <c:pt idx="23192">
                  <c:v>109102</c:v>
                </c:pt>
                <c:pt idx="23193">
                  <c:v>109089</c:v>
                </c:pt>
                <c:pt idx="23194">
                  <c:v>109088</c:v>
                </c:pt>
                <c:pt idx="23195">
                  <c:v>109079</c:v>
                </c:pt>
                <c:pt idx="23196">
                  <c:v>109071</c:v>
                </c:pt>
                <c:pt idx="23197">
                  <c:v>109069</c:v>
                </c:pt>
                <c:pt idx="23198">
                  <c:v>109065</c:v>
                </c:pt>
                <c:pt idx="23199">
                  <c:v>109058</c:v>
                </c:pt>
                <c:pt idx="23200">
                  <c:v>109055</c:v>
                </c:pt>
                <c:pt idx="23201">
                  <c:v>109049</c:v>
                </c:pt>
                <c:pt idx="23202">
                  <c:v>109047</c:v>
                </c:pt>
                <c:pt idx="23203">
                  <c:v>109046</c:v>
                </c:pt>
                <c:pt idx="23204">
                  <c:v>109044</c:v>
                </c:pt>
                <c:pt idx="23205">
                  <c:v>109041</c:v>
                </c:pt>
                <c:pt idx="23206">
                  <c:v>109040</c:v>
                </c:pt>
                <c:pt idx="23207">
                  <c:v>109033</c:v>
                </c:pt>
                <c:pt idx="23208">
                  <c:v>109031</c:v>
                </c:pt>
                <c:pt idx="23209">
                  <c:v>109027</c:v>
                </c:pt>
                <c:pt idx="23210">
                  <c:v>109018</c:v>
                </c:pt>
                <c:pt idx="23211">
                  <c:v>109017</c:v>
                </c:pt>
                <c:pt idx="23212">
                  <c:v>109017</c:v>
                </c:pt>
                <c:pt idx="23213">
                  <c:v>109017</c:v>
                </c:pt>
                <c:pt idx="23214">
                  <c:v>109015</c:v>
                </c:pt>
                <c:pt idx="23215">
                  <c:v>109010</c:v>
                </c:pt>
                <c:pt idx="23216">
                  <c:v>109007</c:v>
                </c:pt>
                <c:pt idx="23217">
                  <c:v>109000</c:v>
                </c:pt>
                <c:pt idx="23218">
                  <c:v>108999</c:v>
                </c:pt>
                <c:pt idx="23219">
                  <c:v>108991</c:v>
                </c:pt>
                <c:pt idx="23220">
                  <c:v>108985</c:v>
                </c:pt>
                <c:pt idx="23221">
                  <c:v>108983</c:v>
                </c:pt>
                <c:pt idx="23222">
                  <c:v>108982</c:v>
                </c:pt>
                <c:pt idx="23223">
                  <c:v>108981</c:v>
                </c:pt>
                <c:pt idx="23224">
                  <c:v>108976</c:v>
                </c:pt>
                <c:pt idx="23225">
                  <c:v>108976</c:v>
                </c:pt>
                <c:pt idx="23226">
                  <c:v>108971</c:v>
                </c:pt>
                <c:pt idx="23227">
                  <c:v>108968</c:v>
                </c:pt>
                <c:pt idx="23228">
                  <c:v>108966</c:v>
                </c:pt>
                <c:pt idx="23229">
                  <c:v>108966</c:v>
                </c:pt>
                <c:pt idx="23230">
                  <c:v>108962</c:v>
                </c:pt>
                <c:pt idx="23231">
                  <c:v>108960</c:v>
                </c:pt>
                <c:pt idx="23232">
                  <c:v>108957</c:v>
                </c:pt>
                <c:pt idx="23233">
                  <c:v>108954</c:v>
                </c:pt>
                <c:pt idx="23234">
                  <c:v>108954</c:v>
                </c:pt>
                <c:pt idx="23235">
                  <c:v>108953</c:v>
                </c:pt>
                <c:pt idx="23236">
                  <c:v>108950</c:v>
                </c:pt>
                <c:pt idx="23237">
                  <c:v>108945</c:v>
                </c:pt>
                <c:pt idx="23238">
                  <c:v>108940</c:v>
                </c:pt>
                <c:pt idx="23239">
                  <c:v>108935</c:v>
                </c:pt>
                <c:pt idx="23240">
                  <c:v>108933</c:v>
                </c:pt>
                <c:pt idx="23241">
                  <c:v>108932</c:v>
                </c:pt>
                <c:pt idx="23242">
                  <c:v>108931</c:v>
                </c:pt>
                <c:pt idx="23243">
                  <c:v>108931</c:v>
                </c:pt>
                <c:pt idx="23244">
                  <c:v>108928</c:v>
                </c:pt>
                <c:pt idx="23245">
                  <c:v>108927</c:v>
                </c:pt>
                <c:pt idx="23246">
                  <c:v>108925</c:v>
                </c:pt>
                <c:pt idx="23247">
                  <c:v>108922</c:v>
                </c:pt>
                <c:pt idx="23248">
                  <c:v>108921</c:v>
                </c:pt>
                <c:pt idx="23249">
                  <c:v>108917</c:v>
                </c:pt>
                <c:pt idx="23250">
                  <c:v>108914</c:v>
                </c:pt>
                <c:pt idx="23251">
                  <c:v>108902</c:v>
                </c:pt>
                <c:pt idx="23252">
                  <c:v>108900</c:v>
                </c:pt>
                <c:pt idx="23253">
                  <c:v>108899</c:v>
                </c:pt>
                <c:pt idx="23254">
                  <c:v>108890</c:v>
                </c:pt>
                <c:pt idx="23255">
                  <c:v>108887</c:v>
                </c:pt>
                <c:pt idx="23256">
                  <c:v>108883</c:v>
                </c:pt>
                <c:pt idx="23257">
                  <c:v>108880</c:v>
                </c:pt>
                <c:pt idx="23258">
                  <c:v>108880</c:v>
                </c:pt>
                <c:pt idx="23259">
                  <c:v>108879</c:v>
                </c:pt>
                <c:pt idx="23260">
                  <c:v>108879</c:v>
                </c:pt>
                <c:pt idx="23261">
                  <c:v>108872</c:v>
                </c:pt>
                <c:pt idx="23262">
                  <c:v>108854</c:v>
                </c:pt>
                <c:pt idx="23263">
                  <c:v>108852</c:v>
                </c:pt>
                <c:pt idx="23264">
                  <c:v>108849</c:v>
                </c:pt>
                <c:pt idx="23265">
                  <c:v>108848</c:v>
                </c:pt>
                <c:pt idx="23266">
                  <c:v>108841</c:v>
                </c:pt>
                <c:pt idx="23267">
                  <c:v>108837</c:v>
                </c:pt>
                <c:pt idx="23268">
                  <c:v>108834</c:v>
                </c:pt>
                <c:pt idx="23269">
                  <c:v>108834</c:v>
                </c:pt>
                <c:pt idx="23270">
                  <c:v>108832</c:v>
                </c:pt>
                <c:pt idx="23271">
                  <c:v>108831</c:v>
                </c:pt>
                <c:pt idx="23272">
                  <c:v>108828</c:v>
                </c:pt>
                <c:pt idx="23273">
                  <c:v>108825</c:v>
                </c:pt>
                <c:pt idx="23274">
                  <c:v>108824</c:v>
                </c:pt>
                <c:pt idx="23275">
                  <c:v>108823</c:v>
                </c:pt>
                <c:pt idx="23276">
                  <c:v>108822</c:v>
                </c:pt>
                <c:pt idx="23277">
                  <c:v>108820</c:v>
                </c:pt>
                <c:pt idx="23278">
                  <c:v>108815</c:v>
                </c:pt>
                <c:pt idx="23279">
                  <c:v>108793</c:v>
                </c:pt>
                <c:pt idx="23280">
                  <c:v>108792</c:v>
                </c:pt>
                <c:pt idx="23281">
                  <c:v>108789</c:v>
                </c:pt>
                <c:pt idx="23282">
                  <c:v>108789</c:v>
                </c:pt>
                <c:pt idx="23283">
                  <c:v>108787</c:v>
                </c:pt>
                <c:pt idx="23284">
                  <c:v>108781</c:v>
                </c:pt>
                <c:pt idx="23285">
                  <c:v>108776</c:v>
                </c:pt>
                <c:pt idx="23286">
                  <c:v>108773</c:v>
                </c:pt>
                <c:pt idx="23287">
                  <c:v>108772</c:v>
                </c:pt>
                <c:pt idx="23288">
                  <c:v>108772</c:v>
                </c:pt>
                <c:pt idx="23289">
                  <c:v>108771</c:v>
                </c:pt>
                <c:pt idx="23290">
                  <c:v>108769</c:v>
                </c:pt>
                <c:pt idx="23291">
                  <c:v>108757</c:v>
                </c:pt>
                <c:pt idx="23292">
                  <c:v>108756</c:v>
                </c:pt>
                <c:pt idx="23293">
                  <c:v>108747</c:v>
                </c:pt>
                <c:pt idx="23294">
                  <c:v>108746</c:v>
                </c:pt>
                <c:pt idx="23295">
                  <c:v>108745</c:v>
                </c:pt>
                <c:pt idx="23296">
                  <c:v>108741</c:v>
                </c:pt>
                <c:pt idx="23297">
                  <c:v>108738</c:v>
                </c:pt>
                <c:pt idx="23298">
                  <c:v>108736</c:v>
                </c:pt>
                <c:pt idx="23299">
                  <c:v>108734</c:v>
                </c:pt>
                <c:pt idx="23300">
                  <c:v>108720</c:v>
                </c:pt>
                <c:pt idx="23301">
                  <c:v>108720</c:v>
                </c:pt>
                <c:pt idx="23302">
                  <c:v>108714</c:v>
                </c:pt>
                <c:pt idx="23303">
                  <c:v>108713</c:v>
                </c:pt>
                <c:pt idx="23304">
                  <c:v>108708</c:v>
                </c:pt>
                <c:pt idx="23305">
                  <c:v>108700</c:v>
                </c:pt>
                <c:pt idx="23306">
                  <c:v>108696</c:v>
                </c:pt>
                <c:pt idx="23307">
                  <c:v>108690</c:v>
                </c:pt>
                <c:pt idx="23308">
                  <c:v>108679</c:v>
                </c:pt>
                <c:pt idx="23309">
                  <c:v>108679</c:v>
                </c:pt>
                <c:pt idx="23310">
                  <c:v>108678</c:v>
                </c:pt>
                <c:pt idx="23311">
                  <c:v>108678</c:v>
                </c:pt>
                <c:pt idx="23312">
                  <c:v>108669</c:v>
                </c:pt>
                <c:pt idx="23313">
                  <c:v>108659</c:v>
                </c:pt>
                <c:pt idx="23314">
                  <c:v>108657</c:v>
                </c:pt>
                <c:pt idx="23315">
                  <c:v>108656</c:v>
                </c:pt>
                <c:pt idx="23316">
                  <c:v>108656</c:v>
                </c:pt>
                <c:pt idx="23317">
                  <c:v>108650</c:v>
                </c:pt>
                <c:pt idx="23318">
                  <c:v>108646</c:v>
                </c:pt>
                <c:pt idx="23319">
                  <c:v>108646</c:v>
                </c:pt>
                <c:pt idx="23320">
                  <c:v>108644</c:v>
                </c:pt>
                <c:pt idx="23321">
                  <c:v>108638</c:v>
                </c:pt>
                <c:pt idx="23322">
                  <c:v>108634</c:v>
                </c:pt>
                <c:pt idx="23323">
                  <c:v>108632</c:v>
                </c:pt>
                <c:pt idx="23324">
                  <c:v>108628</c:v>
                </c:pt>
                <c:pt idx="23325">
                  <c:v>108623</c:v>
                </c:pt>
                <c:pt idx="23326">
                  <c:v>108617</c:v>
                </c:pt>
                <c:pt idx="23327">
                  <c:v>108616</c:v>
                </c:pt>
                <c:pt idx="23328">
                  <c:v>108614</c:v>
                </c:pt>
                <c:pt idx="23329">
                  <c:v>108611</c:v>
                </c:pt>
                <c:pt idx="23330">
                  <c:v>108610</c:v>
                </c:pt>
                <c:pt idx="23331">
                  <c:v>108606</c:v>
                </c:pt>
                <c:pt idx="23332">
                  <c:v>108605</c:v>
                </c:pt>
                <c:pt idx="23333">
                  <c:v>108602</c:v>
                </c:pt>
                <c:pt idx="23334">
                  <c:v>108602</c:v>
                </c:pt>
                <c:pt idx="23335">
                  <c:v>108600</c:v>
                </c:pt>
                <c:pt idx="23336">
                  <c:v>108598</c:v>
                </c:pt>
                <c:pt idx="23337">
                  <c:v>108594</c:v>
                </c:pt>
                <c:pt idx="23338">
                  <c:v>108593</c:v>
                </c:pt>
                <c:pt idx="23339">
                  <c:v>108593</c:v>
                </c:pt>
                <c:pt idx="23340">
                  <c:v>108587</c:v>
                </c:pt>
                <c:pt idx="23341">
                  <c:v>108585</c:v>
                </c:pt>
                <c:pt idx="23342">
                  <c:v>108583</c:v>
                </c:pt>
                <c:pt idx="23343">
                  <c:v>108581</c:v>
                </c:pt>
                <c:pt idx="23344">
                  <c:v>108580</c:v>
                </c:pt>
                <c:pt idx="23345">
                  <c:v>108579</c:v>
                </c:pt>
                <c:pt idx="23346">
                  <c:v>108572</c:v>
                </c:pt>
                <c:pt idx="23347">
                  <c:v>108567</c:v>
                </c:pt>
                <c:pt idx="23348">
                  <c:v>108559</c:v>
                </c:pt>
                <c:pt idx="23349">
                  <c:v>108555</c:v>
                </c:pt>
                <c:pt idx="23350">
                  <c:v>108553</c:v>
                </c:pt>
                <c:pt idx="23351">
                  <c:v>108552</c:v>
                </c:pt>
                <c:pt idx="23352">
                  <c:v>108546</c:v>
                </c:pt>
                <c:pt idx="23353">
                  <c:v>108546</c:v>
                </c:pt>
                <c:pt idx="23354">
                  <c:v>108538</c:v>
                </c:pt>
                <c:pt idx="23355">
                  <c:v>108537</c:v>
                </c:pt>
                <c:pt idx="23356">
                  <c:v>108536</c:v>
                </c:pt>
                <c:pt idx="23357">
                  <c:v>108535</c:v>
                </c:pt>
                <c:pt idx="23358">
                  <c:v>108533</c:v>
                </c:pt>
                <c:pt idx="23359">
                  <c:v>108522</c:v>
                </c:pt>
                <c:pt idx="23360">
                  <c:v>108521</c:v>
                </c:pt>
                <c:pt idx="23361">
                  <c:v>108517</c:v>
                </c:pt>
                <c:pt idx="23362">
                  <c:v>108517</c:v>
                </c:pt>
                <c:pt idx="23363">
                  <c:v>108514</c:v>
                </c:pt>
                <c:pt idx="23364">
                  <c:v>108513</c:v>
                </c:pt>
                <c:pt idx="23365">
                  <c:v>108513</c:v>
                </c:pt>
                <c:pt idx="23366">
                  <c:v>108512</c:v>
                </c:pt>
                <c:pt idx="23367">
                  <c:v>108507</c:v>
                </c:pt>
                <c:pt idx="23368">
                  <c:v>108506</c:v>
                </c:pt>
                <c:pt idx="23369">
                  <c:v>108491</c:v>
                </c:pt>
                <c:pt idx="23370">
                  <c:v>108489</c:v>
                </c:pt>
                <c:pt idx="23371">
                  <c:v>108489</c:v>
                </c:pt>
                <c:pt idx="23372">
                  <c:v>108489</c:v>
                </c:pt>
                <c:pt idx="23373">
                  <c:v>108486</c:v>
                </c:pt>
                <c:pt idx="23374">
                  <c:v>108478</c:v>
                </c:pt>
                <c:pt idx="23375">
                  <c:v>108472</c:v>
                </c:pt>
                <c:pt idx="23376">
                  <c:v>108466</c:v>
                </c:pt>
                <c:pt idx="23377">
                  <c:v>108466</c:v>
                </c:pt>
                <c:pt idx="23378">
                  <c:v>108458</c:v>
                </c:pt>
                <c:pt idx="23379">
                  <c:v>108457</c:v>
                </c:pt>
                <c:pt idx="23380">
                  <c:v>108455</c:v>
                </c:pt>
                <c:pt idx="23381">
                  <c:v>108455</c:v>
                </c:pt>
                <c:pt idx="23382">
                  <c:v>108452</c:v>
                </c:pt>
                <c:pt idx="23383">
                  <c:v>108451</c:v>
                </c:pt>
                <c:pt idx="23384">
                  <c:v>108448</c:v>
                </c:pt>
                <c:pt idx="23385">
                  <c:v>108438</c:v>
                </c:pt>
                <c:pt idx="23386">
                  <c:v>108436</c:v>
                </c:pt>
                <c:pt idx="23387">
                  <c:v>108431</c:v>
                </c:pt>
                <c:pt idx="23388">
                  <c:v>108430</c:v>
                </c:pt>
                <c:pt idx="23389">
                  <c:v>108430</c:v>
                </c:pt>
                <c:pt idx="23390">
                  <c:v>108428</c:v>
                </c:pt>
                <c:pt idx="23391">
                  <c:v>108428</c:v>
                </c:pt>
                <c:pt idx="23392">
                  <c:v>108423</c:v>
                </c:pt>
                <c:pt idx="23393">
                  <c:v>108419</c:v>
                </c:pt>
                <c:pt idx="23394">
                  <c:v>108411</c:v>
                </c:pt>
                <c:pt idx="23395">
                  <c:v>108409</c:v>
                </c:pt>
                <c:pt idx="23396">
                  <c:v>108404</c:v>
                </c:pt>
                <c:pt idx="23397">
                  <c:v>108402</c:v>
                </c:pt>
                <c:pt idx="23398">
                  <c:v>108402</c:v>
                </c:pt>
                <c:pt idx="23399">
                  <c:v>108401</c:v>
                </c:pt>
                <c:pt idx="23400">
                  <c:v>108394</c:v>
                </c:pt>
                <c:pt idx="23401">
                  <c:v>108391</c:v>
                </c:pt>
                <c:pt idx="23402">
                  <c:v>108390</c:v>
                </c:pt>
                <c:pt idx="23403">
                  <c:v>108384</c:v>
                </c:pt>
                <c:pt idx="23404">
                  <c:v>108382</c:v>
                </c:pt>
                <c:pt idx="23405">
                  <c:v>108380</c:v>
                </c:pt>
                <c:pt idx="23406">
                  <c:v>108379</c:v>
                </c:pt>
                <c:pt idx="23407">
                  <c:v>108368</c:v>
                </c:pt>
                <c:pt idx="23408">
                  <c:v>108366</c:v>
                </c:pt>
                <c:pt idx="23409">
                  <c:v>108363</c:v>
                </c:pt>
                <c:pt idx="23410">
                  <c:v>108363</c:v>
                </c:pt>
                <c:pt idx="23411">
                  <c:v>108362</c:v>
                </c:pt>
                <c:pt idx="23412">
                  <c:v>108359</c:v>
                </c:pt>
                <c:pt idx="23413">
                  <c:v>108353</c:v>
                </c:pt>
                <c:pt idx="23414">
                  <c:v>108350</c:v>
                </c:pt>
                <c:pt idx="23415">
                  <c:v>108349</c:v>
                </c:pt>
                <c:pt idx="23416">
                  <c:v>108338</c:v>
                </c:pt>
                <c:pt idx="23417">
                  <c:v>108334</c:v>
                </c:pt>
                <c:pt idx="23418">
                  <c:v>108334</c:v>
                </c:pt>
                <c:pt idx="23419">
                  <c:v>108332</c:v>
                </c:pt>
                <c:pt idx="23420">
                  <c:v>108330</c:v>
                </c:pt>
                <c:pt idx="23421">
                  <c:v>108329</c:v>
                </c:pt>
                <c:pt idx="23422">
                  <c:v>108326</c:v>
                </c:pt>
                <c:pt idx="23423">
                  <c:v>108326</c:v>
                </c:pt>
                <c:pt idx="23424">
                  <c:v>108326</c:v>
                </c:pt>
                <c:pt idx="23425">
                  <c:v>108324</c:v>
                </c:pt>
                <c:pt idx="23426">
                  <c:v>108317</c:v>
                </c:pt>
                <c:pt idx="23427">
                  <c:v>108312</c:v>
                </c:pt>
                <c:pt idx="23428">
                  <c:v>108308</c:v>
                </c:pt>
                <c:pt idx="23429">
                  <c:v>108307</c:v>
                </c:pt>
                <c:pt idx="23430">
                  <c:v>108305</c:v>
                </c:pt>
                <c:pt idx="23431">
                  <c:v>108304</c:v>
                </c:pt>
                <c:pt idx="23432">
                  <c:v>108298</c:v>
                </c:pt>
                <c:pt idx="23433">
                  <c:v>108298</c:v>
                </c:pt>
                <c:pt idx="23434">
                  <c:v>108297</c:v>
                </c:pt>
                <c:pt idx="23435">
                  <c:v>108295</c:v>
                </c:pt>
                <c:pt idx="23436">
                  <c:v>108284</c:v>
                </c:pt>
                <c:pt idx="23437">
                  <c:v>108279</c:v>
                </c:pt>
                <c:pt idx="23438">
                  <c:v>108278</c:v>
                </c:pt>
                <c:pt idx="23439">
                  <c:v>108276</c:v>
                </c:pt>
                <c:pt idx="23440">
                  <c:v>108275</c:v>
                </c:pt>
                <c:pt idx="23441">
                  <c:v>108274</c:v>
                </c:pt>
                <c:pt idx="23442">
                  <c:v>108261</c:v>
                </c:pt>
                <c:pt idx="23443">
                  <c:v>108256</c:v>
                </c:pt>
                <c:pt idx="23444">
                  <c:v>108252</c:v>
                </c:pt>
                <c:pt idx="23445">
                  <c:v>108250</c:v>
                </c:pt>
                <c:pt idx="23446">
                  <c:v>108246</c:v>
                </c:pt>
                <c:pt idx="23447">
                  <c:v>108245</c:v>
                </c:pt>
                <c:pt idx="23448">
                  <c:v>108243</c:v>
                </c:pt>
                <c:pt idx="23449">
                  <c:v>108238</c:v>
                </c:pt>
                <c:pt idx="23450">
                  <c:v>108233</c:v>
                </c:pt>
                <c:pt idx="23451">
                  <c:v>108232</c:v>
                </c:pt>
                <c:pt idx="23452">
                  <c:v>108229</c:v>
                </c:pt>
                <c:pt idx="23453">
                  <c:v>108229</c:v>
                </c:pt>
                <c:pt idx="23454">
                  <c:v>108227</c:v>
                </c:pt>
                <c:pt idx="23455">
                  <c:v>108227</c:v>
                </c:pt>
                <c:pt idx="23456">
                  <c:v>108227</c:v>
                </c:pt>
                <c:pt idx="23457">
                  <c:v>108226</c:v>
                </c:pt>
                <c:pt idx="23458">
                  <c:v>108223</c:v>
                </c:pt>
                <c:pt idx="23459">
                  <c:v>108223</c:v>
                </c:pt>
                <c:pt idx="23460">
                  <c:v>108217</c:v>
                </c:pt>
                <c:pt idx="23461">
                  <c:v>108209</c:v>
                </c:pt>
                <c:pt idx="23462">
                  <c:v>108200</c:v>
                </c:pt>
                <c:pt idx="23463">
                  <c:v>108192</c:v>
                </c:pt>
                <c:pt idx="23464">
                  <c:v>108190</c:v>
                </c:pt>
                <c:pt idx="23465">
                  <c:v>108190</c:v>
                </c:pt>
                <c:pt idx="23466">
                  <c:v>108189</c:v>
                </c:pt>
                <c:pt idx="23467">
                  <c:v>108188</c:v>
                </c:pt>
                <c:pt idx="23468">
                  <c:v>108182</c:v>
                </c:pt>
                <c:pt idx="23469">
                  <c:v>108182</c:v>
                </c:pt>
                <c:pt idx="23470">
                  <c:v>108176</c:v>
                </c:pt>
                <c:pt idx="23471">
                  <c:v>108176</c:v>
                </c:pt>
                <c:pt idx="23472">
                  <c:v>108175</c:v>
                </c:pt>
                <c:pt idx="23473">
                  <c:v>108174</c:v>
                </c:pt>
                <c:pt idx="23474">
                  <c:v>108168</c:v>
                </c:pt>
                <c:pt idx="23475">
                  <c:v>108167</c:v>
                </c:pt>
                <c:pt idx="23476">
                  <c:v>108166</c:v>
                </c:pt>
                <c:pt idx="23477">
                  <c:v>108162</c:v>
                </c:pt>
                <c:pt idx="23478">
                  <c:v>108161</c:v>
                </c:pt>
                <c:pt idx="23479">
                  <c:v>108160</c:v>
                </c:pt>
                <c:pt idx="23480">
                  <c:v>108157</c:v>
                </c:pt>
                <c:pt idx="23481">
                  <c:v>108156</c:v>
                </c:pt>
                <c:pt idx="23482">
                  <c:v>108154</c:v>
                </c:pt>
                <c:pt idx="23483">
                  <c:v>108145</c:v>
                </c:pt>
                <c:pt idx="23484">
                  <c:v>108144</c:v>
                </c:pt>
                <c:pt idx="23485">
                  <c:v>108143</c:v>
                </c:pt>
                <c:pt idx="23486">
                  <c:v>108142</c:v>
                </c:pt>
                <c:pt idx="23487">
                  <c:v>108136</c:v>
                </c:pt>
                <c:pt idx="23488">
                  <c:v>108134</c:v>
                </c:pt>
                <c:pt idx="23489">
                  <c:v>108133</c:v>
                </c:pt>
                <c:pt idx="23490">
                  <c:v>108132</c:v>
                </c:pt>
                <c:pt idx="23491">
                  <c:v>108125</c:v>
                </c:pt>
                <c:pt idx="23492">
                  <c:v>108122</c:v>
                </c:pt>
                <c:pt idx="23493">
                  <c:v>108120</c:v>
                </c:pt>
                <c:pt idx="23494">
                  <c:v>108115</c:v>
                </c:pt>
                <c:pt idx="23495">
                  <c:v>108110</c:v>
                </c:pt>
                <c:pt idx="23496">
                  <c:v>108108</c:v>
                </c:pt>
                <c:pt idx="23497">
                  <c:v>108107</c:v>
                </c:pt>
                <c:pt idx="23498">
                  <c:v>108104</c:v>
                </c:pt>
                <c:pt idx="23499">
                  <c:v>108091</c:v>
                </c:pt>
                <c:pt idx="23500">
                  <c:v>108090</c:v>
                </c:pt>
                <c:pt idx="23501">
                  <c:v>108088</c:v>
                </c:pt>
                <c:pt idx="23502">
                  <c:v>108088</c:v>
                </c:pt>
                <c:pt idx="23503">
                  <c:v>108084</c:v>
                </c:pt>
                <c:pt idx="23504">
                  <c:v>108081</c:v>
                </c:pt>
                <c:pt idx="23505">
                  <c:v>108080</c:v>
                </c:pt>
                <c:pt idx="23506">
                  <c:v>108078</c:v>
                </c:pt>
                <c:pt idx="23507">
                  <c:v>108077</c:v>
                </c:pt>
                <c:pt idx="23508">
                  <c:v>108073</c:v>
                </c:pt>
                <c:pt idx="23509">
                  <c:v>108071</c:v>
                </c:pt>
                <c:pt idx="23510">
                  <c:v>108071</c:v>
                </c:pt>
                <c:pt idx="23511">
                  <c:v>108061</c:v>
                </c:pt>
                <c:pt idx="23512">
                  <c:v>108057</c:v>
                </c:pt>
                <c:pt idx="23513">
                  <c:v>108056</c:v>
                </c:pt>
                <c:pt idx="23514">
                  <c:v>108053</c:v>
                </c:pt>
                <c:pt idx="23515">
                  <c:v>108049</c:v>
                </c:pt>
                <c:pt idx="23516">
                  <c:v>108048</c:v>
                </c:pt>
                <c:pt idx="23517">
                  <c:v>108044</c:v>
                </c:pt>
                <c:pt idx="23518">
                  <c:v>108042</c:v>
                </c:pt>
                <c:pt idx="23519">
                  <c:v>108041</c:v>
                </c:pt>
                <c:pt idx="23520">
                  <c:v>108035</c:v>
                </c:pt>
                <c:pt idx="23521">
                  <c:v>108034</c:v>
                </c:pt>
                <c:pt idx="23522">
                  <c:v>108032</c:v>
                </c:pt>
                <c:pt idx="23523">
                  <c:v>108032</c:v>
                </c:pt>
                <c:pt idx="23524">
                  <c:v>108029</c:v>
                </c:pt>
                <c:pt idx="23525">
                  <c:v>108029</c:v>
                </c:pt>
                <c:pt idx="23526">
                  <c:v>108029</c:v>
                </c:pt>
                <c:pt idx="23527">
                  <c:v>108019</c:v>
                </c:pt>
                <c:pt idx="23528">
                  <c:v>108019</c:v>
                </c:pt>
                <c:pt idx="23529">
                  <c:v>108016</c:v>
                </c:pt>
                <c:pt idx="23530">
                  <c:v>108016</c:v>
                </c:pt>
                <c:pt idx="23531">
                  <c:v>108013</c:v>
                </c:pt>
                <c:pt idx="23532">
                  <c:v>108010</c:v>
                </c:pt>
                <c:pt idx="23533">
                  <c:v>108007</c:v>
                </c:pt>
                <c:pt idx="23534">
                  <c:v>108001</c:v>
                </c:pt>
                <c:pt idx="23535">
                  <c:v>108001</c:v>
                </c:pt>
                <c:pt idx="23536">
                  <c:v>107996</c:v>
                </c:pt>
                <c:pt idx="23537">
                  <c:v>107995</c:v>
                </c:pt>
                <c:pt idx="23538">
                  <c:v>107995</c:v>
                </c:pt>
                <c:pt idx="23539">
                  <c:v>107994</c:v>
                </c:pt>
                <c:pt idx="23540">
                  <c:v>107991</c:v>
                </c:pt>
                <c:pt idx="23541">
                  <c:v>107986</c:v>
                </c:pt>
                <c:pt idx="23542">
                  <c:v>107986</c:v>
                </c:pt>
                <c:pt idx="23543">
                  <c:v>107982</c:v>
                </c:pt>
                <c:pt idx="23544">
                  <c:v>107982</c:v>
                </c:pt>
                <c:pt idx="23545">
                  <c:v>107982</c:v>
                </c:pt>
                <c:pt idx="23546">
                  <c:v>107979</c:v>
                </c:pt>
                <c:pt idx="23547">
                  <c:v>107978</c:v>
                </c:pt>
                <c:pt idx="23548">
                  <c:v>107977</c:v>
                </c:pt>
                <c:pt idx="23549">
                  <c:v>107974</c:v>
                </c:pt>
                <c:pt idx="23550">
                  <c:v>107973</c:v>
                </c:pt>
                <c:pt idx="23551">
                  <c:v>107967</c:v>
                </c:pt>
                <c:pt idx="23552">
                  <c:v>107964</c:v>
                </c:pt>
                <c:pt idx="23553">
                  <c:v>107964</c:v>
                </c:pt>
                <c:pt idx="23554">
                  <c:v>107964</c:v>
                </c:pt>
                <c:pt idx="23555">
                  <c:v>107957</c:v>
                </c:pt>
                <c:pt idx="23556">
                  <c:v>107948</c:v>
                </c:pt>
                <c:pt idx="23557">
                  <c:v>107947</c:v>
                </c:pt>
                <c:pt idx="23558">
                  <c:v>107945</c:v>
                </c:pt>
                <c:pt idx="23559">
                  <c:v>107945</c:v>
                </c:pt>
                <c:pt idx="23560">
                  <c:v>107937</c:v>
                </c:pt>
                <c:pt idx="23561">
                  <c:v>107928</c:v>
                </c:pt>
                <c:pt idx="23562">
                  <c:v>107923</c:v>
                </c:pt>
                <c:pt idx="23563">
                  <c:v>107922</c:v>
                </c:pt>
                <c:pt idx="23564">
                  <c:v>107918</c:v>
                </c:pt>
                <c:pt idx="23565">
                  <c:v>107913</c:v>
                </c:pt>
                <c:pt idx="23566">
                  <c:v>107913</c:v>
                </c:pt>
                <c:pt idx="23567">
                  <c:v>107910</c:v>
                </c:pt>
                <c:pt idx="23568">
                  <c:v>107906</c:v>
                </c:pt>
                <c:pt idx="23569">
                  <c:v>107902</c:v>
                </c:pt>
                <c:pt idx="23570">
                  <c:v>107902</c:v>
                </c:pt>
                <c:pt idx="23571">
                  <c:v>107902</c:v>
                </c:pt>
                <c:pt idx="23572">
                  <c:v>107901</c:v>
                </c:pt>
                <c:pt idx="23573">
                  <c:v>107896</c:v>
                </c:pt>
                <c:pt idx="23574">
                  <c:v>107896</c:v>
                </c:pt>
                <c:pt idx="23575">
                  <c:v>107896</c:v>
                </c:pt>
                <c:pt idx="23576">
                  <c:v>107892</c:v>
                </c:pt>
                <c:pt idx="23577">
                  <c:v>107888</c:v>
                </c:pt>
                <c:pt idx="23578">
                  <c:v>107888</c:v>
                </c:pt>
                <c:pt idx="23579">
                  <c:v>107887</c:v>
                </c:pt>
                <c:pt idx="23580">
                  <c:v>107886</c:v>
                </c:pt>
                <c:pt idx="23581">
                  <c:v>107885</c:v>
                </c:pt>
                <c:pt idx="23582">
                  <c:v>107883</c:v>
                </c:pt>
                <c:pt idx="23583">
                  <c:v>107880</c:v>
                </c:pt>
                <c:pt idx="23584">
                  <c:v>107879</c:v>
                </c:pt>
                <c:pt idx="23585">
                  <c:v>107875</c:v>
                </c:pt>
                <c:pt idx="23586">
                  <c:v>107872</c:v>
                </c:pt>
                <c:pt idx="23587">
                  <c:v>107871</c:v>
                </c:pt>
                <c:pt idx="23588">
                  <c:v>107870</c:v>
                </c:pt>
                <c:pt idx="23589">
                  <c:v>107862</c:v>
                </c:pt>
                <c:pt idx="23590">
                  <c:v>107858</c:v>
                </c:pt>
                <c:pt idx="23591">
                  <c:v>107850</c:v>
                </c:pt>
                <c:pt idx="23592">
                  <c:v>107848</c:v>
                </c:pt>
                <c:pt idx="23593">
                  <c:v>107845</c:v>
                </c:pt>
                <c:pt idx="23594">
                  <c:v>107841</c:v>
                </c:pt>
                <c:pt idx="23595">
                  <c:v>107840</c:v>
                </c:pt>
                <c:pt idx="23596">
                  <c:v>107839</c:v>
                </c:pt>
                <c:pt idx="23597">
                  <c:v>107834</c:v>
                </c:pt>
                <c:pt idx="23598">
                  <c:v>107827</c:v>
                </c:pt>
                <c:pt idx="23599">
                  <c:v>107820</c:v>
                </c:pt>
                <c:pt idx="23600">
                  <c:v>107818</c:v>
                </c:pt>
                <c:pt idx="23601">
                  <c:v>107817</c:v>
                </c:pt>
                <c:pt idx="23602">
                  <c:v>107815</c:v>
                </c:pt>
                <c:pt idx="23603">
                  <c:v>107815</c:v>
                </c:pt>
                <c:pt idx="23604">
                  <c:v>107809</c:v>
                </c:pt>
                <c:pt idx="23605">
                  <c:v>107804</c:v>
                </c:pt>
                <c:pt idx="23606">
                  <c:v>107800</c:v>
                </c:pt>
                <c:pt idx="23607">
                  <c:v>107798</c:v>
                </c:pt>
                <c:pt idx="23608">
                  <c:v>107798</c:v>
                </c:pt>
                <c:pt idx="23609">
                  <c:v>107795</c:v>
                </c:pt>
                <c:pt idx="23610">
                  <c:v>107786</c:v>
                </c:pt>
                <c:pt idx="23611">
                  <c:v>107781</c:v>
                </c:pt>
                <c:pt idx="23612">
                  <c:v>107770</c:v>
                </c:pt>
                <c:pt idx="23613">
                  <c:v>107755</c:v>
                </c:pt>
                <c:pt idx="23614">
                  <c:v>107752</c:v>
                </c:pt>
                <c:pt idx="23615">
                  <c:v>107751</c:v>
                </c:pt>
                <c:pt idx="23616">
                  <c:v>107751</c:v>
                </c:pt>
                <c:pt idx="23617">
                  <c:v>107750</c:v>
                </c:pt>
                <c:pt idx="23618">
                  <c:v>107749</c:v>
                </c:pt>
                <c:pt idx="23619">
                  <c:v>107748</c:v>
                </c:pt>
                <c:pt idx="23620">
                  <c:v>107748</c:v>
                </c:pt>
                <c:pt idx="23621">
                  <c:v>107747</c:v>
                </c:pt>
                <c:pt idx="23622">
                  <c:v>107743</c:v>
                </c:pt>
                <c:pt idx="23623">
                  <c:v>107743</c:v>
                </c:pt>
                <c:pt idx="23624">
                  <c:v>107740</c:v>
                </c:pt>
                <c:pt idx="23625">
                  <c:v>107738</c:v>
                </c:pt>
                <c:pt idx="23626">
                  <c:v>107738</c:v>
                </c:pt>
                <c:pt idx="23627">
                  <c:v>107735</c:v>
                </c:pt>
                <c:pt idx="23628">
                  <c:v>107734</c:v>
                </c:pt>
                <c:pt idx="23629">
                  <c:v>107726</c:v>
                </c:pt>
                <c:pt idx="23630">
                  <c:v>107724</c:v>
                </c:pt>
                <c:pt idx="23631">
                  <c:v>107722</c:v>
                </c:pt>
                <c:pt idx="23632">
                  <c:v>107718</c:v>
                </c:pt>
                <c:pt idx="23633">
                  <c:v>107712</c:v>
                </c:pt>
                <c:pt idx="23634">
                  <c:v>107710</c:v>
                </c:pt>
                <c:pt idx="23635">
                  <c:v>107708</c:v>
                </c:pt>
                <c:pt idx="23636">
                  <c:v>107705</c:v>
                </c:pt>
                <c:pt idx="23637">
                  <c:v>107704</c:v>
                </c:pt>
                <c:pt idx="23638">
                  <c:v>107702</c:v>
                </c:pt>
                <c:pt idx="23639">
                  <c:v>107701</c:v>
                </c:pt>
                <c:pt idx="23640">
                  <c:v>107696</c:v>
                </c:pt>
                <c:pt idx="23641">
                  <c:v>107695</c:v>
                </c:pt>
                <c:pt idx="23642">
                  <c:v>107693</c:v>
                </c:pt>
                <c:pt idx="23643">
                  <c:v>107692</c:v>
                </c:pt>
                <c:pt idx="23644">
                  <c:v>107692</c:v>
                </c:pt>
                <c:pt idx="23645">
                  <c:v>107691</c:v>
                </c:pt>
                <c:pt idx="23646">
                  <c:v>107691</c:v>
                </c:pt>
                <c:pt idx="23647">
                  <c:v>107691</c:v>
                </c:pt>
                <c:pt idx="23648">
                  <c:v>107689</c:v>
                </c:pt>
                <c:pt idx="23649">
                  <c:v>107686</c:v>
                </c:pt>
                <c:pt idx="23650">
                  <c:v>107684</c:v>
                </c:pt>
                <c:pt idx="23651">
                  <c:v>107677</c:v>
                </c:pt>
                <c:pt idx="23652">
                  <c:v>107674</c:v>
                </c:pt>
                <c:pt idx="23653">
                  <c:v>107670</c:v>
                </c:pt>
                <c:pt idx="23654">
                  <c:v>107668</c:v>
                </c:pt>
                <c:pt idx="23655">
                  <c:v>107658</c:v>
                </c:pt>
                <c:pt idx="23656">
                  <c:v>107655</c:v>
                </c:pt>
                <c:pt idx="23657">
                  <c:v>107655</c:v>
                </c:pt>
                <c:pt idx="23658">
                  <c:v>107646</c:v>
                </c:pt>
                <c:pt idx="23659">
                  <c:v>107645</c:v>
                </c:pt>
                <c:pt idx="23660">
                  <c:v>107640</c:v>
                </c:pt>
                <c:pt idx="23661">
                  <c:v>107636</c:v>
                </c:pt>
                <c:pt idx="23662">
                  <c:v>107634</c:v>
                </c:pt>
                <c:pt idx="23663">
                  <c:v>107622</c:v>
                </c:pt>
                <c:pt idx="23664">
                  <c:v>107621</c:v>
                </c:pt>
                <c:pt idx="23665">
                  <c:v>107619</c:v>
                </c:pt>
                <c:pt idx="23666">
                  <c:v>107617</c:v>
                </c:pt>
                <c:pt idx="23667">
                  <c:v>107614</c:v>
                </c:pt>
                <c:pt idx="23668">
                  <c:v>107613</c:v>
                </c:pt>
                <c:pt idx="23669">
                  <c:v>107610</c:v>
                </c:pt>
                <c:pt idx="23670">
                  <c:v>107605</c:v>
                </c:pt>
                <c:pt idx="23671">
                  <c:v>107603</c:v>
                </c:pt>
                <c:pt idx="23672">
                  <c:v>107599</c:v>
                </c:pt>
                <c:pt idx="23673">
                  <c:v>107597</c:v>
                </c:pt>
                <c:pt idx="23674">
                  <c:v>107589</c:v>
                </c:pt>
                <c:pt idx="23675">
                  <c:v>107586</c:v>
                </c:pt>
                <c:pt idx="23676">
                  <c:v>107585</c:v>
                </c:pt>
                <c:pt idx="23677">
                  <c:v>107579</c:v>
                </c:pt>
                <c:pt idx="23678">
                  <c:v>107574</c:v>
                </c:pt>
                <c:pt idx="23679">
                  <c:v>107568</c:v>
                </c:pt>
                <c:pt idx="23680">
                  <c:v>107566</c:v>
                </c:pt>
                <c:pt idx="23681">
                  <c:v>107565</c:v>
                </c:pt>
                <c:pt idx="23682">
                  <c:v>107565</c:v>
                </c:pt>
                <c:pt idx="23683">
                  <c:v>107563</c:v>
                </c:pt>
                <c:pt idx="23684">
                  <c:v>107562</c:v>
                </c:pt>
                <c:pt idx="23685">
                  <c:v>107562</c:v>
                </c:pt>
                <c:pt idx="23686">
                  <c:v>107561</c:v>
                </c:pt>
                <c:pt idx="23687">
                  <c:v>107557</c:v>
                </c:pt>
                <c:pt idx="23688">
                  <c:v>107555</c:v>
                </c:pt>
                <c:pt idx="23689">
                  <c:v>107543</c:v>
                </c:pt>
                <c:pt idx="23690">
                  <c:v>107535</c:v>
                </c:pt>
                <c:pt idx="23691">
                  <c:v>107527</c:v>
                </c:pt>
                <c:pt idx="23692">
                  <c:v>107522</c:v>
                </c:pt>
                <c:pt idx="23693">
                  <c:v>107514</c:v>
                </c:pt>
                <c:pt idx="23694">
                  <c:v>107514</c:v>
                </c:pt>
                <c:pt idx="23695">
                  <c:v>107511</c:v>
                </c:pt>
                <c:pt idx="23696">
                  <c:v>107511</c:v>
                </c:pt>
                <c:pt idx="23697">
                  <c:v>107510</c:v>
                </c:pt>
                <c:pt idx="23698">
                  <c:v>107506</c:v>
                </c:pt>
                <c:pt idx="23699">
                  <c:v>107504</c:v>
                </c:pt>
                <c:pt idx="23700">
                  <c:v>107491</c:v>
                </c:pt>
                <c:pt idx="23701">
                  <c:v>107483</c:v>
                </c:pt>
                <c:pt idx="23702">
                  <c:v>107476</c:v>
                </c:pt>
                <c:pt idx="23703">
                  <c:v>107473</c:v>
                </c:pt>
                <c:pt idx="23704">
                  <c:v>107465</c:v>
                </c:pt>
                <c:pt idx="23705">
                  <c:v>107464</c:v>
                </c:pt>
                <c:pt idx="23706">
                  <c:v>107459</c:v>
                </c:pt>
                <c:pt idx="23707">
                  <c:v>107457</c:v>
                </c:pt>
                <c:pt idx="23708">
                  <c:v>107449</c:v>
                </c:pt>
                <c:pt idx="23709">
                  <c:v>107444</c:v>
                </c:pt>
                <c:pt idx="23710">
                  <c:v>107438</c:v>
                </c:pt>
                <c:pt idx="23711">
                  <c:v>107434</c:v>
                </c:pt>
                <c:pt idx="23712">
                  <c:v>107433</c:v>
                </c:pt>
                <c:pt idx="23713">
                  <c:v>107432</c:v>
                </c:pt>
                <c:pt idx="23714">
                  <c:v>107430</c:v>
                </c:pt>
                <c:pt idx="23715">
                  <c:v>107427</c:v>
                </c:pt>
                <c:pt idx="23716">
                  <c:v>107427</c:v>
                </c:pt>
                <c:pt idx="23717">
                  <c:v>107422</c:v>
                </c:pt>
                <c:pt idx="23718">
                  <c:v>107421</c:v>
                </c:pt>
                <c:pt idx="23719">
                  <c:v>107416</c:v>
                </c:pt>
                <c:pt idx="23720">
                  <c:v>107415</c:v>
                </c:pt>
                <c:pt idx="23721">
                  <c:v>107400</c:v>
                </c:pt>
                <c:pt idx="23722">
                  <c:v>107399</c:v>
                </c:pt>
                <c:pt idx="23723">
                  <c:v>107399</c:v>
                </c:pt>
                <c:pt idx="23724">
                  <c:v>107392</c:v>
                </c:pt>
                <c:pt idx="23725">
                  <c:v>107387</c:v>
                </c:pt>
                <c:pt idx="23726">
                  <c:v>107380</c:v>
                </c:pt>
                <c:pt idx="23727">
                  <c:v>107377</c:v>
                </c:pt>
                <c:pt idx="23728">
                  <c:v>107374</c:v>
                </c:pt>
                <c:pt idx="23729">
                  <c:v>107371</c:v>
                </c:pt>
                <c:pt idx="23730">
                  <c:v>107369</c:v>
                </c:pt>
                <c:pt idx="23731">
                  <c:v>107368</c:v>
                </c:pt>
                <c:pt idx="23732">
                  <c:v>107368</c:v>
                </c:pt>
                <c:pt idx="23733">
                  <c:v>107366</c:v>
                </c:pt>
                <c:pt idx="23734">
                  <c:v>107361</c:v>
                </c:pt>
                <c:pt idx="23735">
                  <c:v>107359</c:v>
                </c:pt>
                <c:pt idx="23736">
                  <c:v>107341</c:v>
                </c:pt>
                <c:pt idx="23737">
                  <c:v>107341</c:v>
                </c:pt>
                <c:pt idx="23738">
                  <c:v>107334</c:v>
                </c:pt>
                <c:pt idx="23739">
                  <c:v>107331</c:v>
                </c:pt>
                <c:pt idx="23740">
                  <c:v>107326</c:v>
                </c:pt>
                <c:pt idx="23741">
                  <c:v>107324</c:v>
                </c:pt>
                <c:pt idx="23742">
                  <c:v>107321</c:v>
                </c:pt>
                <c:pt idx="23743">
                  <c:v>107313</c:v>
                </c:pt>
                <c:pt idx="23744">
                  <c:v>107313</c:v>
                </c:pt>
                <c:pt idx="23745">
                  <c:v>107313</c:v>
                </c:pt>
                <c:pt idx="23746">
                  <c:v>107311</c:v>
                </c:pt>
                <c:pt idx="23747">
                  <c:v>107311</c:v>
                </c:pt>
                <c:pt idx="23748">
                  <c:v>107308</c:v>
                </c:pt>
                <c:pt idx="23749">
                  <c:v>107307</c:v>
                </c:pt>
                <c:pt idx="23750">
                  <c:v>107305</c:v>
                </c:pt>
                <c:pt idx="23751">
                  <c:v>107304</c:v>
                </c:pt>
                <c:pt idx="23752">
                  <c:v>107304</c:v>
                </c:pt>
                <c:pt idx="23753">
                  <c:v>107300</c:v>
                </c:pt>
                <c:pt idx="23754">
                  <c:v>107297</c:v>
                </c:pt>
                <c:pt idx="23755">
                  <c:v>107283</c:v>
                </c:pt>
                <c:pt idx="23756">
                  <c:v>107282</c:v>
                </c:pt>
                <c:pt idx="23757">
                  <c:v>107277</c:v>
                </c:pt>
                <c:pt idx="23758">
                  <c:v>107277</c:v>
                </c:pt>
                <c:pt idx="23759">
                  <c:v>107272</c:v>
                </c:pt>
                <c:pt idx="23760">
                  <c:v>107269</c:v>
                </c:pt>
                <c:pt idx="23761">
                  <c:v>107265</c:v>
                </c:pt>
                <c:pt idx="23762">
                  <c:v>107260</c:v>
                </c:pt>
                <c:pt idx="23763">
                  <c:v>107259</c:v>
                </c:pt>
                <c:pt idx="23764">
                  <c:v>107258</c:v>
                </c:pt>
                <c:pt idx="23765">
                  <c:v>107253</c:v>
                </c:pt>
                <c:pt idx="23766">
                  <c:v>107253</c:v>
                </c:pt>
                <c:pt idx="23767">
                  <c:v>107253</c:v>
                </c:pt>
                <c:pt idx="23768">
                  <c:v>107251</c:v>
                </c:pt>
                <c:pt idx="23769">
                  <c:v>107247</c:v>
                </c:pt>
                <c:pt idx="23770">
                  <c:v>107233</c:v>
                </c:pt>
                <c:pt idx="23771">
                  <c:v>107230</c:v>
                </c:pt>
                <c:pt idx="23772">
                  <c:v>107228</c:v>
                </c:pt>
                <c:pt idx="23773">
                  <c:v>107214</c:v>
                </c:pt>
                <c:pt idx="23774">
                  <c:v>107213</c:v>
                </c:pt>
                <c:pt idx="23775">
                  <c:v>107210</c:v>
                </c:pt>
                <c:pt idx="23776">
                  <c:v>107208</c:v>
                </c:pt>
                <c:pt idx="23777">
                  <c:v>107208</c:v>
                </c:pt>
                <c:pt idx="23778">
                  <c:v>107197</c:v>
                </c:pt>
                <c:pt idx="23779">
                  <c:v>107184</c:v>
                </c:pt>
                <c:pt idx="23780">
                  <c:v>107184</c:v>
                </c:pt>
                <c:pt idx="23781">
                  <c:v>107178</c:v>
                </c:pt>
                <c:pt idx="23782">
                  <c:v>107167</c:v>
                </c:pt>
                <c:pt idx="23783">
                  <c:v>107163</c:v>
                </c:pt>
                <c:pt idx="23784">
                  <c:v>107162</c:v>
                </c:pt>
                <c:pt idx="23785">
                  <c:v>107159</c:v>
                </c:pt>
                <c:pt idx="23786">
                  <c:v>107155</c:v>
                </c:pt>
                <c:pt idx="23787">
                  <c:v>107150</c:v>
                </c:pt>
                <c:pt idx="23788">
                  <c:v>107145</c:v>
                </c:pt>
                <c:pt idx="23789">
                  <c:v>107144</c:v>
                </c:pt>
                <c:pt idx="23790">
                  <c:v>107139</c:v>
                </c:pt>
                <c:pt idx="23791">
                  <c:v>107137</c:v>
                </c:pt>
                <c:pt idx="23792">
                  <c:v>107135</c:v>
                </c:pt>
                <c:pt idx="23793">
                  <c:v>107135</c:v>
                </c:pt>
                <c:pt idx="23794">
                  <c:v>107130</c:v>
                </c:pt>
                <c:pt idx="23795">
                  <c:v>107129</c:v>
                </c:pt>
                <c:pt idx="23796">
                  <c:v>107127</c:v>
                </c:pt>
                <c:pt idx="23797">
                  <c:v>107127</c:v>
                </c:pt>
                <c:pt idx="23798">
                  <c:v>107124</c:v>
                </c:pt>
                <c:pt idx="23799">
                  <c:v>107122</c:v>
                </c:pt>
                <c:pt idx="23800">
                  <c:v>107122</c:v>
                </c:pt>
                <c:pt idx="23801">
                  <c:v>107117</c:v>
                </c:pt>
                <c:pt idx="23802">
                  <c:v>107110</c:v>
                </c:pt>
                <c:pt idx="23803">
                  <c:v>107110</c:v>
                </c:pt>
                <c:pt idx="23804">
                  <c:v>107101</c:v>
                </c:pt>
                <c:pt idx="23805">
                  <c:v>107098</c:v>
                </c:pt>
                <c:pt idx="23806">
                  <c:v>107096</c:v>
                </c:pt>
                <c:pt idx="23807">
                  <c:v>107096</c:v>
                </c:pt>
                <c:pt idx="23808">
                  <c:v>107092</c:v>
                </c:pt>
                <c:pt idx="23809">
                  <c:v>107091</c:v>
                </c:pt>
                <c:pt idx="23810">
                  <c:v>107090</c:v>
                </c:pt>
                <c:pt idx="23811">
                  <c:v>107084</c:v>
                </c:pt>
                <c:pt idx="23812">
                  <c:v>107082</c:v>
                </c:pt>
                <c:pt idx="23813">
                  <c:v>107081</c:v>
                </c:pt>
                <c:pt idx="23814">
                  <c:v>107078</c:v>
                </c:pt>
                <c:pt idx="23815">
                  <c:v>107076</c:v>
                </c:pt>
                <c:pt idx="23816">
                  <c:v>107074</c:v>
                </c:pt>
                <c:pt idx="23817">
                  <c:v>107071</c:v>
                </c:pt>
                <c:pt idx="23818">
                  <c:v>107069</c:v>
                </c:pt>
                <c:pt idx="23819">
                  <c:v>107069</c:v>
                </c:pt>
                <c:pt idx="23820">
                  <c:v>107067</c:v>
                </c:pt>
                <c:pt idx="23821">
                  <c:v>107065</c:v>
                </c:pt>
                <c:pt idx="23822">
                  <c:v>107065</c:v>
                </c:pt>
                <c:pt idx="23823">
                  <c:v>107060</c:v>
                </c:pt>
                <c:pt idx="23824">
                  <c:v>107050</c:v>
                </c:pt>
                <c:pt idx="23825">
                  <c:v>107043</c:v>
                </c:pt>
                <c:pt idx="23826">
                  <c:v>107037</c:v>
                </c:pt>
                <c:pt idx="23827">
                  <c:v>107021</c:v>
                </c:pt>
                <c:pt idx="23828">
                  <c:v>107021</c:v>
                </c:pt>
                <c:pt idx="23829">
                  <c:v>107014</c:v>
                </c:pt>
                <c:pt idx="23830">
                  <c:v>107009</c:v>
                </c:pt>
                <c:pt idx="23831">
                  <c:v>107008</c:v>
                </c:pt>
                <c:pt idx="23832">
                  <c:v>107007</c:v>
                </c:pt>
                <c:pt idx="23833">
                  <c:v>107004</c:v>
                </c:pt>
                <c:pt idx="23834">
                  <c:v>106999</c:v>
                </c:pt>
                <c:pt idx="23835">
                  <c:v>106998</c:v>
                </c:pt>
                <c:pt idx="23836">
                  <c:v>106998</c:v>
                </c:pt>
                <c:pt idx="23837">
                  <c:v>106989</c:v>
                </c:pt>
                <c:pt idx="23838">
                  <c:v>106985</c:v>
                </c:pt>
                <c:pt idx="23839">
                  <c:v>106978</c:v>
                </c:pt>
                <c:pt idx="23840">
                  <c:v>106976</c:v>
                </c:pt>
                <c:pt idx="23841">
                  <c:v>106973</c:v>
                </c:pt>
                <c:pt idx="23842">
                  <c:v>106972</c:v>
                </c:pt>
                <c:pt idx="23843">
                  <c:v>106966</c:v>
                </c:pt>
                <c:pt idx="23844">
                  <c:v>106966</c:v>
                </c:pt>
                <c:pt idx="23845">
                  <c:v>106963</c:v>
                </c:pt>
                <c:pt idx="23846">
                  <c:v>106958</c:v>
                </c:pt>
                <c:pt idx="23847">
                  <c:v>106957</c:v>
                </c:pt>
                <c:pt idx="23848">
                  <c:v>106952</c:v>
                </c:pt>
                <c:pt idx="23849">
                  <c:v>106952</c:v>
                </c:pt>
                <c:pt idx="23850">
                  <c:v>106952</c:v>
                </c:pt>
                <c:pt idx="23851">
                  <c:v>106944</c:v>
                </c:pt>
                <c:pt idx="23852">
                  <c:v>106932</c:v>
                </c:pt>
                <c:pt idx="23853">
                  <c:v>106932</c:v>
                </c:pt>
                <c:pt idx="23854">
                  <c:v>106931</c:v>
                </c:pt>
                <c:pt idx="23855">
                  <c:v>106927</c:v>
                </c:pt>
                <c:pt idx="23856">
                  <c:v>106921</c:v>
                </c:pt>
                <c:pt idx="23857">
                  <c:v>106919</c:v>
                </c:pt>
                <c:pt idx="23858">
                  <c:v>106918</c:v>
                </c:pt>
                <c:pt idx="23859">
                  <c:v>106901</c:v>
                </c:pt>
                <c:pt idx="23860">
                  <c:v>106901</c:v>
                </c:pt>
                <c:pt idx="23861">
                  <c:v>106899</c:v>
                </c:pt>
                <c:pt idx="23862">
                  <c:v>106894</c:v>
                </c:pt>
                <c:pt idx="23863">
                  <c:v>106893</c:v>
                </c:pt>
                <c:pt idx="23864">
                  <c:v>106889</c:v>
                </c:pt>
                <c:pt idx="23865">
                  <c:v>106889</c:v>
                </c:pt>
                <c:pt idx="23866">
                  <c:v>106889</c:v>
                </c:pt>
                <c:pt idx="23867">
                  <c:v>106888</c:v>
                </c:pt>
                <c:pt idx="23868">
                  <c:v>106888</c:v>
                </c:pt>
                <c:pt idx="23869">
                  <c:v>106886</c:v>
                </c:pt>
                <c:pt idx="23870">
                  <c:v>106882</c:v>
                </c:pt>
                <c:pt idx="23871">
                  <c:v>106882</c:v>
                </c:pt>
                <c:pt idx="23872">
                  <c:v>106881</c:v>
                </c:pt>
                <c:pt idx="23873">
                  <c:v>106871</c:v>
                </c:pt>
                <c:pt idx="23874">
                  <c:v>106870</c:v>
                </c:pt>
                <c:pt idx="23875">
                  <c:v>106870</c:v>
                </c:pt>
                <c:pt idx="23876">
                  <c:v>106867</c:v>
                </c:pt>
                <c:pt idx="23877">
                  <c:v>106866</c:v>
                </c:pt>
                <c:pt idx="23878">
                  <c:v>106864</c:v>
                </c:pt>
                <c:pt idx="23879">
                  <c:v>106862</c:v>
                </c:pt>
                <c:pt idx="23880">
                  <c:v>106860</c:v>
                </c:pt>
                <c:pt idx="23881">
                  <c:v>106855</c:v>
                </c:pt>
                <c:pt idx="23882">
                  <c:v>106854</c:v>
                </c:pt>
                <c:pt idx="23883">
                  <c:v>106854</c:v>
                </c:pt>
                <c:pt idx="23884">
                  <c:v>106849</c:v>
                </c:pt>
                <c:pt idx="23885">
                  <c:v>106848</c:v>
                </c:pt>
                <c:pt idx="23886">
                  <c:v>106848</c:v>
                </c:pt>
                <c:pt idx="23887">
                  <c:v>106845</c:v>
                </c:pt>
                <c:pt idx="23888">
                  <c:v>106842</c:v>
                </c:pt>
                <c:pt idx="23889">
                  <c:v>106838</c:v>
                </c:pt>
                <c:pt idx="23890">
                  <c:v>106837</c:v>
                </c:pt>
                <c:pt idx="23891">
                  <c:v>106836</c:v>
                </c:pt>
                <c:pt idx="23892">
                  <c:v>106831</c:v>
                </c:pt>
                <c:pt idx="23893">
                  <c:v>106829</c:v>
                </c:pt>
                <c:pt idx="23894">
                  <c:v>106829</c:v>
                </c:pt>
                <c:pt idx="23895">
                  <c:v>106828</c:v>
                </c:pt>
                <c:pt idx="23896">
                  <c:v>106821</c:v>
                </c:pt>
                <c:pt idx="23897">
                  <c:v>106815</c:v>
                </c:pt>
                <c:pt idx="23898">
                  <c:v>106814</c:v>
                </c:pt>
                <c:pt idx="23899">
                  <c:v>106813</c:v>
                </c:pt>
                <c:pt idx="23900">
                  <c:v>106800</c:v>
                </c:pt>
                <c:pt idx="23901">
                  <c:v>106798</c:v>
                </c:pt>
                <c:pt idx="23902">
                  <c:v>106789</c:v>
                </c:pt>
                <c:pt idx="23903">
                  <c:v>106785</c:v>
                </c:pt>
                <c:pt idx="23904">
                  <c:v>106781</c:v>
                </c:pt>
                <c:pt idx="23905">
                  <c:v>106781</c:v>
                </c:pt>
                <c:pt idx="23906">
                  <c:v>106778</c:v>
                </c:pt>
                <c:pt idx="23907">
                  <c:v>106775</c:v>
                </c:pt>
                <c:pt idx="23908">
                  <c:v>106774</c:v>
                </c:pt>
                <c:pt idx="23909">
                  <c:v>106772</c:v>
                </c:pt>
                <c:pt idx="23910">
                  <c:v>106772</c:v>
                </c:pt>
                <c:pt idx="23911">
                  <c:v>106770</c:v>
                </c:pt>
                <c:pt idx="23912">
                  <c:v>106758</c:v>
                </c:pt>
                <c:pt idx="23913">
                  <c:v>106754</c:v>
                </c:pt>
                <c:pt idx="23914">
                  <c:v>106753</c:v>
                </c:pt>
                <c:pt idx="23915">
                  <c:v>106748</c:v>
                </c:pt>
                <c:pt idx="23916">
                  <c:v>106746</c:v>
                </c:pt>
                <c:pt idx="23917">
                  <c:v>106740</c:v>
                </c:pt>
                <c:pt idx="23918">
                  <c:v>106734</c:v>
                </c:pt>
                <c:pt idx="23919">
                  <c:v>106733</c:v>
                </c:pt>
                <c:pt idx="23920">
                  <c:v>106730</c:v>
                </c:pt>
                <c:pt idx="23921">
                  <c:v>106726</c:v>
                </c:pt>
                <c:pt idx="23922">
                  <c:v>106725</c:v>
                </c:pt>
                <c:pt idx="23923">
                  <c:v>106722</c:v>
                </c:pt>
                <c:pt idx="23924">
                  <c:v>106708</c:v>
                </c:pt>
                <c:pt idx="23925">
                  <c:v>106703</c:v>
                </c:pt>
                <c:pt idx="23926">
                  <c:v>106701</c:v>
                </c:pt>
                <c:pt idx="23927">
                  <c:v>106701</c:v>
                </c:pt>
                <c:pt idx="23928">
                  <c:v>106701</c:v>
                </c:pt>
                <c:pt idx="23929">
                  <c:v>106699</c:v>
                </c:pt>
                <c:pt idx="23930">
                  <c:v>106698</c:v>
                </c:pt>
                <c:pt idx="23931">
                  <c:v>106694</c:v>
                </c:pt>
                <c:pt idx="23932">
                  <c:v>106680</c:v>
                </c:pt>
                <c:pt idx="23933">
                  <c:v>106679</c:v>
                </c:pt>
                <c:pt idx="23934">
                  <c:v>106677</c:v>
                </c:pt>
                <c:pt idx="23935">
                  <c:v>106673</c:v>
                </c:pt>
                <c:pt idx="23936">
                  <c:v>106673</c:v>
                </c:pt>
                <c:pt idx="23937">
                  <c:v>106669</c:v>
                </c:pt>
                <c:pt idx="23938">
                  <c:v>106667</c:v>
                </c:pt>
                <c:pt idx="23939">
                  <c:v>106661</c:v>
                </c:pt>
                <c:pt idx="23940">
                  <c:v>106657</c:v>
                </c:pt>
                <c:pt idx="23941">
                  <c:v>106649</c:v>
                </c:pt>
                <c:pt idx="23942">
                  <c:v>106648</c:v>
                </c:pt>
                <c:pt idx="23943">
                  <c:v>106640</c:v>
                </c:pt>
                <c:pt idx="23944">
                  <c:v>106639</c:v>
                </c:pt>
                <c:pt idx="23945">
                  <c:v>106637</c:v>
                </c:pt>
                <c:pt idx="23946">
                  <c:v>106636</c:v>
                </c:pt>
                <c:pt idx="23947">
                  <c:v>106633</c:v>
                </c:pt>
                <c:pt idx="23948">
                  <c:v>106627</c:v>
                </c:pt>
                <c:pt idx="23949">
                  <c:v>106625</c:v>
                </c:pt>
                <c:pt idx="23950">
                  <c:v>106621</c:v>
                </c:pt>
                <c:pt idx="23951">
                  <c:v>106620</c:v>
                </c:pt>
                <c:pt idx="23952">
                  <c:v>106618</c:v>
                </c:pt>
                <c:pt idx="23953">
                  <c:v>106618</c:v>
                </c:pt>
                <c:pt idx="23954">
                  <c:v>106618</c:v>
                </c:pt>
                <c:pt idx="23955">
                  <c:v>106615</c:v>
                </c:pt>
                <c:pt idx="23956">
                  <c:v>106598</c:v>
                </c:pt>
                <c:pt idx="23957">
                  <c:v>106592</c:v>
                </c:pt>
                <c:pt idx="23958">
                  <c:v>106591</c:v>
                </c:pt>
                <c:pt idx="23959">
                  <c:v>106591</c:v>
                </c:pt>
                <c:pt idx="23960">
                  <c:v>106591</c:v>
                </c:pt>
                <c:pt idx="23961">
                  <c:v>106586</c:v>
                </c:pt>
                <c:pt idx="23962">
                  <c:v>106582</c:v>
                </c:pt>
                <c:pt idx="23963">
                  <c:v>106576</c:v>
                </c:pt>
                <c:pt idx="23964">
                  <c:v>106570</c:v>
                </c:pt>
                <c:pt idx="23965">
                  <c:v>106562</c:v>
                </c:pt>
                <c:pt idx="23966">
                  <c:v>106557</c:v>
                </c:pt>
                <c:pt idx="23967">
                  <c:v>106548</c:v>
                </c:pt>
                <c:pt idx="23968">
                  <c:v>106547</c:v>
                </c:pt>
                <c:pt idx="23969">
                  <c:v>106543</c:v>
                </c:pt>
                <c:pt idx="23970">
                  <c:v>106541</c:v>
                </c:pt>
                <c:pt idx="23971">
                  <c:v>106532</c:v>
                </c:pt>
                <c:pt idx="23972">
                  <c:v>106527</c:v>
                </c:pt>
                <c:pt idx="23973">
                  <c:v>106527</c:v>
                </c:pt>
                <c:pt idx="23974">
                  <c:v>106524</c:v>
                </c:pt>
                <c:pt idx="23975">
                  <c:v>106518</c:v>
                </c:pt>
                <c:pt idx="23976">
                  <c:v>106514</c:v>
                </c:pt>
                <c:pt idx="23977">
                  <c:v>106513</c:v>
                </c:pt>
                <c:pt idx="23978">
                  <c:v>106502</c:v>
                </c:pt>
                <c:pt idx="23979">
                  <c:v>106493</c:v>
                </c:pt>
                <c:pt idx="23980">
                  <c:v>106489</c:v>
                </c:pt>
                <c:pt idx="23981">
                  <c:v>106485</c:v>
                </c:pt>
                <c:pt idx="23982">
                  <c:v>106484</c:v>
                </c:pt>
                <c:pt idx="23983">
                  <c:v>106460</c:v>
                </c:pt>
                <c:pt idx="23984">
                  <c:v>106460</c:v>
                </c:pt>
                <c:pt idx="23985">
                  <c:v>106458</c:v>
                </c:pt>
                <c:pt idx="23986">
                  <c:v>106455</c:v>
                </c:pt>
                <c:pt idx="23987">
                  <c:v>106419</c:v>
                </c:pt>
                <c:pt idx="23988">
                  <c:v>106418</c:v>
                </c:pt>
                <c:pt idx="23989">
                  <c:v>106412</c:v>
                </c:pt>
                <c:pt idx="23990">
                  <c:v>106399</c:v>
                </c:pt>
                <c:pt idx="23991">
                  <c:v>106399</c:v>
                </c:pt>
                <c:pt idx="23992">
                  <c:v>106386</c:v>
                </c:pt>
                <c:pt idx="23993">
                  <c:v>106385</c:v>
                </c:pt>
                <c:pt idx="23994">
                  <c:v>106381</c:v>
                </c:pt>
                <c:pt idx="23995">
                  <c:v>106379</c:v>
                </c:pt>
                <c:pt idx="23996">
                  <c:v>106377</c:v>
                </c:pt>
                <c:pt idx="23997">
                  <c:v>106375</c:v>
                </c:pt>
                <c:pt idx="23998">
                  <c:v>106375</c:v>
                </c:pt>
                <c:pt idx="23999">
                  <c:v>106366</c:v>
                </c:pt>
                <c:pt idx="24000">
                  <c:v>106366</c:v>
                </c:pt>
                <c:pt idx="24001">
                  <c:v>106355</c:v>
                </c:pt>
                <c:pt idx="24002">
                  <c:v>106353</c:v>
                </c:pt>
                <c:pt idx="24003">
                  <c:v>106351</c:v>
                </c:pt>
                <c:pt idx="24004">
                  <c:v>106348</c:v>
                </c:pt>
                <c:pt idx="24005">
                  <c:v>106342</c:v>
                </c:pt>
                <c:pt idx="24006">
                  <c:v>106342</c:v>
                </c:pt>
                <c:pt idx="24007">
                  <c:v>106339</c:v>
                </c:pt>
                <c:pt idx="24008">
                  <c:v>106335</c:v>
                </c:pt>
                <c:pt idx="24009">
                  <c:v>106333</c:v>
                </c:pt>
                <c:pt idx="24010">
                  <c:v>106332</c:v>
                </c:pt>
                <c:pt idx="24011">
                  <c:v>106326</c:v>
                </c:pt>
                <c:pt idx="24012">
                  <c:v>106323</c:v>
                </c:pt>
                <c:pt idx="24013">
                  <c:v>106316</c:v>
                </c:pt>
                <c:pt idx="24014">
                  <c:v>106316</c:v>
                </c:pt>
                <c:pt idx="24015">
                  <c:v>106314</c:v>
                </c:pt>
                <c:pt idx="24016">
                  <c:v>106312</c:v>
                </c:pt>
                <c:pt idx="24017">
                  <c:v>106303</c:v>
                </c:pt>
                <c:pt idx="24018">
                  <c:v>106298</c:v>
                </c:pt>
                <c:pt idx="24019">
                  <c:v>106296</c:v>
                </c:pt>
                <c:pt idx="24020">
                  <c:v>106289</c:v>
                </c:pt>
                <c:pt idx="24021">
                  <c:v>106282</c:v>
                </c:pt>
                <c:pt idx="24022">
                  <c:v>106272</c:v>
                </c:pt>
                <c:pt idx="24023">
                  <c:v>106260</c:v>
                </c:pt>
                <c:pt idx="24024">
                  <c:v>106259</c:v>
                </c:pt>
                <c:pt idx="24025">
                  <c:v>106258</c:v>
                </c:pt>
                <c:pt idx="24026">
                  <c:v>106256</c:v>
                </c:pt>
                <c:pt idx="24027">
                  <c:v>106253</c:v>
                </c:pt>
                <c:pt idx="24028">
                  <c:v>106253</c:v>
                </c:pt>
                <c:pt idx="24029">
                  <c:v>106252</c:v>
                </c:pt>
                <c:pt idx="24030">
                  <c:v>106248</c:v>
                </c:pt>
                <c:pt idx="24031">
                  <c:v>106243</c:v>
                </c:pt>
                <c:pt idx="24032">
                  <c:v>106242</c:v>
                </c:pt>
                <c:pt idx="24033">
                  <c:v>106237</c:v>
                </c:pt>
                <c:pt idx="24034">
                  <c:v>106236</c:v>
                </c:pt>
                <c:pt idx="24035">
                  <c:v>106226</c:v>
                </c:pt>
                <c:pt idx="24036">
                  <c:v>106218</c:v>
                </c:pt>
                <c:pt idx="24037">
                  <c:v>106211</c:v>
                </c:pt>
                <c:pt idx="24038">
                  <c:v>106210</c:v>
                </c:pt>
                <c:pt idx="24039">
                  <c:v>106196</c:v>
                </c:pt>
                <c:pt idx="24040">
                  <c:v>106194</c:v>
                </c:pt>
                <c:pt idx="24041">
                  <c:v>106192</c:v>
                </c:pt>
                <c:pt idx="24042">
                  <c:v>106185</c:v>
                </c:pt>
                <c:pt idx="24043">
                  <c:v>106180</c:v>
                </c:pt>
                <c:pt idx="24044">
                  <c:v>106178</c:v>
                </c:pt>
                <c:pt idx="24045">
                  <c:v>106178</c:v>
                </c:pt>
                <c:pt idx="24046">
                  <c:v>106177</c:v>
                </c:pt>
                <c:pt idx="24047">
                  <c:v>106175</c:v>
                </c:pt>
                <c:pt idx="24048">
                  <c:v>106172</c:v>
                </c:pt>
                <c:pt idx="24049">
                  <c:v>106169</c:v>
                </c:pt>
                <c:pt idx="24050">
                  <c:v>106166</c:v>
                </c:pt>
                <c:pt idx="24051">
                  <c:v>106165</c:v>
                </c:pt>
                <c:pt idx="24052">
                  <c:v>106164</c:v>
                </c:pt>
                <c:pt idx="24053">
                  <c:v>106164</c:v>
                </c:pt>
                <c:pt idx="24054">
                  <c:v>106162</c:v>
                </c:pt>
                <c:pt idx="24055">
                  <c:v>106156</c:v>
                </c:pt>
                <c:pt idx="24056">
                  <c:v>106153</c:v>
                </c:pt>
                <c:pt idx="24057">
                  <c:v>106148</c:v>
                </c:pt>
                <c:pt idx="24058">
                  <c:v>106146</c:v>
                </c:pt>
                <c:pt idx="24059">
                  <c:v>106143</c:v>
                </c:pt>
                <c:pt idx="24060">
                  <c:v>106139</c:v>
                </c:pt>
                <c:pt idx="24061">
                  <c:v>106138</c:v>
                </c:pt>
                <c:pt idx="24062">
                  <c:v>106136</c:v>
                </c:pt>
                <c:pt idx="24063">
                  <c:v>106129</c:v>
                </c:pt>
                <c:pt idx="24064">
                  <c:v>106127</c:v>
                </c:pt>
                <c:pt idx="24065">
                  <c:v>106126</c:v>
                </c:pt>
                <c:pt idx="24066">
                  <c:v>106123</c:v>
                </c:pt>
                <c:pt idx="24067">
                  <c:v>106118</c:v>
                </c:pt>
                <c:pt idx="24068">
                  <c:v>106117</c:v>
                </c:pt>
                <c:pt idx="24069">
                  <c:v>106115</c:v>
                </c:pt>
                <c:pt idx="24070">
                  <c:v>106115</c:v>
                </c:pt>
                <c:pt idx="24071">
                  <c:v>106109</c:v>
                </c:pt>
                <c:pt idx="24072">
                  <c:v>106094</c:v>
                </c:pt>
                <c:pt idx="24073">
                  <c:v>106086</c:v>
                </c:pt>
                <c:pt idx="24074">
                  <c:v>106080</c:v>
                </c:pt>
                <c:pt idx="24075">
                  <c:v>106076</c:v>
                </c:pt>
                <c:pt idx="24076">
                  <c:v>106075</c:v>
                </c:pt>
                <c:pt idx="24077">
                  <c:v>106068</c:v>
                </c:pt>
                <c:pt idx="24078">
                  <c:v>106066</c:v>
                </c:pt>
                <c:pt idx="24079">
                  <c:v>106059</c:v>
                </c:pt>
                <c:pt idx="24080">
                  <c:v>106054</c:v>
                </c:pt>
                <c:pt idx="24081">
                  <c:v>106053</c:v>
                </c:pt>
                <c:pt idx="24082">
                  <c:v>106050</c:v>
                </c:pt>
                <c:pt idx="24083">
                  <c:v>106047</c:v>
                </c:pt>
                <c:pt idx="24084">
                  <c:v>106046</c:v>
                </c:pt>
                <c:pt idx="24085">
                  <c:v>106041</c:v>
                </c:pt>
                <c:pt idx="24086">
                  <c:v>106038</c:v>
                </c:pt>
                <c:pt idx="24087">
                  <c:v>106037</c:v>
                </c:pt>
                <c:pt idx="24088">
                  <c:v>106037</c:v>
                </c:pt>
                <c:pt idx="24089">
                  <c:v>106036</c:v>
                </c:pt>
                <c:pt idx="24090">
                  <c:v>106036</c:v>
                </c:pt>
                <c:pt idx="24091">
                  <c:v>106023</c:v>
                </c:pt>
                <c:pt idx="24092">
                  <c:v>106022</c:v>
                </c:pt>
                <c:pt idx="24093">
                  <c:v>106020</c:v>
                </c:pt>
                <c:pt idx="24094">
                  <c:v>106014</c:v>
                </c:pt>
                <c:pt idx="24095">
                  <c:v>106007</c:v>
                </c:pt>
                <c:pt idx="24096">
                  <c:v>106000</c:v>
                </c:pt>
                <c:pt idx="24097">
                  <c:v>105993</c:v>
                </c:pt>
                <c:pt idx="24098">
                  <c:v>105992</c:v>
                </c:pt>
                <c:pt idx="24099">
                  <c:v>105992</c:v>
                </c:pt>
                <c:pt idx="24100">
                  <c:v>105986</c:v>
                </c:pt>
                <c:pt idx="24101">
                  <c:v>105982</c:v>
                </c:pt>
                <c:pt idx="24102">
                  <c:v>105981</c:v>
                </c:pt>
                <c:pt idx="24103">
                  <c:v>105976</c:v>
                </c:pt>
                <c:pt idx="24104">
                  <c:v>105971</c:v>
                </c:pt>
                <c:pt idx="24105">
                  <c:v>105971</c:v>
                </c:pt>
                <c:pt idx="24106">
                  <c:v>105969</c:v>
                </c:pt>
                <c:pt idx="24107">
                  <c:v>105969</c:v>
                </c:pt>
                <c:pt idx="24108">
                  <c:v>105965</c:v>
                </c:pt>
                <c:pt idx="24109">
                  <c:v>105959</c:v>
                </c:pt>
                <c:pt idx="24110">
                  <c:v>105959</c:v>
                </c:pt>
                <c:pt idx="24111">
                  <c:v>105957</c:v>
                </c:pt>
                <c:pt idx="24112">
                  <c:v>105957</c:v>
                </c:pt>
                <c:pt idx="24113">
                  <c:v>105952</c:v>
                </c:pt>
                <c:pt idx="24114">
                  <c:v>105950</c:v>
                </c:pt>
                <c:pt idx="24115">
                  <c:v>105946</c:v>
                </c:pt>
                <c:pt idx="24116">
                  <c:v>105946</c:v>
                </c:pt>
                <c:pt idx="24117">
                  <c:v>105945</c:v>
                </c:pt>
                <c:pt idx="24118">
                  <c:v>105944</c:v>
                </c:pt>
                <c:pt idx="24119">
                  <c:v>105936</c:v>
                </c:pt>
                <c:pt idx="24120">
                  <c:v>105929</c:v>
                </c:pt>
                <c:pt idx="24121">
                  <c:v>105928</c:v>
                </c:pt>
                <c:pt idx="24122">
                  <c:v>105925</c:v>
                </c:pt>
                <c:pt idx="24123">
                  <c:v>105918</c:v>
                </c:pt>
                <c:pt idx="24124">
                  <c:v>105917</c:v>
                </c:pt>
                <c:pt idx="24125">
                  <c:v>105913</c:v>
                </c:pt>
                <c:pt idx="24126">
                  <c:v>105912</c:v>
                </c:pt>
                <c:pt idx="24127">
                  <c:v>105901</c:v>
                </c:pt>
                <c:pt idx="24128">
                  <c:v>105900</c:v>
                </c:pt>
                <c:pt idx="24129">
                  <c:v>105900</c:v>
                </c:pt>
                <c:pt idx="24130">
                  <c:v>105900</c:v>
                </c:pt>
                <c:pt idx="24131">
                  <c:v>105891</c:v>
                </c:pt>
                <c:pt idx="24132">
                  <c:v>105891</c:v>
                </c:pt>
                <c:pt idx="24133">
                  <c:v>105890</c:v>
                </c:pt>
                <c:pt idx="24134">
                  <c:v>105885</c:v>
                </c:pt>
                <c:pt idx="24135">
                  <c:v>105877</c:v>
                </c:pt>
                <c:pt idx="24136">
                  <c:v>105876</c:v>
                </c:pt>
                <c:pt idx="24137">
                  <c:v>105862</c:v>
                </c:pt>
                <c:pt idx="24138">
                  <c:v>105861</c:v>
                </c:pt>
                <c:pt idx="24139">
                  <c:v>105858</c:v>
                </c:pt>
                <c:pt idx="24140">
                  <c:v>105857</c:v>
                </c:pt>
                <c:pt idx="24141">
                  <c:v>105841</c:v>
                </c:pt>
                <c:pt idx="24142">
                  <c:v>105839</c:v>
                </c:pt>
                <c:pt idx="24143">
                  <c:v>105839</c:v>
                </c:pt>
                <c:pt idx="24144">
                  <c:v>105836</c:v>
                </c:pt>
                <c:pt idx="24145">
                  <c:v>105833</c:v>
                </c:pt>
                <c:pt idx="24146">
                  <c:v>105826</c:v>
                </c:pt>
                <c:pt idx="24147">
                  <c:v>105822</c:v>
                </c:pt>
                <c:pt idx="24148">
                  <c:v>105816</c:v>
                </c:pt>
                <c:pt idx="24149">
                  <c:v>105815</c:v>
                </c:pt>
                <c:pt idx="24150">
                  <c:v>105814</c:v>
                </c:pt>
                <c:pt idx="24151">
                  <c:v>105812</c:v>
                </c:pt>
                <c:pt idx="24152">
                  <c:v>105808</c:v>
                </c:pt>
                <c:pt idx="24153">
                  <c:v>105805</c:v>
                </c:pt>
                <c:pt idx="24154">
                  <c:v>105803</c:v>
                </c:pt>
                <c:pt idx="24155">
                  <c:v>105801</c:v>
                </c:pt>
                <c:pt idx="24156">
                  <c:v>105800</c:v>
                </c:pt>
                <c:pt idx="24157">
                  <c:v>105797</c:v>
                </c:pt>
                <c:pt idx="24158">
                  <c:v>105795</c:v>
                </c:pt>
                <c:pt idx="24159">
                  <c:v>105793</c:v>
                </c:pt>
                <c:pt idx="24160">
                  <c:v>105783</c:v>
                </c:pt>
                <c:pt idx="24161">
                  <c:v>105777</c:v>
                </c:pt>
                <c:pt idx="24162">
                  <c:v>105770</c:v>
                </c:pt>
                <c:pt idx="24163">
                  <c:v>105766</c:v>
                </c:pt>
                <c:pt idx="24164">
                  <c:v>105762</c:v>
                </c:pt>
                <c:pt idx="24165">
                  <c:v>105761</c:v>
                </c:pt>
                <c:pt idx="24166">
                  <c:v>105759</c:v>
                </c:pt>
                <c:pt idx="24167">
                  <c:v>105759</c:v>
                </c:pt>
                <c:pt idx="24168">
                  <c:v>105754</c:v>
                </c:pt>
                <c:pt idx="24169">
                  <c:v>105752</c:v>
                </c:pt>
                <c:pt idx="24170">
                  <c:v>105752</c:v>
                </c:pt>
                <c:pt idx="24171">
                  <c:v>105750</c:v>
                </c:pt>
                <c:pt idx="24172">
                  <c:v>105742</c:v>
                </c:pt>
                <c:pt idx="24173">
                  <c:v>105741</c:v>
                </c:pt>
                <c:pt idx="24174">
                  <c:v>105740</c:v>
                </c:pt>
                <c:pt idx="24175">
                  <c:v>105739</c:v>
                </c:pt>
                <c:pt idx="24176">
                  <c:v>105736</c:v>
                </c:pt>
                <c:pt idx="24177">
                  <c:v>105736</c:v>
                </c:pt>
                <c:pt idx="24178">
                  <c:v>105727</c:v>
                </c:pt>
                <c:pt idx="24179">
                  <c:v>105719</c:v>
                </c:pt>
                <c:pt idx="24180">
                  <c:v>105709</c:v>
                </c:pt>
                <c:pt idx="24181">
                  <c:v>105702</c:v>
                </c:pt>
                <c:pt idx="24182">
                  <c:v>105700</c:v>
                </c:pt>
                <c:pt idx="24183">
                  <c:v>105698</c:v>
                </c:pt>
                <c:pt idx="24184">
                  <c:v>105681</c:v>
                </c:pt>
                <c:pt idx="24185">
                  <c:v>105678</c:v>
                </c:pt>
                <c:pt idx="24186">
                  <c:v>105677</c:v>
                </c:pt>
                <c:pt idx="24187">
                  <c:v>105675</c:v>
                </c:pt>
                <c:pt idx="24188">
                  <c:v>105674</c:v>
                </c:pt>
                <c:pt idx="24189">
                  <c:v>105670</c:v>
                </c:pt>
                <c:pt idx="24190">
                  <c:v>105670</c:v>
                </c:pt>
                <c:pt idx="24191">
                  <c:v>105668</c:v>
                </c:pt>
                <c:pt idx="24192">
                  <c:v>105668</c:v>
                </c:pt>
                <c:pt idx="24193">
                  <c:v>105667</c:v>
                </c:pt>
                <c:pt idx="24194">
                  <c:v>105667</c:v>
                </c:pt>
                <c:pt idx="24195">
                  <c:v>105667</c:v>
                </c:pt>
                <c:pt idx="24196">
                  <c:v>105666</c:v>
                </c:pt>
                <c:pt idx="24197">
                  <c:v>105666</c:v>
                </c:pt>
                <c:pt idx="24198">
                  <c:v>105666</c:v>
                </c:pt>
                <c:pt idx="24199">
                  <c:v>105665</c:v>
                </c:pt>
                <c:pt idx="24200">
                  <c:v>105661</c:v>
                </c:pt>
                <c:pt idx="24201">
                  <c:v>105655</c:v>
                </c:pt>
                <c:pt idx="24202">
                  <c:v>105651</c:v>
                </c:pt>
                <c:pt idx="24203">
                  <c:v>105649</c:v>
                </c:pt>
                <c:pt idx="24204">
                  <c:v>105648</c:v>
                </c:pt>
                <c:pt idx="24205">
                  <c:v>105647</c:v>
                </c:pt>
                <c:pt idx="24206">
                  <c:v>105643</c:v>
                </c:pt>
                <c:pt idx="24207">
                  <c:v>105640</c:v>
                </c:pt>
                <c:pt idx="24208">
                  <c:v>105637</c:v>
                </c:pt>
                <c:pt idx="24209">
                  <c:v>105634</c:v>
                </c:pt>
                <c:pt idx="24210">
                  <c:v>105631</c:v>
                </c:pt>
                <c:pt idx="24211">
                  <c:v>105629</c:v>
                </c:pt>
                <c:pt idx="24212">
                  <c:v>105625</c:v>
                </c:pt>
                <c:pt idx="24213">
                  <c:v>105625</c:v>
                </c:pt>
                <c:pt idx="24214">
                  <c:v>105625</c:v>
                </c:pt>
                <c:pt idx="24215">
                  <c:v>105623</c:v>
                </c:pt>
                <c:pt idx="24216">
                  <c:v>105616</c:v>
                </c:pt>
                <c:pt idx="24217">
                  <c:v>105614</c:v>
                </c:pt>
                <c:pt idx="24218">
                  <c:v>105599</c:v>
                </c:pt>
                <c:pt idx="24219">
                  <c:v>105595</c:v>
                </c:pt>
                <c:pt idx="24220">
                  <c:v>105593</c:v>
                </c:pt>
                <c:pt idx="24221">
                  <c:v>105591</c:v>
                </c:pt>
                <c:pt idx="24222">
                  <c:v>105588</c:v>
                </c:pt>
                <c:pt idx="24223">
                  <c:v>105585</c:v>
                </c:pt>
                <c:pt idx="24224">
                  <c:v>105581</c:v>
                </c:pt>
                <c:pt idx="24225">
                  <c:v>105578</c:v>
                </c:pt>
                <c:pt idx="24226">
                  <c:v>105576</c:v>
                </c:pt>
                <c:pt idx="24227">
                  <c:v>105576</c:v>
                </c:pt>
                <c:pt idx="24228">
                  <c:v>105570</c:v>
                </c:pt>
                <c:pt idx="24229">
                  <c:v>105560</c:v>
                </c:pt>
                <c:pt idx="24230">
                  <c:v>105558</c:v>
                </c:pt>
                <c:pt idx="24231">
                  <c:v>105554</c:v>
                </c:pt>
                <c:pt idx="24232">
                  <c:v>105553</c:v>
                </c:pt>
                <c:pt idx="24233">
                  <c:v>105551</c:v>
                </c:pt>
                <c:pt idx="24234">
                  <c:v>105543</c:v>
                </c:pt>
                <c:pt idx="24235">
                  <c:v>105539</c:v>
                </c:pt>
                <c:pt idx="24236">
                  <c:v>105539</c:v>
                </c:pt>
                <c:pt idx="24237">
                  <c:v>105537</c:v>
                </c:pt>
                <c:pt idx="24238">
                  <c:v>105535</c:v>
                </c:pt>
                <c:pt idx="24239">
                  <c:v>105534</c:v>
                </c:pt>
                <c:pt idx="24240">
                  <c:v>105534</c:v>
                </c:pt>
                <c:pt idx="24241">
                  <c:v>105528</c:v>
                </c:pt>
                <c:pt idx="24242">
                  <c:v>105523</c:v>
                </c:pt>
                <c:pt idx="24243">
                  <c:v>105519</c:v>
                </c:pt>
                <c:pt idx="24244">
                  <c:v>105519</c:v>
                </c:pt>
                <c:pt idx="24245">
                  <c:v>105515</c:v>
                </c:pt>
                <c:pt idx="24246">
                  <c:v>105515</c:v>
                </c:pt>
                <c:pt idx="24247">
                  <c:v>105511</c:v>
                </c:pt>
                <c:pt idx="24248">
                  <c:v>105511</c:v>
                </c:pt>
                <c:pt idx="24249">
                  <c:v>105509</c:v>
                </c:pt>
                <c:pt idx="24250">
                  <c:v>105506</c:v>
                </c:pt>
                <c:pt idx="24251">
                  <c:v>105504</c:v>
                </c:pt>
                <c:pt idx="24252">
                  <c:v>105500</c:v>
                </c:pt>
                <c:pt idx="24253">
                  <c:v>105498</c:v>
                </c:pt>
                <c:pt idx="24254">
                  <c:v>105497</c:v>
                </c:pt>
                <c:pt idx="24255">
                  <c:v>105488</c:v>
                </c:pt>
                <c:pt idx="24256">
                  <c:v>105487</c:v>
                </c:pt>
                <c:pt idx="24257">
                  <c:v>105486</c:v>
                </c:pt>
                <c:pt idx="24258">
                  <c:v>105480</c:v>
                </c:pt>
                <c:pt idx="24259">
                  <c:v>105479</c:v>
                </c:pt>
                <c:pt idx="24260">
                  <c:v>105479</c:v>
                </c:pt>
                <c:pt idx="24261">
                  <c:v>105472</c:v>
                </c:pt>
                <c:pt idx="24262">
                  <c:v>105468</c:v>
                </c:pt>
                <c:pt idx="24263">
                  <c:v>105464</c:v>
                </c:pt>
                <c:pt idx="24264">
                  <c:v>105463</c:v>
                </c:pt>
                <c:pt idx="24265">
                  <c:v>105462</c:v>
                </c:pt>
                <c:pt idx="24266">
                  <c:v>105452</c:v>
                </c:pt>
                <c:pt idx="24267">
                  <c:v>105450</c:v>
                </c:pt>
                <c:pt idx="24268">
                  <c:v>105443</c:v>
                </c:pt>
                <c:pt idx="24269">
                  <c:v>105428</c:v>
                </c:pt>
                <c:pt idx="24270">
                  <c:v>105421</c:v>
                </c:pt>
                <c:pt idx="24271">
                  <c:v>105417</c:v>
                </c:pt>
                <c:pt idx="24272">
                  <c:v>105413</c:v>
                </c:pt>
                <c:pt idx="24273">
                  <c:v>105410</c:v>
                </c:pt>
                <c:pt idx="24274">
                  <c:v>105407</c:v>
                </c:pt>
                <c:pt idx="24275">
                  <c:v>105406</c:v>
                </c:pt>
                <c:pt idx="24276">
                  <c:v>105406</c:v>
                </c:pt>
                <c:pt idx="24277">
                  <c:v>105406</c:v>
                </c:pt>
                <c:pt idx="24278">
                  <c:v>105406</c:v>
                </c:pt>
                <c:pt idx="24279">
                  <c:v>105403</c:v>
                </c:pt>
                <c:pt idx="24280">
                  <c:v>105399</c:v>
                </c:pt>
                <c:pt idx="24281">
                  <c:v>105397</c:v>
                </c:pt>
                <c:pt idx="24282">
                  <c:v>105394</c:v>
                </c:pt>
                <c:pt idx="24283">
                  <c:v>105393</c:v>
                </c:pt>
                <c:pt idx="24284">
                  <c:v>105392</c:v>
                </c:pt>
                <c:pt idx="24285">
                  <c:v>105391</c:v>
                </c:pt>
                <c:pt idx="24286">
                  <c:v>105389</c:v>
                </c:pt>
                <c:pt idx="24287">
                  <c:v>105389</c:v>
                </c:pt>
                <c:pt idx="24288">
                  <c:v>105381</c:v>
                </c:pt>
                <c:pt idx="24289">
                  <c:v>105381</c:v>
                </c:pt>
                <c:pt idx="24290">
                  <c:v>105381</c:v>
                </c:pt>
                <c:pt idx="24291">
                  <c:v>105372</c:v>
                </c:pt>
                <c:pt idx="24292">
                  <c:v>105369</c:v>
                </c:pt>
                <c:pt idx="24293">
                  <c:v>105368</c:v>
                </c:pt>
                <c:pt idx="24294">
                  <c:v>105366</c:v>
                </c:pt>
                <c:pt idx="24295">
                  <c:v>105362</c:v>
                </c:pt>
                <c:pt idx="24296">
                  <c:v>105362</c:v>
                </c:pt>
                <c:pt idx="24297">
                  <c:v>105360</c:v>
                </c:pt>
                <c:pt idx="24298">
                  <c:v>105353</c:v>
                </c:pt>
                <c:pt idx="24299">
                  <c:v>105352</c:v>
                </c:pt>
                <c:pt idx="24300">
                  <c:v>105351</c:v>
                </c:pt>
                <c:pt idx="24301">
                  <c:v>105344</c:v>
                </c:pt>
                <c:pt idx="24302">
                  <c:v>105342</c:v>
                </c:pt>
                <c:pt idx="24303">
                  <c:v>105342</c:v>
                </c:pt>
                <c:pt idx="24304">
                  <c:v>105342</c:v>
                </c:pt>
                <c:pt idx="24305">
                  <c:v>105336</c:v>
                </c:pt>
                <c:pt idx="24306">
                  <c:v>105332</c:v>
                </c:pt>
                <c:pt idx="24307">
                  <c:v>105323</c:v>
                </c:pt>
                <c:pt idx="24308">
                  <c:v>105319</c:v>
                </c:pt>
                <c:pt idx="24309">
                  <c:v>105319</c:v>
                </c:pt>
                <c:pt idx="24310">
                  <c:v>105315</c:v>
                </c:pt>
                <c:pt idx="24311">
                  <c:v>105314</c:v>
                </c:pt>
                <c:pt idx="24312">
                  <c:v>105313</c:v>
                </c:pt>
                <c:pt idx="24313">
                  <c:v>105308</c:v>
                </c:pt>
                <c:pt idx="24314">
                  <c:v>105304</c:v>
                </c:pt>
                <c:pt idx="24315">
                  <c:v>105301</c:v>
                </c:pt>
                <c:pt idx="24316">
                  <c:v>105288</c:v>
                </c:pt>
                <c:pt idx="24317">
                  <c:v>105287</c:v>
                </c:pt>
                <c:pt idx="24318">
                  <c:v>105280</c:v>
                </c:pt>
                <c:pt idx="24319">
                  <c:v>105280</c:v>
                </c:pt>
                <c:pt idx="24320">
                  <c:v>105274</c:v>
                </c:pt>
                <c:pt idx="24321">
                  <c:v>105272</c:v>
                </c:pt>
                <c:pt idx="24322">
                  <c:v>105271</c:v>
                </c:pt>
                <c:pt idx="24323">
                  <c:v>105263</c:v>
                </c:pt>
                <c:pt idx="24324">
                  <c:v>105262</c:v>
                </c:pt>
                <c:pt idx="24325">
                  <c:v>105260</c:v>
                </c:pt>
                <c:pt idx="24326">
                  <c:v>105256</c:v>
                </c:pt>
                <c:pt idx="24327">
                  <c:v>105255</c:v>
                </c:pt>
                <c:pt idx="24328">
                  <c:v>105254</c:v>
                </c:pt>
                <c:pt idx="24329">
                  <c:v>105253</c:v>
                </c:pt>
                <c:pt idx="24330">
                  <c:v>105249</c:v>
                </c:pt>
                <c:pt idx="24331">
                  <c:v>105246</c:v>
                </c:pt>
                <c:pt idx="24332">
                  <c:v>105246</c:v>
                </c:pt>
                <c:pt idx="24333">
                  <c:v>105243</c:v>
                </c:pt>
                <c:pt idx="24334">
                  <c:v>105240</c:v>
                </c:pt>
                <c:pt idx="24335">
                  <c:v>105240</c:v>
                </c:pt>
                <c:pt idx="24336">
                  <c:v>105229</c:v>
                </c:pt>
                <c:pt idx="24337">
                  <c:v>105229</c:v>
                </c:pt>
                <c:pt idx="24338">
                  <c:v>105225</c:v>
                </c:pt>
                <c:pt idx="24339">
                  <c:v>105225</c:v>
                </c:pt>
                <c:pt idx="24340">
                  <c:v>105221</c:v>
                </c:pt>
                <c:pt idx="24341">
                  <c:v>105216</c:v>
                </c:pt>
                <c:pt idx="24342">
                  <c:v>105216</c:v>
                </c:pt>
                <c:pt idx="24343">
                  <c:v>105214</c:v>
                </c:pt>
                <c:pt idx="24344">
                  <c:v>105208</c:v>
                </c:pt>
                <c:pt idx="24345">
                  <c:v>105205</c:v>
                </c:pt>
                <c:pt idx="24346">
                  <c:v>105203</c:v>
                </c:pt>
                <c:pt idx="24347">
                  <c:v>105201</c:v>
                </c:pt>
                <c:pt idx="24348">
                  <c:v>105201</c:v>
                </c:pt>
                <c:pt idx="24349">
                  <c:v>105201</c:v>
                </c:pt>
                <c:pt idx="24350">
                  <c:v>105197</c:v>
                </c:pt>
                <c:pt idx="24351">
                  <c:v>105194</c:v>
                </c:pt>
                <c:pt idx="24352">
                  <c:v>105193</c:v>
                </c:pt>
                <c:pt idx="24353">
                  <c:v>105191</c:v>
                </c:pt>
                <c:pt idx="24354">
                  <c:v>105188</c:v>
                </c:pt>
                <c:pt idx="24355">
                  <c:v>105185</c:v>
                </c:pt>
                <c:pt idx="24356">
                  <c:v>105183</c:v>
                </c:pt>
                <c:pt idx="24357">
                  <c:v>105180</c:v>
                </c:pt>
                <c:pt idx="24358">
                  <c:v>105179</c:v>
                </c:pt>
                <c:pt idx="24359">
                  <c:v>105175</c:v>
                </c:pt>
                <c:pt idx="24360">
                  <c:v>105174</c:v>
                </c:pt>
                <c:pt idx="24361">
                  <c:v>105173</c:v>
                </c:pt>
                <c:pt idx="24362">
                  <c:v>105165</c:v>
                </c:pt>
                <c:pt idx="24363">
                  <c:v>105163</c:v>
                </c:pt>
                <c:pt idx="24364">
                  <c:v>105154</c:v>
                </c:pt>
                <c:pt idx="24365">
                  <c:v>105154</c:v>
                </c:pt>
                <c:pt idx="24366">
                  <c:v>105146</c:v>
                </c:pt>
                <c:pt idx="24367">
                  <c:v>105143</c:v>
                </c:pt>
                <c:pt idx="24368">
                  <c:v>105142</c:v>
                </c:pt>
                <c:pt idx="24369">
                  <c:v>105132</c:v>
                </c:pt>
                <c:pt idx="24370">
                  <c:v>105130</c:v>
                </c:pt>
                <c:pt idx="24371">
                  <c:v>105127</c:v>
                </c:pt>
                <c:pt idx="24372">
                  <c:v>105126</c:v>
                </c:pt>
                <c:pt idx="24373">
                  <c:v>105113</c:v>
                </c:pt>
                <c:pt idx="24374">
                  <c:v>105113</c:v>
                </c:pt>
                <c:pt idx="24375">
                  <c:v>105111</c:v>
                </c:pt>
                <c:pt idx="24376">
                  <c:v>105108</c:v>
                </c:pt>
                <c:pt idx="24377">
                  <c:v>105106</c:v>
                </c:pt>
                <c:pt idx="24378">
                  <c:v>105090</c:v>
                </c:pt>
                <c:pt idx="24379">
                  <c:v>105090</c:v>
                </c:pt>
                <c:pt idx="24380">
                  <c:v>105090</c:v>
                </c:pt>
                <c:pt idx="24381">
                  <c:v>105082</c:v>
                </c:pt>
                <c:pt idx="24382">
                  <c:v>105081</c:v>
                </c:pt>
                <c:pt idx="24383">
                  <c:v>105077</c:v>
                </c:pt>
                <c:pt idx="24384">
                  <c:v>105076</c:v>
                </c:pt>
                <c:pt idx="24385">
                  <c:v>105075</c:v>
                </c:pt>
                <c:pt idx="24386">
                  <c:v>105074</c:v>
                </c:pt>
                <c:pt idx="24387">
                  <c:v>105074</c:v>
                </c:pt>
                <c:pt idx="24388">
                  <c:v>105070</c:v>
                </c:pt>
                <c:pt idx="24389">
                  <c:v>105070</c:v>
                </c:pt>
                <c:pt idx="24390">
                  <c:v>105067</c:v>
                </c:pt>
                <c:pt idx="24391">
                  <c:v>105067</c:v>
                </c:pt>
                <c:pt idx="24392">
                  <c:v>105065</c:v>
                </c:pt>
                <c:pt idx="24393">
                  <c:v>105064</c:v>
                </c:pt>
                <c:pt idx="24394">
                  <c:v>105060</c:v>
                </c:pt>
                <c:pt idx="24395">
                  <c:v>105055</c:v>
                </c:pt>
                <c:pt idx="24396">
                  <c:v>105050</c:v>
                </c:pt>
                <c:pt idx="24397">
                  <c:v>105048</c:v>
                </c:pt>
                <c:pt idx="24398">
                  <c:v>105046</c:v>
                </c:pt>
                <c:pt idx="24399">
                  <c:v>105042</c:v>
                </c:pt>
                <c:pt idx="24400">
                  <c:v>105042</c:v>
                </c:pt>
                <c:pt idx="24401">
                  <c:v>105039</c:v>
                </c:pt>
                <c:pt idx="24402">
                  <c:v>105038</c:v>
                </c:pt>
                <c:pt idx="24403">
                  <c:v>105037</c:v>
                </c:pt>
                <c:pt idx="24404">
                  <c:v>105036</c:v>
                </c:pt>
                <c:pt idx="24405">
                  <c:v>105031</c:v>
                </c:pt>
                <c:pt idx="24406">
                  <c:v>105022</c:v>
                </c:pt>
                <c:pt idx="24407">
                  <c:v>105021</c:v>
                </c:pt>
                <c:pt idx="24408">
                  <c:v>105019</c:v>
                </c:pt>
                <c:pt idx="24409">
                  <c:v>105018</c:v>
                </c:pt>
                <c:pt idx="24410">
                  <c:v>105015</c:v>
                </c:pt>
                <c:pt idx="24411">
                  <c:v>105014</c:v>
                </c:pt>
                <c:pt idx="24412">
                  <c:v>105012</c:v>
                </c:pt>
                <c:pt idx="24413">
                  <c:v>105011</c:v>
                </c:pt>
                <c:pt idx="24414">
                  <c:v>105011</c:v>
                </c:pt>
                <c:pt idx="24415">
                  <c:v>105011</c:v>
                </c:pt>
                <c:pt idx="24416">
                  <c:v>105010</c:v>
                </c:pt>
                <c:pt idx="24417">
                  <c:v>105010</c:v>
                </c:pt>
                <c:pt idx="24418">
                  <c:v>105009</c:v>
                </c:pt>
                <c:pt idx="24419">
                  <c:v>105007</c:v>
                </c:pt>
                <c:pt idx="24420">
                  <c:v>105007</c:v>
                </c:pt>
                <c:pt idx="24421">
                  <c:v>105004</c:v>
                </c:pt>
                <c:pt idx="24422">
                  <c:v>105000</c:v>
                </c:pt>
                <c:pt idx="24423">
                  <c:v>104997</c:v>
                </c:pt>
                <c:pt idx="24424">
                  <c:v>104997</c:v>
                </c:pt>
                <c:pt idx="24425">
                  <c:v>104990</c:v>
                </c:pt>
                <c:pt idx="24426">
                  <c:v>104986</c:v>
                </c:pt>
                <c:pt idx="24427">
                  <c:v>104985</c:v>
                </c:pt>
                <c:pt idx="24428">
                  <c:v>104981</c:v>
                </c:pt>
                <c:pt idx="24429">
                  <c:v>104981</c:v>
                </c:pt>
                <c:pt idx="24430">
                  <c:v>104976</c:v>
                </c:pt>
                <c:pt idx="24431">
                  <c:v>104968</c:v>
                </c:pt>
                <c:pt idx="24432">
                  <c:v>104966</c:v>
                </c:pt>
                <c:pt idx="24433">
                  <c:v>104963</c:v>
                </c:pt>
                <c:pt idx="24434">
                  <c:v>104958</c:v>
                </c:pt>
                <c:pt idx="24435">
                  <c:v>104957</c:v>
                </c:pt>
                <c:pt idx="24436">
                  <c:v>104949</c:v>
                </c:pt>
                <c:pt idx="24437">
                  <c:v>104948</c:v>
                </c:pt>
                <c:pt idx="24438">
                  <c:v>104939</c:v>
                </c:pt>
                <c:pt idx="24439">
                  <c:v>104938</c:v>
                </c:pt>
                <c:pt idx="24440">
                  <c:v>104928</c:v>
                </c:pt>
                <c:pt idx="24441">
                  <c:v>104926</c:v>
                </c:pt>
                <c:pt idx="24442">
                  <c:v>104912</c:v>
                </c:pt>
                <c:pt idx="24443">
                  <c:v>104909</c:v>
                </c:pt>
                <c:pt idx="24444">
                  <c:v>104908</c:v>
                </c:pt>
                <c:pt idx="24445">
                  <c:v>104902</c:v>
                </c:pt>
                <c:pt idx="24446">
                  <c:v>104897</c:v>
                </c:pt>
                <c:pt idx="24447">
                  <c:v>104890</c:v>
                </c:pt>
                <c:pt idx="24448">
                  <c:v>104887</c:v>
                </c:pt>
                <c:pt idx="24449">
                  <c:v>104886</c:v>
                </c:pt>
                <c:pt idx="24450">
                  <c:v>104886</c:v>
                </c:pt>
                <c:pt idx="24451">
                  <c:v>104885</c:v>
                </c:pt>
                <c:pt idx="24452">
                  <c:v>104879</c:v>
                </c:pt>
                <c:pt idx="24453">
                  <c:v>104878</c:v>
                </c:pt>
                <c:pt idx="24454">
                  <c:v>104873</c:v>
                </c:pt>
                <c:pt idx="24455">
                  <c:v>104871</c:v>
                </c:pt>
                <c:pt idx="24456">
                  <c:v>104867</c:v>
                </c:pt>
                <c:pt idx="24457">
                  <c:v>104864</c:v>
                </c:pt>
                <c:pt idx="24458">
                  <c:v>104863</c:v>
                </c:pt>
                <c:pt idx="24459">
                  <c:v>104858</c:v>
                </c:pt>
                <c:pt idx="24460">
                  <c:v>104848</c:v>
                </c:pt>
                <c:pt idx="24461">
                  <c:v>104847</c:v>
                </c:pt>
                <c:pt idx="24462">
                  <c:v>104842</c:v>
                </c:pt>
                <c:pt idx="24463">
                  <c:v>104839</c:v>
                </c:pt>
                <c:pt idx="24464">
                  <c:v>104835</c:v>
                </c:pt>
                <c:pt idx="24465">
                  <c:v>104830</c:v>
                </c:pt>
                <c:pt idx="24466">
                  <c:v>104829</c:v>
                </c:pt>
                <c:pt idx="24467">
                  <c:v>104824</c:v>
                </c:pt>
                <c:pt idx="24468">
                  <c:v>104820</c:v>
                </c:pt>
                <c:pt idx="24469">
                  <c:v>104819</c:v>
                </c:pt>
                <c:pt idx="24470">
                  <c:v>104816</c:v>
                </c:pt>
                <c:pt idx="24471">
                  <c:v>104814</c:v>
                </c:pt>
                <c:pt idx="24472">
                  <c:v>104807</c:v>
                </c:pt>
                <c:pt idx="24473">
                  <c:v>104797</c:v>
                </c:pt>
                <c:pt idx="24474">
                  <c:v>104795</c:v>
                </c:pt>
                <c:pt idx="24475">
                  <c:v>104793</c:v>
                </c:pt>
                <c:pt idx="24476">
                  <c:v>104791</c:v>
                </c:pt>
                <c:pt idx="24477">
                  <c:v>104790</c:v>
                </c:pt>
                <c:pt idx="24478">
                  <c:v>104789</c:v>
                </c:pt>
                <c:pt idx="24479">
                  <c:v>104786</c:v>
                </c:pt>
                <c:pt idx="24480">
                  <c:v>104785</c:v>
                </c:pt>
                <c:pt idx="24481">
                  <c:v>104780</c:v>
                </c:pt>
                <c:pt idx="24482">
                  <c:v>104777</c:v>
                </c:pt>
                <c:pt idx="24483">
                  <c:v>104762</c:v>
                </c:pt>
                <c:pt idx="24484">
                  <c:v>104760</c:v>
                </c:pt>
                <c:pt idx="24485">
                  <c:v>104755</c:v>
                </c:pt>
                <c:pt idx="24486">
                  <c:v>104752</c:v>
                </c:pt>
                <c:pt idx="24487">
                  <c:v>104750</c:v>
                </c:pt>
                <c:pt idx="24488">
                  <c:v>104750</c:v>
                </c:pt>
                <c:pt idx="24489">
                  <c:v>104749</c:v>
                </c:pt>
                <c:pt idx="24490">
                  <c:v>104747</c:v>
                </c:pt>
                <c:pt idx="24491">
                  <c:v>104745</c:v>
                </c:pt>
                <c:pt idx="24492">
                  <c:v>104740</c:v>
                </c:pt>
                <c:pt idx="24493">
                  <c:v>104735</c:v>
                </c:pt>
                <c:pt idx="24494">
                  <c:v>104734</c:v>
                </c:pt>
                <c:pt idx="24495">
                  <c:v>104718</c:v>
                </c:pt>
                <c:pt idx="24496">
                  <c:v>104717</c:v>
                </c:pt>
                <c:pt idx="24497">
                  <c:v>104707</c:v>
                </c:pt>
                <c:pt idx="24498">
                  <c:v>104707</c:v>
                </c:pt>
                <c:pt idx="24499">
                  <c:v>104705</c:v>
                </c:pt>
                <c:pt idx="24500">
                  <c:v>104700</c:v>
                </c:pt>
                <c:pt idx="24501">
                  <c:v>104695</c:v>
                </c:pt>
                <c:pt idx="24502">
                  <c:v>104693</c:v>
                </c:pt>
                <c:pt idx="24503">
                  <c:v>104692</c:v>
                </c:pt>
                <c:pt idx="24504">
                  <c:v>104689</c:v>
                </c:pt>
                <c:pt idx="24505">
                  <c:v>104677</c:v>
                </c:pt>
                <c:pt idx="24506">
                  <c:v>104675</c:v>
                </c:pt>
                <c:pt idx="24507">
                  <c:v>104675</c:v>
                </c:pt>
                <c:pt idx="24508">
                  <c:v>104671</c:v>
                </c:pt>
                <c:pt idx="24509">
                  <c:v>104665</c:v>
                </c:pt>
                <c:pt idx="24510">
                  <c:v>104664</c:v>
                </c:pt>
                <c:pt idx="24511">
                  <c:v>104663</c:v>
                </c:pt>
                <c:pt idx="24512">
                  <c:v>104662</c:v>
                </c:pt>
                <c:pt idx="24513">
                  <c:v>104659</c:v>
                </c:pt>
                <c:pt idx="24514">
                  <c:v>104659</c:v>
                </c:pt>
                <c:pt idx="24515">
                  <c:v>104656</c:v>
                </c:pt>
                <c:pt idx="24516">
                  <c:v>104654</c:v>
                </c:pt>
                <c:pt idx="24517">
                  <c:v>104654</c:v>
                </c:pt>
                <c:pt idx="24518">
                  <c:v>104651</c:v>
                </c:pt>
                <c:pt idx="24519">
                  <c:v>104650</c:v>
                </c:pt>
                <c:pt idx="24520">
                  <c:v>104647</c:v>
                </c:pt>
                <c:pt idx="24521">
                  <c:v>104647</c:v>
                </c:pt>
                <c:pt idx="24522">
                  <c:v>104644</c:v>
                </c:pt>
                <c:pt idx="24523">
                  <c:v>104640</c:v>
                </c:pt>
                <c:pt idx="24524">
                  <c:v>104634</c:v>
                </c:pt>
                <c:pt idx="24525">
                  <c:v>104632</c:v>
                </c:pt>
                <c:pt idx="24526">
                  <c:v>104622</c:v>
                </c:pt>
                <c:pt idx="24527">
                  <c:v>104618</c:v>
                </c:pt>
                <c:pt idx="24528">
                  <c:v>104617</c:v>
                </c:pt>
                <c:pt idx="24529">
                  <c:v>104616</c:v>
                </c:pt>
                <c:pt idx="24530">
                  <c:v>104616</c:v>
                </c:pt>
                <c:pt idx="24531">
                  <c:v>104613</c:v>
                </c:pt>
                <c:pt idx="24532">
                  <c:v>104605</c:v>
                </c:pt>
                <c:pt idx="24533">
                  <c:v>104605</c:v>
                </c:pt>
                <c:pt idx="24534">
                  <c:v>104600</c:v>
                </c:pt>
                <c:pt idx="24535">
                  <c:v>104600</c:v>
                </c:pt>
                <c:pt idx="24536">
                  <c:v>104599</c:v>
                </c:pt>
                <c:pt idx="24537">
                  <c:v>104598</c:v>
                </c:pt>
                <c:pt idx="24538">
                  <c:v>104596</c:v>
                </c:pt>
                <c:pt idx="24539">
                  <c:v>104593</c:v>
                </c:pt>
                <c:pt idx="24540">
                  <c:v>104592</c:v>
                </c:pt>
                <c:pt idx="24541">
                  <c:v>104592</c:v>
                </c:pt>
                <c:pt idx="24542">
                  <c:v>104592</c:v>
                </c:pt>
                <c:pt idx="24543">
                  <c:v>104590</c:v>
                </c:pt>
                <c:pt idx="24544">
                  <c:v>104587</c:v>
                </c:pt>
                <c:pt idx="24545">
                  <c:v>104584</c:v>
                </c:pt>
                <c:pt idx="24546">
                  <c:v>104582</c:v>
                </c:pt>
                <c:pt idx="24547">
                  <c:v>104580</c:v>
                </c:pt>
                <c:pt idx="24548">
                  <c:v>104578</c:v>
                </c:pt>
                <c:pt idx="24549">
                  <c:v>104569</c:v>
                </c:pt>
                <c:pt idx="24550">
                  <c:v>104568</c:v>
                </c:pt>
                <c:pt idx="24551">
                  <c:v>104566</c:v>
                </c:pt>
                <c:pt idx="24552">
                  <c:v>104562</c:v>
                </c:pt>
                <c:pt idx="24553">
                  <c:v>104553</c:v>
                </c:pt>
                <c:pt idx="24554">
                  <c:v>104553</c:v>
                </c:pt>
                <c:pt idx="24555">
                  <c:v>104551</c:v>
                </c:pt>
                <c:pt idx="24556">
                  <c:v>104550</c:v>
                </c:pt>
                <c:pt idx="24557">
                  <c:v>104548</c:v>
                </c:pt>
                <c:pt idx="24558">
                  <c:v>104538</c:v>
                </c:pt>
                <c:pt idx="24559">
                  <c:v>104530</c:v>
                </c:pt>
                <c:pt idx="24560">
                  <c:v>104530</c:v>
                </c:pt>
                <c:pt idx="24561">
                  <c:v>104523</c:v>
                </c:pt>
                <c:pt idx="24562">
                  <c:v>104521</c:v>
                </c:pt>
                <c:pt idx="24563">
                  <c:v>104516</c:v>
                </c:pt>
                <c:pt idx="24564">
                  <c:v>104508</c:v>
                </c:pt>
                <c:pt idx="24565">
                  <c:v>104502</c:v>
                </c:pt>
                <c:pt idx="24566">
                  <c:v>104501</c:v>
                </c:pt>
                <c:pt idx="24567">
                  <c:v>104501</c:v>
                </c:pt>
                <c:pt idx="24568">
                  <c:v>104494</c:v>
                </c:pt>
                <c:pt idx="24569">
                  <c:v>104490</c:v>
                </c:pt>
                <c:pt idx="24570">
                  <c:v>104489</c:v>
                </c:pt>
                <c:pt idx="24571">
                  <c:v>104486</c:v>
                </c:pt>
                <c:pt idx="24572">
                  <c:v>104483</c:v>
                </c:pt>
                <c:pt idx="24573">
                  <c:v>104477</c:v>
                </c:pt>
                <c:pt idx="24574">
                  <c:v>104470</c:v>
                </c:pt>
                <c:pt idx="24575">
                  <c:v>104470</c:v>
                </c:pt>
                <c:pt idx="24576">
                  <c:v>104469</c:v>
                </c:pt>
                <c:pt idx="24577">
                  <c:v>104461</c:v>
                </c:pt>
                <c:pt idx="24578">
                  <c:v>104454</c:v>
                </c:pt>
                <c:pt idx="24579">
                  <c:v>104454</c:v>
                </c:pt>
                <c:pt idx="24580">
                  <c:v>104453</c:v>
                </c:pt>
                <c:pt idx="24581">
                  <c:v>104449</c:v>
                </c:pt>
                <c:pt idx="24582">
                  <c:v>104448</c:v>
                </c:pt>
                <c:pt idx="24583">
                  <c:v>104443</c:v>
                </c:pt>
                <c:pt idx="24584">
                  <c:v>104440</c:v>
                </c:pt>
                <c:pt idx="24585">
                  <c:v>104437</c:v>
                </c:pt>
                <c:pt idx="24586">
                  <c:v>104434</c:v>
                </c:pt>
                <c:pt idx="24587">
                  <c:v>104434</c:v>
                </c:pt>
                <c:pt idx="24588">
                  <c:v>104431</c:v>
                </c:pt>
                <c:pt idx="24589">
                  <c:v>104427</c:v>
                </c:pt>
                <c:pt idx="24590">
                  <c:v>104427</c:v>
                </c:pt>
                <c:pt idx="24591">
                  <c:v>104426</c:v>
                </c:pt>
                <c:pt idx="24592">
                  <c:v>104423</c:v>
                </c:pt>
                <c:pt idx="24593">
                  <c:v>104419</c:v>
                </c:pt>
                <c:pt idx="24594">
                  <c:v>104412</c:v>
                </c:pt>
                <c:pt idx="24595">
                  <c:v>104406</c:v>
                </c:pt>
                <c:pt idx="24596">
                  <c:v>104402</c:v>
                </c:pt>
                <c:pt idx="24597">
                  <c:v>104390</c:v>
                </c:pt>
                <c:pt idx="24598">
                  <c:v>104384</c:v>
                </c:pt>
                <c:pt idx="24599">
                  <c:v>104381</c:v>
                </c:pt>
                <c:pt idx="24600">
                  <c:v>104381</c:v>
                </c:pt>
                <c:pt idx="24601">
                  <c:v>104379</c:v>
                </c:pt>
                <c:pt idx="24602">
                  <c:v>104378</c:v>
                </c:pt>
                <c:pt idx="24603">
                  <c:v>104375</c:v>
                </c:pt>
                <c:pt idx="24604">
                  <c:v>104364</c:v>
                </c:pt>
                <c:pt idx="24605">
                  <c:v>104363</c:v>
                </c:pt>
                <c:pt idx="24606">
                  <c:v>104356</c:v>
                </c:pt>
                <c:pt idx="24607">
                  <c:v>104355</c:v>
                </c:pt>
                <c:pt idx="24608">
                  <c:v>104354</c:v>
                </c:pt>
                <c:pt idx="24609">
                  <c:v>104353</c:v>
                </c:pt>
                <c:pt idx="24610">
                  <c:v>104353</c:v>
                </c:pt>
                <c:pt idx="24611">
                  <c:v>104350</c:v>
                </c:pt>
                <c:pt idx="24612">
                  <c:v>104347</c:v>
                </c:pt>
                <c:pt idx="24613">
                  <c:v>104346</c:v>
                </c:pt>
                <c:pt idx="24614">
                  <c:v>104345</c:v>
                </c:pt>
                <c:pt idx="24615">
                  <c:v>104343</c:v>
                </c:pt>
                <c:pt idx="24616">
                  <c:v>104339</c:v>
                </c:pt>
                <c:pt idx="24617">
                  <c:v>104338</c:v>
                </c:pt>
                <c:pt idx="24618">
                  <c:v>104334</c:v>
                </c:pt>
                <c:pt idx="24619">
                  <c:v>104332</c:v>
                </c:pt>
                <c:pt idx="24620">
                  <c:v>104332</c:v>
                </c:pt>
                <c:pt idx="24621">
                  <c:v>104330</c:v>
                </c:pt>
                <c:pt idx="24622">
                  <c:v>104329</c:v>
                </c:pt>
                <c:pt idx="24623">
                  <c:v>104323</c:v>
                </c:pt>
                <c:pt idx="24624">
                  <c:v>104321</c:v>
                </c:pt>
                <c:pt idx="24625">
                  <c:v>104319</c:v>
                </c:pt>
                <c:pt idx="24626">
                  <c:v>104318</c:v>
                </c:pt>
                <c:pt idx="24627">
                  <c:v>104311</c:v>
                </c:pt>
                <c:pt idx="24628">
                  <c:v>104311</c:v>
                </c:pt>
                <c:pt idx="24629">
                  <c:v>104302</c:v>
                </c:pt>
                <c:pt idx="24630">
                  <c:v>104301</c:v>
                </c:pt>
                <c:pt idx="24631">
                  <c:v>104299</c:v>
                </c:pt>
                <c:pt idx="24632">
                  <c:v>104297</c:v>
                </c:pt>
                <c:pt idx="24633">
                  <c:v>104292</c:v>
                </c:pt>
                <c:pt idx="24634">
                  <c:v>104292</c:v>
                </c:pt>
                <c:pt idx="24635">
                  <c:v>104286</c:v>
                </c:pt>
                <c:pt idx="24636">
                  <c:v>104279</c:v>
                </c:pt>
                <c:pt idx="24637">
                  <c:v>104278</c:v>
                </c:pt>
                <c:pt idx="24638">
                  <c:v>104267</c:v>
                </c:pt>
                <c:pt idx="24639">
                  <c:v>104263</c:v>
                </c:pt>
                <c:pt idx="24640">
                  <c:v>104262</c:v>
                </c:pt>
                <c:pt idx="24641">
                  <c:v>104255</c:v>
                </c:pt>
                <c:pt idx="24642">
                  <c:v>104254</c:v>
                </c:pt>
                <c:pt idx="24643">
                  <c:v>104246</c:v>
                </c:pt>
                <c:pt idx="24644">
                  <c:v>104244</c:v>
                </c:pt>
                <c:pt idx="24645">
                  <c:v>104241</c:v>
                </c:pt>
                <c:pt idx="24646">
                  <c:v>104231</c:v>
                </c:pt>
                <c:pt idx="24647">
                  <c:v>104229</c:v>
                </c:pt>
                <c:pt idx="24648">
                  <c:v>104225</c:v>
                </c:pt>
                <c:pt idx="24649">
                  <c:v>104225</c:v>
                </c:pt>
                <c:pt idx="24650">
                  <c:v>104221</c:v>
                </c:pt>
                <c:pt idx="24651">
                  <c:v>104211</c:v>
                </c:pt>
                <c:pt idx="24652">
                  <c:v>104209</c:v>
                </c:pt>
                <c:pt idx="24653">
                  <c:v>104208</c:v>
                </c:pt>
                <c:pt idx="24654">
                  <c:v>104207</c:v>
                </c:pt>
                <c:pt idx="24655">
                  <c:v>104206</c:v>
                </c:pt>
                <c:pt idx="24656">
                  <c:v>104204</c:v>
                </c:pt>
                <c:pt idx="24657">
                  <c:v>104202</c:v>
                </c:pt>
                <c:pt idx="24658">
                  <c:v>104198</c:v>
                </c:pt>
                <c:pt idx="24659">
                  <c:v>104193</c:v>
                </c:pt>
                <c:pt idx="24660">
                  <c:v>104192</c:v>
                </c:pt>
                <c:pt idx="24661">
                  <c:v>104188</c:v>
                </c:pt>
                <c:pt idx="24662">
                  <c:v>104181</c:v>
                </c:pt>
                <c:pt idx="24663">
                  <c:v>104168</c:v>
                </c:pt>
                <c:pt idx="24664">
                  <c:v>104153</c:v>
                </c:pt>
                <c:pt idx="24665">
                  <c:v>104151</c:v>
                </c:pt>
                <c:pt idx="24666">
                  <c:v>104149</c:v>
                </c:pt>
                <c:pt idx="24667">
                  <c:v>104145</c:v>
                </c:pt>
                <c:pt idx="24668">
                  <c:v>104144</c:v>
                </c:pt>
                <c:pt idx="24669">
                  <c:v>104144</c:v>
                </c:pt>
                <c:pt idx="24670">
                  <c:v>104140</c:v>
                </c:pt>
                <c:pt idx="24671">
                  <c:v>104140</c:v>
                </c:pt>
                <c:pt idx="24672">
                  <c:v>104140</c:v>
                </c:pt>
                <c:pt idx="24673">
                  <c:v>104139</c:v>
                </c:pt>
                <c:pt idx="24674">
                  <c:v>104137</c:v>
                </c:pt>
                <c:pt idx="24675">
                  <c:v>104135</c:v>
                </c:pt>
                <c:pt idx="24676">
                  <c:v>104135</c:v>
                </c:pt>
                <c:pt idx="24677">
                  <c:v>104135</c:v>
                </c:pt>
                <c:pt idx="24678">
                  <c:v>104132</c:v>
                </c:pt>
                <c:pt idx="24679">
                  <c:v>104125</c:v>
                </c:pt>
                <c:pt idx="24680">
                  <c:v>104125</c:v>
                </c:pt>
                <c:pt idx="24681">
                  <c:v>104125</c:v>
                </c:pt>
                <c:pt idx="24682">
                  <c:v>104124</c:v>
                </c:pt>
                <c:pt idx="24683">
                  <c:v>104118</c:v>
                </c:pt>
                <c:pt idx="24684">
                  <c:v>104113</c:v>
                </c:pt>
                <c:pt idx="24685">
                  <c:v>104108</c:v>
                </c:pt>
                <c:pt idx="24686">
                  <c:v>104103</c:v>
                </c:pt>
                <c:pt idx="24687">
                  <c:v>104093</c:v>
                </c:pt>
                <c:pt idx="24688">
                  <c:v>104092</c:v>
                </c:pt>
                <c:pt idx="24689">
                  <c:v>104092</c:v>
                </c:pt>
                <c:pt idx="24690">
                  <c:v>104091</c:v>
                </c:pt>
                <c:pt idx="24691">
                  <c:v>104089</c:v>
                </c:pt>
                <c:pt idx="24692">
                  <c:v>104080</c:v>
                </c:pt>
                <c:pt idx="24693">
                  <c:v>104079</c:v>
                </c:pt>
                <c:pt idx="24694">
                  <c:v>104079</c:v>
                </c:pt>
                <c:pt idx="24695">
                  <c:v>104072</c:v>
                </c:pt>
                <c:pt idx="24696">
                  <c:v>104070</c:v>
                </c:pt>
                <c:pt idx="24697">
                  <c:v>104069</c:v>
                </c:pt>
                <c:pt idx="24698">
                  <c:v>104068</c:v>
                </c:pt>
                <c:pt idx="24699">
                  <c:v>104067</c:v>
                </c:pt>
                <c:pt idx="24700">
                  <c:v>104066</c:v>
                </c:pt>
                <c:pt idx="24701">
                  <c:v>104063</c:v>
                </c:pt>
                <c:pt idx="24702">
                  <c:v>104056</c:v>
                </c:pt>
                <c:pt idx="24703">
                  <c:v>104052</c:v>
                </c:pt>
                <c:pt idx="24704">
                  <c:v>104047</c:v>
                </c:pt>
                <c:pt idx="24705">
                  <c:v>104043</c:v>
                </c:pt>
                <c:pt idx="24706">
                  <c:v>104035</c:v>
                </c:pt>
                <c:pt idx="24707">
                  <c:v>104026</c:v>
                </c:pt>
                <c:pt idx="24708">
                  <c:v>104024</c:v>
                </c:pt>
                <c:pt idx="24709">
                  <c:v>104011</c:v>
                </c:pt>
                <c:pt idx="24710">
                  <c:v>104009</c:v>
                </c:pt>
                <c:pt idx="24711">
                  <c:v>104008</c:v>
                </c:pt>
                <c:pt idx="24712">
                  <c:v>104005</c:v>
                </c:pt>
                <c:pt idx="24713">
                  <c:v>104003</c:v>
                </c:pt>
                <c:pt idx="24714">
                  <c:v>104002</c:v>
                </c:pt>
                <c:pt idx="24715">
                  <c:v>104002</c:v>
                </c:pt>
                <c:pt idx="24716">
                  <c:v>103997</c:v>
                </c:pt>
                <c:pt idx="24717">
                  <c:v>103994</c:v>
                </c:pt>
                <c:pt idx="24718">
                  <c:v>103993</c:v>
                </c:pt>
                <c:pt idx="24719">
                  <c:v>103992</c:v>
                </c:pt>
                <c:pt idx="24720">
                  <c:v>103991</c:v>
                </c:pt>
                <c:pt idx="24721">
                  <c:v>103986</c:v>
                </c:pt>
                <c:pt idx="24722">
                  <c:v>103983</c:v>
                </c:pt>
                <c:pt idx="24723">
                  <c:v>103980</c:v>
                </c:pt>
                <c:pt idx="24724">
                  <c:v>103978</c:v>
                </c:pt>
                <c:pt idx="24725">
                  <c:v>103972</c:v>
                </c:pt>
                <c:pt idx="24726">
                  <c:v>103959</c:v>
                </c:pt>
                <c:pt idx="24727">
                  <c:v>103958</c:v>
                </c:pt>
                <c:pt idx="24728">
                  <c:v>103957</c:v>
                </c:pt>
                <c:pt idx="24729">
                  <c:v>103953</c:v>
                </c:pt>
                <c:pt idx="24730">
                  <c:v>103952</c:v>
                </c:pt>
                <c:pt idx="24731">
                  <c:v>103951</c:v>
                </c:pt>
                <c:pt idx="24732">
                  <c:v>103943</c:v>
                </c:pt>
                <c:pt idx="24733">
                  <c:v>103943</c:v>
                </c:pt>
                <c:pt idx="24734">
                  <c:v>103940</c:v>
                </c:pt>
                <c:pt idx="24735">
                  <c:v>103933</c:v>
                </c:pt>
                <c:pt idx="24736">
                  <c:v>103932</c:v>
                </c:pt>
                <c:pt idx="24737">
                  <c:v>103928</c:v>
                </c:pt>
                <c:pt idx="24738">
                  <c:v>103923</c:v>
                </c:pt>
                <c:pt idx="24739">
                  <c:v>103923</c:v>
                </c:pt>
                <c:pt idx="24740">
                  <c:v>103914</c:v>
                </c:pt>
                <c:pt idx="24741">
                  <c:v>103902</c:v>
                </c:pt>
                <c:pt idx="24742">
                  <c:v>103899</c:v>
                </c:pt>
                <c:pt idx="24743">
                  <c:v>103889</c:v>
                </c:pt>
                <c:pt idx="24744">
                  <c:v>103886</c:v>
                </c:pt>
                <c:pt idx="24745">
                  <c:v>103878</c:v>
                </c:pt>
                <c:pt idx="24746">
                  <c:v>103878</c:v>
                </c:pt>
                <c:pt idx="24747">
                  <c:v>103867</c:v>
                </c:pt>
                <c:pt idx="24748">
                  <c:v>103865</c:v>
                </c:pt>
                <c:pt idx="24749">
                  <c:v>103862</c:v>
                </c:pt>
                <c:pt idx="24750">
                  <c:v>103862</c:v>
                </c:pt>
                <c:pt idx="24751">
                  <c:v>103859</c:v>
                </c:pt>
                <c:pt idx="24752">
                  <c:v>103855</c:v>
                </c:pt>
                <c:pt idx="24753">
                  <c:v>103853</c:v>
                </c:pt>
                <c:pt idx="24754">
                  <c:v>103851</c:v>
                </c:pt>
                <c:pt idx="24755">
                  <c:v>103849</c:v>
                </c:pt>
                <c:pt idx="24756">
                  <c:v>103848</c:v>
                </c:pt>
                <c:pt idx="24757">
                  <c:v>103838</c:v>
                </c:pt>
                <c:pt idx="24758">
                  <c:v>103838</c:v>
                </c:pt>
                <c:pt idx="24759">
                  <c:v>103834</c:v>
                </c:pt>
                <c:pt idx="24760">
                  <c:v>103825</c:v>
                </c:pt>
                <c:pt idx="24761">
                  <c:v>103818</c:v>
                </c:pt>
                <c:pt idx="24762">
                  <c:v>103816</c:v>
                </c:pt>
                <c:pt idx="24763">
                  <c:v>103812</c:v>
                </c:pt>
                <c:pt idx="24764">
                  <c:v>103810</c:v>
                </c:pt>
                <c:pt idx="24765">
                  <c:v>103808</c:v>
                </c:pt>
                <c:pt idx="24766">
                  <c:v>103802</c:v>
                </c:pt>
                <c:pt idx="24767">
                  <c:v>103794</c:v>
                </c:pt>
                <c:pt idx="24768">
                  <c:v>103794</c:v>
                </c:pt>
                <c:pt idx="24769">
                  <c:v>103793</c:v>
                </c:pt>
                <c:pt idx="24770">
                  <c:v>103792</c:v>
                </c:pt>
                <c:pt idx="24771">
                  <c:v>103791</c:v>
                </c:pt>
                <c:pt idx="24772">
                  <c:v>103788</c:v>
                </c:pt>
                <c:pt idx="24773">
                  <c:v>103787</c:v>
                </c:pt>
                <c:pt idx="24774">
                  <c:v>103787</c:v>
                </c:pt>
                <c:pt idx="24775">
                  <c:v>103783</c:v>
                </c:pt>
                <c:pt idx="24776">
                  <c:v>103780</c:v>
                </c:pt>
                <c:pt idx="24777">
                  <c:v>103779</c:v>
                </c:pt>
                <c:pt idx="24778">
                  <c:v>103767</c:v>
                </c:pt>
                <c:pt idx="24779">
                  <c:v>103766</c:v>
                </c:pt>
                <c:pt idx="24780">
                  <c:v>103765</c:v>
                </c:pt>
                <c:pt idx="24781">
                  <c:v>103762</c:v>
                </c:pt>
                <c:pt idx="24782">
                  <c:v>103759</c:v>
                </c:pt>
                <c:pt idx="24783">
                  <c:v>103758</c:v>
                </c:pt>
                <c:pt idx="24784">
                  <c:v>103746</c:v>
                </c:pt>
                <c:pt idx="24785">
                  <c:v>103744</c:v>
                </c:pt>
                <c:pt idx="24786">
                  <c:v>103743</c:v>
                </c:pt>
                <c:pt idx="24787">
                  <c:v>103742</c:v>
                </c:pt>
                <c:pt idx="24788">
                  <c:v>103737</c:v>
                </c:pt>
                <c:pt idx="24789">
                  <c:v>103732</c:v>
                </c:pt>
                <c:pt idx="24790">
                  <c:v>103726</c:v>
                </c:pt>
                <c:pt idx="24791">
                  <c:v>103721</c:v>
                </c:pt>
                <c:pt idx="24792">
                  <c:v>103720</c:v>
                </c:pt>
                <c:pt idx="24793">
                  <c:v>103719</c:v>
                </c:pt>
                <c:pt idx="24794">
                  <c:v>103717</c:v>
                </c:pt>
                <c:pt idx="24795">
                  <c:v>103714</c:v>
                </c:pt>
                <c:pt idx="24796">
                  <c:v>103710</c:v>
                </c:pt>
                <c:pt idx="24797">
                  <c:v>103709</c:v>
                </c:pt>
                <c:pt idx="24798">
                  <c:v>103708</c:v>
                </c:pt>
                <c:pt idx="24799">
                  <c:v>103705</c:v>
                </c:pt>
                <c:pt idx="24800">
                  <c:v>103696</c:v>
                </c:pt>
                <c:pt idx="24801">
                  <c:v>103696</c:v>
                </c:pt>
                <c:pt idx="24802">
                  <c:v>103696</c:v>
                </c:pt>
                <c:pt idx="24803">
                  <c:v>103692</c:v>
                </c:pt>
                <c:pt idx="24804">
                  <c:v>103690</c:v>
                </c:pt>
                <c:pt idx="24805">
                  <c:v>103686</c:v>
                </c:pt>
                <c:pt idx="24806">
                  <c:v>103685</c:v>
                </c:pt>
                <c:pt idx="24807">
                  <c:v>103678</c:v>
                </c:pt>
                <c:pt idx="24808">
                  <c:v>103678</c:v>
                </c:pt>
                <c:pt idx="24809">
                  <c:v>103675</c:v>
                </c:pt>
                <c:pt idx="24810">
                  <c:v>103674</c:v>
                </c:pt>
                <c:pt idx="24811">
                  <c:v>103665</c:v>
                </c:pt>
                <c:pt idx="24812">
                  <c:v>103663</c:v>
                </c:pt>
                <c:pt idx="24813">
                  <c:v>103662</c:v>
                </c:pt>
                <c:pt idx="24814">
                  <c:v>103661</c:v>
                </c:pt>
                <c:pt idx="24815">
                  <c:v>103658</c:v>
                </c:pt>
                <c:pt idx="24816">
                  <c:v>103657</c:v>
                </c:pt>
                <c:pt idx="24817">
                  <c:v>103655</c:v>
                </c:pt>
                <c:pt idx="24818">
                  <c:v>103652</c:v>
                </c:pt>
                <c:pt idx="24819">
                  <c:v>103646</c:v>
                </c:pt>
                <c:pt idx="24820">
                  <c:v>103644</c:v>
                </c:pt>
                <c:pt idx="24821">
                  <c:v>103642</c:v>
                </c:pt>
                <c:pt idx="24822">
                  <c:v>103642</c:v>
                </c:pt>
                <c:pt idx="24823">
                  <c:v>103638</c:v>
                </c:pt>
                <c:pt idx="24824">
                  <c:v>103626</c:v>
                </c:pt>
                <c:pt idx="24825">
                  <c:v>103617</c:v>
                </c:pt>
                <c:pt idx="24826">
                  <c:v>103617</c:v>
                </c:pt>
                <c:pt idx="24827">
                  <c:v>103616</c:v>
                </c:pt>
                <c:pt idx="24828">
                  <c:v>103615</c:v>
                </c:pt>
                <c:pt idx="24829">
                  <c:v>103613</c:v>
                </c:pt>
                <c:pt idx="24830">
                  <c:v>103610</c:v>
                </c:pt>
                <c:pt idx="24831">
                  <c:v>103601</c:v>
                </c:pt>
                <c:pt idx="24832">
                  <c:v>103592</c:v>
                </c:pt>
                <c:pt idx="24833">
                  <c:v>103591</c:v>
                </c:pt>
                <c:pt idx="24834">
                  <c:v>103588</c:v>
                </c:pt>
                <c:pt idx="24835">
                  <c:v>103583</c:v>
                </c:pt>
                <c:pt idx="24836">
                  <c:v>103580</c:v>
                </c:pt>
                <c:pt idx="24837">
                  <c:v>103572</c:v>
                </c:pt>
                <c:pt idx="24838">
                  <c:v>103572</c:v>
                </c:pt>
                <c:pt idx="24839">
                  <c:v>103571</c:v>
                </c:pt>
                <c:pt idx="24840">
                  <c:v>103556</c:v>
                </c:pt>
                <c:pt idx="24841">
                  <c:v>103555</c:v>
                </c:pt>
                <c:pt idx="24842">
                  <c:v>103552</c:v>
                </c:pt>
                <c:pt idx="24843">
                  <c:v>103551</c:v>
                </c:pt>
                <c:pt idx="24844">
                  <c:v>103538</c:v>
                </c:pt>
                <c:pt idx="24845">
                  <c:v>103537</c:v>
                </c:pt>
                <c:pt idx="24846">
                  <c:v>103530</c:v>
                </c:pt>
                <c:pt idx="24847">
                  <c:v>103523</c:v>
                </c:pt>
                <c:pt idx="24848">
                  <c:v>103519</c:v>
                </c:pt>
                <c:pt idx="24849">
                  <c:v>103518</c:v>
                </c:pt>
                <c:pt idx="24850">
                  <c:v>103517</c:v>
                </c:pt>
                <c:pt idx="24851">
                  <c:v>103515</c:v>
                </c:pt>
                <c:pt idx="24852">
                  <c:v>103510</c:v>
                </c:pt>
                <c:pt idx="24853">
                  <c:v>103506</c:v>
                </c:pt>
                <c:pt idx="24854">
                  <c:v>103506</c:v>
                </c:pt>
                <c:pt idx="24855">
                  <c:v>103501</c:v>
                </c:pt>
                <c:pt idx="24856">
                  <c:v>103497</c:v>
                </c:pt>
                <c:pt idx="24857">
                  <c:v>103497</c:v>
                </c:pt>
                <c:pt idx="24858">
                  <c:v>103496</c:v>
                </c:pt>
                <c:pt idx="24859">
                  <c:v>103490</c:v>
                </c:pt>
                <c:pt idx="24860">
                  <c:v>103488</c:v>
                </c:pt>
                <c:pt idx="24861">
                  <c:v>103484</c:v>
                </c:pt>
                <c:pt idx="24862">
                  <c:v>103481</c:v>
                </c:pt>
                <c:pt idx="24863">
                  <c:v>103477</c:v>
                </c:pt>
                <c:pt idx="24864">
                  <c:v>103474</c:v>
                </c:pt>
                <c:pt idx="24865">
                  <c:v>103469</c:v>
                </c:pt>
                <c:pt idx="24866">
                  <c:v>103456</c:v>
                </c:pt>
                <c:pt idx="24867">
                  <c:v>103449</c:v>
                </c:pt>
                <c:pt idx="24868">
                  <c:v>103447</c:v>
                </c:pt>
                <c:pt idx="24869">
                  <c:v>103440</c:v>
                </c:pt>
                <c:pt idx="24870">
                  <c:v>103439</c:v>
                </c:pt>
                <c:pt idx="24871">
                  <c:v>103435</c:v>
                </c:pt>
                <c:pt idx="24872">
                  <c:v>103431</c:v>
                </c:pt>
                <c:pt idx="24873">
                  <c:v>103427</c:v>
                </c:pt>
                <c:pt idx="24874">
                  <c:v>103425</c:v>
                </c:pt>
                <c:pt idx="24875">
                  <c:v>103421</c:v>
                </c:pt>
                <c:pt idx="24876">
                  <c:v>103417</c:v>
                </c:pt>
                <c:pt idx="24877">
                  <c:v>103417</c:v>
                </c:pt>
                <c:pt idx="24878">
                  <c:v>103416</c:v>
                </c:pt>
                <c:pt idx="24879">
                  <c:v>103414</c:v>
                </c:pt>
                <c:pt idx="24880">
                  <c:v>103411</c:v>
                </c:pt>
                <c:pt idx="24881">
                  <c:v>103402</c:v>
                </c:pt>
                <c:pt idx="24882">
                  <c:v>103395</c:v>
                </c:pt>
                <c:pt idx="24883">
                  <c:v>103393</c:v>
                </c:pt>
                <c:pt idx="24884">
                  <c:v>103393</c:v>
                </c:pt>
                <c:pt idx="24885">
                  <c:v>103392</c:v>
                </c:pt>
                <c:pt idx="24886">
                  <c:v>103391</c:v>
                </c:pt>
                <c:pt idx="24887">
                  <c:v>103381</c:v>
                </c:pt>
                <c:pt idx="24888">
                  <c:v>103376</c:v>
                </c:pt>
                <c:pt idx="24889">
                  <c:v>103375</c:v>
                </c:pt>
                <c:pt idx="24890">
                  <c:v>103370</c:v>
                </c:pt>
                <c:pt idx="24891">
                  <c:v>103367</c:v>
                </c:pt>
                <c:pt idx="24892">
                  <c:v>103359</c:v>
                </c:pt>
                <c:pt idx="24893">
                  <c:v>103358</c:v>
                </c:pt>
                <c:pt idx="24894">
                  <c:v>103358</c:v>
                </c:pt>
                <c:pt idx="24895">
                  <c:v>103354</c:v>
                </c:pt>
                <c:pt idx="24896">
                  <c:v>103353</c:v>
                </c:pt>
                <c:pt idx="24897">
                  <c:v>103352</c:v>
                </c:pt>
                <c:pt idx="24898">
                  <c:v>103351</c:v>
                </c:pt>
                <c:pt idx="24899">
                  <c:v>103347</c:v>
                </c:pt>
                <c:pt idx="24900">
                  <c:v>103343</c:v>
                </c:pt>
                <c:pt idx="24901">
                  <c:v>103340</c:v>
                </c:pt>
                <c:pt idx="24902">
                  <c:v>103331</c:v>
                </c:pt>
                <c:pt idx="24903">
                  <c:v>103329</c:v>
                </c:pt>
                <c:pt idx="24904">
                  <c:v>103326</c:v>
                </c:pt>
                <c:pt idx="24905">
                  <c:v>103322</c:v>
                </c:pt>
                <c:pt idx="24906">
                  <c:v>103318</c:v>
                </c:pt>
                <c:pt idx="24907">
                  <c:v>103314</c:v>
                </c:pt>
                <c:pt idx="24908">
                  <c:v>103311</c:v>
                </c:pt>
                <c:pt idx="24909">
                  <c:v>103304</c:v>
                </c:pt>
                <c:pt idx="24910">
                  <c:v>103302</c:v>
                </c:pt>
                <c:pt idx="24911">
                  <c:v>103300</c:v>
                </c:pt>
                <c:pt idx="24912">
                  <c:v>103297</c:v>
                </c:pt>
                <c:pt idx="24913">
                  <c:v>103281</c:v>
                </c:pt>
                <c:pt idx="24914">
                  <c:v>103281</c:v>
                </c:pt>
                <c:pt idx="24915">
                  <c:v>103277</c:v>
                </c:pt>
                <c:pt idx="24916">
                  <c:v>103267</c:v>
                </c:pt>
                <c:pt idx="24917">
                  <c:v>103267</c:v>
                </c:pt>
                <c:pt idx="24918">
                  <c:v>103256</c:v>
                </c:pt>
                <c:pt idx="24919">
                  <c:v>103255</c:v>
                </c:pt>
                <c:pt idx="24920">
                  <c:v>103253</c:v>
                </c:pt>
                <c:pt idx="24921">
                  <c:v>103250</c:v>
                </c:pt>
                <c:pt idx="24922">
                  <c:v>103245</c:v>
                </c:pt>
                <c:pt idx="24923">
                  <c:v>103243</c:v>
                </c:pt>
                <c:pt idx="24924">
                  <c:v>103237</c:v>
                </c:pt>
                <c:pt idx="24925">
                  <c:v>103234</c:v>
                </c:pt>
                <c:pt idx="24926">
                  <c:v>103232</c:v>
                </c:pt>
                <c:pt idx="24927">
                  <c:v>103229</c:v>
                </c:pt>
                <c:pt idx="24928">
                  <c:v>103226</c:v>
                </c:pt>
                <c:pt idx="24929">
                  <c:v>103225</c:v>
                </c:pt>
                <c:pt idx="24930">
                  <c:v>103225</c:v>
                </c:pt>
                <c:pt idx="24931">
                  <c:v>103211</c:v>
                </c:pt>
                <c:pt idx="24932">
                  <c:v>103203</c:v>
                </c:pt>
                <c:pt idx="24933">
                  <c:v>103201</c:v>
                </c:pt>
                <c:pt idx="24934">
                  <c:v>103201</c:v>
                </c:pt>
                <c:pt idx="24935">
                  <c:v>103200</c:v>
                </c:pt>
                <c:pt idx="24936">
                  <c:v>103199</c:v>
                </c:pt>
                <c:pt idx="24937">
                  <c:v>103196</c:v>
                </c:pt>
                <c:pt idx="24938">
                  <c:v>103192</c:v>
                </c:pt>
                <c:pt idx="24939">
                  <c:v>103191</c:v>
                </c:pt>
                <c:pt idx="24940">
                  <c:v>103189</c:v>
                </c:pt>
                <c:pt idx="24941">
                  <c:v>103188</c:v>
                </c:pt>
                <c:pt idx="24942">
                  <c:v>103185</c:v>
                </c:pt>
                <c:pt idx="24943">
                  <c:v>103183</c:v>
                </c:pt>
                <c:pt idx="24944">
                  <c:v>103172</c:v>
                </c:pt>
                <c:pt idx="24945">
                  <c:v>103170</c:v>
                </c:pt>
                <c:pt idx="24946">
                  <c:v>103168</c:v>
                </c:pt>
                <c:pt idx="24947">
                  <c:v>103168</c:v>
                </c:pt>
                <c:pt idx="24948">
                  <c:v>103161</c:v>
                </c:pt>
                <c:pt idx="24949">
                  <c:v>103160</c:v>
                </c:pt>
                <c:pt idx="24950">
                  <c:v>103153</c:v>
                </c:pt>
                <c:pt idx="24951">
                  <c:v>103148</c:v>
                </c:pt>
                <c:pt idx="24952">
                  <c:v>103139</c:v>
                </c:pt>
                <c:pt idx="24953">
                  <c:v>103138</c:v>
                </c:pt>
                <c:pt idx="24954">
                  <c:v>103132</c:v>
                </c:pt>
                <c:pt idx="24955">
                  <c:v>103129</c:v>
                </c:pt>
                <c:pt idx="24956">
                  <c:v>103128</c:v>
                </c:pt>
                <c:pt idx="24957">
                  <c:v>103123</c:v>
                </c:pt>
                <c:pt idx="24958">
                  <c:v>103118</c:v>
                </c:pt>
                <c:pt idx="24959">
                  <c:v>103109</c:v>
                </c:pt>
                <c:pt idx="24960">
                  <c:v>103105</c:v>
                </c:pt>
                <c:pt idx="24961">
                  <c:v>103105</c:v>
                </c:pt>
                <c:pt idx="24962">
                  <c:v>103103</c:v>
                </c:pt>
                <c:pt idx="24963">
                  <c:v>103102</c:v>
                </c:pt>
                <c:pt idx="24964">
                  <c:v>103100</c:v>
                </c:pt>
                <c:pt idx="24965">
                  <c:v>103086</c:v>
                </c:pt>
                <c:pt idx="24966">
                  <c:v>103082</c:v>
                </c:pt>
                <c:pt idx="24967">
                  <c:v>103081</c:v>
                </c:pt>
                <c:pt idx="24968">
                  <c:v>103080</c:v>
                </c:pt>
                <c:pt idx="24969">
                  <c:v>103076</c:v>
                </c:pt>
                <c:pt idx="24970">
                  <c:v>103076</c:v>
                </c:pt>
                <c:pt idx="24971">
                  <c:v>103073</c:v>
                </c:pt>
                <c:pt idx="24972">
                  <c:v>103071</c:v>
                </c:pt>
                <c:pt idx="24973">
                  <c:v>103069</c:v>
                </c:pt>
                <c:pt idx="24974">
                  <c:v>103065</c:v>
                </c:pt>
                <c:pt idx="24975">
                  <c:v>103064</c:v>
                </c:pt>
                <c:pt idx="24976">
                  <c:v>103063</c:v>
                </c:pt>
                <c:pt idx="24977">
                  <c:v>103062</c:v>
                </c:pt>
                <c:pt idx="24978">
                  <c:v>103060</c:v>
                </c:pt>
                <c:pt idx="24979">
                  <c:v>103060</c:v>
                </c:pt>
                <c:pt idx="24980">
                  <c:v>103058</c:v>
                </c:pt>
                <c:pt idx="24981">
                  <c:v>103055</c:v>
                </c:pt>
                <c:pt idx="24982">
                  <c:v>103053</c:v>
                </c:pt>
                <c:pt idx="24983">
                  <c:v>103050</c:v>
                </c:pt>
                <c:pt idx="24984">
                  <c:v>103047</c:v>
                </c:pt>
                <c:pt idx="24985">
                  <c:v>103042</c:v>
                </c:pt>
                <c:pt idx="24986">
                  <c:v>103034</c:v>
                </c:pt>
                <c:pt idx="24987">
                  <c:v>103033</c:v>
                </c:pt>
                <c:pt idx="24988">
                  <c:v>103029</c:v>
                </c:pt>
                <c:pt idx="24989">
                  <c:v>103029</c:v>
                </c:pt>
                <c:pt idx="24990">
                  <c:v>103026</c:v>
                </c:pt>
                <c:pt idx="24991">
                  <c:v>103022</c:v>
                </c:pt>
                <c:pt idx="24992">
                  <c:v>103015</c:v>
                </c:pt>
                <c:pt idx="24993">
                  <c:v>103002</c:v>
                </c:pt>
                <c:pt idx="24994">
                  <c:v>103000</c:v>
                </c:pt>
                <c:pt idx="24995">
                  <c:v>103000</c:v>
                </c:pt>
                <c:pt idx="24996">
                  <c:v>102995</c:v>
                </c:pt>
                <c:pt idx="24997">
                  <c:v>102993</c:v>
                </c:pt>
                <c:pt idx="24998">
                  <c:v>102988</c:v>
                </c:pt>
                <c:pt idx="24999">
                  <c:v>102984</c:v>
                </c:pt>
                <c:pt idx="25000">
                  <c:v>102982</c:v>
                </c:pt>
                <c:pt idx="25001">
                  <c:v>102976</c:v>
                </c:pt>
                <c:pt idx="25002">
                  <c:v>102967</c:v>
                </c:pt>
                <c:pt idx="25003">
                  <c:v>102966</c:v>
                </c:pt>
                <c:pt idx="25004">
                  <c:v>102962</c:v>
                </c:pt>
                <c:pt idx="25005">
                  <c:v>102960</c:v>
                </c:pt>
                <c:pt idx="25006">
                  <c:v>102958</c:v>
                </c:pt>
                <c:pt idx="25007">
                  <c:v>102956</c:v>
                </c:pt>
                <c:pt idx="25008">
                  <c:v>102951</c:v>
                </c:pt>
                <c:pt idx="25009">
                  <c:v>102950</c:v>
                </c:pt>
                <c:pt idx="25010">
                  <c:v>102943</c:v>
                </c:pt>
                <c:pt idx="25011">
                  <c:v>102943</c:v>
                </c:pt>
                <c:pt idx="25012">
                  <c:v>102941</c:v>
                </c:pt>
                <c:pt idx="25013">
                  <c:v>102919</c:v>
                </c:pt>
                <c:pt idx="25014">
                  <c:v>102917</c:v>
                </c:pt>
                <c:pt idx="25015">
                  <c:v>102912</c:v>
                </c:pt>
                <c:pt idx="25016">
                  <c:v>102912</c:v>
                </c:pt>
                <c:pt idx="25017">
                  <c:v>102911</c:v>
                </c:pt>
                <c:pt idx="25018">
                  <c:v>102910</c:v>
                </c:pt>
                <c:pt idx="25019">
                  <c:v>102900</c:v>
                </c:pt>
                <c:pt idx="25020">
                  <c:v>102895</c:v>
                </c:pt>
                <c:pt idx="25021">
                  <c:v>102892</c:v>
                </c:pt>
                <c:pt idx="25022">
                  <c:v>102877</c:v>
                </c:pt>
                <c:pt idx="25023">
                  <c:v>102874</c:v>
                </c:pt>
                <c:pt idx="25024">
                  <c:v>102872</c:v>
                </c:pt>
                <c:pt idx="25025">
                  <c:v>102869</c:v>
                </c:pt>
                <c:pt idx="25026">
                  <c:v>102865</c:v>
                </c:pt>
                <c:pt idx="25027">
                  <c:v>102862</c:v>
                </c:pt>
                <c:pt idx="25028">
                  <c:v>102851</c:v>
                </c:pt>
                <c:pt idx="25029">
                  <c:v>102850</c:v>
                </c:pt>
                <c:pt idx="25030">
                  <c:v>102840</c:v>
                </c:pt>
                <c:pt idx="25031">
                  <c:v>102837</c:v>
                </c:pt>
                <c:pt idx="25032">
                  <c:v>102835</c:v>
                </c:pt>
                <c:pt idx="25033">
                  <c:v>102821</c:v>
                </c:pt>
                <c:pt idx="25034">
                  <c:v>102816</c:v>
                </c:pt>
                <c:pt idx="25035">
                  <c:v>102816</c:v>
                </c:pt>
                <c:pt idx="25036">
                  <c:v>102808</c:v>
                </c:pt>
                <c:pt idx="25037">
                  <c:v>102807</c:v>
                </c:pt>
                <c:pt idx="25038">
                  <c:v>102806</c:v>
                </c:pt>
                <c:pt idx="25039">
                  <c:v>102803</c:v>
                </c:pt>
                <c:pt idx="25040">
                  <c:v>102799</c:v>
                </c:pt>
                <c:pt idx="25041">
                  <c:v>102797</c:v>
                </c:pt>
                <c:pt idx="25042">
                  <c:v>102790</c:v>
                </c:pt>
                <c:pt idx="25043">
                  <c:v>102789</c:v>
                </c:pt>
                <c:pt idx="25044">
                  <c:v>102787</c:v>
                </c:pt>
                <c:pt idx="25045">
                  <c:v>102785</c:v>
                </c:pt>
                <c:pt idx="25046">
                  <c:v>102785</c:v>
                </c:pt>
                <c:pt idx="25047">
                  <c:v>102783</c:v>
                </c:pt>
                <c:pt idx="25048">
                  <c:v>102783</c:v>
                </c:pt>
                <c:pt idx="25049">
                  <c:v>102781</c:v>
                </c:pt>
                <c:pt idx="25050">
                  <c:v>102769</c:v>
                </c:pt>
                <c:pt idx="25051">
                  <c:v>102768</c:v>
                </c:pt>
                <c:pt idx="25052">
                  <c:v>102761</c:v>
                </c:pt>
                <c:pt idx="25053">
                  <c:v>102758</c:v>
                </c:pt>
                <c:pt idx="25054">
                  <c:v>102751</c:v>
                </c:pt>
                <c:pt idx="25055">
                  <c:v>102743</c:v>
                </c:pt>
                <c:pt idx="25056">
                  <c:v>102743</c:v>
                </c:pt>
                <c:pt idx="25057">
                  <c:v>102743</c:v>
                </c:pt>
                <c:pt idx="25058">
                  <c:v>102742</c:v>
                </c:pt>
                <c:pt idx="25059">
                  <c:v>102741</c:v>
                </c:pt>
                <c:pt idx="25060">
                  <c:v>102733</c:v>
                </c:pt>
                <c:pt idx="25061">
                  <c:v>102730</c:v>
                </c:pt>
                <c:pt idx="25062">
                  <c:v>102725</c:v>
                </c:pt>
                <c:pt idx="25063">
                  <c:v>102724</c:v>
                </c:pt>
                <c:pt idx="25064">
                  <c:v>102722</c:v>
                </c:pt>
                <c:pt idx="25065">
                  <c:v>102718</c:v>
                </c:pt>
                <c:pt idx="25066">
                  <c:v>102708</c:v>
                </c:pt>
                <c:pt idx="25067">
                  <c:v>102704</c:v>
                </c:pt>
                <c:pt idx="25068">
                  <c:v>102700</c:v>
                </c:pt>
                <c:pt idx="25069">
                  <c:v>102689</c:v>
                </c:pt>
                <c:pt idx="25070">
                  <c:v>102689</c:v>
                </c:pt>
                <c:pt idx="25071">
                  <c:v>102689</c:v>
                </c:pt>
                <c:pt idx="25072">
                  <c:v>102679</c:v>
                </c:pt>
                <c:pt idx="25073">
                  <c:v>102678</c:v>
                </c:pt>
                <c:pt idx="25074">
                  <c:v>102675</c:v>
                </c:pt>
                <c:pt idx="25075">
                  <c:v>102668</c:v>
                </c:pt>
                <c:pt idx="25076">
                  <c:v>102662</c:v>
                </c:pt>
                <c:pt idx="25077">
                  <c:v>102659</c:v>
                </c:pt>
                <c:pt idx="25078">
                  <c:v>102656</c:v>
                </c:pt>
                <c:pt idx="25079">
                  <c:v>102652</c:v>
                </c:pt>
                <c:pt idx="25080">
                  <c:v>102651</c:v>
                </c:pt>
                <c:pt idx="25081">
                  <c:v>102649</c:v>
                </c:pt>
                <c:pt idx="25082">
                  <c:v>102647</c:v>
                </c:pt>
                <c:pt idx="25083">
                  <c:v>102646</c:v>
                </c:pt>
                <c:pt idx="25084">
                  <c:v>102631</c:v>
                </c:pt>
                <c:pt idx="25085">
                  <c:v>102628</c:v>
                </c:pt>
                <c:pt idx="25086">
                  <c:v>102625</c:v>
                </c:pt>
                <c:pt idx="25087">
                  <c:v>102620</c:v>
                </c:pt>
                <c:pt idx="25088">
                  <c:v>102619</c:v>
                </c:pt>
                <c:pt idx="25089">
                  <c:v>102611</c:v>
                </c:pt>
                <c:pt idx="25090">
                  <c:v>102599</c:v>
                </c:pt>
                <c:pt idx="25091">
                  <c:v>102599</c:v>
                </c:pt>
                <c:pt idx="25092">
                  <c:v>102594</c:v>
                </c:pt>
                <c:pt idx="25093">
                  <c:v>102593</c:v>
                </c:pt>
                <c:pt idx="25094">
                  <c:v>102593</c:v>
                </c:pt>
                <c:pt idx="25095">
                  <c:v>102591</c:v>
                </c:pt>
                <c:pt idx="25096">
                  <c:v>102590</c:v>
                </c:pt>
                <c:pt idx="25097">
                  <c:v>102584</c:v>
                </c:pt>
                <c:pt idx="25098">
                  <c:v>102583</c:v>
                </c:pt>
                <c:pt idx="25099">
                  <c:v>102583</c:v>
                </c:pt>
                <c:pt idx="25100">
                  <c:v>102569</c:v>
                </c:pt>
                <c:pt idx="25101">
                  <c:v>102556</c:v>
                </c:pt>
                <c:pt idx="25102">
                  <c:v>102546</c:v>
                </c:pt>
                <c:pt idx="25103">
                  <c:v>102545</c:v>
                </c:pt>
                <c:pt idx="25104">
                  <c:v>102543</c:v>
                </c:pt>
                <c:pt idx="25105">
                  <c:v>102536</c:v>
                </c:pt>
                <c:pt idx="25106">
                  <c:v>102536</c:v>
                </c:pt>
                <c:pt idx="25107">
                  <c:v>102536</c:v>
                </c:pt>
                <c:pt idx="25108">
                  <c:v>102534</c:v>
                </c:pt>
                <c:pt idx="25109">
                  <c:v>102525</c:v>
                </c:pt>
                <c:pt idx="25110">
                  <c:v>102521</c:v>
                </c:pt>
                <c:pt idx="25111">
                  <c:v>102516</c:v>
                </c:pt>
                <c:pt idx="25112">
                  <c:v>102514</c:v>
                </c:pt>
                <c:pt idx="25113">
                  <c:v>102512</c:v>
                </c:pt>
                <c:pt idx="25114">
                  <c:v>102507</c:v>
                </c:pt>
                <c:pt idx="25115">
                  <c:v>102504</c:v>
                </c:pt>
                <c:pt idx="25116">
                  <c:v>102494</c:v>
                </c:pt>
                <c:pt idx="25117">
                  <c:v>102493</c:v>
                </c:pt>
                <c:pt idx="25118">
                  <c:v>102491</c:v>
                </c:pt>
                <c:pt idx="25119">
                  <c:v>102484</c:v>
                </c:pt>
                <c:pt idx="25120">
                  <c:v>102483</c:v>
                </c:pt>
                <c:pt idx="25121">
                  <c:v>102466</c:v>
                </c:pt>
                <c:pt idx="25122">
                  <c:v>102456</c:v>
                </c:pt>
                <c:pt idx="25123">
                  <c:v>102455</c:v>
                </c:pt>
                <c:pt idx="25124">
                  <c:v>102452</c:v>
                </c:pt>
                <c:pt idx="25125">
                  <c:v>102448</c:v>
                </c:pt>
                <c:pt idx="25126">
                  <c:v>102447</c:v>
                </c:pt>
                <c:pt idx="25127">
                  <c:v>102446</c:v>
                </c:pt>
                <c:pt idx="25128">
                  <c:v>102444</c:v>
                </c:pt>
                <c:pt idx="25129">
                  <c:v>102443</c:v>
                </c:pt>
                <c:pt idx="25130">
                  <c:v>102441</c:v>
                </c:pt>
                <c:pt idx="25131">
                  <c:v>102440</c:v>
                </c:pt>
                <c:pt idx="25132">
                  <c:v>102437</c:v>
                </c:pt>
                <c:pt idx="25133">
                  <c:v>102421</c:v>
                </c:pt>
                <c:pt idx="25134">
                  <c:v>102410</c:v>
                </c:pt>
                <c:pt idx="25135">
                  <c:v>102402</c:v>
                </c:pt>
                <c:pt idx="25136">
                  <c:v>102402</c:v>
                </c:pt>
                <c:pt idx="25137">
                  <c:v>102400</c:v>
                </c:pt>
                <c:pt idx="25138">
                  <c:v>102399</c:v>
                </c:pt>
                <c:pt idx="25139">
                  <c:v>102396</c:v>
                </c:pt>
                <c:pt idx="25140">
                  <c:v>102396</c:v>
                </c:pt>
                <c:pt idx="25141">
                  <c:v>102395</c:v>
                </c:pt>
                <c:pt idx="25142">
                  <c:v>102389</c:v>
                </c:pt>
                <c:pt idx="25143">
                  <c:v>102374</c:v>
                </c:pt>
                <c:pt idx="25144">
                  <c:v>102371</c:v>
                </c:pt>
                <c:pt idx="25145">
                  <c:v>102368</c:v>
                </c:pt>
                <c:pt idx="25146">
                  <c:v>102367</c:v>
                </c:pt>
                <c:pt idx="25147">
                  <c:v>102366</c:v>
                </c:pt>
                <c:pt idx="25148">
                  <c:v>102365</c:v>
                </c:pt>
                <c:pt idx="25149">
                  <c:v>102364</c:v>
                </c:pt>
                <c:pt idx="25150">
                  <c:v>102353</c:v>
                </c:pt>
                <c:pt idx="25151">
                  <c:v>102353</c:v>
                </c:pt>
                <c:pt idx="25152">
                  <c:v>102348</c:v>
                </c:pt>
                <c:pt idx="25153">
                  <c:v>102342</c:v>
                </c:pt>
                <c:pt idx="25154">
                  <c:v>102341</c:v>
                </c:pt>
                <c:pt idx="25155">
                  <c:v>102339</c:v>
                </c:pt>
                <c:pt idx="25156">
                  <c:v>102339</c:v>
                </c:pt>
                <c:pt idx="25157">
                  <c:v>102330</c:v>
                </c:pt>
                <c:pt idx="25158">
                  <c:v>102328</c:v>
                </c:pt>
                <c:pt idx="25159">
                  <c:v>102325</c:v>
                </c:pt>
                <c:pt idx="25160">
                  <c:v>102322</c:v>
                </c:pt>
                <c:pt idx="25161">
                  <c:v>102316</c:v>
                </c:pt>
                <c:pt idx="25162">
                  <c:v>102315</c:v>
                </c:pt>
                <c:pt idx="25163">
                  <c:v>102313</c:v>
                </c:pt>
                <c:pt idx="25164">
                  <c:v>102312</c:v>
                </c:pt>
                <c:pt idx="25165">
                  <c:v>102312</c:v>
                </c:pt>
                <c:pt idx="25166">
                  <c:v>102311</c:v>
                </c:pt>
                <c:pt idx="25167">
                  <c:v>102303</c:v>
                </c:pt>
                <c:pt idx="25168">
                  <c:v>102302</c:v>
                </c:pt>
                <c:pt idx="25169">
                  <c:v>102300</c:v>
                </c:pt>
                <c:pt idx="25170">
                  <c:v>102295</c:v>
                </c:pt>
                <c:pt idx="25171">
                  <c:v>102294</c:v>
                </c:pt>
                <c:pt idx="25172">
                  <c:v>102289</c:v>
                </c:pt>
                <c:pt idx="25173">
                  <c:v>102288</c:v>
                </c:pt>
                <c:pt idx="25174">
                  <c:v>102286</c:v>
                </c:pt>
                <c:pt idx="25175">
                  <c:v>102284</c:v>
                </c:pt>
                <c:pt idx="25176">
                  <c:v>102283</c:v>
                </c:pt>
                <c:pt idx="25177">
                  <c:v>102279</c:v>
                </c:pt>
                <c:pt idx="25178">
                  <c:v>102273</c:v>
                </c:pt>
                <c:pt idx="25179">
                  <c:v>102270</c:v>
                </c:pt>
                <c:pt idx="25180">
                  <c:v>102266</c:v>
                </c:pt>
                <c:pt idx="25181">
                  <c:v>102262</c:v>
                </c:pt>
                <c:pt idx="25182">
                  <c:v>102261</c:v>
                </c:pt>
                <c:pt idx="25183">
                  <c:v>102261</c:v>
                </c:pt>
                <c:pt idx="25184">
                  <c:v>102260</c:v>
                </c:pt>
                <c:pt idx="25185">
                  <c:v>102252</c:v>
                </c:pt>
                <c:pt idx="25186">
                  <c:v>102250</c:v>
                </c:pt>
                <c:pt idx="25187">
                  <c:v>102249</c:v>
                </c:pt>
                <c:pt idx="25188">
                  <c:v>102249</c:v>
                </c:pt>
                <c:pt idx="25189">
                  <c:v>102239</c:v>
                </c:pt>
                <c:pt idx="25190">
                  <c:v>102235</c:v>
                </c:pt>
                <c:pt idx="25191">
                  <c:v>102234</c:v>
                </c:pt>
                <c:pt idx="25192">
                  <c:v>102233</c:v>
                </c:pt>
                <c:pt idx="25193">
                  <c:v>102231</c:v>
                </c:pt>
                <c:pt idx="25194">
                  <c:v>102230</c:v>
                </c:pt>
                <c:pt idx="25195">
                  <c:v>102221</c:v>
                </c:pt>
                <c:pt idx="25196">
                  <c:v>102221</c:v>
                </c:pt>
                <c:pt idx="25197">
                  <c:v>102218</c:v>
                </c:pt>
                <c:pt idx="25198">
                  <c:v>102211</c:v>
                </c:pt>
                <c:pt idx="25199">
                  <c:v>102207</c:v>
                </c:pt>
                <c:pt idx="25200">
                  <c:v>102206</c:v>
                </c:pt>
                <c:pt idx="25201">
                  <c:v>102204</c:v>
                </c:pt>
                <c:pt idx="25202">
                  <c:v>102203</c:v>
                </c:pt>
                <c:pt idx="25203">
                  <c:v>102200</c:v>
                </c:pt>
                <c:pt idx="25204">
                  <c:v>102198</c:v>
                </c:pt>
                <c:pt idx="25205">
                  <c:v>102191</c:v>
                </c:pt>
                <c:pt idx="25206">
                  <c:v>102190</c:v>
                </c:pt>
                <c:pt idx="25207">
                  <c:v>102185</c:v>
                </c:pt>
                <c:pt idx="25208">
                  <c:v>102180</c:v>
                </c:pt>
                <c:pt idx="25209">
                  <c:v>102177</c:v>
                </c:pt>
                <c:pt idx="25210">
                  <c:v>102174</c:v>
                </c:pt>
                <c:pt idx="25211">
                  <c:v>102172</c:v>
                </c:pt>
                <c:pt idx="25212">
                  <c:v>102167</c:v>
                </c:pt>
                <c:pt idx="25213">
                  <c:v>102157</c:v>
                </c:pt>
                <c:pt idx="25214">
                  <c:v>102154</c:v>
                </c:pt>
                <c:pt idx="25215">
                  <c:v>102147</c:v>
                </c:pt>
                <c:pt idx="25216">
                  <c:v>102144</c:v>
                </c:pt>
                <c:pt idx="25217">
                  <c:v>102143</c:v>
                </c:pt>
                <c:pt idx="25218">
                  <c:v>102134</c:v>
                </c:pt>
                <c:pt idx="25219">
                  <c:v>102133</c:v>
                </c:pt>
                <c:pt idx="25220">
                  <c:v>102123</c:v>
                </c:pt>
                <c:pt idx="25221">
                  <c:v>102119</c:v>
                </c:pt>
                <c:pt idx="25222">
                  <c:v>102117</c:v>
                </c:pt>
                <c:pt idx="25223">
                  <c:v>102116</c:v>
                </c:pt>
                <c:pt idx="25224">
                  <c:v>102107</c:v>
                </c:pt>
                <c:pt idx="25225">
                  <c:v>102104</c:v>
                </c:pt>
                <c:pt idx="25226">
                  <c:v>102102</c:v>
                </c:pt>
                <c:pt idx="25227">
                  <c:v>102100</c:v>
                </c:pt>
                <c:pt idx="25228">
                  <c:v>102083</c:v>
                </c:pt>
                <c:pt idx="25229">
                  <c:v>102074</c:v>
                </c:pt>
                <c:pt idx="25230">
                  <c:v>102070</c:v>
                </c:pt>
                <c:pt idx="25231">
                  <c:v>102047</c:v>
                </c:pt>
                <c:pt idx="25232">
                  <c:v>102038</c:v>
                </c:pt>
                <c:pt idx="25233">
                  <c:v>102028</c:v>
                </c:pt>
                <c:pt idx="25234">
                  <c:v>102026</c:v>
                </c:pt>
                <c:pt idx="25235">
                  <c:v>102017</c:v>
                </c:pt>
                <c:pt idx="25236">
                  <c:v>102008</c:v>
                </c:pt>
                <c:pt idx="25237">
                  <c:v>102002</c:v>
                </c:pt>
                <c:pt idx="25238">
                  <c:v>101998</c:v>
                </c:pt>
                <c:pt idx="25239">
                  <c:v>101995</c:v>
                </c:pt>
                <c:pt idx="25240">
                  <c:v>101989</c:v>
                </c:pt>
                <c:pt idx="25241">
                  <c:v>101987</c:v>
                </c:pt>
                <c:pt idx="25242">
                  <c:v>101986</c:v>
                </c:pt>
                <c:pt idx="25243">
                  <c:v>101984</c:v>
                </c:pt>
                <c:pt idx="25244">
                  <c:v>101981</c:v>
                </c:pt>
                <c:pt idx="25245">
                  <c:v>101978</c:v>
                </c:pt>
                <c:pt idx="25246">
                  <c:v>101964</c:v>
                </c:pt>
                <c:pt idx="25247">
                  <c:v>101958</c:v>
                </c:pt>
                <c:pt idx="25248">
                  <c:v>101955</c:v>
                </c:pt>
                <c:pt idx="25249">
                  <c:v>101953</c:v>
                </c:pt>
                <c:pt idx="25250">
                  <c:v>101950</c:v>
                </c:pt>
                <c:pt idx="25251">
                  <c:v>101947</c:v>
                </c:pt>
                <c:pt idx="25252">
                  <c:v>101946</c:v>
                </c:pt>
                <c:pt idx="25253">
                  <c:v>101938</c:v>
                </c:pt>
                <c:pt idx="25254">
                  <c:v>101937</c:v>
                </c:pt>
                <c:pt idx="25255">
                  <c:v>101930</c:v>
                </c:pt>
                <c:pt idx="25256">
                  <c:v>101924</c:v>
                </c:pt>
                <c:pt idx="25257">
                  <c:v>101917</c:v>
                </c:pt>
                <c:pt idx="25258">
                  <c:v>101917</c:v>
                </c:pt>
                <c:pt idx="25259">
                  <c:v>101912</c:v>
                </c:pt>
                <c:pt idx="25260">
                  <c:v>101912</c:v>
                </c:pt>
                <c:pt idx="25261">
                  <c:v>101909</c:v>
                </c:pt>
                <c:pt idx="25262">
                  <c:v>101902</c:v>
                </c:pt>
                <c:pt idx="25263">
                  <c:v>101892</c:v>
                </c:pt>
                <c:pt idx="25264">
                  <c:v>101892</c:v>
                </c:pt>
                <c:pt idx="25265">
                  <c:v>101890</c:v>
                </c:pt>
                <c:pt idx="25266">
                  <c:v>101849</c:v>
                </c:pt>
                <c:pt idx="25267">
                  <c:v>101848</c:v>
                </c:pt>
                <c:pt idx="25268">
                  <c:v>101845</c:v>
                </c:pt>
                <c:pt idx="25269">
                  <c:v>101841</c:v>
                </c:pt>
                <c:pt idx="25270">
                  <c:v>101830</c:v>
                </c:pt>
                <c:pt idx="25271">
                  <c:v>101830</c:v>
                </c:pt>
                <c:pt idx="25272">
                  <c:v>101812</c:v>
                </c:pt>
                <c:pt idx="25273">
                  <c:v>101811</c:v>
                </c:pt>
                <c:pt idx="25274">
                  <c:v>101810</c:v>
                </c:pt>
                <c:pt idx="25275">
                  <c:v>101809</c:v>
                </c:pt>
                <c:pt idx="25276">
                  <c:v>101807</c:v>
                </c:pt>
                <c:pt idx="25277">
                  <c:v>101801</c:v>
                </c:pt>
                <c:pt idx="25278">
                  <c:v>101800</c:v>
                </c:pt>
                <c:pt idx="25279">
                  <c:v>101794</c:v>
                </c:pt>
                <c:pt idx="25280">
                  <c:v>101794</c:v>
                </c:pt>
                <c:pt idx="25281">
                  <c:v>101794</c:v>
                </c:pt>
                <c:pt idx="25282">
                  <c:v>101792</c:v>
                </c:pt>
                <c:pt idx="25283">
                  <c:v>101784</c:v>
                </c:pt>
                <c:pt idx="25284">
                  <c:v>101779</c:v>
                </c:pt>
                <c:pt idx="25285">
                  <c:v>101776</c:v>
                </c:pt>
                <c:pt idx="25286">
                  <c:v>101763</c:v>
                </c:pt>
                <c:pt idx="25287">
                  <c:v>101761</c:v>
                </c:pt>
                <c:pt idx="25288">
                  <c:v>101750</c:v>
                </c:pt>
                <c:pt idx="25289">
                  <c:v>101748</c:v>
                </c:pt>
                <c:pt idx="25290">
                  <c:v>101744</c:v>
                </c:pt>
                <c:pt idx="25291">
                  <c:v>101743</c:v>
                </c:pt>
                <c:pt idx="25292">
                  <c:v>101742</c:v>
                </c:pt>
                <c:pt idx="25293">
                  <c:v>101740</c:v>
                </c:pt>
                <c:pt idx="25294">
                  <c:v>101736</c:v>
                </c:pt>
                <c:pt idx="25295">
                  <c:v>101736</c:v>
                </c:pt>
                <c:pt idx="25296">
                  <c:v>101736</c:v>
                </c:pt>
                <c:pt idx="25297">
                  <c:v>101731</c:v>
                </c:pt>
                <c:pt idx="25298">
                  <c:v>101728</c:v>
                </c:pt>
                <c:pt idx="25299">
                  <c:v>101727</c:v>
                </c:pt>
                <c:pt idx="25300">
                  <c:v>101726</c:v>
                </c:pt>
                <c:pt idx="25301">
                  <c:v>101717</c:v>
                </c:pt>
                <c:pt idx="25302">
                  <c:v>101713</c:v>
                </c:pt>
                <c:pt idx="25303">
                  <c:v>101708</c:v>
                </c:pt>
                <c:pt idx="25304">
                  <c:v>101707</c:v>
                </c:pt>
                <c:pt idx="25305">
                  <c:v>101703</c:v>
                </c:pt>
                <c:pt idx="25306">
                  <c:v>101695</c:v>
                </c:pt>
                <c:pt idx="25307">
                  <c:v>101684</c:v>
                </c:pt>
                <c:pt idx="25308">
                  <c:v>101667</c:v>
                </c:pt>
                <c:pt idx="25309">
                  <c:v>101660</c:v>
                </c:pt>
                <c:pt idx="25310">
                  <c:v>101660</c:v>
                </c:pt>
                <c:pt idx="25311">
                  <c:v>101659</c:v>
                </c:pt>
                <c:pt idx="25312">
                  <c:v>101656</c:v>
                </c:pt>
                <c:pt idx="25313">
                  <c:v>101652</c:v>
                </c:pt>
                <c:pt idx="25314">
                  <c:v>101647</c:v>
                </c:pt>
                <c:pt idx="25315">
                  <c:v>101645</c:v>
                </c:pt>
                <c:pt idx="25316">
                  <c:v>101639</c:v>
                </c:pt>
                <c:pt idx="25317">
                  <c:v>101622</c:v>
                </c:pt>
                <c:pt idx="25318">
                  <c:v>101619</c:v>
                </c:pt>
                <c:pt idx="25319">
                  <c:v>101616</c:v>
                </c:pt>
                <c:pt idx="25320">
                  <c:v>101611</c:v>
                </c:pt>
                <c:pt idx="25321">
                  <c:v>101608</c:v>
                </c:pt>
                <c:pt idx="25322">
                  <c:v>101608</c:v>
                </c:pt>
                <c:pt idx="25323">
                  <c:v>101605</c:v>
                </c:pt>
                <c:pt idx="25324">
                  <c:v>101604</c:v>
                </c:pt>
                <c:pt idx="25325">
                  <c:v>101600</c:v>
                </c:pt>
                <c:pt idx="25326">
                  <c:v>101599</c:v>
                </c:pt>
                <c:pt idx="25327">
                  <c:v>101597</c:v>
                </c:pt>
                <c:pt idx="25328">
                  <c:v>101592</c:v>
                </c:pt>
                <c:pt idx="25329">
                  <c:v>101592</c:v>
                </c:pt>
                <c:pt idx="25330">
                  <c:v>101591</c:v>
                </c:pt>
                <c:pt idx="25331">
                  <c:v>101589</c:v>
                </c:pt>
                <c:pt idx="25332">
                  <c:v>101581</c:v>
                </c:pt>
                <c:pt idx="25333">
                  <c:v>101577</c:v>
                </c:pt>
                <c:pt idx="25334">
                  <c:v>101572</c:v>
                </c:pt>
                <c:pt idx="25335">
                  <c:v>101553</c:v>
                </c:pt>
                <c:pt idx="25336">
                  <c:v>101552</c:v>
                </c:pt>
                <c:pt idx="25337">
                  <c:v>101551</c:v>
                </c:pt>
                <c:pt idx="25338">
                  <c:v>101549</c:v>
                </c:pt>
                <c:pt idx="25339">
                  <c:v>101536</c:v>
                </c:pt>
                <c:pt idx="25340">
                  <c:v>101536</c:v>
                </c:pt>
                <c:pt idx="25341">
                  <c:v>101535</c:v>
                </c:pt>
                <c:pt idx="25342">
                  <c:v>101532</c:v>
                </c:pt>
                <c:pt idx="25343">
                  <c:v>101530</c:v>
                </c:pt>
                <c:pt idx="25344">
                  <c:v>101525</c:v>
                </c:pt>
                <c:pt idx="25345">
                  <c:v>101520</c:v>
                </c:pt>
                <c:pt idx="25346">
                  <c:v>101510</c:v>
                </c:pt>
                <c:pt idx="25347">
                  <c:v>101509</c:v>
                </c:pt>
                <c:pt idx="25348">
                  <c:v>101507</c:v>
                </c:pt>
                <c:pt idx="25349">
                  <c:v>101507</c:v>
                </c:pt>
                <c:pt idx="25350">
                  <c:v>101505</c:v>
                </c:pt>
                <c:pt idx="25351">
                  <c:v>101502</c:v>
                </c:pt>
                <c:pt idx="25352">
                  <c:v>101495</c:v>
                </c:pt>
                <c:pt idx="25353">
                  <c:v>101493</c:v>
                </c:pt>
                <c:pt idx="25354">
                  <c:v>101486</c:v>
                </c:pt>
                <c:pt idx="25355">
                  <c:v>101485</c:v>
                </c:pt>
                <c:pt idx="25356">
                  <c:v>101485</c:v>
                </c:pt>
                <c:pt idx="25357">
                  <c:v>101477</c:v>
                </c:pt>
                <c:pt idx="25358">
                  <c:v>101474</c:v>
                </c:pt>
                <c:pt idx="25359">
                  <c:v>101463</c:v>
                </c:pt>
                <c:pt idx="25360">
                  <c:v>101460</c:v>
                </c:pt>
                <c:pt idx="25361">
                  <c:v>101451</c:v>
                </c:pt>
                <c:pt idx="25362">
                  <c:v>101450</c:v>
                </c:pt>
                <c:pt idx="25363">
                  <c:v>101450</c:v>
                </c:pt>
                <c:pt idx="25364">
                  <c:v>101450</c:v>
                </c:pt>
                <c:pt idx="25365">
                  <c:v>101433</c:v>
                </c:pt>
                <c:pt idx="25366">
                  <c:v>101431</c:v>
                </c:pt>
                <c:pt idx="25367">
                  <c:v>101431</c:v>
                </c:pt>
                <c:pt idx="25368">
                  <c:v>101427</c:v>
                </c:pt>
                <c:pt idx="25369">
                  <c:v>101426</c:v>
                </c:pt>
                <c:pt idx="25370">
                  <c:v>101426</c:v>
                </c:pt>
                <c:pt idx="25371">
                  <c:v>101423</c:v>
                </c:pt>
                <c:pt idx="25372">
                  <c:v>101421</c:v>
                </c:pt>
                <c:pt idx="25373">
                  <c:v>101419</c:v>
                </c:pt>
                <c:pt idx="25374">
                  <c:v>101416</c:v>
                </c:pt>
                <c:pt idx="25375">
                  <c:v>101411</c:v>
                </c:pt>
                <c:pt idx="25376">
                  <c:v>101407</c:v>
                </c:pt>
                <c:pt idx="25377">
                  <c:v>101405</c:v>
                </c:pt>
                <c:pt idx="25378">
                  <c:v>101404</c:v>
                </c:pt>
                <c:pt idx="25379">
                  <c:v>101403</c:v>
                </c:pt>
                <c:pt idx="25380">
                  <c:v>101403</c:v>
                </c:pt>
                <c:pt idx="25381">
                  <c:v>101403</c:v>
                </c:pt>
                <c:pt idx="25382">
                  <c:v>101402</c:v>
                </c:pt>
                <c:pt idx="25383">
                  <c:v>101401</c:v>
                </c:pt>
                <c:pt idx="25384">
                  <c:v>101399</c:v>
                </c:pt>
                <c:pt idx="25385">
                  <c:v>101399</c:v>
                </c:pt>
                <c:pt idx="25386">
                  <c:v>101381</c:v>
                </c:pt>
                <c:pt idx="25387">
                  <c:v>101381</c:v>
                </c:pt>
                <c:pt idx="25388">
                  <c:v>101369</c:v>
                </c:pt>
                <c:pt idx="25389">
                  <c:v>101363</c:v>
                </c:pt>
                <c:pt idx="25390">
                  <c:v>101361</c:v>
                </c:pt>
                <c:pt idx="25391">
                  <c:v>101359</c:v>
                </c:pt>
                <c:pt idx="25392">
                  <c:v>101357</c:v>
                </c:pt>
                <c:pt idx="25393">
                  <c:v>101356</c:v>
                </c:pt>
                <c:pt idx="25394">
                  <c:v>101355</c:v>
                </c:pt>
                <c:pt idx="25395">
                  <c:v>101352</c:v>
                </c:pt>
                <c:pt idx="25396">
                  <c:v>101352</c:v>
                </c:pt>
                <c:pt idx="25397">
                  <c:v>101342</c:v>
                </c:pt>
                <c:pt idx="25398">
                  <c:v>101335</c:v>
                </c:pt>
                <c:pt idx="25399">
                  <c:v>101334</c:v>
                </c:pt>
                <c:pt idx="25400">
                  <c:v>101333</c:v>
                </c:pt>
                <c:pt idx="25401">
                  <c:v>101324</c:v>
                </c:pt>
                <c:pt idx="25402">
                  <c:v>101321</c:v>
                </c:pt>
                <c:pt idx="25403">
                  <c:v>101320</c:v>
                </c:pt>
                <c:pt idx="25404">
                  <c:v>101312</c:v>
                </c:pt>
                <c:pt idx="25405">
                  <c:v>101305</c:v>
                </c:pt>
                <c:pt idx="25406">
                  <c:v>101303</c:v>
                </c:pt>
                <c:pt idx="25407">
                  <c:v>101294</c:v>
                </c:pt>
                <c:pt idx="25408">
                  <c:v>101289</c:v>
                </c:pt>
                <c:pt idx="25409">
                  <c:v>101287</c:v>
                </c:pt>
                <c:pt idx="25410">
                  <c:v>101281</c:v>
                </c:pt>
                <c:pt idx="25411">
                  <c:v>101279</c:v>
                </c:pt>
                <c:pt idx="25412">
                  <c:v>101278</c:v>
                </c:pt>
                <c:pt idx="25413">
                  <c:v>101277</c:v>
                </c:pt>
                <c:pt idx="25414">
                  <c:v>101270</c:v>
                </c:pt>
                <c:pt idx="25415">
                  <c:v>101264</c:v>
                </c:pt>
                <c:pt idx="25416">
                  <c:v>101262</c:v>
                </c:pt>
                <c:pt idx="25417">
                  <c:v>101259</c:v>
                </c:pt>
                <c:pt idx="25418">
                  <c:v>101259</c:v>
                </c:pt>
                <c:pt idx="25419">
                  <c:v>101256</c:v>
                </c:pt>
                <c:pt idx="25420">
                  <c:v>101256</c:v>
                </c:pt>
                <c:pt idx="25421">
                  <c:v>101252</c:v>
                </c:pt>
                <c:pt idx="25422">
                  <c:v>101251</c:v>
                </c:pt>
                <c:pt idx="25423">
                  <c:v>101247</c:v>
                </c:pt>
                <c:pt idx="25424">
                  <c:v>101243</c:v>
                </c:pt>
                <c:pt idx="25425">
                  <c:v>101239</c:v>
                </c:pt>
                <c:pt idx="25426">
                  <c:v>101238</c:v>
                </c:pt>
                <c:pt idx="25427">
                  <c:v>101237</c:v>
                </c:pt>
                <c:pt idx="25428">
                  <c:v>101230</c:v>
                </c:pt>
                <c:pt idx="25429">
                  <c:v>101223</c:v>
                </c:pt>
                <c:pt idx="25430">
                  <c:v>101222</c:v>
                </c:pt>
                <c:pt idx="25431">
                  <c:v>101222</c:v>
                </c:pt>
                <c:pt idx="25432">
                  <c:v>101220</c:v>
                </c:pt>
                <c:pt idx="25433">
                  <c:v>101215</c:v>
                </c:pt>
                <c:pt idx="25434">
                  <c:v>101208</c:v>
                </c:pt>
                <c:pt idx="25435">
                  <c:v>101202</c:v>
                </c:pt>
                <c:pt idx="25436">
                  <c:v>101198</c:v>
                </c:pt>
                <c:pt idx="25437">
                  <c:v>101198</c:v>
                </c:pt>
                <c:pt idx="25438">
                  <c:v>101193</c:v>
                </c:pt>
                <c:pt idx="25439">
                  <c:v>101192</c:v>
                </c:pt>
                <c:pt idx="25440">
                  <c:v>101192</c:v>
                </c:pt>
                <c:pt idx="25441">
                  <c:v>101190</c:v>
                </c:pt>
                <c:pt idx="25442">
                  <c:v>101190</c:v>
                </c:pt>
                <c:pt idx="25443">
                  <c:v>101185</c:v>
                </c:pt>
                <c:pt idx="25444">
                  <c:v>101184</c:v>
                </c:pt>
                <c:pt idx="25445">
                  <c:v>101181</c:v>
                </c:pt>
                <c:pt idx="25446">
                  <c:v>101179</c:v>
                </c:pt>
                <c:pt idx="25447">
                  <c:v>101173</c:v>
                </c:pt>
                <c:pt idx="25448">
                  <c:v>101173</c:v>
                </c:pt>
                <c:pt idx="25449">
                  <c:v>101172</c:v>
                </c:pt>
                <c:pt idx="25450">
                  <c:v>101169</c:v>
                </c:pt>
                <c:pt idx="25451">
                  <c:v>101168</c:v>
                </c:pt>
                <c:pt idx="25452">
                  <c:v>101168</c:v>
                </c:pt>
                <c:pt idx="25453">
                  <c:v>101165</c:v>
                </c:pt>
                <c:pt idx="25454">
                  <c:v>101159</c:v>
                </c:pt>
                <c:pt idx="25455">
                  <c:v>101158</c:v>
                </c:pt>
                <c:pt idx="25456">
                  <c:v>101157</c:v>
                </c:pt>
                <c:pt idx="25457">
                  <c:v>101156</c:v>
                </c:pt>
                <c:pt idx="25458">
                  <c:v>101153</c:v>
                </c:pt>
                <c:pt idx="25459">
                  <c:v>101152</c:v>
                </c:pt>
                <c:pt idx="25460">
                  <c:v>101151</c:v>
                </c:pt>
                <c:pt idx="25461">
                  <c:v>101149</c:v>
                </c:pt>
                <c:pt idx="25462">
                  <c:v>101145</c:v>
                </c:pt>
                <c:pt idx="25463">
                  <c:v>101140</c:v>
                </c:pt>
                <c:pt idx="25464">
                  <c:v>101139</c:v>
                </c:pt>
                <c:pt idx="25465">
                  <c:v>101137</c:v>
                </c:pt>
                <c:pt idx="25466">
                  <c:v>101137</c:v>
                </c:pt>
                <c:pt idx="25467">
                  <c:v>101136</c:v>
                </c:pt>
                <c:pt idx="25468">
                  <c:v>101126</c:v>
                </c:pt>
                <c:pt idx="25469">
                  <c:v>101118</c:v>
                </c:pt>
                <c:pt idx="25470">
                  <c:v>101117</c:v>
                </c:pt>
                <c:pt idx="25471">
                  <c:v>101117</c:v>
                </c:pt>
                <c:pt idx="25472">
                  <c:v>101115</c:v>
                </c:pt>
                <c:pt idx="25473">
                  <c:v>101105</c:v>
                </c:pt>
                <c:pt idx="25474">
                  <c:v>101100</c:v>
                </c:pt>
                <c:pt idx="25475">
                  <c:v>101100</c:v>
                </c:pt>
                <c:pt idx="25476">
                  <c:v>101100</c:v>
                </c:pt>
                <c:pt idx="25477">
                  <c:v>101100</c:v>
                </c:pt>
                <c:pt idx="25478">
                  <c:v>101093</c:v>
                </c:pt>
                <c:pt idx="25479">
                  <c:v>101089</c:v>
                </c:pt>
                <c:pt idx="25480">
                  <c:v>101084</c:v>
                </c:pt>
                <c:pt idx="25481">
                  <c:v>101084</c:v>
                </c:pt>
                <c:pt idx="25482">
                  <c:v>101082</c:v>
                </c:pt>
                <c:pt idx="25483">
                  <c:v>101080</c:v>
                </c:pt>
                <c:pt idx="25484">
                  <c:v>101080</c:v>
                </c:pt>
                <c:pt idx="25485">
                  <c:v>101077</c:v>
                </c:pt>
                <c:pt idx="25486">
                  <c:v>101072</c:v>
                </c:pt>
                <c:pt idx="25487">
                  <c:v>101068</c:v>
                </c:pt>
                <c:pt idx="25488">
                  <c:v>101059</c:v>
                </c:pt>
                <c:pt idx="25489">
                  <c:v>101039</c:v>
                </c:pt>
                <c:pt idx="25490">
                  <c:v>101035</c:v>
                </c:pt>
                <c:pt idx="25491">
                  <c:v>101033</c:v>
                </c:pt>
                <c:pt idx="25492">
                  <c:v>101032</c:v>
                </c:pt>
                <c:pt idx="25493">
                  <c:v>101024</c:v>
                </c:pt>
                <c:pt idx="25494">
                  <c:v>101023</c:v>
                </c:pt>
                <c:pt idx="25495">
                  <c:v>101016</c:v>
                </c:pt>
                <c:pt idx="25496">
                  <c:v>101006</c:v>
                </c:pt>
                <c:pt idx="25497">
                  <c:v>101004</c:v>
                </c:pt>
                <c:pt idx="25498">
                  <c:v>101001</c:v>
                </c:pt>
                <c:pt idx="25499">
                  <c:v>101000</c:v>
                </c:pt>
                <c:pt idx="25500">
                  <c:v>100997</c:v>
                </c:pt>
                <c:pt idx="25501">
                  <c:v>100995</c:v>
                </c:pt>
                <c:pt idx="25502">
                  <c:v>100993</c:v>
                </c:pt>
                <c:pt idx="25503">
                  <c:v>100992</c:v>
                </c:pt>
                <c:pt idx="25504">
                  <c:v>100990</c:v>
                </c:pt>
                <c:pt idx="25505">
                  <c:v>100981</c:v>
                </c:pt>
                <c:pt idx="25506">
                  <c:v>100978</c:v>
                </c:pt>
                <c:pt idx="25507">
                  <c:v>100977</c:v>
                </c:pt>
                <c:pt idx="25508">
                  <c:v>100964</c:v>
                </c:pt>
                <c:pt idx="25509">
                  <c:v>100949</c:v>
                </c:pt>
                <c:pt idx="25510">
                  <c:v>100949</c:v>
                </c:pt>
                <c:pt idx="25511">
                  <c:v>100946</c:v>
                </c:pt>
                <c:pt idx="25512">
                  <c:v>100946</c:v>
                </c:pt>
                <c:pt idx="25513">
                  <c:v>100945</c:v>
                </c:pt>
                <c:pt idx="25514">
                  <c:v>100944</c:v>
                </c:pt>
                <c:pt idx="25515">
                  <c:v>100943</c:v>
                </c:pt>
                <c:pt idx="25516">
                  <c:v>100941</c:v>
                </c:pt>
                <c:pt idx="25517">
                  <c:v>100938</c:v>
                </c:pt>
                <c:pt idx="25518">
                  <c:v>100935</c:v>
                </c:pt>
                <c:pt idx="25519">
                  <c:v>100935</c:v>
                </c:pt>
                <c:pt idx="25520">
                  <c:v>100934</c:v>
                </c:pt>
                <c:pt idx="25521">
                  <c:v>100927</c:v>
                </c:pt>
                <c:pt idx="25522">
                  <c:v>100927</c:v>
                </c:pt>
                <c:pt idx="25523">
                  <c:v>100924</c:v>
                </c:pt>
                <c:pt idx="25524">
                  <c:v>100922</c:v>
                </c:pt>
                <c:pt idx="25525">
                  <c:v>100920</c:v>
                </c:pt>
                <c:pt idx="25526">
                  <c:v>100918</c:v>
                </c:pt>
                <c:pt idx="25527">
                  <c:v>100914</c:v>
                </c:pt>
                <c:pt idx="25528">
                  <c:v>100902</c:v>
                </c:pt>
                <c:pt idx="25529">
                  <c:v>100901</c:v>
                </c:pt>
                <c:pt idx="25530">
                  <c:v>100898</c:v>
                </c:pt>
                <c:pt idx="25531">
                  <c:v>100895</c:v>
                </c:pt>
                <c:pt idx="25532">
                  <c:v>100892</c:v>
                </c:pt>
                <c:pt idx="25533">
                  <c:v>100891</c:v>
                </c:pt>
                <c:pt idx="25534">
                  <c:v>100887</c:v>
                </c:pt>
                <c:pt idx="25535">
                  <c:v>100887</c:v>
                </c:pt>
                <c:pt idx="25536">
                  <c:v>100885</c:v>
                </c:pt>
                <c:pt idx="25537">
                  <c:v>100879</c:v>
                </c:pt>
                <c:pt idx="25538">
                  <c:v>100878</c:v>
                </c:pt>
                <c:pt idx="25539">
                  <c:v>100878</c:v>
                </c:pt>
                <c:pt idx="25540">
                  <c:v>100877</c:v>
                </c:pt>
                <c:pt idx="25541">
                  <c:v>100875</c:v>
                </c:pt>
                <c:pt idx="25542">
                  <c:v>100874</c:v>
                </c:pt>
                <c:pt idx="25543">
                  <c:v>100872</c:v>
                </c:pt>
                <c:pt idx="25544">
                  <c:v>100872</c:v>
                </c:pt>
                <c:pt idx="25545">
                  <c:v>100867</c:v>
                </c:pt>
                <c:pt idx="25546">
                  <c:v>100865</c:v>
                </c:pt>
                <c:pt idx="25547">
                  <c:v>100856</c:v>
                </c:pt>
                <c:pt idx="25548">
                  <c:v>100853</c:v>
                </c:pt>
                <c:pt idx="25549">
                  <c:v>100852</c:v>
                </c:pt>
                <c:pt idx="25550">
                  <c:v>100851</c:v>
                </c:pt>
                <c:pt idx="25551">
                  <c:v>100844</c:v>
                </c:pt>
                <c:pt idx="25552">
                  <c:v>100842</c:v>
                </c:pt>
                <c:pt idx="25553">
                  <c:v>100839</c:v>
                </c:pt>
                <c:pt idx="25554">
                  <c:v>100836</c:v>
                </c:pt>
                <c:pt idx="25555">
                  <c:v>100830</c:v>
                </c:pt>
                <c:pt idx="25556">
                  <c:v>100821</c:v>
                </c:pt>
                <c:pt idx="25557">
                  <c:v>100816</c:v>
                </c:pt>
                <c:pt idx="25558">
                  <c:v>100807</c:v>
                </c:pt>
                <c:pt idx="25559">
                  <c:v>100804</c:v>
                </c:pt>
                <c:pt idx="25560">
                  <c:v>100803</c:v>
                </c:pt>
                <c:pt idx="25561">
                  <c:v>100802</c:v>
                </c:pt>
                <c:pt idx="25562">
                  <c:v>100796</c:v>
                </c:pt>
                <c:pt idx="25563">
                  <c:v>100790</c:v>
                </c:pt>
                <c:pt idx="25564">
                  <c:v>100784</c:v>
                </c:pt>
                <c:pt idx="25565">
                  <c:v>100779</c:v>
                </c:pt>
                <c:pt idx="25566">
                  <c:v>100770</c:v>
                </c:pt>
                <c:pt idx="25567">
                  <c:v>100767</c:v>
                </c:pt>
                <c:pt idx="25568">
                  <c:v>100766</c:v>
                </c:pt>
                <c:pt idx="25569">
                  <c:v>100765</c:v>
                </c:pt>
                <c:pt idx="25570">
                  <c:v>100763</c:v>
                </c:pt>
                <c:pt idx="25571">
                  <c:v>100759</c:v>
                </c:pt>
                <c:pt idx="25572">
                  <c:v>100757</c:v>
                </c:pt>
                <c:pt idx="25573">
                  <c:v>100754</c:v>
                </c:pt>
                <c:pt idx="25574">
                  <c:v>100753</c:v>
                </c:pt>
                <c:pt idx="25575">
                  <c:v>100752</c:v>
                </c:pt>
                <c:pt idx="25576">
                  <c:v>100727</c:v>
                </c:pt>
                <c:pt idx="25577">
                  <c:v>100727</c:v>
                </c:pt>
                <c:pt idx="25578">
                  <c:v>100726</c:v>
                </c:pt>
                <c:pt idx="25579">
                  <c:v>100725</c:v>
                </c:pt>
                <c:pt idx="25580">
                  <c:v>100725</c:v>
                </c:pt>
                <c:pt idx="25581">
                  <c:v>100724</c:v>
                </c:pt>
                <c:pt idx="25582">
                  <c:v>100715</c:v>
                </c:pt>
                <c:pt idx="25583">
                  <c:v>100714</c:v>
                </c:pt>
                <c:pt idx="25584">
                  <c:v>100708</c:v>
                </c:pt>
                <c:pt idx="25585">
                  <c:v>100707</c:v>
                </c:pt>
                <c:pt idx="25586">
                  <c:v>100705</c:v>
                </c:pt>
                <c:pt idx="25587">
                  <c:v>100702</c:v>
                </c:pt>
                <c:pt idx="25588">
                  <c:v>100701</c:v>
                </c:pt>
                <c:pt idx="25589">
                  <c:v>100699</c:v>
                </c:pt>
                <c:pt idx="25590">
                  <c:v>100688</c:v>
                </c:pt>
                <c:pt idx="25591">
                  <c:v>100687</c:v>
                </c:pt>
                <c:pt idx="25592">
                  <c:v>100674</c:v>
                </c:pt>
                <c:pt idx="25593">
                  <c:v>100673</c:v>
                </c:pt>
                <c:pt idx="25594">
                  <c:v>100672</c:v>
                </c:pt>
                <c:pt idx="25595">
                  <c:v>100664</c:v>
                </c:pt>
                <c:pt idx="25596">
                  <c:v>100664</c:v>
                </c:pt>
                <c:pt idx="25597">
                  <c:v>100660</c:v>
                </c:pt>
                <c:pt idx="25598">
                  <c:v>100654</c:v>
                </c:pt>
                <c:pt idx="25599">
                  <c:v>100654</c:v>
                </c:pt>
                <c:pt idx="25600">
                  <c:v>100653</c:v>
                </c:pt>
                <c:pt idx="25601">
                  <c:v>100644</c:v>
                </c:pt>
                <c:pt idx="25602">
                  <c:v>100641</c:v>
                </c:pt>
                <c:pt idx="25603">
                  <c:v>100628</c:v>
                </c:pt>
                <c:pt idx="25604">
                  <c:v>100616</c:v>
                </c:pt>
                <c:pt idx="25605">
                  <c:v>100613</c:v>
                </c:pt>
                <c:pt idx="25606">
                  <c:v>100609</c:v>
                </c:pt>
                <c:pt idx="25607">
                  <c:v>100607</c:v>
                </c:pt>
                <c:pt idx="25608">
                  <c:v>100606</c:v>
                </c:pt>
                <c:pt idx="25609">
                  <c:v>100604</c:v>
                </c:pt>
                <c:pt idx="25610">
                  <c:v>100602</c:v>
                </c:pt>
                <c:pt idx="25611">
                  <c:v>100601</c:v>
                </c:pt>
                <c:pt idx="25612">
                  <c:v>100598</c:v>
                </c:pt>
                <c:pt idx="25613">
                  <c:v>100597</c:v>
                </c:pt>
                <c:pt idx="25614">
                  <c:v>100597</c:v>
                </c:pt>
                <c:pt idx="25615">
                  <c:v>100590</c:v>
                </c:pt>
                <c:pt idx="25616">
                  <c:v>100587</c:v>
                </c:pt>
                <c:pt idx="25617">
                  <c:v>100583</c:v>
                </c:pt>
                <c:pt idx="25618">
                  <c:v>100582</c:v>
                </c:pt>
                <c:pt idx="25619">
                  <c:v>100581</c:v>
                </c:pt>
                <c:pt idx="25620">
                  <c:v>100580</c:v>
                </c:pt>
                <c:pt idx="25621">
                  <c:v>100579</c:v>
                </c:pt>
                <c:pt idx="25622">
                  <c:v>100577</c:v>
                </c:pt>
                <c:pt idx="25623">
                  <c:v>100572</c:v>
                </c:pt>
                <c:pt idx="25624">
                  <c:v>100570</c:v>
                </c:pt>
                <c:pt idx="25625">
                  <c:v>100561</c:v>
                </c:pt>
                <c:pt idx="25626">
                  <c:v>100558</c:v>
                </c:pt>
                <c:pt idx="25627">
                  <c:v>100558</c:v>
                </c:pt>
                <c:pt idx="25628">
                  <c:v>100552</c:v>
                </c:pt>
                <c:pt idx="25629">
                  <c:v>100552</c:v>
                </c:pt>
                <c:pt idx="25630">
                  <c:v>100550</c:v>
                </c:pt>
                <c:pt idx="25631">
                  <c:v>100543</c:v>
                </c:pt>
                <c:pt idx="25632">
                  <c:v>100541</c:v>
                </c:pt>
                <c:pt idx="25633">
                  <c:v>100535</c:v>
                </c:pt>
                <c:pt idx="25634">
                  <c:v>100527</c:v>
                </c:pt>
                <c:pt idx="25635">
                  <c:v>100518</c:v>
                </c:pt>
                <c:pt idx="25636">
                  <c:v>100518</c:v>
                </c:pt>
                <c:pt idx="25637">
                  <c:v>100517</c:v>
                </c:pt>
                <c:pt idx="25638">
                  <c:v>100513</c:v>
                </c:pt>
                <c:pt idx="25639">
                  <c:v>100509</c:v>
                </c:pt>
                <c:pt idx="25640">
                  <c:v>100507</c:v>
                </c:pt>
                <c:pt idx="25641">
                  <c:v>100503</c:v>
                </c:pt>
                <c:pt idx="25642">
                  <c:v>100502</c:v>
                </c:pt>
                <c:pt idx="25643">
                  <c:v>100494</c:v>
                </c:pt>
                <c:pt idx="25644">
                  <c:v>100492</c:v>
                </c:pt>
                <c:pt idx="25645">
                  <c:v>100492</c:v>
                </c:pt>
                <c:pt idx="25646">
                  <c:v>100485</c:v>
                </c:pt>
                <c:pt idx="25647">
                  <c:v>100483</c:v>
                </c:pt>
                <c:pt idx="25648">
                  <c:v>100482</c:v>
                </c:pt>
                <c:pt idx="25649">
                  <c:v>100479</c:v>
                </c:pt>
                <c:pt idx="25650">
                  <c:v>100477</c:v>
                </c:pt>
                <c:pt idx="25651">
                  <c:v>100474</c:v>
                </c:pt>
                <c:pt idx="25652">
                  <c:v>100472</c:v>
                </c:pt>
                <c:pt idx="25653">
                  <c:v>100470</c:v>
                </c:pt>
                <c:pt idx="25654">
                  <c:v>100468</c:v>
                </c:pt>
                <c:pt idx="25655">
                  <c:v>100467</c:v>
                </c:pt>
                <c:pt idx="25656">
                  <c:v>100454</c:v>
                </c:pt>
                <c:pt idx="25657">
                  <c:v>100452</c:v>
                </c:pt>
                <c:pt idx="25658">
                  <c:v>100439</c:v>
                </c:pt>
                <c:pt idx="25659">
                  <c:v>100438</c:v>
                </c:pt>
                <c:pt idx="25660">
                  <c:v>100437</c:v>
                </c:pt>
                <c:pt idx="25661">
                  <c:v>100430</c:v>
                </c:pt>
                <c:pt idx="25662">
                  <c:v>100430</c:v>
                </c:pt>
                <c:pt idx="25663">
                  <c:v>100428</c:v>
                </c:pt>
                <c:pt idx="25664">
                  <c:v>100423</c:v>
                </c:pt>
                <c:pt idx="25665">
                  <c:v>100415</c:v>
                </c:pt>
                <c:pt idx="25666">
                  <c:v>100413</c:v>
                </c:pt>
                <c:pt idx="25667">
                  <c:v>100408</c:v>
                </c:pt>
                <c:pt idx="25668">
                  <c:v>100406</c:v>
                </c:pt>
                <c:pt idx="25669">
                  <c:v>100400</c:v>
                </c:pt>
                <c:pt idx="25670">
                  <c:v>100392</c:v>
                </c:pt>
                <c:pt idx="25671">
                  <c:v>100385</c:v>
                </c:pt>
                <c:pt idx="25672">
                  <c:v>100382</c:v>
                </c:pt>
                <c:pt idx="25673">
                  <c:v>100382</c:v>
                </c:pt>
                <c:pt idx="25674">
                  <c:v>100376</c:v>
                </c:pt>
                <c:pt idx="25675">
                  <c:v>100375</c:v>
                </c:pt>
                <c:pt idx="25676">
                  <c:v>100374</c:v>
                </c:pt>
                <c:pt idx="25677">
                  <c:v>100373</c:v>
                </c:pt>
                <c:pt idx="25678">
                  <c:v>100372</c:v>
                </c:pt>
                <c:pt idx="25679">
                  <c:v>100370</c:v>
                </c:pt>
                <c:pt idx="25680">
                  <c:v>100368</c:v>
                </c:pt>
                <c:pt idx="25681">
                  <c:v>100365</c:v>
                </c:pt>
                <c:pt idx="25682">
                  <c:v>100365</c:v>
                </c:pt>
                <c:pt idx="25683">
                  <c:v>100360</c:v>
                </c:pt>
                <c:pt idx="25684">
                  <c:v>100360</c:v>
                </c:pt>
                <c:pt idx="25685">
                  <c:v>100358</c:v>
                </c:pt>
                <c:pt idx="25686">
                  <c:v>100349</c:v>
                </c:pt>
                <c:pt idx="25687">
                  <c:v>100346</c:v>
                </c:pt>
                <c:pt idx="25688">
                  <c:v>100344</c:v>
                </c:pt>
                <c:pt idx="25689">
                  <c:v>100338</c:v>
                </c:pt>
                <c:pt idx="25690">
                  <c:v>100337</c:v>
                </c:pt>
                <c:pt idx="25691">
                  <c:v>100332</c:v>
                </c:pt>
                <c:pt idx="25692">
                  <c:v>100331</c:v>
                </c:pt>
                <c:pt idx="25693">
                  <c:v>100327</c:v>
                </c:pt>
                <c:pt idx="25694">
                  <c:v>100325</c:v>
                </c:pt>
                <c:pt idx="25695">
                  <c:v>100321</c:v>
                </c:pt>
                <c:pt idx="25696">
                  <c:v>100313</c:v>
                </c:pt>
                <c:pt idx="25697">
                  <c:v>100311</c:v>
                </c:pt>
                <c:pt idx="25698">
                  <c:v>100311</c:v>
                </c:pt>
                <c:pt idx="25699">
                  <c:v>100309</c:v>
                </c:pt>
                <c:pt idx="25700">
                  <c:v>100302</c:v>
                </c:pt>
                <c:pt idx="25701">
                  <c:v>100298</c:v>
                </c:pt>
                <c:pt idx="25702">
                  <c:v>100297</c:v>
                </c:pt>
                <c:pt idx="25703">
                  <c:v>100297</c:v>
                </c:pt>
                <c:pt idx="25704">
                  <c:v>100292</c:v>
                </c:pt>
                <c:pt idx="25705">
                  <c:v>100284</c:v>
                </c:pt>
                <c:pt idx="25706">
                  <c:v>100281</c:v>
                </c:pt>
                <c:pt idx="25707">
                  <c:v>100278</c:v>
                </c:pt>
                <c:pt idx="25708">
                  <c:v>100257</c:v>
                </c:pt>
                <c:pt idx="25709">
                  <c:v>100254</c:v>
                </c:pt>
                <c:pt idx="25710">
                  <c:v>100254</c:v>
                </c:pt>
                <c:pt idx="25711">
                  <c:v>100252</c:v>
                </c:pt>
                <c:pt idx="25712">
                  <c:v>100251</c:v>
                </c:pt>
                <c:pt idx="25713">
                  <c:v>100251</c:v>
                </c:pt>
                <c:pt idx="25714">
                  <c:v>100249</c:v>
                </c:pt>
                <c:pt idx="25715">
                  <c:v>100246</c:v>
                </c:pt>
                <c:pt idx="25716">
                  <c:v>100245</c:v>
                </c:pt>
                <c:pt idx="25717">
                  <c:v>100244</c:v>
                </c:pt>
                <c:pt idx="25718">
                  <c:v>100239</c:v>
                </c:pt>
                <c:pt idx="25719">
                  <c:v>100234</c:v>
                </c:pt>
                <c:pt idx="25720">
                  <c:v>100232</c:v>
                </c:pt>
                <c:pt idx="25721">
                  <c:v>100230</c:v>
                </c:pt>
                <c:pt idx="25722">
                  <c:v>100230</c:v>
                </c:pt>
                <c:pt idx="25723">
                  <c:v>100223</c:v>
                </c:pt>
                <c:pt idx="25724">
                  <c:v>100215</c:v>
                </c:pt>
                <c:pt idx="25725">
                  <c:v>100209</c:v>
                </c:pt>
                <c:pt idx="25726">
                  <c:v>100204</c:v>
                </c:pt>
                <c:pt idx="25727">
                  <c:v>100204</c:v>
                </c:pt>
                <c:pt idx="25728">
                  <c:v>100204</c:v>
                </c:pt>
                <c:pt idx="25729">
                  <c:v>100203</c:v>
                </c:pt>
                <c:pt idx="25730">
                  <c:v>100203</c:v>
                </c:pt>
                <c:pt idx="25731">
                  <c:v>100202</c:v>
                </c:pt>
                <c:pt idx="25732">
                  <c:v>100201</c:v>
                </c:pt>
                <c:pt idx="25733">
                  <c:v>100199</c:v>
                </c:pt>
                <c:pt idx="25734">
                  <c:v>100198</c:v>
                </c:pt>
                <c:pt idx="25735">
                  <c:v>100193</c:v>
                </c:pt>
                <c:pt idx="25736">
                  <c:v>100193</c:v>
                </c:pt>
                <c:pt idx="25737">
                  <c:v>100178</c:v>
                </c:pt>
                <c:pt idx="25738">
                  <c:v>100178</c:v>
                </c:pt>
                <c:pt idx="25739">
                  <c:v>100176</c:v>
                </c:pt>
                <c:pt idx="25740">
                  <c:v>100172</c:v>
                </c:pt>
                <c:pt idx="25741">
                  <c:v>100170</c:v>
                </c:pt>
                <c:pt idx="25742">
                  <c:v>100169</c:v>
                </c:pt>
                <c:pt idx="25743">
                  <c:v>100166</c:v>
                </c:pt>
                <c:pt idx="25744">
                  <c:v>100165</c:v>
                </c:pt>
                <c:pt idx="25745">
                  <c:v>100160</c:v>
                </c:pt>
                <c:pt idx="25746">
                  <c:v>100154</c:v>
                </c:pt>
                <c:pt idx="25747">
                  <c:v>100149</c:v>
                </c:pt>
                <c:pt idx="25748">
                  <c:v>100149</c:v>
                </c:pt>
                <c:pt idx="25749">
                  <c:v>100142</c:v>
                </c:pt>
                <c:pt idx="25750">
                  <c:v>100135</c:v>
                </c:pt>
                <c:pt idx="25751">
                  <c:v>100128</c:v>
                </c:pt>
                <c:pt idx="25752">
                  <c:v>100128</c:v>
                </c:pt>
                <c:pt idx="25753">
                  <c:v>100128</c:v>
                </c:pt>
                <c:pt idx="25754">
                  <c:v>100127</c:v>
                </c:pt>
                <c:pt idx="25755">
                  <c:v>100125</c:v>
                </c:pt>
                <c:pt idx="25756">
                  <c:v>100121</c:v>
                </c:pt>
                <c:pt idx="25757">
                  <c:v>100107</c:v>
                </c:pt>
                <c:pt idx="25758">
                  <c:v>100096</c:v>
                </c:pt>
                <c:pt idx="25759">
                  <c:v>100092</c:v>
                </c:pt>
                <c:pt idx="25760">
                  <c:v>100092</c:v>
                </c:pt>
                <c:pt idx="25761">
                  <c:v>100086</c:v>
                </c:pt>
                <c:pt idx="25762">
                  <c:v>100080</c:v>
                </c:pt>
                <c:pt idx="25763">
                  <c:v>100077</c:v>
                </c:pt>
                <c:pt idx="25764">
                  <c:v>100074</c:v>
                </c:pt>
                <c:pt idx="25765">
                  <c:v>100068</c:v>
                </c:pt>
                <c:pt idx="25766">
                  <c:v>100062</c:v>
                </c:pt>
                <c:pt idx="25767">
                  <c:v>100056</c:v>
                </c:pt>
                <c:pt idx="25768">
                  <c:v>100052</c:v>
                </c:pt>
                <c:pt idx="25769">
                  <c:v>100051</c:v>
                </c:pt>
                <c:pt idx="25770">
                  <c:v>100037</c:v>
                </c:pt>
                <c:pt idx="25771">
                  <c:v>100037</c:v>
                </c:pt>
                <c:pt idx="25772">
                  <c:v>100036</c:v>
                </c:pt>
                <c:pt idx="25773">
                  <c:v>100035</c:v>
                </c:pt>
                <c:pt idx="25774">
                  <c:v>100034</c:v>
                </c:pt>
                <c:pt idx="25775">
                  <c:v>100033</c:v>
                </c:pt>
                <c:pt idx="25776">
                  <c:v>100029</c:v>
                </c:pt>
                <c:pt idx="25777">
                  <c:v>100028</c:v>
                </c:pt>
                <c:pt idx="25778">
                  <c:v>100021</c:v>
                </c:pt>
                <c:pt idx="25779">
                  <c:v>100013</c:v>
                </c:pt>
                <c:pt idx="25780">
                  <c:v>100011</c:v>
                </c:pt>
                <c:pt idx="25781">
                  <c:v>100008</c:v>
                </c:pt>
                <c:pt idx="25782">
                  <c:v>100007</c:v>
                </c:pt>
                <c:pt idx="25783">
                  <c:v>100001</c:v>
                </c:pt>
                <c:pt idx="25784">
                  <c:v>99999</c:v>
                </c:pt>
                <c:pt idx="25785">
                  <c:v>99997</c:v>
                </c:pt>
                <c:pt idx="25786">
                  <c:v>99991</c:v>
                </c:pt>
                <c:pt idx="25787">
                  <c:v>99988</c:v>
                </c:pt>
                <c:pt idx="25788">
                  <c:v>99988</c:v>
                </c:pt>
                <c:pt idx="25789">
                  <c:v>99983</c:v>
                </c:pt>
                <c:pt idx="25790">
                  <c:v>99982</c:v>
                </c:pt>
                <c:pt idx="25791">
                  <c:v>99982</c:v>
                </c:pt>
                <c:pt idx="25792">
                  <c:v>99978</c:v>
                </c:pt>
                <c:pt idx="25793">
                  <c:v>99973</c:v>
                </c:pt>
                <c:pt idx="25794">
                  <c:v>99972</c:v>
                </c:pt>
                <c:pt idx="25795">
                  <c:v>99967</c:v>
                </c:pt>
                <c:pt idx="25796">
                  <c:v>99962</c:v>
                </c:pt>
                <c:pt idx="25797">
                  <c:v>99956</c:v>
                </c:pt>
                <c:pt idx="25798">
                  <c:v>99944</c:v>
                </c:pt>
                <c:pt idx="25799">
                  <c:v>99943</c:v>
                </c:pt>
                <c:pt idx="25800">
                  <c:v>99941</c:v>
                </c:pt>
                <c:pt idx="25801">
                  <c:v>99941</c:v>
                </c:pt>
                <c:pt idx="25802">
                  <c:v>99939</c:v>
                </c:pt>
                <c:pt idx="25803">
                  <c:v>99934</c:v>
                </c:pt>
                <c:pt idx="25804">
                  <c:v>99929</c:v>
                </c:pt>
                <c:pt idx="25805">
                  <c:v>99927</c:v>
                </c:pt>
                <c:pt idx="25806">
                  <c:v>99917</c:v>
                </c:pt>
                <c:pt idx="25807">
                  <c:v>99914</c:v>
                </c:pt>
                <c:pt idx="25808">
                  <c:v>99908</c:v>
                </c:pt>
                <c:pt idx="25809">
                  <c:v>99907</c:v>
                </c:pt>
                <c:pt idx="25810">
                  <c:v>99905</c:v>
                </c:pt>
                <c:pt idx="25811">
                  <c:v>99901</c:v>
                </c:pt>
                <c:pt idx="25812">
                  <c:v>99874</c:v>
                </c:pt>
                <c:pt idx="25813">
                  <c:v>99863</c:v>
                </c:pt>
                <c:pt idx="25814">
                  <c:v>99861</c:v>
                </c:pt>
                <c:pt idx="25815">
                  <c:v>99853</c:v>
                </c:pt>
                <c:pt idx="25816">
                  <c:v>99848</c:v>
                </c:pt>
                <c:pt idx="25817">
                  <c:v>99846</c:v>
                </c:pt>
                <c:pt idx="25818">
                  <c:v>99845</c:v>
                </c:pt>
                <c:pt idx="25819">
                  <c:v>99843</c:v>
                </c:pt>
                <c:pt idx="25820">
                  <c:v>99840</c:v>
                </c:pt>
                <c:pt idx="25821">
                  <c:v>99832</c:v>
                </c:pt>
                <c:pt idx="25822">
                  <c:v>99831</c:v>
                </c:pt>
                <c:pt idx="25823">
                  <c:v>99827</c:v>
                </c:pt>
                <c:pt idx="25824">
                  <c:v>99825</c:v>
                </c:pt>
                <c:pt idx="25825">
                  <c:v>99824</c:v>
                </c:pt>
                <c:pt idx="25826">
                  <c:v>99819</c:v>
                </c:pt>
                <c:pt idx="25827">
                  <c:v>99812</c:v>
                </c:pt>
                <c:pt idx="25828">
                  <c:v>99800</c:v>
                </c:pt>
                <c:pt idx="25829">
                  <c:v>99798</c:v>
                </c:pt>
                <c:pt idx="25830">
                  <c:v>99793</c:v>
                </c:pt>
                <c:pt idx="25831">
                  <c:v>99790</c:v>
                </c:pt>
                <c:pt idx="25832">
                  <c:v>99785</c:v>
                </c:pt>
                <c:pt idx="25833">
                  <c:v>99782</c:v>
                </c:pt>
                <c:pt idx="25834">
                  <c:v>99778</c:v>
                </c:pt>
                <c:pt idx="25835">
                  <c:v>99773</c:v>
                </c:pt>
                <c:pt idx="25836">
                  <c:v>99770</c:v>
                </c:pt>
                <c:pt idx="25837">
                  <c:v>99770</c:v>
                </c:pt>
                <c:pt idx="25838">
                  <c:v>99768</c:v>
                </c:pt>
                <c:pt idx="25839">
                  <c:v>99767</c:v>
                </c:pt>
                <c:pt idx="25840">
                  <c:v>99766</c:v>
                </c:pt>
                <c:pt idx="25841">
                  <c:v>99759</c:v>
                </c:pt>
                <c:pt idx="25842">
                  <c:v>99754</c:v>
                </c:pt>
                <c:pt idx="25843">
                  <c:v>99750</c:v>
                </c:pt>
                <c:pt idx="25844">
                  <c:v>99745</c:v>
                </c:pt>
                <c:pt idx="25845">
                  <c:v>99743</c:v>
                </c:pt>
                <c:pt idx="25846">
                  <c:v>99728</c:v>
                </c:pt>
                <c:pt idx="25847">
                  <c:v>99728</c:v>
                </c:pt>
                <c:pt idx="25848">
                  <c:v>99726</c:v>
                </c:pt>
                <c:pt idx="25849">
                  <c:v>99711</c:v>
                </c:pt>
                <c:pt idx="25850">
                  <c:v>99706</c:v>
                </c:pt>
                <c:pt idx="25851">
                  <c:v>99701</c:v>
                </c:pt>
                <c:pt idx="25852">
                  <c:v>99692</c:v>
                </c:pt>
                <c:pt idx="25853">
                  <c:v>99690</c:v>
                </c:pt>
                <c:pt idx="25854">
                  <c:v>99687</c:v>
                </c:pt>
                <c:pt idx="25855">
                  <c:v>99683</c:v>
                </c:pt>
                <c:pt idx="25856">
                  <c:v>99677</c:v>
                </c:pt>
                <c:pt idx="25857">
                  <c:v>99673</c:v>
                </c:pt>
                <c:pt idx="25858">
                  <c:v>99673</c:v>
                </c:pt>
                <c:pt idx="25859">
                  <c:v>99663</c:v>
                </c:pt>
                <c:pt idx="25860">
                  <c:v>99661</c:v>
                </c:pt>
                <c:pt idx="25861">
                  <c:v>99660</c:v>
                </c:pt>
                <c:pt idx="25862">
                  <c:v>99657</c:v>
                </c:pt>
                <c:pt idx="25863">
                  <c:v>99635</c:v>
                </c:pt>
                <c:pt idx="25864">
                  <c:v>99634</c:v>
                </c:pt>
                <c:pt idx="25865">
                  <c:v>99633</c:v>
                </c:pt>
                <c:pt idx="25866">
                  <c:v>99627</c:v>
                </c:pt>
                <c:pt idx="25867">
                  <c:v>99623</c:v>
                </c:pt>
                <c:pt idx="25868">
                  <c:v>99621</c:v>
                </c:pt>
                <c:pt idx="25869">
                  <c:v>99616</c:v>
                </c:pt>
                <c:pt idx="25870">
                  <c:v>99614</c:v>
                </c:pt>
                <c:pt idx="25871">
                  <c:v>99603</c:v>
                </c:pt>
                <c:pt idx="25872">
                  <c:v>99598</c:v>
                </c:pt>
                <c:pt idx="25873">
                  <c:v>99594</c:v>
                </c:pt>
                <c:pt idx="25874">
                  <c:v>99594</c:v>
                </c:pt>
                <c:pt idx="25875">
                  <c:v>99592</c:v>
                </c:pt>
                <c:pt idx="25876">
                  <c:v>99591</c:v>
                </c:pt>
                <c:pt idx="25877">
                  <c:v>99590</c:v>
                </c:pt>
                <c:pt idx="25878">
                  <c:v>99585</c:v>
                </c:pt>
                <c:pt idx="25879">
                  <c:v>99582</c:v>
                </c:pt>
                <c:pt idx="25880">
                  <c:v>99576</c:v>
                </c:pt>
                <c:pt idx="25881">
                  <c:v>99570</c:v>
                </c:pt>
                <c:pt idx="25882">
                  <c:v>99566</c:v>
                </c:pt>
                <c:pt idx="25883">
                  <c:v>99557</c:v>
                </c:pt>
                <c:pt idx="25884">
                  <c:v>99553</c:v>
                </c:pt>
                <c:pt idx="25885">
                  <c:v>99549</c:v>
                </c:pt>
                <c:pt idx="25886">
                  <c:v>99549</c:v>
                </c:pt>
                <c:pt idx="25887">
                  <c:v>99546</c:v>
                </c:pt>
                <c:pt idx="25888">
                  <c:v>99545</c:v>
                </c:pt>
                <c:pt idx="25889">
                  <c:v>99543</c:v>
                </c:pt>
                <c:pt idx="25890">
                  <c:v>99539</c:v>
                </c:pt>
                <c:pt idx="25891">
                  <c:v>99535</c:v>
                </c:pt>
                <c:pt idx="25892">
                  <c:v>99535</c:v>
                </c:pt>
                <c:pt idx="25893">
                  <c:v>99532</c:v>
                </c:pt>
                <c:pt idx="25894">
                  <c:v>99525</c:v>
                </c:pt>
                <c:pt idx="25895">
                  <c:v>99524</c:v>
                </c:pt>
                <c:pt idx="25896">
                  <c:v>99524</c:v>
                </c:pt>
                <c:pt idx="25897">
                  <c:v>99497</c:v>
                </c:pt>
                <c:pt idx="25898">
                  <c:v>99497</c:v>
                </c:pt>
                <c:pt idx="25899">
                  <c:v>99495</c:v>
                </c:pt>
                <c:pt idx="25900">
                  <c:v>99493</c:v>
                </c:pt>
                <c:pt idx="25901">
                  <c:v>99492</c:v>
                </c:pt>
                <c:pt idx="25902">
                  <c:v>99479</c:v>
                </c:pt>
                <c:pt idx="25903">
                  <c:v>99477</c:v>
                </c:pt>
                <c:pt idx="25904">
                  <c:v>99471</c:v>
                </c:pt>
                <c:pt idx="25905">
                  <c:v>99461</c:v>
                </c:pt>
                <c:pt idx="25906">
                  <c:v>99459</c:v>
                </c:pt>
                <c:pt idx="25907">
                  <c:v>99453</c:v>
                </c:pt>
                <c:pt idx="25908">
                  <c:v>99448</c:v>
                </c:pt>
                <c:pt idx="25909">
                  <c:v>99445</c:v>
                </c:pt>
                <c:pt idx="25910">
                  <c:v>99445</c:v>
                </c:pt>
                <c:pt idx="25911">
                  <c:v>99444</c:v>
                </c:pt>
                <c:pt idx="25912">
                  <c:v>99441</c:v>
                </c:pt>
                <c:pt idx="25913">
                  <c:v>99439</c:v>
                </c:pt>
                <c:pt idx="25914">
                  <c:v>99436</c:v>
                </c:pt>
                <c:pt idx="25915">
                  <c:v>99432</c:v>
                </c:pt>
                <c:pt idx="25916">
                  <c:v>99428</c:v>
                </c:pt>
                <c:pt idx="25917">
                  <c:v>99424</c:v>
                </c:pt>
                <c:pt idx="25918">
                  <c:v>99420</c:v>
                </c:pt>
                <c:pt idx="25919">
                  <c:v>99416</c:v>
                </c:pt>
                <c:pt idx="25920">
                  <c:v>99411</c:v>
                </c:pt>
                <c:pt idx="25921">
                  <c:v>99410</c:v>
                </c:pt>
                <c:pt idx="25922">
                  <c:v>99409</c:v>
                </c:pt>
                <c:pt idx="25923">
                  <c:v>99403</c:v>
                </c:pt>
                <c:pt idx="25924">
                  <c:v>99399</c:v>
                </c:pt>
                <c:pt idx="25925">
                  <c:v>99399</c:v>
                </c:pt>
                <c:pt idx="25926">
                  <c:v>99393</c:v>
                </c:pt>
                <c:pt idx="25927">
                  <c:v>99387</c:v>
                </c:pt>
                <c:pt idx="25928">
                  <c:v>99386</c:v>
                </c:pt>
                <c:pt idx="25929">
                  <c:v>99383</c:v>
                </c:pt>
                <c:pt idx="25930">
                  <c:v>99378</c:v>
                </c:pt>
                <c:pt idx="25931">
                  <c:v>99366</c:v>
                </c:pt>
                <c:pt idx="25932">
                  <c:v>99362</c:v>
                </c:pt>
                <c:pt idx="25933">
                  <c:v>99361</c:v>
                </c:pt>
                <c:pt idx="25934">
                  <c:v>99353</c:v>
                </c:pt>
                <c:pt idx="25935">
                  <c:v>99335</c:v>
                </c:pt>
                <c:pt idx="25936">
                  <c:v>99328</c:v>
                </c:pt>
                <c:pt idx="25937">
                  <c:v>99328</c:v>
                </c:pt>
                <c:pt idx="25938">
                  <c:v>99325</c:v>
                </c:pt>
                <c:pt idx="25939">
                  <c:v>99314</c:v>
                </c:pt>
                <c:pt idx="25940">
                  <c:v>99314</c:v>
                </c:pt>
                <c:pt idx="25941">
                  <c:v>99314</c:v>
                </c:pt>
                <c:pt idx="25942">
                  <c:v>99304</c:v>
                </c:pt>
                <c:pt idx="25943">
                  <c:v>99304</c:v>
                </c:pt>
                <c:pt idx="25944">
                  <c:v>99301</c:v>
                </c:pt>
                <c:pt idx="25945">
                  <c:v>99301</c:v>
                </c:pt>
                <c:pt idx="25946">
                  <c:v>99297</c:v>
                </c:pt>
                <c:pt idx="25947">
                  <c:v>99295</c:v>
                </c:pt>
                <c:pt idx="25948">
                  <c:v>99293</c:v>
                </c:pt>
                <c:pt idx="25949">
                  <c:v>99292</c:v>
                </c:pt>
                <c:pt idx="25950">
                  <c:v>99288</c:v>
                </c:pt>
                <c:pt idx="25951">
                  <c:v>99284</c:v>
                </c:pt>
                <c:pt idx="25952">
                  <c:v>99283</c:v>
                </c:pt>
                <c:pt idx="25953">
                  <c:v>99279</c:v>
                </c:pt>
                <c:pt idx="25954">
                  <c:v>99266</c:v>
                </c:pt>
                <c:pt idx="25955">
                  <c:v>99263</c:v>
                </c:pt>
                <c:pt idx="25956">
                  <c:v>99263</c:v>
                </c:pt>
                <c:pt idx="25957">
                  <c:v>99262</c:v>
                </c:pt>
                <c:pt idx="25958">
                  <c:v>99259</c:v>
                </c:pt>
                <c:pt idx="25959">
                  <c:v>99255</c:v>
                </c:pt>
                <c:pt idx="25960">
                  <c:v>99242</c:v>
                </c:pt>
                <c:pt idx="25961">
                  <c:v>99236</c:v>
                </c:pt>
                <c:pt idx="25962">
                  <c:v>99227</c:v>
                </c:pt>
                <c:pt idx="25963">
                  <c:v>99227</c:v>
                </c:pt>
                <c:pt idx="25964">
                  <c:v>99221</c:v>
                </c:pt>
                <c:pt idx="25965">
                  <c:v>99220</c:v>
                </c:pt>
                <c:pt idx="25966">
                  <c:v>99218</c:v>
                </c:pt>
                <c:pt idx="25967">
                  <c:v>99208</c:v>
                </c:pt>
                <c:pt idx="25968">
                  <c:v>99202</c:v>
                </c:pt>
                <c:pt idx="25969">
                  <c:v>99200</c:v>
                </c:pt>
                <c:pt idx="25970">
                  <c:v>99198</c:v>
                </c:pt>
                <c:pt idx="25971">
                  <c:v>99197</c:v>
                </c:pt>
                <c:pt idx="25972">
                  <c:v>99193</c:v>
                </c:pt>
                <c:pt idx="25973">
                  <c:v>99187</c:v>
                </c:pt>
                <c:pt idx="25974">
                  <c:v>99186</c:v>
                </c:pt>
                <c:pt idx="25975">
                  <c:v>99182</c:v>
                </c:pt>
                <c:pt idx="25976">
                  <c:v>99181</c:v>
                </c:pt>
                <c:pt idx="25977">
                  <c:v>99180</c:v>
                </c:pt>
                <c:pt idx="25978">
                  <c:v>99179</c:v>
                </c:pt>
                <c:pt idx="25979">
                  <c:v>99177</c:v>
                </c:pt>
                <c:pt idx="25980">
                  <c:v>99172</c:v>
                </c:pt>
                <c:pt idx="25981">
                  <c:v>99166</c:v>
                </c:pt>
                <c:pt idx="25982">
                  <c:v>99162</c:v>
                </c:pt>
                <c:pt idx="25983">
                  <c:v>99158</c:v>
                </c:pt>
                <c:pt idx="25984">
                  <c:v>99157</c:v>
                </c:pt>
                <c:pt idx="25985">
                  <c:v>99149</c:v>
                </c:pt>
                <c:pt idx="25986">
                  <c:v>99143</c:v>
                </c:pt>
                <c:pt idx="25987">
                  <c:v>99137</c:v>
                </c:pt>
                <c:pt idx="25988">
                  <c:v>99137</c:v>
                </c:pt>
                <c:pt idx="25989">
                  <c:v>99130</c:v>
                </c:pt>
                <c:pt idx="25990">
                  <c:v>99127</c:v>
                </c:pt>
                <c:pt idx="25991">
                  <c:v>99126</c:v>
                </c:pt>
                <c:pt idx="25992">
                  <c:v>99116</c:v>
                </c:pt>
                <c:pt idx="25993">
                  <c:v>99114</c:v>
                </c:pt>
                <c:pt idx="25994">
                  <c:v>99110</c:v>
                </c:pt>
                <c:pt idx="25995">
                  <c:v>99108</c:v>
                </c:pt>
                <c:pt idx="25996">
                  <c:v>99105</c:v>
                </c:pt>
                <c:pt idx="25997">
                  <c:v>99103</c:v>
                </c:pt>
                <c:pt idx="25998">
                  <c:v>99102</c:v>
                </c:pt>
                <c:pt idx="25999">
                  <c:v>99100</c:v>
                </c:pt>
                <c:pt idx="26000">
                  <c:v>99099</c:v>
                </c:pt>
                <c:pt idx="26001">
                  <c:v>99097</c:v>
                </c:pt>
                <c:pt idx="26002">
                  <c:v>99095</c:v>
                </c:pt>
                <c:pt idx="26003">
                  <c:v>99094</c:v>
                </c:pt>
                <c:pt idx="26004">
                  <c:v>99093</c:v>
                </c:pt>
                <c:pt idx="26005">
                  <c:v>99092</c:v>
                </c:pt>
                <c:pt idx="26006">
                  <c:v>99091</c:v>
                </c:pt>
                <c:pt idx="26007">
                  <c:v>99090</c:v>
                </c:pt>
                <c:pt idx="26008">
                  <c:v>99088</c:v>
                </c:pt>
                <c:pt idx="26009">
                  <c:v>99082</c:v>
                </c:pt>
                <c:pt idx="26010">
                  <c:v>99079</c:v>
                </c:pt>
                <c:pt idx="26011">
                  <c:v>99078</c:v>
                </c:pt>
                <c:pt idx="26012">
                  <c:v>99072</c:v>
                </c:pt>
                <c:pt idx="26013">
                  <c:v>99071</c:v>
                </c:pt>
                <c:pt idx="26014">
                  <c:v>99065</c:v>
                </c:pt>
                <c:pt idx="26015">
                  <c:v>99063</c:v>
                </c:pt>
                <c:pt idx="26016">
                  <c:v>99056</c:v>
                </c:pt>
                <c:pt idx="26017">
                  <c:v>99051</c:v>
                </c:pt>
                <c:pt idx="26018">
                  <c:v>99050</c:v>
                </c:pt>
                <c:pt idx="26019">
                  <c:v>99043</c:v>
                </c:pt>
                <c:pt idx="26020">
                  <c:v>99039</c:v>
                </c:pt>
                <c:pt idx="26021">
                  <c:v>99037</c:v>
                </c:pt>
                <c:pt idx="26022">
                  <c:v>99029</c:v>
                </c:pt>
                <c:pt idx="26023">
                  <c:v>99026</c:v>
                </c:pt>
                <c:pt idx="26024">
                  <c:v>99025</c:v>
                </c:pt>
                <c:pt idx="26025">
                  <c:v>99018</c:v>
                </c:pt>
                <c:pt idx="26026">
                  <c:v>99015</c:v>
                </c:pt>
                <c:pt idx="26027">
                  <c:v>99008</c:v>
                </c:pt>
                <c:pt idx="26028">
                  <c:v>99004</c:v>
                </c:pt>
                <c:pt idx="26029">
                  <c:v>99004</c:v>
                </c:pt>
                <c:pt idx="26030">
                  <c:v>98992</c:v>
                </c:pt>
                <c:pt idx="26031">
                  <c:v>98992</c:v>
                </c:pt>
                <c:pt idx="26032">
                  <c:v>98975</c:v>
                </c:pt>
                <c:pt idx="26033">
                  <c:v>98975</c:v>
                </c:pt>
                <c:pt idx="26034">
                  <c:v>98964</c:v>
                </c:pt>
                <c:pt idx="26035">
                  <c:v>98963</c:v>
                </c:pt>
                <c:pt idx="26036">
                  <c:v>98956</c:v>
                </c:pt>
                <c:pt idx="26037">
                  <c:v>98955</c:v>
                </c:pt>
                <c:pt idx="26038">
                  <c:v>98954</c:v>
                </c:pt>
                <c:pt idx="26039">
                  <c:v>98952</c:v>
                </c:pt>
                <c:pt idx="26040">
                  <c:v>98950</c:v>
                </c:pt>
                <c:pt idx="26041">
                  <c:v>98949</c:v>
                </c:pt>
                <c:pt idx="26042">
                  <c:v>98947</c:v>
                </c:pt>
                <c:pt idx="26043">
                  <c:v>98928</c:v>
                </c:pt>
                <c:pt idx="26044">
                  <c:v>98927</c:v>
                </c:pt>
                <c:pt idx="26045">
                  <c:v>98923</c:v>
                </c:pt>
                <c:pt idx="26046">
                  <c:v>98912</c:v>
                </c:pt>
                <c:pt idx="26047">
                  <c:v>98904</c:v>
                </c:pt>
                <c:pt idx="26048">
                  <c:v>98901</c:v>
                </c:pt>
                <c:pt idx="26049">
                  <c:v>98898</c:v>
                </c:pt>
                <c:pt idx="26050">
                  <c:v>98889</c:v>
                </c:pt>
                <c:pt idx="26051">
                  <c:v>98884</c:v>
                </c:pt>
                <c:pt idx="26052">
                  <c:v>98883</c:v>
                </c:pt>
                <c:pt idx="26053">
                  <c:v>98876</c:v>
                </c:pt>
                <c:pt idx="26054">
                  <c:v>98875</c:v>
                </c:pt>
                <c:pt idx="26055">
                  <c:v>98874</c:v>
                </c:pt>
                <c:pt idx="26056">
                  <c:v>98874</c:v>
                </c:pt>
                <c:pt idx="26057">
                  <c:v>98873</c:v>
                </c:pt>
                <c:pt idx="26058">
                  <c:v>98862</c:v>
                </c:pt>
                <c:pt idx="26059">
                  <c:v>98854</c:v>
                </c:pt>
                <c:pt idx="26060">
                  <c:v>98850</c:v>
                </c:pt>
                <c:pt idx="26061">
                  <c:v>98850</c:v>
                </c:pt>
                <c:pt idx="26062">
                  <c:v>98846</c:v>
                </c:pt>
                <c:pt idx="26063">
                  <c:v>98842</c:v>
                </c:pt>
                <c:pt idx="26064">
                  <c:v>98840</c:v>
                </c:pt>
                <c:pt idx="26065">
                  <c:v>98840</c:v>
                </c:pt>
                <c:pt idx="26066">
                  <c:v>98833</c:v>
                </c:pt>
                <c:pt idx="26067">
                  <c:v>98821</c:v>
                </c:pt>
                <c:pt idx="26068">
                  <c:v>98819</c:v>
                </c:pt>
                <c:pt idx="26069">
                  <c:v>98814</c:v>
                </c:pt>
                <c:pt idx="26070">
                  <c:v>98810</c:v>
                </c:pt>
                <c:pt idx="26071">
                  <c:v>98796</c:v>
                </c:pt>
                <c:pt idx="26072">
                  <c:v>98790</c:v>
                </c:pt>
                <c:pt idx="26073">
                  <c:v>98788</c:v>
                </c:pt>
                <c:pt idx="26074">
                  <c:v>98787</c:v>
                </c:pt>
                <c:pt idx="26075">
                  <c:v>98783</c:v>
                </c:pt>
                <c:pt idx="26076">
                  <c:v>98779</c:v>
                </c:pt>
                <c:pt idx="26077">
                  <c:v>98775</c:v>
                </c:pt>
                <c:pt idx="26078">
                  <c:v>98775</c:v>
                </c:pt>
                <c:pt idx="26079">
                  <c:v>98772</c:v>
                </c:pt>
                <c:pt idx="26080">
                  <c:v>98759</c:v>
                </c:pt>
                <c:pt idx="26081">
                  <c:v>98758</c:v>
                </c:pt>
                <c:pt idx="26082">
                  <c:v>98756</c:v>
                </c:pt>
                <c:pt idx="26083">
                  <c:v>98753</c:v>
                </c:pt>
                <c:pt idx="26084">
                  <c:v>98753</c:v>
                </c:pt>
                <c:pt idx="26085">
                  <c:v>98751</c:v>
                </c:pt>
                <c:pt idx="26086">
                  <c:v>98750</c:v>
                </c:pt>
                <c:pt idx="26087">
                  <c:v>98749</c:v>
                </c:pt>
                <c:pt idx="26088">
                  <c:v>98741</c:v>
                </c:pt>
                <c:pt idx="26089">
                  <c:v>98739</c:v>
                </c:pt>
                <c:pt idx="26090">
                  <c:v>98738</c:v>
                </c:pt>
                <c:pt idx="26091">
                  <c:v>98732</c:v>
                </c:pt>
                <c:pt idx="26092">
                  <c:v>98725</c:v>
                </c:pt>
                <c:pt idx="26093">
                  <c:v>98722</c:v>
                </c:pt>
                <c:pt idx="26094">
                  <c:v>98721</c:v>
                </c:pt>
                <c:pt idx="26095">
                  <c:v>98717</c:v>
                </c:pt>
                <c:pt idx="26096">
                  <c:v>98705</c:v>
                </c:pt>
                <c:pt idx="26097">
                  <c:v>98704</c:v>
                </c:pt>
                <c:pt idx="26098">
                  <c:v>98702</c:v>
                </c:pt>
                <c:pt idx="26099">
                  <c:v>98700</c:v>
                </c:pt>
                <c:pt idx="26100">
                  <c:v>98699</c:v>
                </c:pt>
                <c:pt idx="26101">
                  <c:v>98687</c:v>
                </c:pt>
                <c:pt idx="26102">
                  <c:v>98682</c:v>
                </c:pt>
                <c:pt idx="26103">
                  <c:v>98681</c:v>
                </c:pt>
                <c:pt idx="26104">
                  <c:v>98680</c:v>
                </c:pt>
                <c:pt idx="26105">
                  <c:v>98674</c:v>
                </c:pt>
                <c:pt idx="26106">
                  <c:v>98672</c:v>
                </c:pt>
                <c:pt idx="26107">
                  <c:v>98668</c:v>
                </c:pt>
                <c:pt idx="26108">
                  <c:v>98667</c:v>
                </c:pt>
                <c:pt idx="26109">
                  <c:v>98665</c:v>
                </c:pt>
                <c:pt idx="26110">
                  <c:v>98663</c:v>
                </c:pt>
                <c:pt idx="26111">
                  <c:v>98660</c:v>
                </c:pt>
                <c:pt idx="26112">
                  <c:v>98654</c:v>
                </c:pt>
                <c:pt idx="26113">
                  <c:v>98652</c:v>
                </c:pt>
                <c:pt idx="26114">
                  <c:v>98649</c:v>
                </c:pt>
                <c:pt idx="26115">
                  <c:v>98647</c:v>
                </c:pt>
                <c:pt idx="26116">
                  <c:v>98646</c:v>
                </c:pt>
                <c:pt idx="26117">
                  <c:v>98643</c:v>
                </c:pt>
                <c:pt idx="26118">
                  <c:v>98642</c:v>
                </c:pt>
                <c:pt idx="26119">
                  <c:v>98639</c:v>
                </c:pt>
                <c:pt idx="26120">
                  <c:v>98639</c:v>
                </c:pt>
                <c:pt idx="26121">
                  <c:v>98634</c:v>
                </c:pt>
                <c:pt idx="26122">
                  <c:v>98633</c:v>
                </c:pt>
                <c:pt idx="26123">
                  <c:v>98632</c:v>
                </c:pt>
                <c:pt idx="26124">
                  <c:v>98619</c:v>
                </c:pt>
                <c:pt idx="26125">
                  <c:v>98611</c:v>
                </c:pt>
                <c:pt idx="26126">
                  <c:v>98609</c:v>
                </c:pt>
                <c:pt idx="26127">
                  <c:v>98606</c:v>
                </c:pt>
                <c:pt idx="26128">
                  <c:v>98604</c:v>
                </c:pt>
                <c:pt idx="26129">
                  <c:v>98591</c:v>
                </c:pt>
                <c:pt idx="26130">
                  <c:v>98590</c:v>
                </c:pt>
                <c:pt idx="26131">
                  <c:v>98585</c:v>
                </c:pt>
                <c:pt idx="26132">
                  <c:v>98585</c:v>
                </c:pt>
                <c:pt idx="26133">
                  <c:v>98583</c:v>
                </c:pt>
                <c:pt idx="26134">
                  <c:v>98582</c:v>
                </c:pt>
                <c:pt idx="26135">
                  <c:v>98579</c:v>
                </c:pt>
                <c:pt idx="26136">
                  <c:v>98570</c:v>
                </c:pt>
                <c:pt idx="26137">
                  <c:v>98565</c:v>
                </c:pt>
                <c:pt idx="26138">
                  <c:v>98564</c:v>
                </c:pt>
                <c:pt idx="26139">
                  <c:v>98563</c:v>
                </c:pt>
                <c:pt idx="26140">
                  <c:v>98562</c:v>
                </c:pt>
                <c:pt idx="26141">
                  <c:v>98559</c:v>
                </c:pt>
                <c:pt idx="26142">
                  <c:v>98558</c:v>
                </c:pt>
                <c:pt idx="26143">
                  <c:v>98552</c:v>
                </c:pt>
                <c:pt idx="26144">
                  <c:v>98551</c:v>
                </c:pt>
                <c:pt idx="26145">
                  <c:v>98545</c:v>
                </c:pt>
                <c:pt idx="26146">
                  <c:v>98543</c:v>
                </c:pt>
                <c:pt idx="26147">
                  <c:v>98537</c:v>
                </c:pt>
                <c:pt idx="26148">
                  <c:v>98530</c:v>
                </c:pt>
                <c:pt idx="26149">
                  <c:v>98528</c:v>
                </c:pt>
                <c:pt idx="26150">
                  <c:v>98528</c:v>
                </c:pt>
                <c:pt idx="26151">
                  <c:v>98521</c:v>
                </c:pt>
                <c:pt idx="26152">
                  <c:v>98500</c:v>
                </c:pt>
                <c:pt idx="26153">
                  <c:v>98498</c:v>
                </c:pt>
                <c:pt idx="26154">
                  <c:v>98497</c:v>
                </c:pt>
                <c:pt idx="26155">
                  <c:v>98492</c:v>
                </c:pt>
                <c:pt idx="26156">
                  <c:v>98490</c:v>
                </c:pt>
                <c:pt idx="26157">
                  <c:v>98485</c:v>
                </c:pt>
                <c:pt idx="26158">
                  <c:v>98479</c:v>
                </c:pt>
                <c:pt idx="26159">
                  <c:v>98477</c:v>
                </c:pt>
                <c:pt idx="26160">
                  <c:v>98476</c:v>
                </c:pt>
                <c:pt idx="26161">
                  <c:v>98473</c:v>
                </c:pt>
                <c:pt idx="26162">
                  <c:v>98468</c:v>
                </c:pt>
                <c:pt idx="26163">
                  <c:v>98466</c:v>
                </c:pt>
                <c:pt idx="26164">
                  <c:v>98464</c:v>
                </c:pt>
                <c:pt idx="26165">
                  <c:v>98462</c:v>
                </c:pt>
                <c:pt idx="26166">
                  <c:v>98460</c:v>
                </c:pt>
                <c:pt idx="26167">
                  <c:v>98456</c:v>
                </c:pt>
                <c:pt idx="26168">
                  <c:v>98455</c:v>
                </c:pt>
                <c:pt idx="26169">
                  <c:v>98451</c:v>
                </c:pt>
                <c:pt idx="26170">
                  <c:v>98451</c:v>
                </c:pt>
                <c:pt idx="26171">
                  <c:v>98451</c:v>
                </c:pt>
                <c:pt idx="26172">
                  <c:v>98449</c:v>
                </c:pt>
                <c:pt idx="26173">
                  <c:v>98448</c:v>
                </c:pt>
                <c:pt idx="26174">
                  <c:v>98448</c:v>
                </c:pt>
                <c:pt idx="26175">
                  <c:v>98447</c:v>
                </c:pt>
                <c:pt idx="26176">
                  <c:v>98447</c:v>
                </c:pt>
                <c:pt idx="26177">
                  <c:v>98446</c:v>
                </c:pt>
                <c:pt idx="26178">
                  <c:v>98445</c:v>
                </c:pt>
                <c:pt idx="26179">
                  <c:v>98440</c:v>
                </c:pt>
                <c:pt idx="26180">
                  <c:v>98440</c:v>
                </c:pt>
                <c:pt idx="26181">
                  <c:v>98431</c:v>
                </c:pt>
                <c:pt idx="26182">
                  <c:v>98429</c:v>
                </c:pt>
                <c:pt idx="26183">
                  <c:v>98427</c:v>
                </c:pt>
                <c:pt idx="26184">
                  <c:v>98412</c:v>
                </c:pt>
                <c:pt idx="26185">
                  <c:v>98412</c:v>
                </c:pt>
                <c:pt idx="26186">
                  <c:v>98407</c:v>
                </c:pt>
                <c:pt idx="26187">
                  <c:v>98402</c:v>
                </c:pt>
                <c:pt idx="26188">
                  <c:v>98392</c:v>
                </c:pt>
                <c:pt idx="26189">
                  <c:v>98392</c:v>
                </c:pt>
                <c:pt idx="26190">
                  <c:v>98391</c:v>
                </c:pt>
                <c:pt idx="26191">
                  <c:v>98389</c:v>
                </c:pt>
                <c:pt idx="26192">
                  <c:v>98388</c:v>
                </c:pt>
                <c:pt idx="26193">
                  <c:v>98383</c:v>
                </c:pt>
                <c:pt idx="26194">
                  <c:v>98378</c:v>
                </c:pt>
                <c:pt idx="26195">
                  <c:v>98363</c:v>
                </c:pt>
                <c:pt idx="26196">
                  <c:v>98361</c:v>
                </c:pt>
                <c:pt idx="26197">
                  <c:v>98358</c:v>
                </c:pt>
                <c:pt idx="26198">
                  <c:v>98356</c:v>
                </c:pt>
                <c:pt idx="26199">
                  <c:v>98355</c:v>
                </c:pt>
                <c:pt idx="26200">
                  <c:v>98353</c:v>
                </c:pt>
                <c:pt idx="26201">
                  <c:v>98351</c:v>
                </c:pt>
                <c:pt idx="26202">
                  <c:v>98349</c:v>
                </c:pt>
                <c:pt idx="26203">
                  <c:v>98346</c:v>
                </c:pt>
                <c:pt idx="26204">
                  <c:v>98341</c:v>
                </c:pt>
                <c:pt idx="26205">
                  <c:v>98338</c:v>
                </c:pt>
                <c:pt idx="26206">
                  <c:v>98337</c:v>
                </c:pt>
                <c:pt idx="26207">
                  <c:v>98334</c:v>
                </c:pt>
                <c:pt idx="26208">
                  <c:v>98325</c:v>
                </c:pt>
                <c:pt idx="26209">
                  <c:v>98312</c:v>
                </c:pt>
                <c:pt idx="26210">
                  <c:v>98297</c:v>
                </c:pt>
                <c:pt idx="26211">
                  <c:v>98288</c:v>
                </c:pt>
                <c:pt idx="26212">
                  <c:v>98281</c:v>
                </c:pt>
                <c:pt idx="26213">
                  <c:v>98279</c:v>
                </c:pt>
                <c:pt idx="26214">
                  <c:v>98272</c:v>
                </c:pt>
                <c:pt idx="26215">
                  <c:v>98271</c:v>
                </c:pt>
                <c:pt idx="26216">
                  <c:v>98269</c:v>
                </c:pt>
                <c:pt idx="26217">
                  <c:v>98268</c:v>
                </c:pt>
                <c:pt idx="26218">
                  <c:v>98265</c:v>
                </c:pt>
                <c:pt idx="26219">
                  <c:v>98261</c:v>
                </c:pt>
                <c:pt idx="26220">
                  <c:v>98258</c:v>
                </c:pt>
                <c:pt idx="26221">
                  <c:v>98256</c:v>
                </c:pt>
                <c:pt idx="26222">
                  <c:v>98254</c:v>
                </c:pt>
                <c:pt idx="26223">
                  <c:v>98243</c:v>
                </c:pt>
                <c:pt idx="26224">
                  <c:v>98240</c:v>
                </c:pt>
                <c:pt idx="26225">
                  <c:v>98239</c:v>
                </c:pt>
                <c:pt idx="26226">
                  <c:v>98232</c:v>
                </c:pt>
                <c:pt idx="26227">
                  <c:v>98222</c:v>
                </c:pt>
                <c:pt idx="26228">
                  <c:v>98216</c:v>
                </c:pt>
                <c:pt idx="26229">
                  <c:v>98215</c:v>
                </c:pt>
                <c:pt idx="26230">
                  <c:v>98210</c:v>
                </c:pt>
                <c:pt idx="26231">
                  <c:v>98203</c:v>
                </c:pt>
                <c:pt idx="26232">
                  <c:v>98194</c:v>
                </c:pt>
                <c:pt idx="26233">
                  <c:v>98193</c:v>
                </c:pt>
                <c:pt idx="26234">
                  <c:v>98188</c:v>
                </c:pt>
                <c:pt idx="26235">
                  <c:v>98185</c:v>
                </c:pt>
                <c:pt idx="26236">
                  <c:v>98184</c:v>
                </c:pt>
                <c:pt idx="26237">
                  <c:v>98179</c:v>
                </c:pt>
                <c:pt idx="26238">
                  <c:v>98178</c:v>
                </c:pt>
                <c:pt idx="26239">
                  <c:v>98176</c:v>
                </c:pt>
                <c:pt idx="26240">
                  <c:v>98175</c:v>
                </c:pt>
                <c:pt idx="26241">
                  <c:v>98171</c:v>
                </c:pt>
                <c:pt idx="26242">
                  <c:v>98164</c:v>
                </c:pt>
                <c:pt idx="26243">
                  <c:v>98153</c:v>
                </c:pt>
                <c:pt idx="26244">
                  <c:v>98150</c:v>
                </c:pt>
                <c:pt idx="26245">
                  <c:v>98148</c:v>
                </c:pt>
                <c:pt idx="26246">
                  <c:v>98147</c:v>
                </c:pt>
                <c:pt idx="26247">
                  <c:v>98141</c:v>
                </c:pt>
                <c:pt idx="26248">
                  <c:v>98140</c:v>
                </c:pt>
                <c:pt idx="26249">
                  <c:v>98135</c:v>
                </c:pt>
                <c:pt idx="26250">
                  <c:v>98135</c:v>
                </c:pt>
                <c:pt idx="26251">
                  <c:v>98131</c:v>
                </c:pt>
                <c:pt idx="26252">
                  <c:v>98130</c:v>
                </c:pt>
                <c:pt idx="26253">
                  <c:v>98124</c:v>
                </c:pt>
                <c:pt idx="26254">
                  <c:v>98118</c:v>
                </c:pt>
                <c:pt idx="26255">
                  <c:v>98104</c:v>
                </c:pt>
                <c:pt idx="26256">
                  <c:v>98088</c:v>
                </c:pt>
                <c:pt idx="26257">
                  <c:v>98081</c:v>
                </c:pt>
                <c:pt idx="26258">
                  <c:v>98079</c:v>
                </c:pt>
                <c:pt idx="26259">
                  <c:v>98076</c:v>
                </c:pt>
                <c:pt idx="26260">
                  <c:v>98074</c:v>
                </c:pt>
                <c:pt idx="26261">
                  <c:v>98073</c:v>
                </c:pt>
                <c:pt idx="26262">
                  <c:v>98067</c:v>
                </c:pt>
                <c:pt idx="26263">
                  <c:v>98067</c:v>
                </c:pt>
                <c:pt idx="26264">
                  <c:v>98061</c:v>
                </c:pt>
                <c:pt idx="26265">
                  <c:v>98059</c:v>
                </c:pt>
                <c:pt idx="26266">
                  <c:v>98036</c:v>
                </c:pt>
                <c:pt idx="26267">
                  <c:v>98032</c:v>
                </c:pt>
                <c:pt idx="26268">
                  <c:v>98023</c:v>
                </c:pt>
                <c:pt idx="26269">
                  <c:v>98019</c:v>
                </c:pt>
                <c:pt idx="26270">
                  <c:v>98014</c:v>
                </c:pt>
                <c:pt idx="26271">
                  <c:v>98010</c:v>
                </c:pt>
                <c:pt idx="26272">
                  <c:v>97999</c:v>
                </c:pt>
                <c:pt idx="26273">
                  <c:v>97999</c:v>
                </c:pt>
                <c:pt idx="26274">
                  <c:v>97998</c:v>
                </c:pt>
                <c:pt idx="26275">
                  <c:v>97997</c:v>
                </c:pt>
                <c:pt idx="26276">
                  <c:v>97995</c:v>
                </c:pt>
                <c:pt idx="26277">
                  <c:v>97993</c:v>
                </c:pt>
                <c:pt idx="26278">
                  <c:v>97975</c:v>
                </c:pt>
                <c:pt idx="26279">
                  <c:v>97970</c:v>
                </c:pt>
                <c:pt idx="26280">
                  <c:v>97962</c:v>
                </c:pt>
                <c:pt idx="26281">
                  <c:v>97953</c:v>
                </c:pt>
                <c:pt idx="26282">
                  <c:v>97948</c:v>
                </c:pt>
                <c:pt idx="26283">
                  <c:v>97946</c:v>
                </c:pt>
                <c:pt idx="26284">
                  <c:v>97946</c:v>
                </c:pt>
                <c:pt idx="26285">
                  <c:v>97942</c:v>
                </c:pt>
                <c:pt idx="26286">
                  <c:v>97941</c:v>
                </c:pt>
                <c:pt idx="26287">
                  <c:v>97940</c:v>
                </c:pt>
                <c:pt idx="26288">
                  <c:v>97928</c:v>
                </c:pt>
                <c:pt idx="26289">
                  <c:v>97925</c:v>
                </c:pt>
                <c:pt idx="26290">
                  <c:v>97922</c:v>
                </c:pt>
                <c:pt idx="26291">
                  <c:v>97908</c:v>
                </c:pt>
                <c:pt idx="26292">
                  <c:v>97908</c:v>
                </c:pt>
                <c:pt idx="26293">
                  <c:v>97904</c:v>
                </c:pt>
                <c:pt idx="26294">
                  <c:v>97901</c:v>
                </c:pt>
                <c:pt idx="26295">
                  <c:v>97900</c:v>
                </c:pt>
                <c:pt idx="26296">
                  <c:v>97894</c:v>
                </c:pt>
                <c:pt idx="26297">
                  <c:v>97890</c:v>
                </c:pt>
                <c:pt idx="26298">
                  <c:v>97881</c:v>
                </c:pt>
                <c:pt idx="26299">
                  <c:v>97878</c:v>
                </c:pt>
                <c:pt idx="26300">
                  <c:v>97876</c:v>
                </c:pt>
                <c:pt idx="26301">
                  <c:v>97874</c:v>
                </c:pt>
                <c:pt idx="26302">
                  <c:v>97866</c:v>
                </c:pt>
                <c:pt idx="26303">
                  <c:v>97864</c:v>
                </c:pt>
                <c:pt idx="26304">
                  <c:v>97852</c:v>
                </c:pt>
                <c:pt idx="26305">
                  <c:v>97840</c:v>
                </c:pt>
                <c:pt idx="26306">
                  <c:v>97832</c:v>
                </c:pt>
                <c:pt idx="26307">
                  <c:v>97830</c:v>
                </c:pt>
                <c:pt idx="26308">
                  <c:v>97828</c:v>
                </c:pt>
                <c:pt idx="26309">
                  <c:v>97820</c:v>
                </c:pt>
                <c:pt idx="26310">
                  <c:v>97813</c:v>
                </c:pt>
                <c:pt idx="26311">
                  <c:v>97806</c:v>
                </c:pt>
                <c:pt idx="26312">
                  <c:v>97801</c:v>
                </c:pt>
                <c:pt idx="26313">
                  <c:v>97800</c:v>
                </c:pt>
                <c:pt idx="26314">
                  <c:v>97796</c:v>
                </c:pt>
                <c:pt idx="26315">
                  <c:v>97791</c:v>
                </c:pt>
                <c:pt idx="26316">
                  <c:v>97786</c:v>
                </c:pt>
                <c:pt idx="26317">
                  <c:v>97782</c:v>
                </c:pt>
                <c:pt idx="26318">
                  <c:v>97782</c:v>
                </c:pt>
                <c:pt idx="26319">
                  <c:v>97781</c:v>
                </c:pt>
                <c:pt idx="26320">
                  <c:v>97781</c:v>
                </c:pt>
                <c:pt idx="26321">
                  <c:v>97775</c:v>
                </c:pt>
                <c:pt idx="26322">
                  <c:v>97773</c:v>
                </c:pt>
                <c:pt idx="26323">
                  <c:v>97771</c:v>
                </c:pt>
                <c:pt idx="26324">
                  <c:v>97763</c:v>
                </c:pt>
                <c:pt idx="26325">
                  <c:v>97752</c:v>
                </c:pt>
                <c:pt idx="26326">
                  <c:v>97747</c:v>
                </c:pt>
                <c:pt idx="26327">
                  <c:v>97745</c:v>
                </c:pt>
                <c:pt idx="26328">
                  <c:v>97741</c:v>
                </c:pt>
                <c:pt idx="26329">
                  <c:v>97733</c:v>
                </c:pt>
                <c:pt idx="26330">
                  <c:v>97731</c:v>
                </c:pt>
                <c:pt idx="26331">
                  <c:v>97729</c:v>
                </c:pt>
                <c:pt idx="26332">
                  <c:v>97729</c:v>
                </c:pt>
                <c:pt idx="26333">
                  <c:v>97725</c:v>
                </c:pt>
                <c:pt idx="26334">
                  <c:v>97712</c:v>
                </c:pt>
                <c:pt idx="26335">
                  <c:v>97710</c:v>
                </c:pt>
                <c:pt idx="26336">
                  <c:v>97703</c:v>
                </c:pt>
                <c:pt idx="26337">
                  <c:v>97688</c:v>
                </c:pt>
                <c:pt idx="26338">
                  <c:v>97682</c:v>
                </c:pt>
                <c:pt idx="26339">
                  <c:v>97680</c:v>
                </c:pt>
                <c:pt idx="26340">
                  <c:v>97678</c:v>
                </c:pt>
                <c:pt idx="26341">
                  <c:v>97674</c:v>
                </c:pt>
                <c:pt idx="26342">
                  <c:v>97672</c:v>
                </c:pt>
                <c:pt idx="26343">
                  <c:v>97670</c:v>
                </c:pt>
                <c:pt idx="26344">
                  <c:v>97669</c:v>
                </c:pt>
                <c:pt idx="26345">
                  <c:v>97661</c:v>
                </c:pt>
                <c:pt idx="26346">
                  <c:v>97653</c:v>
                </c:pt>
                <c:pt idx="26347">
                  <c:v>97648</c:v>
                </c:pt>
                <c:pt idx="26348">
                  <c:v>97645</c:v>
                </c:pt>
                <c:pt idx="26349">
                  <c:v>97644</c:v>
                </c:pt>
                <c:pt idx="26350">
                  <c:v>97639</c:v>
                </c:pt>
                <c:pt idx="26351">
                  <c:v>97636</c:v>
                </c:pt>
                <c:pt idx="26352">
                  <c:v>97635</c:v>
                </c:pt>
                <c:pt idx="26353">
                  <c:v>97616</c:v>
                </c:pt>
                <c:pt idx="26354">
                  <c:v>97613</c:v>
                </c:pt>
                <c:pt idx="26355">
                  <c:v>97606</c:v>
                </c:pt>
                <c:pt idx="26356">
                  <c:v>97602</c:v>
                </c:pt>
                <c:pt idx="26357">
                  <c:v>97599</c:v>
                </c:pt>
                <c:pt idx="26358">
                  <c:v>97599</c:v>
                </c:pt>
                <c:pt idx="26359">
                  <c:v>97595</c:v>
                </c:pt>
                <c:pt idx="26360">
                  <c:v>97593</c:v>
                </c:pt>
                <c:pt idx="26361">
                  <c:v>97582</c:v>
                </c:pt>
                <c:pt idx="26362">
                  <c:v>97574</c:v>
                </c:pt>
                <c:pt idx="26363">
                  <c:v>97560</c:v>
                </c:pt>
                <c:pt idx="26364">
                  <c:v>97549</c:v>
                </c:pt>
                <c:pt idx="26365">
                  <c:v>97540</c:v>
                </c:pt>
                <c:pt idx="26366">
                  <c:v>97538</c:v>
                </c:pt>
                <c:pt idx="26367">
                  <c:v>97538</c:v>
                </c:pt>
                <c:pt idx="26368">
                  <c:v>97537</c:v>
                </c:pt>
                <c:pt idx="26369">
                  <c:v>97534</c:v>
                </c:pt>
                <c:pt idx="26370">
                  <c:v>97533</c:v>
                </c:pt>
                <c:pt idx="26371">
                  <c:v>97532</c:v>
                </c:pt>
                <c:pt idx="26372">
                  <c:v>97528</c:v>
                </c:pt>
                <c:pt idx="26373">
                  <c:v>97526</c:v>
                </c:pt>
                <c:pt idx="26374">
                  <c:v>97524</c:v>
                </c:pt>
                <c:pt idx="26375">
                  <c:v>97516</c:v>
                </c:pt>
                <c:pt idx="26376">
                  <c:v>97512</c:v>
                </c:pt>
                <c:pt idx="26377">
                  <c:v>97502</c:v>
                </c:pt>
                <c:pt idx="26378">
                  <c:v>97493</c:v>
                </c:pt>
                <c:pt idx="26379">
                  <c:v>97488</c:v>
                </c:pt>
                <c:pt idx="26380">
                  <c:v>97475</c:v>
                </c:pt>
                <c:pt idx="26381">
                  <c:v>97473</c:v>
                </c:pt>
                <c:pt idx="26382">
                  <c:v>97471</c:v>
                </c:pt>
                <c:pt idx="26383">
                  <c:v>97470</c:v>
                </c:pt>
                <c:pt idx="26384">
                  <c:v>97469</c:v>
                </c:pt>
                <c:pt idx="26385">
                  <c:v>97465</c:v>
                </c:pt>
                <c:pt idx="26386">
                  <c:v>97465</c:v>
                </c:pt>
                <c:pt idx="26387">
                  <c:v>97464</c:v>
                </c:pt>
                <c:pt idx="26388">
                  <c:v>97462</c:v>
                </c:pt>
                <c:pt idx="26389">
                  <c:v>97461</c:v>
                </c:pt>
                <c:pt idx="26390">
                  <c:v>97458</c:v>
                </c:pt>
                <c:pt idx="26391">
                  <c:v>97457</c:v>
                </c:pt>
                <c:pt idx="26392">
                  <c:v>97454</c:v>
                </c:pt>
                <c:pt idx="26393">
                  <c:v>97453</c:v>
                </c:pt>
                <c:pt idx="26394">
                  <c:v>97452</c:v>
                </c:pt>
                <c:pt idx="26395">
                  <c:v>97451</c:v>
                </c:pt>
                <c:pt idx="26396">
                  <c:v>97441</c:v>
                </c:pt>
                <c:pt idx="26397">
                  <c:v>97441</c:v>
                </c:pt>
                <c:pt idx="26398">
                  <c:v>97439</c:v>
                </c:pt>
                <c:pt idx="26399">
                  <c:v>97434</c:v>
                </c:pt>
                <c:pt idx="26400">
                  <c:v>97432</c:v>
                </c:pt>
                <c:pt idx="26401">
                  <c:v>97430</c:v>
                </c:pt>
                <c:pt idx="26402">
                  <c:v>97422</c:v>
                </c:pt>
                <c:pt idx="26403">
                  <c:v>97420</c:v>
                </c:pt>
                <c:pt idx="26404">
                  <c:v>97419</c:v>
                </c:pt>
                <c:pt idx="26405">
                  <c:v>97405</c:v>
                </c:pt>
                <c:pt idx="26406">
                  <c:v>97401</c:v>
                </c:pt>
                <c:pt idx="26407">
                  <c:v>97392</c:v>
                </c:pt>
                <c:pt idx="26408">
                  <c:v>97389</c:v>
                </c:pt>
                <c:pt idx="26409">
                  <c:v>97388</c:v>
                </c:pt>
                <c:pt idx="26410">
                  <c:v>97387</c:v>
                </c:pt>
                <c:pt idx="26411">
                  <c:v>97383</c:v>
                </c:pt>
                <c:pt idx="26412">
                  <c:v>97374</c:v>
                </c:pt>
                <c:pt idx="26413">
                  <c:v>97373</c:v>
                </c:pt>
                <c:pt idx="26414">
                  <c:v>97371</c:v>
                </c:pt>
                <c:pt idx="26415">
                  <c:v>97369</c:v>
                </c:pt>
                <c:pt idx="26416">
                  <c:v>97367</c:v>
                </c:pt>
                <c:pt idx="26417">
                  <c:v>97366</c:v>
                </c:pt>
                <c:pt idx="26418">
                  <c:v>97365</c:v>
                </c:pt>
                <c:pt idx="26419">
                  <c:v>97362</c:v>
                </c:pt>
                <c:pt idx="26420">
                  <c:v>97349</c:v>
                </c:pt>
                <c:pt idx="26421">
                  <c:v>97345</c:v>
                </c:pt>
                <c:pt idx="26422">
                  <c:v>97342</c:v>
                </c:pt>
                <c:pt idx="26423">
                  <c:v>97338</c:v>
                </c:pt>
                <c:pt idx="26424">
                  <c:v>97335</c:v>
                </c:pt>
                <c:pt idx="26425">
                  <c:v>97335</c:v>
                </c:pt>
                <c:pt idx="26426">
                  <c:v>97334</c:v>
                </c:pt>
                <c:pt idx="26427">
                  <c:v>97329</c:v>
                </c:pt>
                <c:pt idx="26428">
                  <c:v>97328</c:v>
                </c:pt>
                <c:pt idx="26429">
                  <c:v>97323</c:v>
                </c:pt>
                <c:pt idx="26430">
                  <c:v>97309</c:v>
                </c:pt>
                <c:pt idx="26431">
                  <c:v>97307</c:v>
                </c:pt>
                <c:pt idx="26432">
                  <c:v>97295</c:v>
                </c:pt>
                <c:pt idx="26433">
                  <c:v>97293</c:v>
                </c:pt>
                <c:pt idx="26434">
                  <c:v>97290</c:v>
                </c:pt>
                <c:pt idx="26435">
                  <c:v>97288</c:v>
                </c:pt>
                <c:pt idx="26436">
                  <c:v>97288</c:v>
                </c:pt>
                <c:pt idx="26437">
                  <c:v>97287</c:v>
                </c:pt>
                <c:pt idx="26438">
                  <c:v>97286</c:v>
                </c:pt>
                <c:pt idx="26439">
                  <c:v>97281</c:v>
                </c:pt>
                <c:pt idx="26440">
                  <c:v>97278</c:v>
                </c:pt>
                <c:pt idx="26441">
                  <c:v>97276</c:v>
                </c:pt>
                <c:pt idx="26442">
                  <c:v>97275</c:v>
                </c:pt>
                <c:pt idx="26443">
                  <c:v>97268</c:v>
                </c:pt>
                <c:pt idx="26444">
                  <c:v>97267</c:v>
                </c:pt>
                <c:pt idx="26445">
                  <c:v>97265</c:v>
                </c:pt>
                <c:pt idx="26446">
                  <c:v>97261</c:v>
                </c:pt>
                <c:pt idx="26447">
                  <c:v>97261</c:v>
                </c:pt>
                <c:pt idx="26448">
                  <c:v>97260</c:v>
                </c:pt>
                <c:pt idx="26449">
                  <c:v>97259</c:v>
                </c:pt>
                <c:pt idx="26450">
                  <c:v>97254</c:v>
                </c:pt>
                <c:pt idx="26451">
                  <c:v>97253</c:v>
                </c:pt>
                <c:pt idx="26452">
                  <c:v>97243</c:v>
                </c:pt>
                <c:pt idx="26453">
                  <c:v>97242</c:v>
                </c:pt>
                <c:pt idx="26454">
                  <c:v>97239</c:v>
                </c:pt>
                <c:pt idx="26455">
                  <c:v>97231</c:v>
                </c:pt>
                <c:pt idx="26456">
                  <c:v>97231</c:v>
                </c:pt>
                <c:pt idx="26457">
                  <c:v>97230</c:v>
                </c:pt>
                <c:pt idx="26458">
                  <c:v>97192</c:v>
                </c:pt>
                <c:pt idx="26459">
                  <c:v>97191</c:v>
                </c:pt>
                <c:pt idx="26460">
                  <c:v>97187</c:v>
                </c:pt>
                <c:pt idx="26461">
                  <c:v>97187</c:v>
                </c:pt>
                <c:pt idx="26462">
                  <c:v>97185</c:v>
                </c:pt>
                <c:pt idx="26463">
                  <c:v>97180</c:v>
                </c:pt>
                <c:pt idx="26464">
                  <c:v>97175</c:v>
                </c:pt>
                <c:pt idx="26465">
                  <c:v>97167</c:v>
                </c:pt>
                <c:pt idx="26466">
                  <c:v>97165</c:v>
                </c:pt>
                <c:pt idx="26467">
                  <c:v>97162</c:v>
                </c:pt>
                <c:pt idx="26468">
                  <c:v>97158</c:v>
                </c:pt>
                <c:pt idx="26469">
                  <c:v>97157</c:v>
                </c:pt>
                <c:pt idx="26470">
                  <c:v>97148</c:v>
                </c:pt>
                <c:pt idx="26471">
                  <c:v>97138</c:v>
                </c:pt>
                <c:pt idx="26472">
                  <c:v>97136</c:v>
                </c:pt>
                <c:pt idx="26473">
                  <c:v>97134</c:v>
                </c:pt>
                <c:pt idx="26474">
                  <c:v>97131</c:v>
                </c:pt>
                <c:pt idx="26475">
                  <c:v>97122</c:v>
                </c:pt>
                <c:pt idx="26476">
                  <c:v>97119</c:v>
                </c:pt>
                <c:pt idx="26477">
                  <c:v>97116</c:v>
                </c:pt>
                <c:pt idx="26478">
                  <c:v>97113</c:v>
                </c:pt>
                <c:pt idx="26479">
                  <c:v>97107</c:v>
                </c:pt>
                <c:pt idx="26480">
                  <c:v>97102</c:v>
                </c:pt>
                <c:pt idx="26481">
                  <c:v>97101</c:v>
                </c:pt>
                <c:pt idx="26482">
                  <c:v>97096</c:v>
                </c:pt>
                <c:pt idx="26483">
                  <c:v>97083</c:v>
                </c:pt>
                <c:pt idx="26484">
                  <c:v>97080</c:v>
                </c:pt>
                <c:pt idx="26485">
                  <c:v>97079</c:v>
                </c:pt>
                <c:pt idx="26486">
                  <c:v>97065</c:v>
                </c:pt>
                <c:pt idx="26487">
                  <c:v>97065</c:v>
                </c:pt>
                <c:pt idx="26488">
                  <c:v>97060</c:v>
                </c:pt>
                <c:pt idx="26489">
                  <c:v>97052</c:v>
                </c:pt>
                <c:pt idx="26490">
                  <c:v>97052</c:v>
                </c:pt>
                <c:pt idx="26491">
                  <c:v>97051</c:v>
                </c:pt>
                <c:pt idx="26492">
                  <c:v>97049</c:v>
                </c:pt>
                <c:pt idx="26493">
                  <c:v>97040</c:v>
                </c:pt>
                <c:pt idx="26494">
                  <c:v>97020</c:v>
                </c:pt>
                <c:pt idx="26495">
                  <c:v>97020</c:v>
                </c:pt>
                <c:pt idx="26496">
                  <c:v>97017</c:v>
                </c:pt>
                <c:pt idx="26497">
                  <c:v>97016</c:v>
                </c:pt>
                <c:pt idx="26498">
                  <c:v>97013</c:v>
                </c:pt>
                <c:pt idx="26499">
                  <c:v>97008</c:v>
                </c:pt>
                <c:pt idx="26500">
                  <c:v>97000</c:v>
                </c:pt>
                <c:pt idx="26501">
                  <c:v>96999</c:v>
                </c:pt>
                <c:pt idx="26502">
                  <c:v>96998</c:v>
                </c:pt>
                <c:pt idx="26503">
                  <c:v>96995</c:v>
                </c:pt>
                <c:pt idx="26504">
                  <c:v>96986</c:v>
                </c:pt>
                <c:pt idx="26505">
                  <c:v>96983</c:v>
                </c:pt>
                <c:pt idx="26506">
                  <c:v>96982</c:v>
                </c:pt>
                <c:pt idx="26507">
                  <c:v>96981</c:v>
                </c:pt>
                <c:pt idx="26508">
                  <c:v>96978</c:v>
                </c:pt>
                <c:pt idx="26509">
                  <c:v>96977</c:v>
                </c:pt>
                <c:pt idx="26510">
                  <c:v>96974</c:v>
                </c:pt>
                <c:pt idx="26511">
                  <c:v>96970</c:v>
                </c:pt>
                <c:pt idx="26512">
                  <c:v>96963</c:v>
                </c:pt>
                <c:pt idx="26513">
                  <c:v>96959</c:v>
                </c:pt>
                <c:pt idx="26514">
                  <c:v>96958</c:v>
                </c:pt>
                <c:pt idx="26515">
                  <c:v>96955</c:v>
                </c:pt>
                <c:pt idx="26516">
                  <c:v>96951</c:v>
                </c:pt>
                <c:pt idx="26517">
                  <c:v>96951</c:v>
                </c:pt>
                <c:pt idx="26518">
                  <c:v>96944</c:v>
                </c:pt>
                <c:pt idx="26519">
                  <c:v>96916</c:v>
                </c:pt>
                <c:pt idx="26520">
                  <c:v>96892</c:v>
                </c:pt>
                <c:pt idx="26521">
                  <c:v>96884</c:v>
                </c:pt>
                <c:pt idx="26522">
                  <c:v>96883</c:v>
                </c:pt>
                <c:pt idx="26523">
                  <c:v>96861</c:v>
                </c:pt>
                <c:pt idx="26524">
                  <c:v>96858</c:v>
                </c:pt>
                <c:pt idx="26525">
                  <c:v>96856</c:v>
                </c:pt>
                <c:pt idx="26526">
                  <c:v>96852</c:v>
                </c:pt>
                <c:pt idx="26527">
                  <c:v>96837</c:v>
                </c:pt>
                <c:pt idx="26528">
                  <c:v>96834</c:v>
                </c:pt>
                <c:pt idx="26529">
                  <c:v>96831</c:v>
                </c:pt>
                <c:pt idx="26530">
                  <c:v>96829</c:v>
                </c:pt>
                <c:pt idx="26531">
                  <c:v>96827</c:v>
                </c:pt>
                <c:pt idx="26532">
                  <c:v>96826</c:v>
                </c:pt>
                <c:pt idx="26533">
                  <c:v>96825</c:v>
                </c:pt>
                <c:pt idx="26534">
                  <c:v>96822</c:v>
                </c:pt>
                <c:pt idx="26535">
                  <c:v>96820</c:v>
                </c:pt>
                <c:pt idx="26536">
                  <c:v>96818</c:v>
                </c:pt>
                <c:pt idx="26537">
                  <c:v>96815</c:v>
                </c:pt>
                <c:pt idx="26538">
                  <c:v>96815</c:v>
                </c:pt>
                <c:pt idx="26539">
                  <c:v>96813</c:v>
                </c:pt>
                <c:pt idx="26540">
                  <c:v>96799</c:v>
                </c:pt>
                <c:pt idx="26541">
                  <c:v>96797</c:v>
                </c:pt>
                <c:pt idx="26542">
                  <c:v>96791</c:v>
                </c:pt>
                <c:pt idx="26543">
                  <c:v>96772</c:v>
                </c:pt>
                <c:pt idx="26544">
                  <c:v>96758</c:v>
                </c:pt>
                <c:pt idx="26545">
                  <c:v>96756</c:v>
                </c:pt>
                <c:pt idx="26546">
                  <c:v>96756</c:v>
                </c:pt>
                <c:pt idx="26547">
                  <c:v>96751</c:v>
                </c:pt>
                <c:pt idx="26548">
                  <c:v>96746</c:v>
                </c:pt>
                <c:pt idx="26549">
                  <c:v>96729</c:v>
                </c:pt>
                <c:pt idx="26550">
                  <c:v>96718</c:v>
                </c:pt>
                <c:pt idx="26551">
                  <c:v>96717</c:v>
                </c:pt>
                <c:pt idx="26552">
                  <c:v>96716</c:v>
                </c:pt>
                <c:pt idx="26553">
                  <c:v>96716</c:v>
                </c:pt>
                <c:pt idx="26554">
                  <c:v>96715</c:v>
                </c:pt>
                <c:pt idx="26555">
                  <c:v>96710</c:v>
                </c:pt>
                <c:pt idx="26556">
                  <c:v>96710</c:v>
                </c:pt>
                <c:pt idx="26557">
                  <c:v>96696</c:v>
                </c:pt>
                <c:pt idx="26558">
                  <c:v>96686</c:v>
                </c:pt>
                <c:pt idx="26559">
                  <c:v>96682</c:v>
                </c:pt>
                <c:pt idx="26560">
                  <c:v>96669</c:v>
                </c:pt>
                <c:pt idx="26561">
                  <c:v>96668</c:v>
                </c:pt>
                <c:pt idx="26562">
                  <c:v>96663</c:v>
                </c:pt>
                <c:pt idx="26563">
                  <c:v>96660</c:v>
                </c:pt>
                <c:pt idx="26564">
                  <c:v>96653</c:v>
                </c:pt>
                <c:pt idx="26565">
                  <c:v>96653</c:v>
                </c:pt>
                <c:pt idx="26566">
                  <c:v>96646</c:v>
                </c:pt>
                <c:pt idx="26567">
                  <c:v>96644</c:v>
                </c:pt>
                <c:pt idx="26568">
                  <c:v>96638</c:v>
                </c:pt>
                <c:pt idx="26569">
                  <c:v>96637</c:v>
                </c:pt>
                <c:pt idx="26570">
                  <c:v>96634</c:v>
                </c:pt>
                <c:pt idx="26571">
                  <c:v>96628</c:v>
                </c:pt>
                <c:pt idx="26572">
                  <c:v>96627</c:v>
                </c:pt>
                <c:pt idx="26573">
                  <c:v>96627</c:v>
                </c:pt>
                <c:pt idx="26574">
                  <c:v>96625</c:v>
                </c:pt>
                <c:pt idx="26575">
                  <c:v>96622</c:v>
                </c:pt>
                <c:pt idx="26576">
                  <c:v>96619</c:v>
                </c:pt>
                <c:pt idx="26577">
                  <c:v>96618</c:v>
                </c:pt>
                <c:pt idx="26578">
                  <c:v>96618</c:v>
                </c:pt>
                <c:pt idx="26579">
                  <c:v>96606</c:v>
                </c:pt>
                <c:pt idx="26580">
                  <c:v>96606</c:v>
                </c:pt>
                <c:pt idx="26581">
                  <c:v>96604</c:v>
                </c:pt>
                <c:pt idx="26582">
                  <c:v>96603</c:v>
                </c:pt>
                <c:pt idx="26583">
                  <c:v>96591</c:v>
                </c:pt>
                <c:pt idx="26584">
                  <c:v>96586</c:v>
                </c:pt>
                <c:pt idx="26585">
                  <c:v>96583</c:v>
                </c:pt>
                <c:pt idx="26586">
                  <c:v>96571</c:v>
                </c:pt>
                <c:pt idx="26587">
                  <c:v>96569</c:v>
                </c:pt>
                <c:pt idx="26588">
                  <c:v>96566</c:v>
                </c:pt>
                <c:pt idx="26589">
                  <c:v>96563</c:v>
                </c:pt>
                <c:pt idx="26590">
                  <c:v>96561</c:v>
                </c:pt>
                <c:pt idx="26591">
                  <c:v>96561</c:v>
                </c:pt>
                <c:pt idx="26592">
                  <c:v>96549</c:v>
                </c:pt>
                <c:pt idx="26593">
                  <c:v>96547</c:v>
                </c:pt>
                <c:pt idx="26594">
                  <c:v>96543</c:v>
                </c:pt>
                <c:pt idx="26595">
                  <c:v>96542</c:v>
                </c:pt>
                <c:pt idx="26596">
                  <c:v>96539</c:v>
                </c:pt>
                <c:pt idx="26597">
                  <c:v>96538</c:v>
                </c:pt>
                <c:pt idx="26598">
                  <c:v>96524</c:v>
                </c:pt>
                <c:pt idx="26599">
                  <c:v>96522</c:v>
                </c:pt>
                <c:pt idx="26600">
                  <c:v>96519</c:v>
                </c:pt>
                <c:pt idx="26601">
                  <c:v>96510</c:v>
                </c:pt>
                <c:pt idx="26602">
                  <c:v>96500</c:v>
                </c:pt>
                <c:pt idx="26603">
                  <c:v>96493</c:v>
                </c:pt>
                <c:pt idx="26604">
                  <c:v>96482</c:v>
                </c:pt>
                <c:pt idx="26605">
                  <c:v>96480</c:v>
                </c:pt>
                <c:pt idx="26606">
                  <c:v>96480</c:v>
                </c:pt>
                <c:pt idx="26607">
                  <c:v>96473</c:v>
                </c:pt>
                <c:pt idx="26608">
                  <c:v>96472</c:v>
                </c:pt>
                <c:pt idx="26609">
                  <c:v>96467</c:v>
                </c:pt>
                <c:pt idx="26610">
                  <c:v>96464</c:v>
                </c:pt>
                <c:pt idx="26611">
                  <c:v>96464</c:v>
                </c:pt>
                <c:pt idx="26612">
                  <c:v>96462</c:v>
                </c:pt>
                <c:pt idx="26613">
                  <c:v>96455</c:v>
                </c:pt>
                <c:pt idx="26614">
                  <c:v>96454</c:v>
                </c:pt>
                <c:pt idx="26615">
                  <c:v>96447</c:v>
                </c:pt>
                <c:pt idx="26616">
                  <c:v>96447</c:v>
                </c:pt>
                <c:pt idx="26617">
                  <c:v>96445</c:v>
                </c:pt>
                <c:pt idx="26618">
                  <c:v>96442</c:v>
                </c:pt>
                <c:pt idx="26619">
                  <c:v>96434</c:v>
                </c:pt>
                <c:pt idx="26620">
                  <c:v>96431</c:v>
                </c:pt>
                <c:pt idx="26621">
                  <c:v>96429</c:v>
                </c:pt>
                <c:pt idx="26622">
                  <c:v>96421</c:v>
                </c:pt>
                <c:pt idx="26623">
                  <c:v>96412</c:v>
                </c:pt>
                <c:pt idx="26624">
                  <c:v>96403</c:v>
                </c:pt>
                <c:pt idx="26625">
                  <c:v>96396</c:v>
                </c:pt>
                <c:pt idx="26626">
                  <c:v>96393</c:v>
                </c:pt>
                <c:pt idx="26627">
                  <c:v>96392</c:v>
                </c:pt>
                <c:pt idx="26628">
                  <c:v>96388</c:v>
                </c:pt>
                <c:pt idx="26629">
                  <c:v>96385</c:v>
                </c:pt>
                <c:pt idx="26630">
                  <c:v>96382</c:v>
                </c:pt>
                <c:pt idx="26631">
                  <c:v>96381</c:v>
                </c:pt>
                <c:pt idx="26632">
                  <c:v>96370</c:v>
                </c:pt>
                <c:pt idx="26633">
                  <c:v>96361</c:v>
                </c:pt>
                <c:pt idx="26634">
                  <c:v>96350</c:v>
                </c:pt>
                <c:pt idx="26635">
                  <c:v>96343</c:v>
                </c:pt>
                <c:pt idx="26636">
                  <c:v>96340</c:v>
                </c:pt>
                <c:pt idx="26637">
                  <c:v>96340</c:v>
                </c:pt>
                <c:pt idx="26638">
                  <c:v>96333</c:v>
                </c:pt>
                <c:pt idx="26639">
                  <c:v>96333</c:v>
                </c:pt>
                <c:pt idx="26640">
                  <c:v>96331</c:v>
                </c:pt>
                <c:pt idx="26641">
                  <c:v>96324</c:v>
                </c:pt>
                <c:pt idx="26642">
                  <c:v>96319</c:v>
                </c:pt>
                <c:pt idx="26643">
                  <c:v>96311</c:v>
                </c:pt>
                <c:pt idx="26644">
                  <c:v>96310</c:v>
                </c:pt>
                <c:pt idx="26645">
                  <c:v>96301</c:v>
                </c:pt>
                <c:pt idx="26646">
                  <c:v>96296</c:v>
                </c:pt>
                <c:pt idx="26647">
                  <c:v>96296</c:v>
                </c:pt>
                <c:pt idx="26648">
                  <c:v>96294</c:v>
                </c:pt>
                <c:pt idx="26649">
                  <c:v>96283</c:v>
                </c:pt>
                <c:pt idx="26650">
                  <c:v>96268</c:v>
                </c:pt>
                <c:pt idx="26651">
                  <c:v>96267</c:v>
                </c:pt>
                <c:pt idx="26652">
                  <c:v>96262</c:v>
                </c:pt>
                <c:pt idx="26653">
                  <c:v>96259</c:v>
                </c:pt>
                <c:pt idx="26654">
                  <c:v>96251</c:v>
                </c:pt>
                <c:pt idx="26655">
                  <c:v>96245</c:v>
                </c:pt>
                <c:pt idx="26656">
                  <c:v>96244</c:v>
                </c:pt>
                <c:pt idx="26657">
                  <c:v>96244</c:v>
                </c:pt>
                <c:pt idx="26658">
                  <c:v>96243</c:v>
                </c:pt>
                <c:pt idx="26659">
                  <c:v>96241</c:v>
                </c:pt>
                <c:pt idx="26660">
                  <c:v>96237</c:v>
                </c:pt>
                <c:pt idx="26661">
                  <c:v>96224</c:v>
                </c:pt>
                <c:pt idx="26662">
                  <c:v>96223</c:v>
                </c:pt>
                <c:pt idx="26663">
                  <c:v>96217</c:v>
                </c:pt>
                <c:pt idx="26664">
                  <c:v>96216</c:v>
                </c:pt>
                <c:pt idx="26665">
                  <c:v>96201</c:v>
                </c:pt>
                <c:pt idx="26666">
                  <c:v>96196</c:v>
                </c:pt>
                <c:pt idx="26667">
                  <c:v>96193</c:v>
                </c:pt>
                <c:pt idx="26668">
                  <c:v>96189</c:v>
                </c:pt>
                <c:pt idx="26669">
                  <c:v>96188</c:v>
                </c:pt>
                <c:pt idx="26670">
                  <c:v>96186</c:v>
                </c:pt>
                <c:pt idx="26671">
                  <c:v>96178</c:v>
                </c:pt>
                <c:pt idx="26672">
                  <c:v>96165</c:v>
                </c:pt>
                <c:pt idx="26673">
                  <c:v>96164</c:v>
                </c:pt>
                <c:pt idx="26674">
                  <c:v>96163</c:v>
                </c:pt>
                <c:pt idx="26675">
                  <c:v>96152</c:v>
                </c:pt>
                <c:pt idx="26676">
                  <c:v>96151</c:v>
                </c:pt>
                <c:pt idx="26677">
                  <c:v>96147</c:v>
                </c:pt>
                <c:pt idx="26678">
                  <c:v>96145</c:v>
                </c:pt>
                <c:pt idx="26679">
                  <c:v>96145</c:v>
                </c:pt>
                <c:pt idx="26680">
                  <c:v>96141</c:v>
                </c:pt>
                <c:pt idx="26681">
                  <c:v>96138</c:v>
                </c:pt>
                <c:pt idx="26682">
                  <c:v>96132</c:v>
                </c:pt>
                <c:pt idx="26683">
                  <c:v>96132</c:v>
                </c:pt>
                <c:pt idx="26684">
                  <c:v>96132</c:v>
                </c:pt>
                <c:pt idx="26685">
                  <c:v>96125</c:v>
                </c:pt>
                <c:pt idx="26686">
                  <c:v>96117</c:v>
                </c:pt>
                <c:pt idx="26687">
                  <c:v>96116</c:v>
                </c:pt>
                <c:pt idx="26688">
                  <c:v>96115</c:v>
                </c:pt>
                <c:pt idx="26689">
                  <c:v>96113</c:v>
                </c:pt>
                <c:pt idx="26690">
                  <c:v>96111</c:v>
                </c:pt>
                <c:pt idx="26691">
                  <c:v>96110</c:v>
                </c:pt>
                <c:pt idx="26692">
                  <c:v>96108</c:v>
                </c:pt>
                <c:pt idx="26693">
                  <c:v>96096</c:v>
                </c:pt>
                <c:pt idx="26694">
                  <c:v>96095</c:v>
                </c:pt>
                <c:pt idx="26695">
                  <c:v>96092</c:v>
                </c:pt>
                <c:pt idx="26696">
                  <c:v>96089</c:v>
                </c:pt>
                <c:pt idx="26697">
                  <c:v>96087</c:v>
                </c:pt>
                <c:pt idx="26698">
                  <c:v>96085</c:v>
                </c:pt>
                <c:pt idx="26699">
                  <c:v>96076</c:v>
                </c:pt>
                <c:pt idx="26700">
                  <c:v>96067</c:v>
                </c:pt>
                <c:pt idx="26701">
                  <c:v>96064</c:v>
                </c:pt>
                <c:pt idx="26702">
                  <c:v>96062</c:v>
                </c:pt>
                <c:pt idx="26703">
                  <c:v>96055</c:v>
                </c:pt>
                <c:pt idx="26704">
                  <c:v>96037</c:v>
                </c:pt>
                <c:pt idx="26705">
                  <c:v>96031</c:v>
                </c:pt>
                <c:pt idx="26706">
                  <c:v>96025</c:v>
                </c:pt>
                <c:pt idx="26707">
                  <c:v>96019</c:v>
                </c:pt>
                <c:pt idx="26708">
                  <c:v>96003</c:v>
                </c:pt>
                <c:pt idx="26709">
                  <c:v>96001</c:v>
                </c:pt>
                <c:pt idx="26710">
                  <c:v>96000</c:v>
                </c:pt>
                <c:pt idx="26711">
                  <c:v>96000</c:v>
                </c:pt>
                <c:pt idx="26712">
                  <c:v>95998</c:v>
                </c:pt>
                <c:pt idx="26713">
                  <c:v>95997</c:v>
                </c:pt>
                <c:pt idx="26714">
                  <c:v>95993</c:v>
                </c:pt>
                <c:pt idx="26715">
                  <c:v>95976</c:v>
                </c:pt>
                <c:pt idx="26716">
                  <c:v>95975</c:v>
                </c:pt>
                <c:pt idx="26717">
                  <c:v>95971</c:v>
                </c:pt>
                <c:pt idx="26718">
                  <c:v>95969</c:v>
                </c:pt>
                <c:pt idx="26719">
                  <c:v>95957</c:v>
                </c:pt>
                <c:pt idx="26720">
                  <c:v>95942</c:v>
                </c:pt>
                <c:pt idx="26721">
                  <c:v>95937</c:v>
                </c:pt>
                <c:pt idx="26722">
                  <c:v>95936</c:v>
                </c:pt>
                <c:pt idx="26723">
                  <c:v>95932</c:v>
                </c:pt>
                <c:pt idx="26724">
                  <c:v>95927</c:v>
                </c:pt>
                <c:pt idx="26725">
                  <c:v>95909</c:v>
                </c:pt>
                <c:pt idx="26726">
                  <c:v>95904</c:v>
                </c:pt>
                <c:pt idx="26727">
                  <c:v>95903</c:v>
                </c:pt>
                <c:pt idx="26728">
                  <c:v>95901</c:v>
                </c:pt>
                <c:pt idx="26729">
                  <c:v>95898</c:v>
                </c:pt>
                <c:pt idx="26730">
                  <c:v>95898</c:v>
                </c:pt>
                <c:pt idx="26731">
                  <c:v>95888</c:v>
                </c:pt>
                <c:pt idx="26732">
                  <c:v>95877</c:v>
                </c:pt>
                <c:pt idx="26733">
                  <c:v>95859</c:v>
                </c:pt>
                <c:pt idx="26734">
                  <c:v>95858</c:v>
                </c:pt>
                <c:pt idx="26735">
                  <c:v>95857</c:v>
                </c:pt>
                <c:pt idx="26736">
                  <c:v>95847</c:v>
                </c:pt>
                <c:pt idx="26737">
                  <c:v>95838</c:v>
                </c:pt>
                <c:pt idx="26738">
                  <c:v>95836</c:v>
                </c:pt>
                <c:pt idx="26739">
                  <c:v>95835</c:v>
                </c:pt>
                <c:pt idx="26740">
                  <c:v>95831</c:v>
                </c:pt>
                <c:pt idx="26741">
                  <c:v>95822</c:v>
                </c:pt>
                <c:pt idx="26742">
                  <c:v>95817</c:v>
                </c:pt>
                <c:pt idx="26743">
                  <c:v>95813</c:v>
                </c:pt>
                <c:pt idx="26744">
                  <c:v>95811</c:v>
                </c:pt>
                <c:pt idx="26745">
                  <c:v>95809</c:v>
                </c:pt>
                <c:pt idx="26746">
                  <c:v>95805</c:v>
                </c:pt>
                <c:pt idx="26747">
                  <c:v>95798</c:v>
                </c:pt>
                <c:pt idx="26748">
                  <c:v>95795</c:v>
                </c:pt>
                <c:pt idx="26749">
                  <c:v>95784</c:v>
                </c:pt>
                <c:pt idx="26750">
                  <c:v>95781</c:v>
                </c:pt>
                <c:pt idx="26751">
                  <c:v>95781</c:v>
                </c:pt>
                <c:pt idx="26752">
                  <c:v>95772</c:v>
                </c:pt>
                <c:pt idx="26753">
                  <c:v>95766</c:v>
                </c:pt>
                <c:pt idx="26754">
                  <c:v>95758</c:v>
                </c:pt>
                <c:pt idx="26755">
                  <c:v>95748</c:v>
                </c:pt>
                <c:pt idx="26756">
                  <c:v>95740</c:v>
                </c:pt>
                <c:pt idx="26757">
                  <c:v>95738</c:v>
                </c:pt>
                <c:pt idx="26758">
                  <c:v>95736</c:v>
                </c:pt>
                <c:pt idx="26759">
                  <c:v>95736</c:v>
                </c:pt>
                <c:pt idx="26760">
                  <c:v>95734</c:v>
                </c:pt>
                <c:pt idx="26761">
                  <c:v>95726</c:v>
                </c:pt>
                <c:pt idx="26762">
                  <c:v>95715</c:v>
                </c:pt>
                <c:pt idx="26763">
                  <c:v>95713</c:v>
                </c:pt>
                <c:pt idx="26764">
                  <c:v>95712</c:v>
                </c:pt>
                <c:pt idx="26765">
                  <c:v>95711</c:v>
                </c:pt>
                <c:pt idx="26766">
                  <c:v>95709</c:v>
                </c:pt>
                <c:pt idx="26767">
                  <c:v>95695</c:v>
                </c:pt>
                <c:pt idx="26768">
                  <c:v>95686</c:v>
                </c:pt>
                <c:pt idx="26769">
                  <c:v>95678</c:v>
                </c:pt>
                <c:pt idx="26770">
                  <c:v>95665</c:v>
                </c:pt>
                <c:pt idx="26771">
                  <c:v>95664</c:v>
                </c:pt>
                <c:pt idx="26772">
                  <c:v>95663</c:v>
                </c:pt>
                <c:pt idx="26773">
                  <c:v>95655</c:v>
                </c:pt>
                <c:pt idx="26774">
                  <c:v>95654</c:v>
                </c:pt>
                <c:pt idx="26775">
                  <c:v>95652</c:v>
                </c:pt>
                <c:pt idx="26776">
                  <c:v>95649</c:v>
                </c:pt>
                <c:pt idx="26777">
                  <c:v>95641</c:v>
                </c:pt>
                <c:pt idx="26778">
                  <c:v>95624</c:v>
                </c:pt>
                <c:pt idx="26779">
                  <c:v>95619</c:v>
                </c:pt>
                <c:pt idx="26780">
                  <c:v>95615</c:v>
                </c:pt>
                <c:pt idx="26781">
                  <c:v>95612</c:v>
                </c:pt>
                <c:pt idx="26782">
                  <c:v>95612</c:v>
                </c:pt>
                <c:pt idx="26783">
                  <c:v>95608</c:v>
                </c:pt>
                <c:pt idx="26784">
                  <c:v>95601</c:v>
                </c:pt>
                <c:pt idx="26785">
                  <c:v>95597</c:v>
                </c:pt>
                <c:pt idx="26786">
                  <c:v>95596</c:v>
                </c:pt>
                <c:pt idx="26787">
                  <c:v>95590</c:v>
                </c:pt>
                <c:pt idx="26788">
                  <c:v>95585</c:v>
                </c:pt>
                <c:pt idx="26789">
                  <c:v>95582</c:v>
                </c:pt>
                <c:pt idx="26790">
                  <c:v>95565</c:v>
                </c:pt>
                <c:pt idx="26791">
                  <c:v>95562</c:v>
                </c:pt>
                <c:pt idx="26792">
                  <c:v>95553</c:v>
                </c:pt>
                <c:pt idx="26793">
                  <c:v>95552</c:v>
                </c:pt>
                <c:pt idx="26794">
                  <c:v>95541</c:v>
                </c:pt>
                <c:pt idx="26795">
                  <c:v>95540</c:v>
                </c:pt>
                <c:pt idx="26796">
                  <c:v>95540</c:v>
                </c:pt>
                <c:pt idx="26797">
                  <c:v>95530</c:v>
                </c:pt>
                <c:pt idx="26798">
                  <c:v>95528</c:v>
                </c:pt>
                <c:pt idx="26799">
                  <c:v>95527</c:v>
                </c:pt>
                <c:pt idx="26800">
                  <c:v>95523</c:v>
                </c:pt>
                <c:pt idx="26801">
                  <c:v>95522</c:v>
                </c:pt>
                <c:pt idx="26802">
                  <c:v>95521</c:v>
                </c:pt>
                <c:pt idx="26803">
                  <c:v>95520</c:v>
                </c:pt>
                <c:pt idx="26804">
                  <c:v>95514</c:v>
                </c:pt>
                <c:pt idx="26805">
                  <c:v>95510</c:v>
                </c:pt>
                <c:pt idx="26806">
                  <c:v>95510</c:v>
                </c:pt>
                <c:pt idx="26807">
                  <c:v>95508</c:v>
                </c:pt>
                <c:pt idx="26808">
                  <c:v>95500</c:v>
                </c:pt>
                <c:pt idx="26809">
                  <c:v>95497</c:v>
                </c:pt>
                <c:pt idx="26810">
                  <c:v>95496</c:v>
                </c:pt>
                <c:pt idx="26811">
                  <c:v>95487</c:v>
                </c:pt>
                <c:pt idx="26812">
                  <c:v>95486</c:v>
                </c:pt>
                <c:pt idx="26813">
                  <c:v>95476</c:v>
                </c:pt>
                <c:pt idx="26814">
                  <c:v>95473</c:v>
                </c:pt>
                <c:pt idx="26815">
                  <c:v>95471</c:v>
                </c:pt>
                <c:pt idx="26816">
                  <c:v>95469</c:v>
                </c:pt>
                <c:pt idx="26817">
                  <c:v>95469</c:v>
                </c:pt>
                <c:pt idx="26818">
                  <c:v>95464</c:v>
                </c:pt>
                <c:pt idx="26819">
                  <c:v>95432</c:v>
                </c:pt>
                <c:pt idx="26820">
                  <c:v>95430</c:v>
                </c:pt>
                <c:pt idx="26821">
                  <c:v>95430</c:v>
                </c:pt>
                <c:pt idx="26822">
                  <c:v>95423</c:v>
                </c:pt>
                <c:pt idx="26823">
                  <c:v>95422</c:v>
                </c:pt>
                <c:pt idx="26824">
                  <c:v>95421</c:v>
                </c:pt>
                <c:pt idx="26825">
                  <c:v>95418</c:v>
                </c:pt>
                <c:pt idx="26826">
                  <c:v>95410</c:v>
                </c:pt>
                <c:pt idx="26827">
                  <c:v>95403</c:v>
                </c:pt>
                <c:pt idx="26828">
                  <c:v>95387</c:v>
                </c:pt>
                <c:pt idx="26829">
                  <c:v>95386</c:v>
                </c:pt>
                <c:pt idx="26830">
                  <c:v>95384</c:v>
                </c:pt>
                <c:pt idx="26831">
                  <c:v>95382</c:v>
                </c:pt>
                <c:pt idx="26832">
                  <c:v>95381</c:v>
                </c:pt>
                <c:pt idx="26833">
                  <c:v>95381</c:v>
                </c:pt>
                <c:pt idx="26834">
                  <c:v>95378</c:v>
                </c:pt>
                <c:pt idx="26835">
                  <c:v>95376</c:v>
                </c:pt>
                <c:pt idx="26836">
                  <c:v>95369</c:v>
                </c:pt>
                <c:pt idx="26837">
                  <c:v>95365</c:v>
                </c:pt>
                <c:pt idx="26838">
                  <c:v>95360</c:v>
                </c:pt>
                <c:pt idx="26839">
                  <c:v>95353</c:v>
                </c:pt>
                <c:pt idx="26840">
                  <c:v>95347</c:v>
                </c:pt>
                <c:pt idx="26841">
                  <c:v>95345</c:v>
                </c:pt>
                <c:pt idx="26842">
                  <c:v>95344</c:v>
                </c:pt>
                <c:pt idx="26843">
                  <c:v>95342</c:v>
                </c:pt>
                <c:pt idx="26844">
                  <c:v>95339</c:v>
                </c:pt>
                <c:pt idx="26845">
                  <c:v>95339</c:v>
                </c:pt>
                <c:pt idx="26846">
                  <c:v>95329</c:v>
                </c:pt>
                <c:pt idx="26847">
                  <c:v>95328</c:v>
                </c:pt>
                <c:pt idx="26848">
                  <c:v>95328</c:v>
                </c:pt>
                <c:pt idx="26849">
                  <c:v>95326</c:v>
                </c:pt>
                <c:pt idx="26850">
                  <c:v>95326</c:v>
                </c:pt>
                <c:pt idx="26851">
                  <c:v>95320</c:v>
                </c:pt>
                <c:pt idx="26852">
                  <c:v>95318</c:v>
                </c:pt>
                <c:pt idx="26853">
                  <c:v>95317</c:v>
                </c:pt>
                <c:pt idx="26854">
                  <c:v>95314</c:v>
                </c:pt>
                <c:pt idx="26855">
                  <c:v>95306</c:v>
                </c:pt>
                <c:pt idx="26856">
                  <c:v>95303</c:v>
                </c:pt>
                <c:pt idx="26857">
                  <c:v>95297</c:v>
                </c:pt>
                <c:pt idx="26858">
                  <c:v>95296</c:v>
                </c:pt>
                <c:pt idx="26859">
                  <c:v>95289</c:v>
                </c:pt>
                <c:pt idx="26860">
                  <c:v>95288</c:v>
                </c:pt>
                <c:pt idx="26861">
                  <c:v>95285</c:v>
                </c:pt>
                <c:pt idx="26862">
                  <c:v>95285</c:v>
                </c:pt>
                <c:pt idx="26863">
                  <c:v>95284</c:v>
                </c:pt>
                <c:pt idx="26864">
                  <c:v>95273</c:v>
                </c:pt>
                <c:pt idx="26865">
                  <c:v>95270</c:v>
                </c:pt>
                <c:pt idx="26866">
                  <c:v>95268</c:v>
                </c:pt>
                <c:pt idx="26867">
                  <c:v>95257</c:v>
                </c:pt>
                <c:pt idx="26868">
                  <c:v>95252</c:v>
                </c:pt>
                <c:pt idx="26869">
                  <c:v>95248</c:v>
                </c:pt>
                <c:pt idx="26870">
                  <c:v>95247</c:v>
                </c:pt>
                <c:pt idx="26871">
                  <c:v>95244</c:v>
                </c:pt>
                <c:pt idx="26872">
                  <c:v>95236</c:v>
                </c:pt>
                <c:pt idx="26873">
                  <c:v>95236</c:v>
                </c:pt>
                <c:pt idx="26874">
                  <c:v>95231</c:v>
                </c:pt>
                <c:pt idx="26875">
                  <c:v>95218</c:v>
                </c:pt>
                <c:pt idx="26876">
                  <c:v>95218</c:v>
                </c:pt>
                <c:pt idx="26877">
                  <c:v>95215</c:v>
                </c:pt>
                <c:pt idx="26878">
                  <c:v>95213</c:v>
                </c:pt>
                <c:pt idx="26879">
                  <c:v>95213</c:v>
                </c:pt>
                <c:pt idx="26880">
                  <c:v>95212</c:v>
                </c:pt>
                <c:pt idx="26881">
                  <c:v>95202</c:v>
                </c:pt>
                <c:pt idx="26882">
                  <c:v>95197</c:v>
                </c:pt>
                <c:pt idx="26883">
                  <c:v>95193</c:v>
                </c:pt>
                <c:pt idx="26884">
                  <c:v>95192</c:v>
                </c:pt>
                <c:pt idx="26885">
                  <c:v>95187</c:v>
                </c:pt>
                <c:pt idx="26886">
                  <c:v>95183</c:v>
                </c:pt>
                <c:pt idx="26887">
                  <c:v>95179</c:v>
                </c:pt>
                <c:pt idx="26888">
                  <c:v>95165</c:v>
                </c:pt>
                <c:pt idx="26889">
                  <c:v>95163</c:v>
                </c:pt>
                <c:pt idx="26890">
                  <c:v>95159</c:v>
                </c:pt>
                <c:pt idx="26891">
                  <c:v>95154</c:v>
                </c:pt>
                <c:pt idx="26892">
                  <c:v>95151</c:v>
                </c:pt>
                <c:pt idx="26893">
                  <c:v>95145</c:v>
                </c:pt>
                <c:pt idx="26894">
                  <c:v>95143</c:v>
                </c:pt>
                <c:pt idx="26895">
                  <c:v>95139</c:v>
                </c:pt>
                <c:pt idx="26896">
                  <c:v>95121</c:v>
                </c:pt>
                <c:pt idx="26897">
                  <c:v>95114</c:v>
                </c:pt>
                <c:pt idx="26898">
                  <c:v>95109</c:v>
                </c:pt>
                <c:pt idx="26899">
                  <c:v>95093</c:v>
                </c:pt>
                <c:pt idx="26900">
                  <c:v>95089</c:v>
                </c:pt>
                <c:pt idx="26901">
                  <c:v>95079</c:v>
                </c:pt>
                <c:pt idx="26902">
                  <c:v>95078</c:v>
                </c:pt>
                <c:pt idx="26903">
                  <c:v>95072</c:v>
                </c:pt>
                <c:pt idx="26904">
                  <c:v>95069</c:v>
                </c:pt>
                <c:pt idx="26905">
                  <c:v>95062</c:v>
                </c:pt>
                <c:pt idx="26906">
                  <c:v>95053</c:v>
                </c:pt>
                <c:pt idx="26907">
                  <c:v>95046</c:v>
                </c:pt>
                <c:pt idx="26908">
                  <c:v>95044</c:v>
                </c:pt>
                <c:pt idx="26909">
                  <c:v>95043</c:v>
                </c:pt>
                <c:pt idx="26910">
                  <c:v>95041</c:v>
                </c:pt>
                <c:pt idx="26911">
                  <c:v>95038</c:v>
                </c:pt>
                <c:pt idx="26912">
                  <c:v>95037</c:v>
                </c:pt>
                <c:pt idx="26913">
                  <c:v>95035</c:v>
                </c:pt>
                <c:pt idx="26914">
                  <c:v>95033</c:v>
                </c:pt>
                <c:pt idx="26915">
                  <c:v>95029</c:v>
                </c:pt>
                <c:pt idx="26916">
                  <c:v>95028</c:v>
                </c:pt>
                <c:pt idx="26917">
                  <c:v>95027</c:v>
                </c:pt>
                <c:pt idx="26918">
                  <c:v>95025</c:v>
                </c:pt>
                <c:pt idx="26919">
                  <c:v>95012</c:v>
                </c:pt>
                <c:pt idx="26920">
                  <c:v>95010</c:v>
                </c:pt>
                <c:pt idx="26921">
                  <c:v>95002</c:v>
                </c:pt>
                <c:pt idx="26922">
                  <c:v>94996</c:v>
                </c:pt>
                <c:pt idx="26923">
                  <c:v>94993</c:v>
                </c:pt>
                <c:pt idx="26924">
                  <c:v>94991</c:v>
                </c:pt>
                <c:pt idx="26925">
                  <c:v>94990</c:v>
                </c:pt>
                <c:pt idx="26926">
                  <c:v>94985</c:v>
                </c:pt>
                <c:pt idx="26927">
                  <c:v>94983</c:v>
                </c:pt>
                <c:pt idx="26928">
                  <c:v>94981</c:v>
                </c:pt>
                <c:pt idx="26929">
                  <c:v>94978</c:v>
                </c:pt>
                <c:pt idx="26930">
                  <c:v>94968</c:v>
                </c:pt>
                <c:pt idx="26931">
                  <c:v>94966</c:v>
                </c:pt>
                <c:pt idx="26932">
                  <c:v>94965</c:v>
                </c:pt>
                <c:pt idx="26933">
                  <c:v>94956</c:v>
                </c:pt>
                <c:pt idx="26934">
                  <c:v>94953</c:v>
                </c:pt>
                <c:pt idx="26935">
                  <c:v>94952</c:v>
                </c:pt>
                <c:pt idx="26936">
                  <c:v>94951</c:v>
                </c:pt>
                <c:pt idx="26937">
                  <c:v>94949</c:v>
                </c:pt>
                <c:pt idx="26938">
                  <c:v>94947</c:v>
                </c:pt>
                <c:pt idx="26939">
                  <c:v>94938</c:v>
                </c:pt>
                <c:pt idx="26940">
                  <c:v>94932</c:v>
                </c:pt>
                <c:pt idx="26941">
                  <c:v>94930</c:v>
                </c:pt>
                <c:pt idx="26942">
                  <c:v>94928</c:v>
                </c:pt>
                <c:pt idx="26943">
                  <c:v>94927</c:v>
                </c:pt>
                <c:pt idx="26944">
                  <c:v>94913</c:v>
                </c:pt>
                <c:pt idx="26945">
                  <c:v>94907</c:v>
                </c:pt>
                <c:pt idx="26946">
                  <c:v>94906</c:v>
                </c:pt>
                <c:pt idx="26947">
                  <c:v>94905</c:v>
                </c:pt>
                <c:pt idx="26948">
                  <c:v>94902</c:v>
                </c:pt>
                <c:pt idx="26949">
                  <c:v>94901</c:v>
                </c:pt>
                <c:pt idx="26950">
                  <c:v>94890</c:v>
                </c:pt>
                <c:pt idx="26951">
                  <c:v>94879</c:v>
                </c:pt>
                <c:pt idx="26952">
                  <c:v>94879</c:v>
                </c:pt>
                <c:pt idx="26953">
                  <c:v>94879</c:v>
                </c:pt>
                <c:pt idx="26954">
                  <c:v>94874</c:v>
                </c:pt>
                <c:pt idx="26955">
                  <c:v>94872</c:v>
                </c:pt>
                <c:pt idx="26956">
                  <c:v>94870</c:v>
                </c:pt>
                <c:pt idx="26957">
                  <c:v>94867</c:v>
                </c:pt>
                <c:pt idx="26958">
                  <c:v>94867</c:v>
                </c:pt>
                <c:pt idx="26959">
                  <c:v>94866</c:v>
                </c:pt>
                <c:pt idx="26960">
                  <c:v>94856</c:v>
                </c:pt>
                <c:pt idx="26961">
                  <c:v>94848</c:v>
                </c:pt>
                <c:pt idx="26962">
                  <c:v>94845</c:v>
                </c:pt>
                <c:pt idx="26963">
                  <c:v>94835</c:v>
                </c:pt>
                <c:pt idx="26964">
                  <c:v>94832</c:v>
                </c:pt>
                <c:pt idx="26965">
                  <c:v>94832</c:v>
                </c:pt>
                <c:pt idx="26966">
                  <c:v>94831</c:v>
                </c:pt>
                <c:pt idx="26967">
                  <c:v>94828</c:v>
                </c:pt>
                <c:pt idx="26968">
                  <c:v>94827</c:v>
                </c:pt>
                <c:pt idx="26969">
                  <c:v>94825</c:v>
                </c:pt>
                <c:pt idx="26970">
                  <c:v>94821</c:v>
                </c:pt>
                <c:pt idx="26971">
                  <c:v>94816</c:v>
                </c:pt>
                <c:pt idx="26972">
                  <c:v>94814</c:v>
                </c:pt>
                <c:pt idx="26973">
                  <c:v>94813</c:v>
                </c:pt>
                <c:pt idx="26974">
                  <c:v>94811</c:v>
                </c:pt>
                <c:pt idx="26975">
                  <c:v>94811</c:v>
                </c:pt>
                <c:pt idx="26976">
                  <c:v>94810</c:v>
                </c:pt>
                <c:pt idx="26977">
                  <c:v>94810</c:v>
                </c:pt>
                <c:pt idx="26978">
                  <c:v>94800</c:v>
                </c:pt>
                <c:pt idx="26979">
                  <c:v>94791</c:v>
                </c:pt>
                <c:pt idx="26980">
                  <c:v>94791</c:v>
                </c:pt>
                <c:pt idx="26981">
                  <c:v>94789</c:v>
                </c:pt>
                <c:pt idx="26982">
                  <c:v>94788</c:v>
                </c:pt>
                <c:pt idx="26983">
                  <c:v>94784</c:v>
                </c:pt>
                <c:pt idx="26984">
                  <c:v>94783</c:v>
                </c:pt>
                <c:pt idx="26985">
                  <c:v>94780</c:v>
                </c:pt>
                <c:pt idx="26986">
                  <c:v>94774</c:v>
                </c:pt>
                <c:pt idx="26987">
                  <c:v>94773</c:v>
                </c:pt>
                <c:pt idx="26988">
                  <c:v>94771</c:v>
                </c:pt>
                <c:pt idx="26989">
                  <c:v>94771</c:v>
                </c:pt>
                <c:pt idx="26990">
                  <c:v>94757</c:v>
                </c:pt>
                <c:pt idx="26991">
                  <c:v>94756</c:v>
                </c:pt>
                <c:pt idx="26992">
                  <c:v>94752</c:v>
                </c:pt>
                <c:pt idx="26993">
                  <c:v>94750</c:v>
                </c:pt>
                <c:pt idx="26994">
                  <c:v>94736</c:v>
                </c:pt>
                <c:pt idx="26995">
                  <c:v>94735</c:v>
                </c:pt>
                <c:pt idx="26996">
                  <c:v>94733</c:v>
                </c:pt>
                <c:pt idx="26997">
                  <c:v>94731</c:v>
                </c:pt>
                <c:pt idx="26998">
                  <c:v>94729</c:v>
                </c:pt>
                <c:pt idx="26999">
                  <c:v>94727</c:v>
                </c:pt>
                <c:pt idx="27000">
                  <c:v>94727</c:v>
                </c:pt>
                <c:pt idx="27001">
                  <c:v>94724</c:v>
                </c:pt>
                <c:pt idx="27002">
                  <c:v>94724</c:v>
                </c:pt>
                <c:pt idx="27003">
                  <c:v>94723</c:v>
                </c:pt>
                <c:pt idx="27004">
                  <c:v>94716</c:v>
                </c:pt>
                <c:pt idx="27005">
                  <c:v>94705</c:v>
                </c:pt>
                <c:pt idx="27006">
                  <c:v>94705</c:v>
                </c:pt>
                <c:pt idx="27007">
                  <c:v>94699</c:v>
                </c:pt>
                <c:pt idx="27008">
                  <c:v>94687</c:v>
                </c:pt>
                <c:pt idx="27009">
                  <c:v>94686</c:v>
                </c:pt>
                <c:pt idx="27010">
                  <c:v>94685</c:v>
                </c:pt>
                <c:pt idx="27011">
                  <c:v>94684</c:v>
                </c:pt>
                <c:pt idx="27012">
                  <c:v>94683</c:v>
                </c:pt>
                <c:pt idx="27013">
                  <c:v>94680</c:v>
                </c:pt>
                <c:pt idx="27014">
                  <c:v>94680</c:v>
                </c:pt>
                <c:pt idx="27015">
                  <c:v>94674</c:v>
                </c:pt>
                <c:pt idx="27016">
                  <c:v>94670</c:v>
                </c:pt>
                <c:pt idx="27017">
                  <c:v>94667</c:v>
                </c:pt>
                <c:pt idx="27018">
                  <c:v>94665</c:v>
                </c:pt>
                <c:pt idx="27019">
                  <c:v>94662</c:v>
                </c:pt>
                <c:pt idx="27020">
                  <c:v>94662</c:v>
                </c:pt>
                <c:pt idx="27021">
                  <c:v>94659</c:v>
                </c:pt>
                <c:pt idx="27022">
                  <c:v>94659</c:v>
                </c:pt>
                <c:pt idx="27023">
                  <c:v>94644</c:v>
                </c:pt>
                <c:pt idx="27024">
                  <c:v>94640</c:v>
                </c:pt>
                <c:pt idx="27025">
                  <c:v>94635</c:v>
                </c:pt>
                <c:pt idx="27026">
                  <c:v>94625</c:v>
                </c:pt>
                <c:pt idx="27027">
                  <c:v>94623</c:v>
                </c:pt>
                <c:pt idx="27028">
                  <c:v>94612</c:v>
                </c:pt>
                <c:pt idx="27029">
                  <c:v>94612</c:v>
                </c:pt>
                <c:pt idx="27030">
                  <c:v>94609</c:v>
                </c:pt>
                <c:pt idx="27031">
                  <c:v>94607</c:v>
                </c:pt>
                <c:pt idx="27032">
                  <c:v>94605</c:v>
                </c:pt>
                <c:pt idx="27033">
                  <c:v>94600</c:v>
                </c:pt>
                <c:pt idx="27034">
                  <c:v>94599</c:v>
                </c:pt>
                <c:pt idx="27035">
                  <c:v>94585</c:v>
                </c:pt>
                <c:pt idx="27036">
                  <c:v>94582</c:v>
                </c:pt>
                <c:pt idx="27037">
                  <c:v>94576</c:v>
                </c:pt>
                <c:pt idx="27038">
                  <c:v>94563</c:v>
                </c:pt>
                <c:pt idx="27039">
                  <c:v>94549</c:v>
                </c:pt>
                <c:pt idx="27040">
                  <c:v>94547</c:v>
                </c:pt>
                <c:pt idx="27041">
                  <c:v>94540</c:v>
                </c:pt>
                <c:pt idx="27042">
                  <c:v>94529</c:v>
                </c:pt>
                <c:pt idx="27043">
                  <c:v>94527</c:v>
                </c:pt>
                <c:pt idx="27044">
                  <c:v>94525</c:v>
                </c:pt>
                <c:pt idx="27045">
                  <c:v>94523</c:v>
                </c:pt>
                <c:pt idx="27046">
                  <c:v>94497</c:v>
                </c:pt>
                <c:pt idx="27047">
                  <c:v>94496</c:v>
                </c:pt>
                <c:pt idx="27048">
                  <c:v>94477</c:v>
                </c:pt>
                <c:pt idx="27049">
                  <c:v>94464</c:v>
                </c:pt>
                <c:pt idx="27050">
                  <c:v>94457</c:v>
                </c:pt>
                <c:pt idx="27051">
                  <c:v>94454</c:v>
                </c:pt>
                <c:pt idx="27052">
                  <c:v>94454</c:v>
                </c:pt>
                <c:pt idx="27053">
                  <c:v>94442</c:v>
                </c:pt>
                <c:pt idx="27054">
                  <c:v>94438</c:v>
                </c:pt>
                <c:pt idx="27055">
                  <c:v>94433</c:v>
                </c:pt>
                <c:pt idx="27056">
                  <c:v>94427</c:v>
                </c:pt>
                <c:pt idx="27057">
                  <c:v>94425</c:v>
                </c:pt>
                <c:pt idx="27058">
                  <c:v>94417</c:v>
                </c:pt>
                <c:pt idx="27059">
                  <c:v>94415</c:v>
                </c:pt>
                <c:pt idx="27060">
                  <c:v>94409</c:v>
                </c:pt>
                <c:pt idx="27061">
                  <c:v>94403</c:v>
                </c:pt>
                <c:pt idx="27062">
                  <c:v>94401</c:v>
                </c:pt>
                <c:pt idx="27063">
                  <c:v>94400</c:v>
                </c:pt>
                <c:pt idx="27064">
                  <c:v>94388</c:v>
                </c:pt>
                <c:pt idx="27065">
                  <c:v>94386</c:v>
                </c:pt>
                <c:pt idx="27066">
                  <c:v>94384</c:v>
                </c:pt>
                <c:pt idx="27067">
                  <c:v>94373</c:v>
                </c:pt>
                <c:pt idx="27068">
                  <c:v>94371</c:v>
                </c:pt>
                <c:pt idx="27069">
                  <c:v>94363</c:v>
                </c:pt>
                <c:pt idx="27070">
                  <c:v>94363</c:v>
                </c:pt>
                <c:pt idx="27071">
                  <c:v>94356</c:v>
                </c:pt>
                <c:pt idx="27072">
                  <c:v>94355</c:v>
                </c:pt>
                <c:pt idx="27073">
                  <c:v>94348</c:v>
                </c:pt>
                <c:pt idx="27074">
                  <c:v>94344</c:v>
                </c:pt>
                <c:pt idx="27075">
                  <c:v>94340</c:v>
                </c:pt>
                <c:pt idx="27076">
                  <c:v>94340</c:v>
                </c:pt>
                <c:pt idx="27077">
                  <c:v>94331</c:v>
                </c:pt>
                <c:pt idx="27078">
                  <c:v>94329</c:v>
                </c:pt>
                <c:pt idx="27079">
                  <c:v>94323</c:v>
                </c:pt>
                <c:pt idx="27080">
                  <c:v>94318</c:v>
                </c:pt>
                <c:pt idx="27081">
                  <c:v>94311</c:v>
                </c:pt>
                <c:pt idx="27082">
                  <c:v>94310</c:v>
                </c:pt>
                <c:pt idx="27083">
                  <c:v>94310</c:v>
                </c:pt>
                <c:pt idx="27084">
                  <c:v>94307</c:v>
                </c:pt>
                <c:pt idx="27085">
                  <c:v>94299</c:v>
                </c:pt>
                <c:pt idx="27086">
                  <c:v>94295</c:v>
                </c:pt>
                <c:pt idx="27087">
                  <c:v>94291</c:v>
                </c:pt>
                <c:pt idx="27088">
                  <c:v>94288</c:v>
                </c:pt>
                <c:pt idx="27089">
                  <c:v>94275</c:v>
                </c:pt>
                <c:pt idx="27090">
                  <c:v>94263</c:v>
                </c:pt>
                <c:pt idx="27091">
                  <c:v>94258</c:v>
                </c:pt>
                <c:pt idx="27092">
                  <c:v>94254</c:v>
                </c:pt>
                <c:pt idx="27093">
                  <c:v>94249</c:v>
                </c:pt>
                <c:pt idx="27094">
                  <c:v>94242</c:v>
                </c:pt>
                <c:pt idx="27095">
                  <c:v>94240</c:v>
                </c:pt>
                <c:pt idx="27096">
                  <c:v>94237</c:v>
                </c:pt>
                <c:pt idx="27097">
                  <c:v>94236</c:v>
                </c:pt>
                <c:pt idx="27098">
                  <c:v>94228</c:v>
                </c:pt>
                <c:pt idx="27099">
                  <c:v>94225</c:v>
                </c:pt>
                <c:pt idx="27100">
                  <c:v>94219</c:v>
                </c:pt>
                <c:pt idx="27101">
                  <c:v>94215</c:v>
                </c:pt>
                <c:pt idx="27102">
                  <c:v>94214</c:v>
                </c:pt>
                <c:pt idx="27103">
                  <c:v>94208</c:v>
                </c:pt>
                <c:pt idx="27104">
                  <c:v>94191</c:v>
                </c:pt>
                <c:pt idx="27105">
                  <c:v>94188</c:v>
                </c:pt>
                <c:pt idx="27106">
                  <c:v>94180</c:v>
                </c:pt>
                <c:pt idx="27107">
                  <c:v>94179</c:v>
                </c:pt>
                <c:pt idx="27108">
                  <c:v>94157</c:v>
                </c:pt>
                <c:pt idx="27109">
                  <c:v>94154</c:v>
                </c:pt>
                <c:pt idx="27110">
                  <c:v>94146</c:v>
                </c:pt>
                <c:pt idx="27111">
                  <c:v>94133</c:v>
                </c:pt>
                <c:pt idx="27112">
                  <c:v>94129</c:v>
                </c:pt>
                <c:pt idx="27113">
                  <c:v>94126</c:v>
                </c:pt>
                <c:pt idx="27114">
                  <c:v>94118</c:v>
                </c:pt>
                <c:pt idx="27115">
                  <c:v>94117</c:v>
                </c:pt>
                <c:pt idx="27116">
                  <c:v>94109</c:v>
                </c:pt>
                <c:pt idx="27117">
                  <c:v>94109</c:v>
                </c:pt>
                <c:pt idx="27118">
                  <c:v>94105</c:v>
                </c:pt>
                <c:pt idx="27119">
                  <c:v>94103</c:v>
                </c:pt>
                <c:pt idx="27120">
                  <c:v>94099</c:v>
                </c:pt>
                <c:pt idx="27121">
                  <c:v>94094</c:v>
                </c:pt>
                <c:pt idx="27122">
                  <c:v>94091</c:v>
                </c:pt>
                <c:pt idx="27123">
                  <c:v>94091</c:v>
                </c:pt>
                <c:pt idx="27124">
                  <c:v>94088</c:v>
                </c:pt>
                <c:pt idx="27125">
                  <c:v>94085</c:v>
                </c:pt>
                <c:pt idx="27126">
                  <c:v>94085</c:v>
                </c:pt>
                <c:pt idx="27127">
                  <c:v>94084</c:v>
                </c:pt>
                <c:pt idx="27128">
                  <c:v>94074</c:v>
                </c:pt>
                <c:pt idx="27129">
                  <c:v>94064</c:v>
                </c:pt>
                <c:pt idx="27130">
                  <c:v>94061</c:v>
                </c:pt>
                <c:pt idx="27131">
                  <c:v>94053</c:v>
                </c:pt>
                <c:pt idx="27132">
                  <c:v>94052</c:v>
                </c:pt>
                <c:pt idx="27133">
                  <c:v>94051</c:v>
                </c:pt>
                <c:pt idx="27134">
                  <c:v>94049</c:v>
                </c:pt>
                <c:pt idx="27135">
                  <c:v>94047</c:v>
                </c:pt>
                <c:pt idx="27136">
                  <c:v>94042</c:v>
                </c:pt>
                <c:pt idx="27137">
                  <c:v>94039</c:v>
                </c:pt>
                <c:pt idx="27138">
                  <c:v>94036</c:v>
                </c:pt>
                <c:pt idx="27139">
                  <c:v>94031</c:v>
                </c:pt>
                <c:pt idx="27140">
                  <c:v>94016</c:v>
                </c:pt>
                <c:pt idx="27141">
                  <c:v>94014</c:v>
                </c:pt>
                <c:pt idx="27142">
                  <c:v>94005</c:v>
                </c:pt>
                <c:pt idx="27143">
                  <c:v>93992</c:v>
                </c:pt>
                <c:pt idx="27144">
                  <c:v>93990</c:v>
                </c:pt>
                <c:pt idx="27145">
                  <c:v>93970</c:v>
                </c:pt>
                <c:pt idx="27146">
                  <c:v>93970</c:v>
                </c:pt>
                <c:pt idx="27147">
                  <c:v>93969</c:v>
                </c:pt>
                <c:pt idx="27148">
                  <c:v>93963</c:v>
                </c:pt>
                <c:pt idx="27149">
                  <c:v>93963</c:v>
                </c:pt>
                <c:pt idx="27150">
                  <c:v>93959</c:v>
                </c:pt>
                <c:pt idx="27151">
                  <c:v>93955</c:v>
                </c:pt>
                <c:pt idx="27152">
                  <c:v>93953</c:v>
                </c:pt>
                <c:pt idx="27153">
                  <c:v>93949</c:v>
                </c:pt>
                <c:pt idx="27154">
                  <c:v>93949</c:v>
                </c:pt>
                <c:pt idx="27155">
                  <c:v>93938</c:v>
                </c:pt>
                <c:pt idx="27156">
                  <c:v>93934</c:v>
                </c:pt>
                <c:pt idx="27157">
                  <c:v>93933</c:v>
                </c:pt>
                <c:pt idx="27158">
                  <c:v>93931</c:v>
                </c:pt>
                <c:pt idx="27159">
                  <c:v>93924</c:v>
                </c:pt>
                <c:pt idx="27160">
                  <c:v>93920</c:v>
                </c:pt>
                <c:pt idx="27161">
                  <c:v>93919</c:v>
                </c:pt>
                <c:pt idx="27162">
                  <c:v>93913</c:v>
                </c:pt>
                <c:pt idx="27163">
                  <c:v>93894</c:v>
                </c:pt>
                <c:pt idx="27164">
                  <c:v>93890</c:v>
                </c:pt>
                <c:pt idx="27165">
                  <c:v>93889</c:v>
                </c:pt>
                <c:pt idx="27166">
                  <c:v>93876</c:v>
                </c:pt>
                <c:pt idx="27167">
                  <c:v>93876</c:v>
                </c:pt>
                <c:pt idx="27168">
                  <c:v>93870</c:v>
                </c:pt>
                <c:pt idx="27169">
                  <c:v>93869</c:v>
                </c:pt>
                <c:pt idx="27170">
                  <c:v>93864</c:v>
                </c:pt>
                <c:pt idx="27171">
                  <c:v>93858</c:v>
                </c:pt>
                <c:pt idx="27172">
                  <c:v>93857</c:v>
                </c:pt>
                <c:pt idx="27173">
                  <c:v>93852</c:v>
                </c:pt>
                <c:pt idx="27174">
                  <c:v>93851</c:v>
                </c:pt>
                <c:pt idx="27175">
                  <c:v>93844</c:v>
                </c:pt>
                <c:pt idx="27176">
                  <c:v>93842</c:v>
                </c:pt>
                <c:pt idx="27177">
                  <c:v>93840</c:v>
                </c:pt>
                <c:pt idx="27178">
                  <c:v>93836</c:v>
                </c:pt>
                <c:pt idx="27179">
                  <c:v>93836</c:v>
                </c:pt>
                <c:pt idx="27180">
                  <c:v>93834</c:v>
                </c:pt>
                <c:pt idx="27181">
                  <c:v>93830</c:v>
                </c:pt>
                <c:pt idx="27182">
                  <c:v>93827</c:v>
                </c:pt>
                <c:pt idx="27183">
                  <c:v>93827</c:v>
                </c:pt>
                <c:pt idx="27184">
                  <c:v>93818</c:v>
                </c:pt>
                <c:pt idx="27185">
                  <c:v>93808</c:v>
                </c:pt>
                <c:pt idx="27186">
                  <c:v>93807</c:v>
                </c:pt>
                <c:pt idx="27187">
                  <c:v>93806</c:v>
                </c:pt>
                <c:pt idx="27188">
                  <c:v>93803</c:v>
                </c:pt>
                <c:pt idx="27189">
                  <c:v>93792</c:v>
                </c:pt>
                <c:pt idx="27190">
                  <c:v>93792</c:v>
                </c:pt>
                <c:pt idx="27191">
                  <c:v>93789</c:v>
                </c:pt>
                <c:pt idx="27192">
                  <c:v>93789</c:v>
                </c:pt>
                <c:pt idx="27193">
                  <c:v>93784</c:v>
                </c:pt>
                <c:pt idx="27194">
                  <c:v>93783</c:v>
                </c:pt>
                <c:pt idx="27195">
                  <c:v>93783</c:v>
                </c:pt>
                <c:pt idx="27196">
                  <c:v>93778</c:v>
                </c:pt>
                <c:pt idx="27197">
                  <c:v>93776</c:v>
                </c:pt>
                <c:pt idx="27198">
                  <c:v>93774</c:v>
                </c:pt>
                <c:pt idx="27199">
                  <c:v>93764</c:v>
                </c:pt>
                <c:pt idx="27200">
                  <c:v>93747</c:v>
                </c:pt>
                <c:pt idx="27201">
                  <c:v>93745</c:v>
                </c:pt>
                <c:pt idx="27202">
                  <c:v>93741</c:v>
                </c:pt>
                <c:pt idx="27203">
                  <c:v>93726</c:v>
                </c:pt>
                <c:pt idx="27204">
                  <c:v>93723</c:v>
                </c:pt>
                <c:pt idx="27205">
                  <c:v>93721</c:v>
                </c:pt>
                <c:pt idx="27206">
                  <c:v>93720</c:v>
                </c:pt>
                <c:pt idx="27207">
                  <c:v>93720</c:v>
                </c:pt>
                <c:pt idx="27208">
                  <c:v>93717</c:v>
                </c:pt>
                <c:pt idx="27209">
                  <c:v>93714</c:v>
                </c:pt>
                <c:pt idx="27210">
                  <c:v>93711</c:v>
                </c:pt>
                <c:pt idx="27211">
                  <c:v>93710</c:v>
                </c:pt>
                <c:pt idx="27212">
                  <c:v>93694</c:v>
                </c:pt>
                <c:pt idx="27213">
                  <c:v>93692</c:v>
                </c:pt>
                <c:pt idx="27214">
                  <c:v>93684</c:v>
                </c:pt>
                <c:pt idx="27215">
                  <c:v>93683</c:v>
                </c:pt>
                <c:pt idx="27216">
                  <c:v>93677</c:v>
                </c:pt>
                <c:pt idx="27217">
                  <c:v>93674</c:v>
                </c:pt>
                <c:pt idx="27218">
                  <c:v>93672</c:v>
                </c:pt>
                <c:pt idx="27219">
                  <c:v>93667</c:v>
                </c:pt>
                <c:pt idx="27220">
                  <c:v>93664</c:v>
                </c:pt>
                <c:pt idx="27221">
                  <c:v>93663</c:v>
                </c:pt>
                <c:pt idx="27222">
                  <c:v>93661</c:v>
                </c:pt>
                <c:pt idx="27223">
                  <c:v>93649</c:v>
                </c:pt>
                <c:pt idx="27224">
                  <c:v>93647</c:v>
                </c:pt>
                <c:pt idx="27225">
                  <c:v>93647</c:v>
                </c:pt>
                <c:pt idx="27226">
                  <c:v>93646</c:v>
                </c:pt>
                <c:pt idx="27227">
                  <c:v>93634</c:v>
                </c:pt>
                <c:pt idx="27228">
                  <c:v>93630</c:v>
                </c:pt>
                <c:pt idx="27229">
                  <c:v>93625</c:v>
                </c:pt>
                <c:pt idx="27230">
                  <c:v>93621</c:v>
                </c:pt>
                <c:pt idx="27231">
                  <c:v>93609</c:v>
                </c:pt>
                <c:pt idx="27232">
                  <c:v>93598</c:v>
                </c:pt>
                <c:pt idx="27233">
                  <c:v>93594</c:v>
                </c:pt>
                <c:pt idx="27234">
                  <c:v>93588</c:v>
                </c:pt>
                <c:pt idx="27235">
                  <c:v>93583</c:v>
                </c:pt>
                <c:pt idx="27236">
                  <c:v>93575</c:v>
                </c:pt>
                <c:pt idx="27237">
                  <c:v>93575</c:v>
                </c:pt>
                <c:pt idx="27238">
                  <c:v>93565</c:v>
                </c:pt>
                <c:pt idx="27239">
                  <c:v>93561</c:v>
                </c:pt>
                <c:pt idx="27240">
                  <c:v>93550</c:v>
                </c:pt>
                <c:pt idx="27241">
                  <c:v>93529</c:v>
                </c:pt>
                <c:pt idx="27242">
                  <c:v>93523</c:v>
                </c:pt>
                <c:pt idx="27243">
                  <c:v>93518</c:v>
                </c:pt>
                <c:pt idx="27244">
                  <c:v>93514</c:v>
                </c:pt>
                <c:pt idx="27245">
                  <c:v>93507</c:v>
                </c:pt>
                <c:pt idx="27246">
                  <c:v>93504</c:v>
                </c:pt>
                <c:pt idx="27247">
                  <c:v>93503</c:v>
                </c:pt>
                <c:pt idx="27248">
                  <c:v>93501</c:v>
                </c:pt>
                <c:pt idx="27249">
                  <c:v>93499</c:v>
                </c:pt>
                <c:pt idx="27250">
                  <c:v>93499</c:v>
                </c:pt>
                <c:pt idx="27251">
                  <c:v>93499</c:v>
                </c:pt>
                <c:pt idx="27252">
                  <c:v>93498</c:v>
                </c:pt>
                <c:pt idx="27253">
                  <c:v>93477</c:v>
                </c:pt>
                <c:pt idx="27254">
                  <c:v>93477</c:v>
                </c:pt>
                <c:pt idx="27255">
                  <c:v>93476</c:v>
                </c:pt>
                <c:pt idx="27256">
                  <c:v>93476</c:v>
                </c:pt>
                <c:pt idx="27257">
                  <c:v>93475</c:v>
                </c:pt>
                <c:pt idx="27258">
                  <c:v>93472</c:v>
                </c:pt>
                <c:pt idx="27259">
                  <c:v>93472</c:v>
                </c:pt>
                <c:pt idx="27260">
                  <c:v>93470</c:v>
                </c:pt>
                <c:pt idx="27261">
                  <c:v>93466</c:v>
                </c:pt>
                <c:pt idx="27262">
                  <c:v>93464</c:v>
                </c:pt>
                <c:pt idx="27263">
                  <c:v>93463</c:v>
                </c:pt>
                <c:pt idx="27264">
                  <c:v>93462</c:v>
                </c:pt>
                <c:pt idx="27265">
                  <c:v>93447</c:v>
                </c:pt>
                <c:pt idx="27266">
                  <c:v>93444</c:v>
                </c:pt>
                <c:pt idx="27267">
                  <c:v>93442</c:v>
                </c:pt>
                <c:pt idx="27268">
                  <c:v>93440</c:v>
                </c:pt>
                <c:pt idx="27269">
                  <c:v>93439</c:v>
                </c:pt>
                <c:pt idx="27270">
                  <c:v>93439</c:v>
                </c:pt>
                <c:pt idx="27271">
                  <c:v>93438</c:v>
                </c:pt>
                <c:pt idx="27272">
                  <c:v>93438</c:v>
                </c:pt>
                <c:pt idx="27273">
                  <c:v>93431</c:v>
                </c:pt>
                <c:pt idx="27274">
                  <c:v>93431</c:v>
                </c:pt>
                <c:pt idx="27275">
                  <c:v>93429</c:v>
                </c:pt>
                <c:pt idx="27276">
                  <c:v>93426</c:v>
                </c:pt>
                <c:pt idx="27277">
                  <c:v>93419</c:v>
                </c:pt>
                <c:pt idx="27278">
                  <c:v>93408</c:v>
                </c:pt>
                <c:pt idx="27279">
                  <c:v>93398</c:v>
                </c:pt>
                <c:pt idx="27280">
                  <c:v>93397</c:v>
                </c:pt>
                <c:pt idx="27281">
                  <c:v>93393</c:v>
                </c:pt>
                <c:pt idx="27282">
                  <c:v>93393</c:v>
                </c:pt>
                <c:pt idx="27283">
                  <c:v>93390</c:v>
                </c:pt>
                <c:pt idx="27284">
                  <c:v>93339</c:v>
                </c:pt>
                <c:pt idx="27285">
                  <c:v>93324</c:v>
                </c:pt>
                <c:pt idx="27286">
                  <c:v>93323</c:v>
                </c:pt>
                <c:pt idx="27287">
                  <c:v>93322</c:v>
                </c:pt>
                <c:pt idx="27288">
                  <c:v>93321</c:v>
                </c:pt>
                <c:pt idx="27289">
                  <c:v>93315</c:v>
                </c:pt>
                <c:pt idx="27290">
                  <c:v>93315</c:v>
                </c:pt>
                <c:pt idx="27291">
                  <c:v>93314</c:v>
                </c:pt>
                <c:pt idx="27292">
                  <c:v>93312</c:v>
                </c:pt>
                <c:pt idx="27293">
                  <c:v>93312</c:v>
                </c:pt>
                <c:pt idx="27294">
                  <c:v>93310</c:v>
                </c:pt>
                <c:pt idx="27295">
                  <c:v>93307</c:v>
                </c:pt>
                <c:pt idx="27296">
                  <c:v>93306</c:v>
                </c:pt>
                <c:pt idx="27297">
                  <c:v>93304</c:v>
                </c:pt>
                <c:pt idx="27298">
                  <c:v>93304</c:v>
                </c:pt>
                <c:pt idx="27299">
                  <c:v>93301</c:v>
                </c:pt>
                <c:pt idx="27300">
                  <c:v>93298</c:v>
                </c:pt>
                <c:pt idx="27301">
                  <c:v>93295</c:v>
                </c:pt>
                <c:pt idx="27302">
                  <c:v>93290</c:v>
                </c:pt>
                <c:pt idx="27303">
                  <c:v>93278</c:v>
                </c:pt>
                <c:pt idx="27304">
                  <c:v>93272</c:v>
                </c:pt>
                <c:pt idx="27305">
                  <c:v>93270</c:v>
                </c:pt>
                <c:pt idx="27306">
                  <c:v>93269</c:v>
                </c:pt>
                <c:pt idx="27307">
                  <c:v>93264</c:v>
                </c:pt>
                <c:pt idx="27308">
                  <c:v>93262</c:v>
                </c:pt>
                <c:pt idx="27309">
                  <c:v>93255</c:v>
                </c:pt>
                <c:pt idx="27310">
                  <c:v>93250</c:v>
                </c:pt>
                <c:pt idx="27311">
                  <c:v>93248</c:v>
                </c:pt>
                <c:pt idx="27312">
                  <c:v>93246</c:v>
                </c:pt>
                <c:pt idx="27313">
                  <c:v>93242</c:v>
                </c:pt>
                <c:pt idx="27314">
                  <c:v>93240</c:v>
                </c:pt>
                <c:pt idx="27315">
                  <c:v>93235</c:v>
                </c:pt>
                <c:pt idx="27316">
                  <c:v>93229</c:v>
                </c:pt>
                <c:pt idx="27317">
                  <c:v>93229</c:v>
                </c:pt>
                <c:pt idx="27318">
                  <c:v>93215</c:v>
                </c:pt>
                <c:pt idx="27319">
                  <c:v>93214</c:v>
                </c:pt>
                <c:pt idx="27320">
                  <c:v>93213</c:v>
                </c:pt>
                <c:pt idx="27321">
                  <c:v>93200</c:v>
                </c:pt>
                <c:pt idx="27322">
                  <c:v>93199</c:v>
                </c:pt>
                <c:pt idx="27323">
                  <c:v>93195</c:v>
                </c:pt>
                <c:pt idx="27324">
                  <c:v>93194</c:v>
                </c:pt>
                <c:pt idx="27325">
                  <c:v>93194</c:v>
                </c:pt>
                <c:pt idx="27326">
                  <c:v>93193</c:v>
                </c:pt>
                <c:pt idx="27327">
                  <c:v>93191</c:v>
                </c:pt>
                <c:pt idx="27328">
                  <c:v>93184</c:v>
                </c:pt>
                <c:pt idx="27329">
                  <c:v>93184</c:v>
                </c:pt>
                <c:pt idx="27330">
                  <c:v>93176</c:v>
                </c:pt>
                <c:pt idx="27331">
                  <c:v>93164</c:v>
                </c:pt>
                <c:pt idx="27332">
                  <c:v>93164</c:v>
                </c:pt>
                <c:pt idx="27333">
                  <c:v>93163</c:v>
                </c:pt>
                <c:pt idx="27334">
                  <c:v>93161</c:v>
                </c:pt>
                <c:pt idx="27335">
                  <c:v>93161</c:v>
                </c:pt>
                <c:pt idx="27336">
                  <c:v>93155</c:v>
                </c:pt>
                <c:pt idx="27337">
                  <c:v>93149</c:v>
                </c:pt>
                <c:pt idx="27338">
                  <c:v>93142</c:v>
                </c:pt>
                <c:pt idx="27339">
                  <c:v>93141</c:v>
                </c:pt>
                <c:pt idx="27340">
                  <c:v>93140</c:v>
                </c:pt>
                <c:pt idx="27341">
                  <c:v>93138</c:v>
                </c:pt>
                <c:pt idx="27342">
                  <c:v>93101</c:v>
                </c:pt>
                <c:pt idx="27343">
                  <c:v>93093</c:v>
                </c:pt>
                <c:pt idx="27344">
                  <c:v>93087</c:v>
                </c:pt>
                <c:pt idx="27345">
                  <c:v>93085</c:v>
                </c:pt>
                <c:pt idx="27346">
                  <c:v>93080</c:v>
                </c:pt>
                <c:pt idx="27347">
                  <c:v>93079</c:v>
                </c:pt>
                <c:pt idx="27348">
                  <c:v>93075</c:v>
                </c:pt>
                <c:pt idx="27349">
                  <c:v>93074</c:v>
                </c:pt>
                <c:pt idx="27350">
                  <c:v>93067</c:v>
                </c:pt>
                <c:pt idx="27351">
                  <c:v>93065</c:v>
                </c:pt>
                <c:pt idx="27352">
                  <c:v>93061</c:v>
                </c:pt>
                <c:pt idx="27353">
                  <c:v>93059</c:v>
                </c:pt>
                <c:pt idx="27354">
                  <c:v>93059</c:v>
                </c:pt>
                <c:pt idx="27355">
                  <c:v>93056</c:v>
                </c:pt>
                <c:pt idx="27356">
                  <c:v>93049</c:v>
                </c:pt>
                <c:pt idx="27357">
                  <c:v>93037</c:v>
                </c:pt>
                <c:pt idx="27358">
                  <c:v>93033</c:v>
                </c:pt>
                <c:pt idx="27359">
                  <c:v>93028</c:v>
                </c:pt>
                <c:pt idx="27360">
                  <c:v>93024</c:v>
                </c:pt>
                <c:pt idx="27361">
                  <c:v>93022</c:v>
                </c:pt>
                <c:pt idx="27362">
                  <c:v>93016</c:v>
                </c:pt>
                <c:pt idx="27363">
                  <c:v>93014</c:v>
                </c:pt>
                <c:pt idx="27364">
                  <c:v>93013</c:v>
                </c:pt>
                <c:pt idx="27365">
                  <c:v>93005</c:v>
                </c:pt>
                <c:pt idx="27366">
                  <c:v>92995</c:v>
                </c:pt>
                <c:pt idx="27367">
                  <c:v>92995</c:v>
                </c:pt>
                <c:pt idx="27368">
                  <c:v>92992</c:v>
                </c:pt>
                <c:pt idx="27369">
                  <c:v>92991</c:v>
                </c:pt>
                <c:pt idx="27370">
                  <c:v>92990</c:v>
                </c:pt>
                <c:pt idx="27371">
                  <c:v>92989</c:v>
                </c:pt>
                <c:pt idx="27372">
                  <c:v>92988</c:v>
                </c:pt>
                <c:pt idx="27373">
                  <c:v>92978</c:v>
                </c:pt>
                <c:pt idx="27374">
                  <c:v>92972</c:v>
                </c:pt>
                <c:pt idx="27375">
                  <c:v>92971</c:v>
                </c:pt>
                <c:pt idx="27376">
                  <c:v>92967</c:v>
                </c:pt>
                <c:pt idx="27377">
                  <c:v>92966</c:v>
                </c:pt>
                <c:pt idx="27378">
                  <c:v>92966</c:v>
                </c:pt>
                <c:pt idx="27379">
                  <c:v>92965</c:v>
                </c:pt>
                <c:pt idx="27380">
                  <c:v>92959</c:v>
                </c:pt>
                <c:pt idx="27381">
                  <c:v>92958</c:v>
                </c:pt>
                <c:pt idx="27382">
                  <c:v>92953</c:v>
                </c:pt>
                <c:pt idx="27383">
                  <c:v>92948</c:v>
                </c:pt>
                <c:pt idx="27384">
                  <c:v>92947</c:v>
                </c:pt>
                <c:pt idx="27385">
                  <c:v>92947</c:v>
                </c:pt>
                <c:pt idx="27386">
                  <c:v>92946</c:v>
                </c:pt>
                <c:pt idx="27387">
                  <c:v>92945</c:v>
                </c:pt>
                <c:pt idx="27388">
                  <c:v>92944</c:v>
                </c:pt>
                <c:pt idx="27389">
                  <c:v>92944</c:v>
                </c:pt>
                <c:pt idx="27390">
                  <c:v>92940</c:v>
                </c:pt>
                <c:pt idx="27391">
                  <c:v>92937</c:v>
                </c:pt>
                <c:pt idx="27392">
                  <c:v>92937</c:v>
                </c:pt>
                <c:pt idx="27393">
                  <c:v>92899</c:v>
                </c:pt>
                <c:pt idx="27394">
                  <c:v>92897</c:v>
                </c:pt>
                <c:pt idx="27395">
                  <c:v>92895</c:v>
                </c:pt>
                <c:pt idx="27396">
                  <c:v>92894</c:v>
                </c:pt>
                <c:pt idx="27397">
                  <c:v>92891</c:v>
                </c:pt>
                <c:pt idx="27398">
                  <c:v>92885</c:v>
                </c:pt>
                <c:pt idx="27399">
                  <c:v>92884</c:v>
                </c:pt>
                <c:pt idx="27400">
                  <c:v>92880</c:v>
                </c:pt>
                <c:pt idx="27401">
                  <c:v>92879</c:v>
                </c:pt>
                <c:pt idx="27402">
                  <c:v>92879</c:v>
                </c:pt>
                <c:pt idx="27403">
                  <c:v>92879</c:v>
                </c:pt>
                <c:pt idx="27404">
                  <c:v>92878</c:v>
                </c:pt>
                <c:pt idx="27405">
                  <c:v>92873</c:v>
                </c:pt>
                <c:pt idx="27406">
                  <c:v>92867</c:v>
                </c:pt>
                <c:pt idx="27407">
                  <c:v>92866</c:v>
                </c:pt>
                <c:pt idx="27408">
                  <c:v>92865</c:v>
                </c:pt>
                <c:pt idx="27409">
                  <c:v>92860</c:v>
                </c:pt>
                <c:pt idx="27410">
                  <c:v>92857</c:v>
                </c:pt>
                <c:pt idx="27411">
                  <c:v>92827</c:v>
                </c:pt>
                <c:pt idx="27412">
                  <c:v>92824</c:v>
                </c:pt>
                <c:pt idx="27413">
                  <c:v>92808</c:v>
                </c:pt>
                <c:pt idx="27414">
                  <c:v>92807</c:v>
                </c:pt>
                <c:pt idx="27415">
                  <c:v>92800</c:v>
                </c:pt>
                <c:pt idx="27416">
                  <c:v>92798</c:v>
                </c:pt>
                <c:pt idx="27417">
                  <c:v>92790</c:v>
                </c:pt>
                <c:pt idx="27418">
                  <c:v>92785</c:v>
                </c:pt>
                <c:pt idx="27419">
                  <c:v>92779</c:v>
                </c:pt>
                <c:pt idx="27420">
                  <c:v>92775</c:v>
                </c:pt>
                <c:pt idx="27421">
                  <c:v>92767</c:v>
                </c:pt>
                <c:pt idx="27422">
                  <c:v>92760</c:v>
                </c:pt>
                <c:pt idx="27423">
                  <c:v>92760</c:v>
                </c:pt>
                <c:pt idx="27424">
                  <c:v>92744</c:v>
                </c:pt>
                <c:pt idx="27425">
                  <c:v>92739</c:v>
                </c:pt>
                <c:pt idx="27426">
                  <c:v>92736</c:v>
                </c:pt>
                <c:pt idx="27427">
                  <c:v>92735</c:v>
                </c:pt>
                <c:pt idx="27428">
                  <c:v>92732</c:v>
                </c:pt>
                <c:pt idx="27429">
                  <c:v>92725</c:v>
                </c:pt>
                <c:pt idx="27430">
                  <c:v>92725</c:v>
                </c:pt>
                <c:pt idx="27431">
                  <c:v>92723</c:v>
                </c:pt>
                <c:pt idx="27432">
                  <c:v>92721</c:v>
                </c:pt>
                <c:pt idx="27433">
                  <c:v>92720</c:v>
                </c:pt>
                <c:pt idx="27434">
                  <c:v>92719</c:v>
                </c:pt>
                <c:pt idx="27435">
                  <c:v>92703</c:v>
                </c:pt>
                <c:pt idx="27436">
                  <c:v>92684</c:v>
                </c:pt>
                <c:pt idx="27437">
                  <c:v>92680</c:v>
                </c:pt>
                <c:pt idx="27438">
                  <c:v>92680</c:v>
                </c:pt>
                <c:pt idx="27439">
                  <c:v>92679</c:v>
                </c:pt>
                <c:pt idx="27440">
                  <c:v>92678</c:v>
                </c:pt>
                <c:pt idx="27441">
                  <c:v>92673</c:v>
                </c:pt>
                <c:pt idx="27442">
                  <c:v>92671</c:v>
                </c:pt>
                <c:pt idx="27443">
                  <c:v>92671</c:v>
                </c:pt>
                <c:pt idx="27444">
                  <c:v>92669</c:v>
                </c:pt>
                <c:pt idx="27445">
                  <c:v>92655</c:v>
                </c:pt>
                <c:pt idx="27446">
                  <c:v>92642</c:v>
                </c:pt>
                <c:pt idx="27447">
                  <c:v>92637</c:v>
                </c:pt>
                <c:pt idx="27448">
                  <c:v>92634</c:v>
                </c:pt>
                <c:pt idx="27449">
                  <c:v>92633</c:v>
                </c:pt>
                <c:pt idx="27450">
                  <c:v>92627</c:v>
                </c:pt>
                <c:pt idx="27451">
                  <c:v>92626</c:v>
                </c:pt>
                <c:pt idx="27452">
                  <c:v>92625</c:v>
                </c:pt>
                <c:pt idx="27453">
                  <c:v>92622</c:v>
                </c:pt>
                <c:pt idx="27454">
                  <c:v>92616</c:v>
                </c:pt>
                <c:pt idx="27455">
                  <c:v>92610</c:v>
                </c:pt>
                <c:pt idx="27456">
                  <c:v>92605</c:v>
                </c:pt>
                <c:pt idx="27457">
                  <c:v>92603</c:v>
                </c:pt>
                <c:pt idx="27458">
                  <c:v>92593</c:v>
                </c:pt>
                <c:pt idx="27459">
                  <c:v>92588</c:v>
                </c:pt>
                <c:pt idx="27460">
                  <c:v>92563</c:v>
                </c:pt>
                <c:pt idx="27461">
                  <c:v>92558</c:v>
                </c:pt>
                <c:pt idx="27462">
                  <c:v>92554</c:v>
                </c:pt>
                <c:pt idx="27463">
                  <c:v>92545</c:v>
                </c:pt>
                <c:pt idx="27464">
                  <c:v>92543</c:v>
                </c:pt>
                <c:pt idx="27465">
                  <c:v>92535</c:v>
                </c:pt>
                <c:pt idx="27466">
                  <c:v>92534</c:v>
                </c:pt>
                <c:pt idx="27467">
                  <c:v>92533</c:v>
                </c:pt>
                <c:pt idx="27468">
                  <c:v>92530</c:v>
                </c:pt>
                <c:pt idx="27469">
                  <c:v>92525</c:v>
                </c:pt>
                <c:pt idx="27470">
                  <c:v>92520</c:v>
                </c:pt>
                <c:pt idx="27471">
                  <c:v>92519</c:v>
                </c:pt>
                <c:pt idx="27472">
                  <c:v>92510</c:v>
                </c:pt>
                <c:pt idx="27473">
                  <c:v>92495</c:v>
                </c:pt>
                <c:pt idx="27474">
                  <c:v>92484</c:v>
                </c:pt>
                <c:pt idx="27475">
                  <c:v>92484</c:v>
                </c:pt>
                <c:pt idx="27476">
                  <c:v>92480</c:v>
                </c:pt>
                <c:pt idx="27477">
                  <c:v>92474</c:v>
                </c:pt>
                <c:pt idx="27478">
                  <c:v>92467</c:v>
                </c:pt>
                <c:pt idx="27479">
                  <c:v>92464</c:v>
                </c:pt>
                <c:pt idx="27480">
                  <c:v>92460</c:v>
                </c:pt>
                <c:pt idx="27481">
                  <c:v>92450</c:v>
                </c:pt>
                <c:pt idx="27482">
                  <c:v>92442</c:v>
                </c:pt>
                <c:pt idx="27483">
                  <c:v>92442</c:v>
                </c:pt>
                <c:pt idx="27484">
                  <c:v>92441</c:v>
                </c:pt>
                <c:pt idx="27485">
                  <c:v>92441</c:v>
                </c:pt>
                <c:pt idx="27486">
                  <c:v>92436</c:v>
                </c:pt>
                <c:pt idx="27487">
                  <c:v>92435</c:v>
                </c:pt>
                <c:pt idx="27488">
                  <c:v>92402</c:v>
                </c:pt>
                <c:pt idx="27489">
                  <c:v>92399</c:v>
                </c:pt>
                <c:pt idx="27490">
                  <c:v>92393</c:v>
                </c:pt>
                <c:pt idx="27491">
                  <c:v>92391</c:v>
                </c:pt>
                <c:pt idx="27492">
                  <c:v>92385</c:v>
                </c:pt>
                <c:pt idx="27493">
                  <c:v>92383</c:v>
                </c:pt>
                <c:pt idx="27494">
                  <c:v>92381</c:v>
                </c:pt>
                <c:pt idx="27495">
                  <c:v>92378</c:v>
                </c:pt>
                <c:pt idx="27496">
                  <c:v>92377</c:v>
                </c:pt>
                <c:pt idx="27497">
                  <c:v>92367</c:v>
                </c:pt>
                <c:pt idx="27498">
                  <c:v>92361</c:v>
                </c:pt>
                <c:pt idx="27499">
                  <c:v>92357</c:v>
                </c:pt>
                <c:pt idx="27500">
                  <c:v>92346</c:v>
                </c:pt>
                <c:pt idx="27501">
                  <c:v>92343</c:v>
                </c:pt>
                <c:pt idx="27502">
                  <c:v>92339</c:v>
                </c:pt>
                <c:pt idx="27503">
                  <c:v>92333</c:v>
                </c:pt>
                <c:pt idx="27504">
                  <c:v>92329</c:v>
                </c:pt>
                <c:pt idx="27505">
                  <c:v>92321</c:v>
                </c:pt>
                <c:pt idx="27506">
                  <c:v>92313</c:v>
                </c:pt>
                <c:pt idx="27507">
                  <c:v>92312</c:v>
                </c:pt>
                <c:pt idx="27508">
                  <c:v>92311</c:v>
                </c:pt>
                <c:pt idx="27509">
                  <c:v>92307</c:v>
                </c:pt>
                <c:pt idx="27510">
                  <c:v>92301</c:v>
                </c:pt>
                <c:pt idx="27511">
                  <c:v>92297</c:v>
                </c:pt>
                <c:pt idx="27512">
                  <c:v>92297</c:v>
                </c:pt>
                <c:pt idx="27513">
                  <c:v>92296</c:v>
                </c:pt>
                <c:pt idx="27514">
                  <c:v>92295</c:v>
                </c:pt>
                <c:pt idx="27515">
                  <c:v>92292</c:v>
                </c:pt>
                <c:pt idx="27516">
                  <c:v>92291</c:v>
                </c:pt>
                <c:pt idx="27517">
                  <c:v>92290</c:v>
                </c:pt>
                <c:pt idx="27518">
                  <c:v>92290</c:v>
                </c:pt>
                <c:pt idx="27519">
                  <c:v>92290</c:v>
                </c:pt>
                <c:pt idx="27520">
                  <c:v>92287</c:v>
                </c:pt>
                <c:pt idx="27521">
                  <c:v>92283</c:v>
                </c:pt>
                <c:pt idx="27522">
                  <c:v>92280</c:v>
                </c:pt>
                <c:pt idx="27523">
                  <c:v>92274</c:v>
                </c:pt>
                <c:pt idx="27524">
                  <c:v>92267</c:v>
                </c:pt>
                <c:pt idx="27525">
                  <c:v>92258</c:v>
                </c:pt>
                <c:pt idx="27526">
                  <c:v>92233</c:v>
                </c:pt>
                <c:pt idx="27527">
                  <c:v>92233</c:v>
                </c:pt>
                <c:pt idx="27528">
                  <c:v>92230</c:v>
                </c:pt>
                <c:pt idx="27529">
                  <c:v>92230</c:v>
                </c:pt>
                <c:pt idx="27530">
                  <c:v>92217</c:v>
                </c:pt>
                <c:pt idx="27531">
                  <c:v>92212</c:v>
                </c:pt>
                <c:pt idx="27532">
                  <c:v>92208</c:v>
                </c:pt>
                <c:pt idx="27533">
                  <c:v>92199</c:v>
                </c:pt>
                <c:pt idx="27534">
                  <c:v>92195</c:v>
                </c:pt>
                <c:pt idx="27535">
                  <c:v>92194</c:v>
                </c:pt>
                <c:pt idx="27536">
                  <c:v>92192</c:v>
                </c:pt>
                <c:pt idx="27537">
                  <c:v>92185</c:v>
                </c:pt>
                <c:pt idx="27538">
                  <c:v>92183</c:v>
                </c:pt>
                <c:pt idx="27539">
                  <c:v>92182</c:v>
                </c:pt>
                <c:pt idx="27540">
                  <c:v>92180</c:v>
                </c:pt>
                <c:pt idx="27541">
                  <c:v>92173</c:v>
                </c:pt>
                <c:pt idx="27542">
                  <c:v>92168</c:v>
                </c:pt>
                <c:pt idx="27543">
                  <c:v>92167</c:v>
                </c:pt>
                <c:pt idx="27544">
                  <c:v>92163</c:v>
                </c:pt>
                <c:pt idx="27545">
                  <c:v>92152</c:v>
                </c:pt>
                <c:pt idx="27546">
                  <c:v>92147</c:v>
                </c:pt>
                <c:pt idx="27547">
                  <c:v>92141</c:v>
                </c:pt>
                <c:pt idx="27548">
                  <c:v>92129</c:v>
                </c:pt>
                <c:pt idx="27549">
                  <c:v>92127</c:v>
                </c:pt>
                <c:pt idx="27550">
                  <c:v>92113</c:v>
                </c:pt>
                <c:pt idx="27551">
                  <c:v>92112</c:v>
                </c:pt>
                <c:pt idx="27552">
                  <c:v>92111</c:v>
                </c:pt>
                <c:pt idx="27553">
                  <c:v>92107</c:v>
                </c:pt>
                <c:pt idx="27554">
                  <c:v>92103</c:v>
                </c:pt>
                <c:pt idx="27555">
                  <c:v>92091</c:v>
                </c:pt>
                <c:pt idx="27556">
                  <c:v>92081</c:v>
                </c:pt>
                <c:pt idx="27557">
                  <c:v>92079</c:v>
                </c:pt>
                <c:pt idx="27558">
                  <c:v>92073</c:v>
                </c:pt>
                <c:pt idx="27559">
                  <c:v>92072</c:v>
                </c:pt>
                <c:pt idx="27560">
                  <c:v>92068</c:v>
                </c:pt>
                <c:pt idx="27561">
                  <c:v>92066</c:v>
                </c:pt>
                <c:pt idx="27562">
                  <c:v>92061</c:v>
                </c:pt>
                <c:pt idx="27563">
                  <c:v>92056</c:v>
                </c:pt>
                <c:pt idx="27564">
                  <c:v>92039</c:v>
                </c:pt>
                <c:pt idx="27565">
                  <c:v>92034</c:v>
                </c:pt>
                <c:pt idx="27566">
                  <c:v>92032</c:v>
                </c:pt>
                <c:pt idx="27567">
                  <c:v>92031</c:v>
                </c:pt>
                <c:pt idx="27568">
                  <c:v>92027</c:v>
                </c:pt>
                <c:pt idx="27569">
                  <c:v>92022</c:v>
                </c:pt>
                <c:pt idx="27570">
                  <c:v>92017</c:v>
                </c:pt>
                <c:pt idx="27571">
                  <c:v>92015</c:v>
                </c:pt>
                <c:pt idx="27572">
                  <c:v>92010</c:v>
                </c:pt>
                <c:pt idx="27573">
                  <c:v>92009</c:v>
                </c:pt>
                <c:pt idx="27574">
                  <c:v>92002</c:v>
                </c:pt>
                <c:pt idx="27575">
                  <c:v>91997</c:v>
                </c:pt>
                <c:pt idx="27576">
                  <c:v>91997</c:v>
                </c:pt>
                <c:pt idx="27577">
                  <c:v>91992</c:v>
                </c:pt>
                <c:pt idx="27578">
                  <c:v>91983</c:v>
                </c:pt>
                <c:pt idx="27579">
                  <c:v>91980</c:v>
                </c:pt>
                <c:pt idx="27580">
                  <c:v>91969</c:v>
                </c:pt>
                <c:pt idx="27581">
                  <c:v>91965</c:v>
                </c:pt>
                <c:pt idx="27582">
                  <c:v>91964</c:v>
                </c:pt>
                <c:pt idx="27583">
                  <c:v>91962</c:v>
                </c:pt>
                <c:pt idx="27584">
                  <c:v>91962</c:v>
                </c:pt>
                <c:pt idx="27585">
                  <c:v>91957</c:v>
                </c:pt>
                <c:pt idx="27586">
                  <c:v>91948</c:v>
                </c:pt>
                <c:pt idx="27587">
                  <c:v>91945</c:v>
                </c:pt>
                <c:pt idx="27588">
                  <c:v>91937</c:v>
                </c:pt>
                <c:pt idx="27589">
                  <c:v>91933</c:v>
                </c:pt>
                <c:pt idx="27590">
                  <c:v>91927</c:v>
                </c:pt>
                <c:pt idx="27591">
                  <c:v>91926</c:v>
                </c:pt>
                <c:pt idx="27592">
                  <c:v>91918</c:v>
                </c:pt>
                <c:pt idx="27593">
                  <c:v>91909</c:v>
                </c:pt>
                <c:pt idx="27594">
                  <c:v>91907</c:v>
                </c:pt>
                <c:pt idx="27595">
                  <c:v>91906</c:v>
                </c:pt>
                <c:pt idx="27596">
                  <c:v>91892</c:v>
                </c:pt>
                <c:pt idx="27597">
                  <c:v>91888</c:v>
                </c:pt>
                <c:pt idx="27598">
                  <c:v>91881</c:v>
                </c:pt>
                <c:pt idx="27599">
                  <c:v>91877</c:v>
                </c:pt>
                <c:pt idx="27600">
                  <c:v>91875</c:v>
                </c:pt>
                <c:pt idx="27601">
                  <c:v>91874</c:v>
                </c:pt>
                <c:pt idx="27602">
                  <c:v>91866</c:v>
                </c:pt>
                <c:pt idx="27603">
                  <c:v>91863</c:v>
                </c:pt>
                <c:pt idx="27604">
                  <c:v>91863</c:v>
                </c:pt>
                <c:pt idx="27605">
                  <c:v>91861</c:v>
                </c:pt>
                <c:pt idx="27606">
                  <c:v>91857</c:v>
                </c:pt>
                <c:pt idx="27607">
                  <c:v>91853</c:v>
                </c:pt>
                <c:pt idx="27608">
                  <c:v>91850</c:v>
                </c:pt>
                <c:pt idx="27609">
                  <c:v>91845</c:v>
                </c:pt>
                <c:pt idx="27610">
                  <c:v>91844</c:v>
                </c:pt>
                <c:pt idx="27611">
                  <c:v>91841</c:v>
                </c:pt>
                <c:pt idx="27612">
                  <c:v>91838</c:v>
                </c:pt>
                <c:pt idx="27613">
                  <c:v>91831</c:v>
                </c:pt>
                <c:pt idx="27614">
                  <c:v>91825</c:v>
                </c:pt>
                <c:pt idx="27615">
                  <c:v>91821</c:v>
                </c:pt>
                <c:pt idx="27616">
                  <c:v>91819</c:v>
                </c:pt>
                <c:pt idx="27617">
                  <c:v>91816</c:v>
                </c:pt>
                <c:pt idx="27618">
                  <c:v>91800</c:v>
                </c:pt>
                <c:pt idx="27619">
                  <c:v>91794</c:v>
                </c:pt>
                <c:pt idx="27620">
                  <c:v>91794</c:v>
                </c:pt>
                <c:pt idx="27621">
                  <c:v>91793</c:v>
                </c:pt>
                <c:pt idx="27622">
                  <c:v>91787</c:v>
                </c:pt>
                <c:pt idx="27623">
                  <c:v>91784</c:v>
                </c:pt>
                <c:pt idx="27624">
                  <c:v>91782</c:v>
                </c:pt>
                <c:pt idx="27625">
                  <c:v>91778</c:v>
                </c:pt>
                <c:pt idx="27626">
                  <c:v>91773</c:v>
                </c:pt>
                <c:pt idx="27627">
                  <c:v>91772</c:v>
                </c:pt>
                <c:pt idx="27628">
                  <c:v>91766</c:v>
                </c:pt>
                <c:pt idx="27629">
                  <c:v>91763</c:v>
                </c:pt>
                <c:pt idx="27630">
                  <c:v>91752</c:v>
                </c:pt>
                <c:pt idx="27631">
                  <c:v>91748</c:v>
                </c:pt>
                <c:pt idx="27632">
                  <c:v>91744</c:v>
                </c:pt>
                <c:pt idx="27633">
                  <c:v>91739</c:v>
                </c:pt>
                <c:pt idx="27634">
                  <c:v>91732</c:v>
                </c:pt>
                <c:pt idx="27635">
                  <c:v>91722</c:v>
                </c:pt>
                <c:pt idx="27636">
                  <c:v>91722</c:v>
                </c:pt>
                <c:pt idx="27637">
                  <c:v>91711</c:v>
                </c:pt>
                <c:pt idx="27638">
                  <c:v>91698</c:v>
                </c:pt>
                <c:pt idx="27639">
                  <c:v>91698</c:v>
                </c:pt>
                <c:pt idx="27640">
                  <c:v>91696</c:v>
                </c:pt>
                <c:pt idx="27641">
                  <c:v>91694</c:v>
                </c:pt>
                <c:pt idx="27642">
                  <c:v>91692</c:v>
                </c:pt>
                <c:pt idx="27643">
                  <c:v>91676</c:v>
                </c:pt>
                <c:pt idx="27644">
                  <c:v>91676</c:v>
                </c:pt>
                <c:pt idx="27645">
                  <c:v>91674</c:v>
                </c:pt>
                <c:pt idx="27646">
                  <c:v>91672</c:v>
                </c:pt>
                <c:pt idx="27647">
                  <c:v>91667</c:v>
                </c:pt>
                <c:pt idx="27648">
                  <c:v>91661</c:v>
                </c:pt>
                <c:pt idx="27649">
                  <c:v>91660</c:v>
                </c:pt>
                <c:pt idx="27650">
                  <c:v>91659</c:v>
                </c:pt>
                <c:pt idx="27651">
                  <c:v>91656</c:v>
                </c:pt>
                <c:pt idx="27652">
                  <c:v>91650</c:v>
                </c:pt>
                <c:pt idx="27653">
                  <c:v>91644</c:v>
                </c:pt>
                <c:pt idx="27654">
                  <c:v>91631</c:v>
                </c:pt>
                <c:pt idx="27655">
                  <c:v>91626</c:v>
                </c:pt>
                <c:pt idx="27656">
                  <c:v>91623</c:v>
                </c:pt>
                <c:pt idx="27657">
                  <c:v>91622</c:v>
                </c:pt>
                <c:pt idx="27658">
                  <c:v>91612</c:v>
                </c:pt>
                <c:pt idx="27659">
                  <c:v>91602</c:v>
                </c:pt>
                <c:pt idx="27660">
                  <c:v>91597</c:v>
                </c:pt>
                <c:pt idx="27661">
                  <c:v>91592</c:v>
                </c:pt>
                <c:pt idx="27662">
                  <c:v>91572</c:v>
                </c:pt>
                <c:pt idx="27663">
                  <c:v>91567</c:v>
                </c:pt>
                <c:pt idx="27664">
                  <c:v>91565</c:v>
                </c:pt>
                <c:pt idx="27665">
                  <c:v>91563</c:v>
                </c:pt>
                <c:pt idx="27666">
                  <c:v>91562</c:v>
                </c:pt>
                <c:pt idx="27667">
                  <c:v>91535</c:v>
                </c:pt>
                <c:pt idx="27668">
                  <c:v>91531</c:v>
                </c:pt>
                <c:pt idx="27669">
                  <c:v>91529</c:v>
                </c:pt>
                <c:pt idx="27670">
                  <c:v>91520</c:v>
                </c:pt>
                <c:pt idx="27671">
                  <c:v>91518</c:v>
                </c:pt>
                <c:pt idx="27672">
                  <c:v>91516</c:v>
                </c:pt>
                <c:pt idx="27673">
                  <c:v>91508</c:v>
                </c:pt>
                <c:pt idx="27674">
                  <c:v>91499</c:v>
                </c:pt>
                <c:pt idx="27675">
                  <c:v>91491</c:v>
                </c:pt>
                <c:pt idx="27676">
                  <c:v>91491</c:v>
                </c:pt>
                <c:pt idx="27677">
                  <c:v>91480</c:v>
                </c:pt>
                <c:pt idx="27678">
                  <c:v>91474</c:v>
                </c:pt>
                <c:pt idx="27679">
                  <c:v>91465</c:v>
                </c:pt>
                <c:pt idx="27680">
                  <c:v>91450</c:v>
                </c:pt>
                <c:pt idx="27681">
                  <c:v>91449</c:v>
                </c:pt>
                <c:pt idx="27682">
                  <c:v>91434</c:v>
                </c:pt>
                <c:pt idx="27683">
                  <c:v>91427</c:v>
                </c:pt>
                <c:pt idx="27684">
                  <c:v>91426</c:v>
                </c:pt>
                <c:pt idx="27685">
                  <c:v>91422</c:v>
                </c:pt>
                <c:pt idx="27686">
                  <c:v>91422</c:v>
                </c:pt>
                <c:pt idx="27687">
                  <c:v>91421</c:v>
                </c:pt>
                <c:pt idx="27688">
                  <c:v>91413</c:v>
                </c:pt>
                <c:pt idx="27689">
                  <c:v>91407</c:v>
                </c:pt>
                <c:pt idx="27690">
                  <c:v>91407</c:v>
                </c:pt>
                <c:pt idx="27691">
                  <c:v>91393</c:v>
                </c:pt>
                <c:pt idx="27692">
                  <c:v>91384</c:v>
                </c:pt>
                <c:pt idx="27693">
                  <c:v>91379</c:v>
                </c:pt>
                <c:pt idx="27694">
                  <c:v>91372</c:v>
                </c:pt>
                <c:pt idx="27695">
                  <c:v>91369</c:v>
                </c:pt>
                <c:pt idx="27696">
                  <c:v>91363</c:v>
                </c:pt>
                <c:pt idx="27697">
                  <c:v>91355</c:v>
                </c:pt>
                <c:pt idx="27698">
                  <c:v>91348</c:v>
                </c:pt>
                <c:pt idx="27699">
                  <c:v>91345</c:v>
                </c:pt>
                <c:pt idx="27700">
                  <c:v>91345</c:v>
                </c:pt>
                <c:pt idx="27701">
                  <c:v>91326</c:v>
                </c:pt>
                <c:pt idx="27702">
                  <c:v>91322</c:v>
                </c:pt>
                <c:pt idx="27703">
                  <c:v>91320</c:v>
                </c:pt>
                <c:pt idx="27704">
                  <c:v>91314</c:v>
                </c:pt>
                <c:pt idx="27705">
                  <c:v>91310</c:v>
                </c:pt>
                <c:pt idx="27706">
                  <c:v>91309</c:v>
                </c:pt>
                <c:pt idx="27707">
                  <c:v>91307</c:v>
                </c:pt>
                <c:pt idx="27708">
                  <c:v>91306</c:v>
                </c:pt>
                <c:pt idx="27709">
                  <c:v>91301</c:v>
                </c:pt>
                <c:pt idx="27710">
                  <c:v>91296</c:v>
                </c:pt>
                <c:pt idx="27711">
                  <c:v>91287</c:v>
                </c:pt>
                <c:pt idx="27712">
                  <c:v>91279</c:v>
                </c:pt>
                <c:pt idx="27713">
                  <c:v>91266</c:v>
                </c:pt>
                <c:pt idx="27714">
                  <c:v>91266</c:v>
                </c:pt>
                <c:pt idx="27715">
                  <c:v>91256</c:v>
                </c:pt>
                <c:pt idx="27716">
                  <c:v>91243</c:v>
                </c:pt>
                <c:pt idx="27717">
                  <c:v>91242</c:v>
                </c:pt>
                <c:pt idx="27718">
                  <c:v>91219</c:v>
                </c:pt>
                <c:pt idx="27719">
                  <c:v>91211</c:v>
                </c:pt>
                <c:pt idx="27720">
                  <c:v>91189</c:v>
                </c:pt>
                <c:pt idx="27721">
                  <c:v>91189</c:v>
                </c:pt>
                <c:pt idx="27722">
                  <c:v>91185</c:v>
                </c:pt>
                <c:pt idx="27723">
                  <c:v>91180</c:v>
                </c:pt>
                <c:pt idx="27724">
                  <c:v>91172</c:v>
                </c:pt>
                <c:pt idx="27725">
                  <c:v>91169</c:v>
                </c:pt>
                <c:pt idx="27726">
                  <c:v>91164</c:v>
                </c:pt>
                <c:pt idx="27727">
                  <c:v>91157</c:v>
                </c:pt>
                <c:pt idx="27728">
                  <c:v>91151</c:v>
                </c:pt>
                <c:pt idx="27729">
                  <c:v>91150</c:v>
                </c:pt>
                <c:pt idx="27730">
                  <c:v>91149</c:v>
                </c:pt>
                <c:pt idx="27731">
                  <c:v>91144</c:v>
                </c:pt>
                <c:pt idx="27732">
                  <c:v>91139</c:v>
                </c:pt>
                <c:pt idx="27733">
                  <c:v>91137</c:v>
                </c:pt>
                <c:pt idx="27734">
                  <c:v>91120</c:v>
                </c:pt>
                <c:pt idx="27735">
                  <c:v>91109</c:v>
                </c:pt>
                <c:pt idx="27736">
                  <c:v>91106</c:v>
                </c:pt>
                <c:pt idx="27737">
                  <c:v>91104</c:v>
                </c:pt>
                <c:pt idx="27738">
                  <c:v>91104</c:v>
                </c:pt>
                <c:pt idx="27739">
                  <c:v>91097</c:v>
                </c:pt>
                <c:pt idx="27740">
                  <c:v>91083</c:v>
                </c:pt>
                <c:pt idx="27741">
                  <c:v>91062</c:v>
                </c:pt>
                <c:pt idx="27742">
                  <c:v>91059</c:v>
                </c:pt>
                <c:pt idx="27743">
                  <c:v>91049</c:v>
                </c:pt>
                <c:pt idx="27744">
                  <c:v>91043</c:v>
                </c:pt>
                <c:pt idx="27745">
                  <c:v>91043</c:v>
                </c:pt>
                <c:pt idx="27746">
                  <c:v>91039</c:v>
                </c:pt>
                <c:pt idx="27747">
                  <c:v>91028</c:v>
                </c:pt>
                <c:pt idx="27748">
                  <c:v>91020</c:v>
                </c:pt>
                <c:pt idx="27749">
                  <c:v>91019</c:v>
                </c:pt>
                <c:pt idx="27750">
                  <c:v>91014</c:v>
                </c:pt>
                <c:pt idx="27751">
                  <c:v>91011</c:v>
                </c:pt>
                <c:pt idx="27752">
                  <c:v>91009</c:v>
                </c:pt>
                <c:pt idx="27753">
                  <c:v>91002</c:v>
                </c:pt>
                <c:pt idx="27754">
                  <c:v>91001</c:v>
                </c:pt>
                <c:pt idx="27755">
                  <c:v>91001</c:v>
                </c:pt>
                <c:pt idx="27756">
                  <c:v>91001</c:v>
                </c:pt>
                <c:pt idx="27757">
                  <c:v>90997</c:v>
                </c:pt>
                <c:pt idx="27758">
                  <c:v>90996</c:v>
                </c:pt>
                <c:pt idx="27759">
                  <c:v>90995</c:v>
                </c:pt>
                <c:pt idx="27760">
                  <c:v>90995</c:v>
                </c:pt>
                <c:pt idx="27761">
                  <c:v>90989</c:v>
                </c:pt>
                <c:pt idx="27762">
                  <c:v>90986</c:v>
                </c:pt>
                <c:pt idx="27763">
                  <c:v>90981</c:v>
                </c:pt>
                <c:pt idx="27764">
                  <c:v>90978</c:v>
                </c:pt>
                <c:pt idx="27765">
                  <c:v>90962</c:v>
                </c:pt>
                <c:pt idx="27766">
                  <c:v>90955</c:v>
                </c:pt>
                <c:pt idx="27767">
                  <c:v>90955</c:v>
                </c:pt>
                <c:pt idx="27768">
                  <c:v>90955</c:v>
                </c:pt>
                <c:pt idx="27769">
                  <c:v>90954</c:v>
                </c:pt>
                <c:pt idx="27770">
                  <c:v>90954</c:v>
                </c:pt>
                <c:pt idx="27771">
                  <c:v>90939</c:v>
                </c:pt>
                <c:pt idx="27772">
                  <c:v>90937</c:v>
                </c:pt>
                <c:pt idx="27773">
                  <c:v>90937</c:v>
                </c:pt>
                <c:pt idx="27774">
                  <c:v>90937</c:v>
                </c:pt>
                <c:pt idx="27775">
                  <c:v>90936</c:v>
                </c:pt>
                <c:pt idx="27776">
                  <c:v>90931</c:v>
                </c:pt>
                <c:pt idx="27777">
                  <c:v>90924</c:v>
                </c:pt>
                <c:pt idx="27778">
                  <c:v>90917</c:v>
                </c:pt>
                <c:pt idx="27779">
                  <c:v>90914</c:v>
                </c:pt>
                <c:pt idx="27780">
                  <c:v>90913</c:v>
                </c:pt>
                <c:pt idx="27781">
                  <c:v>90910</c:v>
                </c:pt>
                <c:pt idx="27782">
                  <c:v>90909</c:v>
                </c:pt>
                <c:pt idx="27783">
                  <c:v>90903</c:v>
                </c:pt>
                <c:pt idx="27784">
                  <c:v>90897</c:v>
                </c:pt>
                <c:pt idx="27785">
                  <c:v>90896</c:v>
                </c:pt>
                <c:pt idx="27786">
                  <c:v>90895</c:v>
                </c:pt>
                <c:pt idx="27787">
                  <c:v>90894</c:v>
                </c:pt>
                <c:pt idx="27788">
                  <c:v>90886</c:v>
                </c:pt>
                <c:pt idx="27789">
                  <c:v>90885</c:v>
                </c:pt>
                <c:pt idx="27790">
                  <c:v>90884</c:v>
                </c:pt>
                <c:pt idx="27791">
                  <c:v>90880</c:v>
                </c:pt>
                <c:pt idx="27792">
                  <c:v>90880</c:v>
                </c:pt>
                <c:pt idx="27793">
                  <c:v>90874</c:v>
                </c:pt>
                <c:pt idx="27794">
                  <c:v>90871</c:v>
                </c:pt>
                <c:pt idx="27795">
                  <c:v>90870</c:v>
                </c:pt>
                <c:pt idx="27796">
                  <c:v>90857</c:v>
                </c:pt>
                <c:pt idx="27797">
                  <c:v>90841</c:v>
                </c:pt>
                <c:pt idx="27798">
                  <c:v>90828</c:v>
                </c:pt>
                <c:pt idx="27799">
                  <c:v>90822</c:v>
                </c:pt>
                <c:pt idx="27800">
                  <c:v>90816</c:v>
                </c:pt>
                <c:pt idx="27801">
                  <c:v>90816</c:v>
                </c:pt>
                <c:pt idx="27802">
                  <c:v>90801</c:v>
                </c:pt>
                <c:pt idx="27803">
                  <c:v>90796</c:v>
                </c:pt>
                <c:pt idx="27804">
                  <c:v>90773</c:v>
                </c:pt>
                <c:pt idx="27805">
                  <c:v>90768</c:v>
                </c:pt>
                <c:pt idx="27806">
                  <c:v>90765</c:v>
                </c:pt>
                <c:pt idx="27807">
                  <c:v>90765</c:v>
                </c:pt>
                <c:pt idx="27808">
                  <c:v>90763</c:v>
                </c:pt>
                <c:pt idx="27809">
                  <c:v>90753</c:v>
                </c:pt>
                <c:pt idx="27810">
                  <c:v>90753</c:v>
                </c:pt>
                <c:pt idx="27811">
                  <c:v>90743</c:v>
                </c:pt>
                <c:pt idx="27812">
                  <c:v>90741</c:v>
                </c:pt>
                <c:pt idx="27813">
                  <c:v>90741</c:v>
                </c:pt>
                <c:pt idx="27814">
                  <c:v>90736</c:v>
                </c:pt>
                <c:pt idx="27815">
                  <c:v>90732</c:v>
                </c:pt>
                <c:pt idx="27816">
                  <c:v>90729</c:v>
                </c:pt>
                <c:pt idx="27817">
                  <c:v>90728</c:v>
                </c:pt>
                <c:pt idx="27818">
                  <c:v>90723</c:v>
                </c:pt>
                <c:pt idx="27819">
                  <c:v>90717</c:v>
                </c:pt>
                <c:pt idx="27820">
                  <c:v>90714</c:v>
                </c:pt>
                <c:pt idx="27821">
                  <c:v>90713</c:v>
                </c:pt>
                <c:pt idx="27822">
                  <c:v>90706</c:v>
                </c:pt>
                <c:pt idx="27823">
                  <c:v>90703</c:v>
                </c:pt>
                <c:pt idx="27824">
                  <c:v>90703</c:v>
                </c:pt>
                <c:pt idx="27825">
                  <c:v>90698</c:v>
                </c:pt>
                <c:pt idx="27826">
                  <c:v>90690</c:v>
                </c:pt>
                <c:pt idx="27827">
                  <c:v>90684</c:v>
                </c:pt>
                <c:pt idx="27828">
                  <c:v>90676</c:v>
                </c:pt>
                <c:pt idx="27829">
                  <c:v>90658</c:v>
                </c:pt>
                <c:pt idx="27830">
                  <c:v>90657</c:v>
                </c:pt>
                <c:pt idx="27831">
                  <c:v>90657</c:v>
                </c:pt>
                <c:pt idx="27832">
                  <c:v>90655</c:v>
                </c:pt>
                <c:pt idx="27833">
                  <c:v>90655</c:v>
                </c:pt>
                <c:pt idx="27834">
                  <c:v>90653</c:v>
                </c:pt>
                <c:pt idx="27835">
                  <c:v>90650</c:v>
                </c:pt>
                <c:pt idx="27836">
                  <c:v>90647</c:v>
                </c:pt>
                <c:pt idx="27837">
                  <c:v>90646</c:v>
                </c:pt>
                <c:pt idx="27838">
                  <c:v>90643</c:v>
                </c:pt>
                <c:pt idx="27839">
                  <c:v>90641</c:v>
                </c:pt>
                <c:pt idx="27840">
                  <c:v>90638</c:v>
                </c:pt>
                <c:pt idx="27841">
                  <c:v>90634</c:v>
                </c:pt>
                <c:pt idx="27842">
                  <c:v>90630</c:v>
                </c:pt>
                <c:pt idx="27843">
                  <c:v>90625</c:v>
                </c:pt>
                <c:pt idx="27844">
                  <c:v>90615</c:v>
                </c:pt>
                <c:pt idx="27845">
                  <c:v>90614</c:v>
                </c:pt>
                <c:pt idx="27846">
                  <c:v>90605</c:v>
                </c:pt>
                <c:pt idx="27847">
                  <c:v>90601</c:v>
                </c:pt>
                <c:pt idx="27848">
                  <c:v>90600</c:v>
                </c:pt>
                <c:pt idx="27849">
                  <c:v>90598</c:v>
                </c:pt>
                <c:pt idx="27850">
                  <c:v>90592</c:v>
                </c:pt>
                <c:pt idx="27851">
                  <c:v>90582</c:v>
                </c:pt>
                <c:pt idx="27852">
                  <c:v>90579</c:v>
                </c:pt>
                <c:pt idx="27853">
                  <c:v>90573</c:v>
                </c:pt>
                <c:pt idx="27854">
                  <c:v>90571</c:v>
                </c:pt>
                <c:pt idx="27855">
                  <c:v>90567</c:v>
                </c:pt>
                <c:pt idx="27856">
                  <c:v>90565</c:v>
                </c:pt>
                <c:pt idx="27857">
                  <c:v>90564</c:v>
                </c:pt>
                <c:pt idx="27858">
                  <c:v>90558</c:v>
                </c:pt>
                <c:pt idx="27859">
                  <c:v>90557</c:v>
                </c:pt>
                <c:pt idx="27860">
                  <c:v>90557</c:v>
                </c:pt>
                <c:pt idx="27861">
                  <c:v>90554</c:v>
                </c:pt>
                <c:pt idx="27862">
                  <c:v>90551</c:v>
                </c:pt>
                <c:pt idx="27863">
                  <c:v>90545</c:v>
                </c:pt>
                <c:pt idx="27864">
                  <c:v>90542</c:v>
                </c:pt>
                <c:pt idx="27865">
                  <c:v>90533</c:v>
                </c:pt>
                <c:pt idx="27866">
                  <c:v>90531</c:v>
                </c:pt>
                <c:pt idx="27867">
                  <c:v>90530</c:v>
                </c:pt>
                <c:pt idx="27868">
                  <c:v>90522</c:v>
                </c:pt>
                <c:pt idx="27869">
                  <c:v>90518</c:v>
                </c:pt>
                <c:pt idx="27870">
                  <c:v>90516</c:v>
                </c:pt>
                <c:pt idx="27871">
                  <c:v>90515</c:v>
                </c:pt>
                <c:pt idx="27872">
                  <c:v>90513</c:v>
                </c:pt>
                <c:pt idx="27873">
                  <c:v>90511</c:v>
                </c:pt>
                <c:pt idx="27874">
                  <c:v>90505</c:v>
                </c:pt>
                <c:pt idx="27875">
                  <c:v>90489</c:v>
                </c:pt>
                <c:pt idx="27876">
                  <c:v>90479</c:v>
                </c:pt>
                <c:pt idx="27877">
                  <c:v>90479</c:v>
                </c:pt>
                <c:pt idx="27878">
                  <c:v>90473</c:v>
                </c:pt>
                <c:pt idx="27879">
                  <c:v>90473</c:v>
                </c:pt>
                <c:pt idx="27880">
                  <c:v>90468</c:v>
                </c:pt>
                <c:pt idx="27881">
                  <c:v>90461</c:v>
                </c:pt>
                <c:pt idx="27882">
                  <c:v>90454</c:v>
                </c:pt>
                <c:pt idx="27883">
                  <c:v>90449</c:v>
                </c:pt>
                <c:pt idx="27884">
                  <c:v>90446</c:v>
                </c:pt>
                <c:pt idx="27885">
                  <c:v>90439</c:v>
                </c:pt>
                <c:pt idx="27886">
                  <c:v>90437</c:v>
                </c:pt>
                <c:pt idx="27887">
                  <c:v>90435</c:v>
                </c:pt>
                <c:pt idx="27888">
                  <c:v>90430</c:v>
                </c:pt>
                <c:pt idx="27889">
                  <c:v>90425</c:v>
                </c:pt>
                <c:pt idx="27890">
                  <c:v>90423</c:v>
                </c:pt>
                <c:pt idx="27891">
                  <c:v>90420</c:v>
                </c:pt>
                <c:pt idx="27892">
                  <c:v>90420</c:v>
                </c:pt>
                <c:pt idx="27893">
                  <c:v>90419</c:v>
                </c:pt>
                <c:pt idx="27894">
                  <c:v>90417</c:v>
                </c:pt>
                <c:pt idx="27895">
                  <c:v>90415</c:v>
                </c:pt>
                <c:pt idx="27896">
                  <c:v>90411</c:v>
                </c:pt>
                <c:pt idx="27897">
                  <c:v>90410</c:v>
                </c:pt>
                <c:pt idx="27898">
                  <c:v>90410</c:v>
                </c:pt>
                <c:pt idx="27899">
                  <c:v>90409</c:v>
                </c:pt>
                <c:pt idx="27900">
                  <c:v>90407</c:v>
                </c:pt>
                <c:pt idx="27901">
                  <c:v>90406</c:v>
                </c:pt>
                <c:pt idx="27902">
                  <c:v>90398</c:v>
                </c:pt>
                <c:pt idx="27903">
                  <c:v>90394</c:v>
                </c:pt>
                <c:pt idx="27904">
                  <c:v>90380</c:v>
                </c:pt>
                <c:pt idx="27905">
                  <c:v>90379</c:v>
                </c:pt>
                <c:pt idx="27906">
                  <c:v>90378</c:v>
                </c:pt>
                <c:pt idx="27907">
                  <c:v>90360</c:v>
                </c:pt>
                <c:pt idx="27908">
                  <c:v>90356</c:v>
                </c:pt>
                <c:pt idx="27909">
                  <c:v>90353</c:v>
                </c:pt>
                <c:pt idx="27910">
                  <c:v>90350</c:v>
                </c:pt>
                <c:pt idx="27911">
                  <c:v>90347</c:v>
                </c:pt>
                <c:pt idx="27912">
                  <c:v>90337</c:v>
                </c:pt>
                <c:pt idx="27913">
                  <c:v>90331</c:v>
                </c:pt>
                <c:pt idx="27914">
                  <c:v>90327</c:v>
                </c:pt>
                <c:pt idx="27915">
                  <c:v>90318</c:v>
                </c:pt>
                <c:pt idx="27916">
                  <c:v>90307</c:v>
                </c:pt>
                <c:pt idx="27917">
                  <c:v>90304</c:v>
                </c:pt>
                <c:pt idx="27918">
                  <c:v>90296</c:v>
                </c:pt>
                <c:pt idx="27919">
                  <c:v>90289</c:v>
                </c:pt>
                <c:pt idx="27920">
                  <c:v>90271</c:v>
                </c:pt>
                <c:pt idx="27921">
                  <c:v>90255</c:v>
                </c:pt>
                <c:pt idx="27922">
                  <c:v>90241</c:v>
                </c:pt>
                <c:pt idx="27923">
                  <c:v>90237</c:v>
                </c:pt>
                <c:pt idx="27924">
                  <c:v>90225</c:v>
                </c:pt>
                <c:pt idx="27925">
                  <c:v>90221</c:v>
                </c:pt>
                <c:pt idx="27926">
                  <c:v>90217</c:v>
                </c:pt>
                <c:pt idx="27927">
                  <c:v>90211</c:v>
                </c:pt>
                <c:pt idx="27928">
                  <c:v>90203</c:v>
                </c:pt>
                <c:pt idx="27929">
                  <c:v>90199</c:v>
                </c:pt>
                <c:pt idx="27930">
                  <c:v>90197</c:v>
                </c:pt>
                <c:pt idx="27931">
                  <c:v>90196</c:v>
                </c:pt>
                <c:pt idx="27932">
                  <c:v>90187</c:v>
                </c:pt>
                <c:pt idx="27933">
                  <c:v>90185</c:v>
                </c:pt>
                <c:pt idx="27934">
                  <c:v>90180</c:v>
                </c:pt>
                <c:pt idx="27935">
                  <c:v>90177</c:v>
                </c:pt>
                <c:pt idx="27936">
                  <c:v>90163</c:v>
                </c:pt>
                <c:pt idx="27937">
                  <c:v>90163</c:v>
                </c:pt>
                <c:pt idx="27938">
                  <c:v>90156</c:v>
                </c:pt>
                <c:pt idx="27939">
                  <c:v>90154</c:v>
                </c:pt>
                <c:pt idx="27940">
                  <c:v>90149</c:v>
                </c:pt>
                <c:pt idx="27941">
                  <c:v>90149</c:v>
                </c:pt>
                <c:pt idx="27942">
                  <c:v>90147</c:v>
                </c:pt>
                <c:pt idx="27943">
                  <c:v>90143</c:v>
                </c:pt>
                <c:pt idx="27944">
                  <c:v>90143</c:v>
                </c:pt>
                <c:pt idx="27945">
                  <c:v>90137</c:v>
                </c:pt>
                <c:pt idx="27946">
                  <c:v>90134</c:v>
                </c:pt>
                <c:pt idx="27947">
                  <c:v>90124</c:v>
                </c:pt>
                <c:pt idx="27948">
                  <c:v>90123</c:v>
                </c:pt>
                <c:pt idx="27949">
                  <c:v>90123</c:v>
                </c:pt>
                <c:pt idx="27950">
                  <c:v>90111</c:v>
                </c:pt>
                <c:pt idx="27951">
                  <c:v>90109</c:v>
                </c:pt>
                <c:pt idx="27952">
                  <c:v>90108</c:v>
                </c:pt>
                <c:pt idx="27953">
                  <c:v>90105</c:v>
                </c:pt>
                <c:pt idx="27954">
                  <c:v>90104</c:v>
                </c:pt>
                <c:pt idx="27955">
                  <c:v>90104</c:v>
                </c:pt>
                <c:pt idx="27956">
                  <c:v>90104</c:v>
                </c:pt>
                <c:pt idx="27957">
                  <c:v>90098</c:v>
                </c:pt>
                <c:pt idx="27958">
                  <c:v>90094</c:v>
                </c:pt>
                <c:pt idx="27959">
                  <c:v>90092</c:v>
                </c:pt>
                <c:pt idx="27960">
                  <c:v>90090</c:v>
                </c:pt>
                <c:pt idx="27961">
                  <c:v>90079</c:v>
                </c:pt>
                <c:pt idx="27962">
                  <c:v>90079</c:v>
                </c:pt>
                <c:pt idx="27963">
                  <c:v>90072</c:v>
                </c:pt>
                <c:pt idx="27964">
                  <c:v>90060</c:v>
                </c:pt>
                <c:pt idx="27965">
                  <c:v>90058</c:v>
                </c:pt>
                <c:pt idx="27966">
                  <c:v>90057</c:v>
                </c:pt>
                <c:pt idx="27967">
                  <c:v>90056</c:v>
                </c:pt>
                <c:pt idx="27968">
                  <c:v>90054</c:v>
                </c:pt>
                <c:pt idx="27969">
                  <c:v>90043</c:v>
                </c:pt>
                <c:pt idx="27970">
                  <c:v>90042</c:v>
                </c:pt>
                <c:pt idx="27971">
                  <c:v>90041</c:v>
                </c:pt>
                <c:pt idx="27972">
                  <c:v>90032</c:v>
                </c:pt>
                <c:pt idx="27973">
                  <c:v>90016</c:v>
                </c:pt>
                <c:pt idx="27974">
                  <c:v>90015</c:v>
                </c:pt>
                <c:pt idx="27975">
                  <c:v>90013</c:v>
                </c:pt>
                <c:pt idx="27976">
                  <c:v>90003</c:v>
                </c:pt>
                <c:pt idx="27977">
                  <c:v>89997</c:v>
                </c:pt>
                <c:pt idx="27978">
                  <c:v>89997</c:v>
                </c:pt>
                <c:pt idx="27979">
                  <c:v>89991</c:v>
                </c:pt>
                <c:pt idx="27980">
                  <c:v>89989</c:v>
                </c:pt>
                <c:pt idx="27981">
                  <c:v>89981</c:v>
                </c:pt>
                <c:pt idx="27982">
                  <c:v>89979</c:v>
                </c:pt>
                <c:pt idx="27983">
                  <c:v>89977</c:v>
                </c:pt>
                <c:pt idx="27984">
                  <c:v>89976</c:v>
                </c:pt>
                <c:pt idx="27985">
                  <c:v>89969</c:v>
                </c:pt>
                <c:pt idx="27986">
                  <c:v>89966</c:v>
                </c:pt>
                <c:pt idx="27987">
                  <c:v>89966</c:v>
                </c:pt>
                <c:pt idx="27988">
                  <c:v>89965</c:v>
                </c:pt>
                <c:pt idx="27989">
                  <c:v>89965</c:v>
                </c:pt>
                <c:pt idx="27990">
                  <c:v>89963</c:v>
                </c:pt>
                <c:pt idx="27991">
                  <c:v>89961</c:v>
                </c:pt>
                <c:pt idx="27992">
                  <c:v>89959</c:v>
                </c:pt>
                <c:pt idx="27993">
                  <c:v>89958</c:v>
                </c:pt>
                <c:pt idx="27994">
                  <c:v>89957</c:v>
                </c:pt>
                <c:pt idx="27995">
                  <c:v>89950</c:v>
                </c:pt>
                <c:pt idx="27996">
                  <c:v>89949</c:v>
                </c:pt>
                <c:pt idx="27997">
                  <c:v>89948</c:v>
                </c:pt>
                <c:pt idx="27998">
                  <c:v>89937</c:v>
                </c:pt>
                <c:pt idx="27999">
                  <c:v>89933</c:v>
                </c:pt>
                <c:pt idx="28000">
                  <c:v>89931</c:v>
                </c:pt>
                <c:pt idx="28001">
                  <c:v>89930</c:v>
                </c:pt>
                <c:pt idx="28002">
                  <c:v>89913</c:v>
                </c:pt>
                <c:pt idx="28003">
                  <c:v>89912</c:v>
                </c:pt>
                <c:pt idx="28004">
                  <c:v>89911</c:v>
                </c:pt>
                <c:pt idx="28005">
                  <c:v>89908</c:v>
                </c:pt>
                <c:pt idx="28006">
                  <c:v>89899</c:v>
                </c:pt>
                <c:pt idx="28007">
                  <c:v>89888</c:v>
                </c:pt>
                <c:pt idx="28008">
                  <c:v>89879</c:v>
                </c:pt>
                <c:pt idx="28009">
                  <c:v>89879</c:v>
                </c:pt>
                <c:pt idx="28010">
                  <c:v>89878</c:v>
                </c:pt>
                <c:pt idx="28011">
                  <c:v>89870</c:v>
                </c:pt>
                <c:pt idx="28012">
                  <c:v>89866</c:v>
                </c:pt>
                <c:pt idx="28013">
                  <c:v>89848</c:v>
                </c:pt>
                <c:pt idx="28014">
                  <c:v>89844</c:v>
                </c:pt>
                <c:pt idx="28015">
                  <c:v>89837</c:v>
                </c:pt>
                <c:pt idx="28016">
                  <c:v>89835</c:v>
                </c:pt>
                <c:pt idx="28017">
                  <c:v>89835</c:v>
                </c:pt>
                <c:pt idx="28018">
                  <c:v>89831</c:v>
                </c:pt>
                <c:pt idx="28019">
                  <c:v>89831</c:v>
                </c:pt>
                <c:pt idx="28020">
                  <c:v>89827</c:v>
                </c:pt>
                <c:pt idx="28021">
                  <c:v>89813</c:v>
                </c:pt>
                <c:pt idx="28022">
                  <c:v>89812</c:v>
                </c:pt>
                <c:pt idx="28023">
                  <c:v>89798</c:v>
                </c:pt>
                <c:pt idx="28024">
                  <c:v>89798</c:v>
                </c:pt>
                <c:pt idx="28025">
                  <c:v>89795</c:v>
                </c:pt>
                <c:pt idx="28026">
                  <c:v>89787</c:v>
                </c:pt>
                <c:pt idx="28027">
                  <c:v>89786</c:v>
                </c:pt>
                <c:pt idx="28028">
                  <c:v>89773</c:v>
                </c:pt>
                <c:pt idx="28029">
                  <c:v>89769</c:v>
                </c:pt>
                <c:pt idx="28030">
                  <c:v>89765</c:v>
                </c:pt>
                <c:pt idx="28031">
                  <c:v>89755</c:v>
                </c:pt>
                <c:pt idx="28032">
                  <c:v>89746</c:v>
                </c:pt>
                <c:pt idx="28033">
                  <c:v>89740</c:v>
                </c:pt>
                <c:pt idx="28034">
                  <c:v>89734</c:v>
                </c:pt>
                <c:pt idx="28035">
                  <c:v>89726</c:v>
                </c:pt>
                <c:pt idx="28036">
                  <c:v>89723</c:v>
                </c:pt>
                <c:pt idx="28037">
                  <c:v>89719</c:v>
                </c:pt>
                <c:pt idx="28038">
                  <c:v>89714</c:v>
                </c:pt>
                <c:pt idx="28039">
                  <c:v>89708</c:v>
                </c:pt>
                <c:pt idx="28040">
                  <c:v>89704</c:v>
                </c:pt>
                <c:pt idx="28041">
                  <c:v>89693</c:v>
                </c:pt>
                <c:pt idx="28042">
                  <c:v>89690</c:v>
                </c:pt>
                <c:pt idx="28043">
                  <c:v>89686</c:v>
                </c:pt>
                <c:pt idx="28044">
                  <c:v>89686</c:v>
                </c:pt>
                <c:pt idx="28045">
                  <c:v>89680</c:v>
                </c:pt>
                <c:pt idx="28046">
                  <c:v>89677</c:v>
                </c:pt>
                <c:pt idx="28047">
                  <c:v>89666</c:v>
                </c:pt>
                <c:pt idx="28048">
                  <c:v>89659</c:v>
                </c:pt>
                <c:pt idx="28049">
                  <c:v>89655</c:v>
                </c:pt>
                <c:pt idx="28050">
                  <c:v>89653</c:v>
                </c:pt>
                <c:pt idx="28051">
                  <c:v>89651</c:v>
                </c:pt>
                <c:pt idx="28052">
                  <c:v>89646</c:v>
                </c:pt>
                <c:pt idx="28053">
                  <c:v>89644</c:v>
                </c:pt>
                <c:pt idx="28054">
                  <c:v>89638</c:v>
                </c:pt>
                <c:pt idx="28055">
                  <c:v>89637</c:v>
                </c:pt>
                <c:pt idx="28056">
                  <c:v>89630</c:v>
                </c:pt>
                <c:pt idx="28057">
                  <c:v>89629</c:v>
                </c:pt>
                <c:pt idx="28058">
                  <c:v>89618</c:v>
                </c:pt>
                <c:pt idx="28059">
                  <c:v>89609</c:v>
                </c:pt>
                <c:pt idx="28060">
                  <c:v>89604</c:v>
                </c:pt>
                <c:pt idx="28061">
                  <c:v>89588</c:v>
                </c:pt>
                <c:pt idx="28062">
                  <c:v>89587</c:v>
                </c:pt>
                <c:pt idx="28063">
                  <c:v>89581</c:v>
                </c:pt>
                <c:pt idx="28064">
                  <c:v>89581</c:v>
                </c:pt>
                <c:pt idx="28065">
                  <c:v>89573</c:v>
                </c:pt>
                <c:pt idx="28066">
                  <c:v>89568</c:v>
                </c:pt>
                <c:pt idx="28067">
                  <c:v>89565</c:v>
                </c:pt>
                <c:pt idx="28068">
                  <c:v>89545</c:v>
                </c:pt>
                <c:pt idx="28069">
                  <c:v>89539</c:v>
                </c:pt>
                <c:pt idx="28070">
                  <c:v>89525</c:v>
                </c:pt>
                <c:pt idx="28071">
                  <c:v>89525</c:v>
                </c:pt>
                <c:pt idx="28072">
                  <c:v>89524</c:v>
                </c:pt>
                <c:pt idx="28073">
                  <c:v>89518</c:v>
                </c:pt>
                <c:pt idx="28074">
                  <c:v>89517</c:v>
                </c:pt>
                <c:pt idx="28075">
                  <c:v>89499</c:v>
                </c:pt>
                <c:pt idx="28076">
                  <c:v>89498</c:v>
                </c:pt>
                <c:pt idx="28077">
                  <c:v>89493</c:v>
                </c:pt>
                <c:pt idx="28078">
                  <c:v>89483</c:v>
                </c:pt>
                <c:pt idx="28079">
                  <c:v>89452</c:v>
                </c:pt>
                <c:pt idx="28080">
                  <c:v>89449</c:v>
                </c:pt>
                <c:pt idx="28081">
                  <c:v>89448</c:v>
                </c:pt>
                <c:pt idx="28082">
                  <c:v>89432</c:v>
                </c:pt>
                <c:pt idx="28083">
                  <c:v>89429</c:v>
                </c:pt>
                <c:pt idx="28084">
                  <c:v>89426</c:v>
                </c:pt>
                <c:pt idx="28085">
                  <c:v>89418</c:v>
                </c:pt>
                <c:pt idx="28086">
                  <c:v>89403</c:v>
                </c:pt>
                <c:pt idx="28087">
                  <c:v>89400</c:v>
                </c:pt>
                <c:pt idx="28088">
                  <c:v>89392</c:v>
                </c:pt>
                <c:pt idx="28089">
                  <c:v>89378</c:v>
                </c:pt>
                <c:pt idx="28090">
                  <c:v>89366</c:v>
                </c:pt>
                <c:pt idx="28091">
                  <c:v>89353</c:v>
                </c:pt>
                <c:pt idx="28092">
                  <c:v>89351</c:v>
                </c:pt>
                <c:pt idx="28093">
                  <c:v>89347</c:v>
                </c:pt>
                <c:pt idx="28094">
                  <c:v>89339</c:v>
                </c:pt>
                <c:pt idx="28095">
                  <c:v>89333</c:v>
                </c:pt>
                <c:pt idx="28096">
                  <c:v>89332</c:v>
                </c:pt>
                <c:pt idx="28097">
                  <c:v>89331</c:v>
                </c:pt>
                <c:pt idx="28098">
                  <c:v>89331</c:v>
                </c:pt>
                <c:pt idx="28099">
                  <c:v>89331</c:v>
                </c:pt>
                <c:pt idx="28100">
                  <c:v>89328</c:v>
                </c:pt>
                <c:pt idx="28101">
                  <c:v>89326</c:v>
                </c:pt>
                <c:pt idx="28102">
                  <c:v>89315</c:v>
                </c:pt>
                <c:pt idx="28103">
                  <c:v>89306</c:v>
                </c:pt>
                <c:pt idx="28104">
                  <c:v>89297</c:v>
                </c:pt>
                <c:pt idx="28105">
                  <c:v>89295</c:v>
                </c:pt>
                <c:pt idx="28106">
                  <c:v>89294</c:v>
                </c:pt>
                <c:pt idx="28107">
                  <c:v>89290</c:v>
                </c:pt>
                <c:pt idx="28108">
                  <c:v>89287</c:v>
                </c:pt>
                <c:pt idx="28109">
                  <c:v>89267</c:v>
                </c:pt>
                <c:pt idx="28110">
                  <c:v>89264</c:v>
                </c:pt>
                <c:pt idx="28111">
                  <c:v>89261</c:v>
                </c:pt>
                <c:pt idx="28112">
                  <c:v>89253</c:v>
                </c:pt>
                <c:pt idx="28113">
                  <c:v>89238</c:v>
                </c:pt>
                <c:pt idx="28114">
                  <c:v>89238</c:v>
                </c:pt>
                <c:pt idx="28115">
                  <c:v>89233</c:v>
                </c:pt>
                <c:pt idx="28116">
                  <c:v>89218</c:v>
                </c:pt>
                <c:pt idx="28117">
                  <c:v>89214</c:v>
                </c:pt>
                <c:pt idx="28118">
                  <c:v>89187</c:v>
                </c:pt>
                <c:pt idx="28119">
                  <c:v>89185</c:v>
                </c:pt>
                <c:pt idx="28120">
                  <c:v>89168</c:v>
                </c:pt>
                <c:pt idx="28121">
                  <c:v>89167</c:v>
                </c:pt>
                <c:pt idx="28122">
                  <c:v>89162</c:v>
                </c:pt>
                <c:pt idx="28123">
                  <c:v>89158</c:v>
                </c:pt>
                <c:pt idx="28124">
                  <c:v>89157</c:v>
                </c:pt>
                <c:pt idx="28125">
                  <c:v>89150</c:v>
                </c:pt>
                <c:pt idx="28126">
                  <c:v>89145</c:v>
                </c:pt>
                <c:pt idx="28127">
                  <c:v>89123</c:v>
                </c:pt>
                <c:pt idx="28128">
                  <c:v>89111</c:v>
                </c:pt>
                <c:pt idx="28129">
                  <c:v>89109</c:v>
                </c:pt>
                <c:pt idx="28130">
                  <c:v>89105</c:v>
                </c:pt>
                <c:pt idx="28131">
                  <c:v>89103</c:v>
                </c:pt>
                <c:pt idx="28132">
                  <c:v>89102</c:v>
                </c:pt>
                <c:pt idx="28133">
                  <c:v>89102</c:v>
                </c:pt>
                <c:pt idx="28134">
                  <c:v>89101</c:v>
                </c:pt>
                <c:pt idx="28135">
                  <c:v>89100</c:v>
                </c:pt>
                <c:pt idx="28136">
                  <c:v>89099</c:v>
                </c:pt>
                <c:pt idx="28137">
                  <c:v>89093</c:v>
                </c:pt>
                <c:pt idx="28138">
                  <c:v>89091</c:v>
                </c:pt>
                <c:pt idx="28139">
                  <c:v>89087</c:v>
                </c:pt>
                <c:pt idx="28140">
                  <c:v>89083</c:v>
                </c:pt>
                <c:pt idx="28141">
                  <c:v>89081</c:v>
                </c:pt>
                <c:pt idx="28142">
                  <c:v>89070</c:v>
                </c:pt>
                <c:pt idx="28143">
                  <c:v>89066</c:v>
                </c:pt>
                <c:pt idx="28144">
                  <c:v>89062</c:v>
                </c:pt>
                <c:pt idx="28145">
                  <c:v>89056</c:v>
                </c:pt>
                <c:pt idx="28146">
                  <c:v>89047</c:v>
                </c:pt>
                <c:pt idx="28147">
                  <c:v>89047</c:v>
                </c:pt>
                <c:pt idx="28148">
                  <c:v>89045</c:v>
                </c:pt>
                <c:pt idx="28149">
                  <c:v>89043</c:v>
                </c:pt>
                <c:pt idx="28150">
                  <c:v>89041</c:v>
                </c:pt>
                <c:pt idx="28151">
                  <c:v>89038</c:v>
                </c:pt>
                <c:pt idx="28152">
                  <c:v>89030</c:v>
                </c:pt>
                <c:pt idx="28153">
                  <c:v>89027</c:v>
                </c:pt>
                <c:pt idx="28154">
                  <c:v>89023</c:v>
                </c:pt>
                <c:pt idx="28155">
                  <c:v>89009</c:v>
                </c:pt>
                <c:pt idx="28156">
                  <c:v>89003</c:v>
                </c:pt>
                <c:pt idx="28157">
                  <c:v>88994</c:v>
                </c:pt>
                <c:pt idx="28158">
                  <c:v>88991</c:v>
                </c:pt>
                <c:pt idx="28159">
                  <c:v>88990</c:v>
                </c:pt>
                <c:pt idx="28160">
                  <c:v>88986</c:v>
                </c:pt>
                <c:pt idx="28161">
                  <c:v>88986</c:v>
                </c:pt>
                <c:pt idx="28162">
                  <c:v>88986</c:v>
                </c:pt>
                <c:pt idx="28163">
                  <c:v>88983</c:v>
                </c:pt>
                <c:pt idx="28164">
                  <c:v>88977</c:v>
                </c:pt>
                <c:pt idx="28165">
                  <c:v>88967</c:v>
                </c:pt>
                <c:pt idx="28166">
                  <c:v>88949</c:v>
                </c:pt>
                <c:pt idx="28167">
                  <c:v>88945</c:v>
                </c:pt>
                <c:pt idx="28168">
                  <c:v>88944</c:v>
                </c:pt>
                <c:pt idx="28169">
                  <c:v>88935</c:v>
                </c:pt>
                <c:pt idx="28170">
                  <c:v>88934</c:v>
                </c:pt>
                <c:pt idx="28171">
                  <c:v>88929</c:v>
                </c:pt>
                <c:pt idx="28172">
                  <c:v>88927</c:v>
                </c:pt>
                <c:pt idx="28173">
                  <c:v>88927</c:v>
                </c:pt>
                <c:pt idx="28174">
                  <c:v>88925</c:v>
                </c:pt>
                <c:pt idx="28175">
                  <c:v>88925</c:v>
                </c:pt>
                <c:pt idx="28176">
                  <c:v>88921</c:v>
                </c:pt>
                <c:pt idx="28177">
                  <c:v>88920</c:v>
                </c:pt>
                <c:pt idx="28178">
                  <c:v>88904</c:v>
                </c:pt>
                <c:pt idx="28179">
                  <c:v>88898</c:v>
                </c:pt>
                <c:pt idx="28180">
                  <c:v>88895</c:v>
                </c:pt>
                <c:pt idx="28181">
                  <c:v>88887</c:v>
                </c:pt>
                <c:pt idx="28182">
                  <c:v>88880</c:v>
                </c:pt>
                <c:pt idx="28183">
                  <c:v>88865</c:v>
                </c:pt>
                <c:pt idx="28184">
                  <c:v>88852</c:v>
                </c:pt>
                <c:pt idx="28185">
                  <c:v>88851</c:v>
                </c:pt>
                <c:pt idx="28186">
                  <c:v>88832</c:v>
                </c:pt>
                <c:pt idx="28187">
                  <c:v>88826</c:v>
                </c:pt>
                <c:pt idx="28188">
                  <c:v>88818</c:v>
                </c:pt>
                <c:pt idx="28189">
                  <c:v>88818</c:v>
                </c:pt>
                <c:pt idx="28190">
                  <c:v>88799</c:v>
                </c:pt>
                <c:pt idx="28191">
                  <c:v>88799</c:v>
                </c:pt>
                <c:pt idx="28192">
                  <c:v>88797</c:v>
                </c:pt>
                <c:pt idx="28193">
                  <c:v>88796</c:v>
                </c:pt>
                <c:pt idx="28194">
                  <c:v>88796</c:v>
                </c:pt>
                <c:pt idx="28195">
                  <c:v>88791</c:v>
                </c:pt>
                <c:pt idx="28196">
                  <c:v>88787</c:v>
                </c:pt>
                <c:pt idx="28197">
                  <c:v>88778</c:v>
                </c:pt>
                <c:pt idx="28198">
                  <c:v>88778</c:v>
                </c:pt>
                <c:pt idx="28199">
                  <c:v>88770</c:v>
                </c:pt>
                <c:pt idx="28200">
                  <c:v>88769</c:v>
                </c:pt>
                <c:pt idx="28201">
                  <c:v>88767</c:v>
                </c:pt>
                <c:pt idx="28202">
                  <c:v>88761</c:v>
                </c:pt>
                <c:pt idx="28203">
                  <c:v>88761</c:v>
                </c:pt>
                <c:pt idx="28204">
                  <c:v>88751</c:v>
                </c:pt>
                <c:pt idx="28205">
                  <c:v>88747</c:v>
                </c:pt>
                <c:pt idx="28206">
                  <c:v>88737</c:v>
                </c:pt>
                <c:pt idx="28207">
                  <c:v>88736</c:v>
                </c:pt>
                <c:pt idx="28208">
                  <c:v>88734</c:v>
                </c:pt>
                <c:pt idx="28209">
                  <c:v>88728</c:v>
                </c:pt>
                <c:pt idx="28210">
                  <c:v>88699</c:v>
                </c:pt>
                <c:pt idx="28211">
                  <c:v>88688</c:v>
                </c:pt>
                <c:pt idx="28212">
                  <c:v>88663</c:v>
                </c:pt>
                <c:pt idx="28213">
                  <c:v>88654</c:v>
                </c:pt>
                <c:pt idx="28214">
                  <c:v>88649</c:v>
                </c:pt>
                <c:pt idx="28215">
                  <c:v>88646</c:v>
                </c:pt>
                <c:pt idx="28216">
                  <c:v>88638</c:v>
                </c:pt>
                <c:pt idx="28217">
                  <c:v>88635</c:v>
                </c:pt>
                <c:pt idx="28218">
                  <c:v>88634</c:v>
                </c:pt>
                <c:pt idx="28219">
                  <c:v>88630</c:v>
                </c:pt>
                <c:pt idx="28220">
                  <c:v>88629</c:v>
                </c:pt>
                <c:pt idx="28221">
                  <c:v>88629</c:v>
                </c:pt>
                <c:pt idx="28222">
                  <c:v>88622</c:v>
                </c:pt>
                <c:pt idx="28223">
                  <c:v>88612</c:v>
                </c:pt>
                <c:pt idx="28224">
                  <c:v>88606</c:v>
                </c:pt>
                <c:pt idx="28225">
                  <c:v>88598</c:v>
                </c:pt>
                <c:pt idx="28226">
                  <c:v>88595</c:v>
                </c:pt>
                <c:pt idx="28227">
                  <c:v>88580</c:v>
                </c:pt>
                <c:pt idx="28228">
                  <c:v>88566</c:v>
                </c:pt>
                <c:pt idx="28229">
                  <c:v>88557</c:v>
                </c:pt>
                <c:pt idx="28230">
                  <c:v>88550</c:v>
                </c:pt>
                <c:pt idx="28231">
                  <c:v>88503</c:v>
                </c:pt>
                <c:pt idx="28232">
                  <c:v>88495</c:v>
                </c:pt>
                <c:pt idx="28233">
                  <c:v>88490</c:v>
                </c:pt>
                <c:pt idx="28234">
                  <c:v>88472</c:v>
                </c:pt>
                <c:pt idx="28235">
                  <c:v>88466</c:v>
                </c:pt>
                <c:pt idx="28236">
                  <c:v>88463</c:v>
                </c:pt>
                <c:pt idx="28237">
                  <c:v>88459</c:v>
                </c:pt>
                <c:pt idx="28238">
                  <c:v>88454</c:v>
                </c:pt>
                <c:pt idx="28239">
                  <c:v>88451</c:v>
                </c:pt>
                <c:pt idx="28240">
                  <c:v>88450</c:v>
                </c:pt>
                <c:pt idx="28241">
                  <c:v>88449</c:v>
                </c:pt>
                <c:pt idx="28242">
                  <c:v>88447</c:v>
                </c:pt>
                <c:pt idx="28243">
                  <c:v>88446</c:v>
                </c:pt>
                <c:pt idx="28244">
                  <c:v>88412</c:v>
                </c:pt>
                <c:pt idx="28245">
                  <c:v>88409</c:v>
                </c:pt>
                <c:pt idx="28246">
                  <c:v>88407</c:v>
                </c:pt>
                <c:pt idx="28247">
                  <c:v>88400</c:v>
                </c:pt>
                <c:pt idx="28248">
                  <c:v>88400</c:v>
                </c:pt>
                <c:pt idx="28249">
                  <c:v>88391</c:v>
                </c:pt>
                <c:pt idx="28250">
                  <c:v>88390</c:v>
                </c:pt>
                <c:pt idx="28251">
                  <c:v>88388</c:v>
                </c:pt>
                <c:pt idx="28252">
                  <c:v>88387</c:v>
                </c:pt>
                <c:pt idx="28253">
                  <c:v>88384</c:v>
                </c:pt>
                <c:pt idx="28254">
                  <c:v>88382</c:v>
                </c:pt>
                <c:pt idx="28255">
                  <c:v>88378</c:v>
                </c:pt>
                <c:pt idx="28256">
                  <c:v>88376</c:v>
                </c:pt>
                <c:pt idx="28257">
                  <c:v>88372</c:v>
                </c:pt>
                <c:pt idx="28258">
                  <c:v>88370</c:v>
                </c:pt>
                <c:pt idx="28259">
                  <c:v>88370</c:v>
                </c:pt>
                <c:pt idx="28260">
                  <c:v>88361</c:v>
                </c:pt>
                <c:pt idx="28261">
                  <c:v>88359</c:v>
                </c:pt>
                <c:pt idx="28262">
                  <c:v>88358</c:v>
                </c:pt>
                <c:pt idx="28263">
                  <c:v>88354</c:v>
                </c:pt>
                <c:pt idx="28264">
                  <c:v>88349</c:v>
                </c:pt>
                <c:pt idx="28265">
                  <c:v>88339</c:v>
                </c:pt>
                <c:pt idx="28266">
                  <c:v>88337</c:v>
                </c:pt>
                <c:pt idx="28267">
                  <c:v>88329</c:v>
                </c:pt>
                <c:pt idx="28268">
                  <c:v>88328</c:v>
                </c:pt>
                <c:pt idx="28269">
                  <c:v>88325</c:v>
                </c:pt>
                <c:pt idx="28270">
                  <c:v>88319</c:v>
                </c:pt>
                <c:pt idx="28271">
                  <c:v>88319</c:v>
                </c:pt>
                <c:pt idx="28272">
                  <c:v>88317</c:v>
                </c:pt>
                <c:pt idx="28273">
                  <c:v>88311</c:v>
                </c:pt>
                <c:pt idx="28274">
                  <c:v>88310</c:v>
                </c:pt>
                <c:pt idx="28275">
                  <c:v>88308</c:v>
                </c:pt>
                <c:pt idx="28276">
                  <c:v>88290</c:v>
                </c:pt>
                <c:pt idx="28277">
                  <c:v>88287</c:v>
                </c:pt>
                <c:pt idx="28278">
                  <c:v>88273</c:v>
                </c:pt>
                <c:pt idx="28279">
                  <c:v>88269</c:v>
                </c:pt>
                <c:pt idx="28280">
                  <c:v>88267</c:v>
                </c:pt>
                <c:pt idx="28281">
                  <c:v>88266</c:v>
                </c:pt>
                <c:pt idx="28282">
                  <c:v>88261</c:v>
                </c:pt>
                <c:pt idx="28283">
                  <c:v>88260</c:v>
                </c:pt>
                <c:pt idx="28284">
                  <c:v>88245</c:v>
                </c:pt>
                <c:pt idx="28285">
                  <c:v>88244</c:v>
                </c:pt>
                <c:pt idx="28286">
                  <c:v>88233</c:v>
                </c:pt>
                <c:pt idx="28287">
                  <c:v>88232</c:v>
                </c:pt>
                <c:pt idx="28288">
                  <c:v>88231</c:v>
                </c:pt>
                <c:pt idx="28289">
                  <c:v>88226</c:v>
                </c:pt>
                <c:pt idx="28290">
                  <c:v>88226</c:v>
                </c:pt>
                <c:pt idx="28291">
                  <c:v>88224</c:v>
                </c:pt>
                <c:pt idx="28292">
                  <c:v>88223</c:v>
                </c:pt>
                <c:pt idx="28293">
                  <c:v>88223</c:v>
                </c:pt>
                <c:pt idx="28294">
                  <c:v>88206</c:v>
                </c:pt>
                <c:pt idx="28295">
                  <c:v>88201</c:v>
                </c:pt>
                <c:pt idx="28296">
                  <c:v>88195</c:v>
                </c:pt>
                <c:pt idx="28297">
                  <c:v>88190</c:v>
                </c:pt>
                <c:pt idx="28298">
                  <c:v>88189</c:v>
                </c:pt>
                <c:pt idx="28299">
                  <c:v>88187</c:v>
                </c:pt>
                <c:pt idx="28300">
                  <c:v>88180</c:v>
                </c:pt>
                <c:pt idx="28301">
                  <c:v>88180</c:v>
                </c:pt>
                <c:pt idx="28302">
                  <c:v>88166</c:v>
                </c:pt>
                <c:pt idx="28303">
                  <c:v>88166</c:v>
                </c:pt>
                <c:pt idx="28304">
                  <c:v>88165</c:v>
                </c:pt>
                <c:pt idx="28305">
                  <c:v>88150</c:v>
                </c:pt>
                <c:pt idx="28306">
                  <c:v>88134</c:v>
                </c:pt>
                <c:pt idx="28307">
                  <c:v>88134</c:v>
                </c:pt>
                <c:pt idx="28308">
                  <c:v>88129</c:v>
                </c:pt>
                <c:pt idx="28309">
                  <c:v>88127</c:v>
                </c:pt>
                <c:pt idx="28310">
                  <c:v>88119</c:v>
                </c:pt>
                <c:pt idx="28311">
                  <c:v>88116</c:v>
                </c:pt>
                <c:pt idx="28312">
                  <c:v>88112</c:v>
                </c:pt>
                <c:pt idx="28313">
                  <c:v>88108</c:v>
                </c:pt>
                <c:pt idx="28314">
                  <c:v>88104</c:v>
                </c:pt>
                <c:pt idx="28315">
                  <c:v>88102</c:v>
                </c:pt>
                <c:pt idx="28316">
                  <c:v>88089</c:v>
                </c:pt>
                <c:pt idx="28317">
                  <c:v>88086</c:v>
                </c:pt>
                <c:pt idx="28318">
                  <c:v>88082</c:v>
                </c:pt>
                <c:pt idx="28319">
                  <c:v>88079</c:v>
                </c:pt>
                <c:pt idx="28320">
                  <c:v>88078</c:v>
                </c:pt>
                <c:pt idx="28321">
                  <c:v>88077</c:v>
                </c:pt>
                <c:pt idx="28322">
                  <c:v>88076</c:v>
                </c:pt>
                <c:pt idx="28323">
                  <c:v>88075</c:v>
                </c:pt>
                <c:pt idx="28324">
                  <c:v>88073</c:v>
                </c:pt>
                <c:pt idx="28325">
                  <c:v>88070</c:v>
                </c:pt>
                <c:pt idx="28326">
                  <c:v>88069</c:v>
                </c:pt>
                <c:pt idx="28327">
                  <c:v>88048</c:v>
                </c:pt>
                <c:pt idx="28328">
                  <c:v>88043</c:v>
                </c:pt>
                <c:pt idx="28329">
                  <c:v>88037</c:v>
                </c:pt>
                <c:pt idx="28330">
                  <c:v>88036</c:v>
                </c:pt>
                <c:pt idx="28331">
                  <c:v>88035</c:v>
                </c:pt>
                <c:pt idx="28332">
                  <c:v>88035</c:v>
                </c:pt>
                <c:pt idx="28333">
                  <c:v>88035</c:v>
                </c:pt>
                <c:pt idx="28334">
                  <c:v>88032</c:v>
                </c:pt>
                <c:pt idx="28335">
                  <c:v>88026</c:v>
                </c:pt>
                <c:pt idx="28336">
                  <c:v>88024</c:v>
                </c:pt>
                <c:pt idx="28337">
                  <c:v>88023</c:v>
                </c:pt>
                <c:pt idx="28338">
                  <c:v>88019</c:v>
                </c:pt>
                <c:pt idx="28339">
                  <c:v>88016</c:v>
                </c:pt>
                <c:pt idx="28340">
                  <c:v>88012</c:v>
                </c:pt>
                <c:pt idx="28341">
                  <c:v>88010</c:v>
                </c:pt>
                <c:pt idx="28342">
                  <c:v>88008</c:v>
                </c:pt>
                <c:pt idx="28343">
                  <c:v>87985</c:v>
                </c:pt>
                <c:pt idx="28344">
                  <c:v>87972</c:v>
                </c:pt>
                <c:pt idx="28345">
                  <c:v>87971</c:v>
                </c:pt>
                <c:pt idx="28346">
                  <c:v>87965</c:v>
                </c:pt>
                <c:pt idx="28347">
                  <c:v>87962</c:v>
                </c:pt>
                <c:pt idx="28348">
                  <c:v>87955</c:v>
                </c:pt>
                <c:pt idx="28349">
                  <c:v>87955</c:v>
                </c:pt>
                <c:pt idx="28350">
                  <c:v>87952</c:v>
                </c:pt>
                <c:pt idx="28351">
                  <c:v>87949</c:v>
                </c:pt>
                <c:pt idx="28352">
                  <c:v>87944</c:v>
                </c:pt>
                <c:pt idx="28353">
                  <c:v>87944</c:v>
                </c:pt>
                <c:pt idx="28354">
                  <c:v>87929</c:v>
                </c:pt>
                <c:pt idx="28355">
                  <c:v>87923</c:v>
                </c:pt>
                <c:pt idx="28356">
                  <c:v>87908</c:v>
                </c:pt>
                <c:pt idx="28357">
                  <c:v>87895</c:v>
                </c:pt>
                <c:pt idx="28358">
                  <c:v>87894</c:v>
                </c:pt>
                <c:pt idx="28359">
                  <c:v>87872</c:v>
                </c:pt>
                <c:pt idx="28360">
                  <c:v>87870</c:v>
                </c:pt>
                <c:pt idx="28361">
                  <c:v>87868</c:v>
                </c:pt>
                <c:pt idx="28362">
                  <c:v>87866</c:v>
                </c:pt>
                <c:pt idx="28363">
                  <c:v>87864</c:v>
                </c:pt>
                <c:pt idx="28364">
                  <c:v>87864</c:v>
                </c:pt>
                <c:pt idx="28365">
                  <c:v>87862</c:v>
                </c:pt>
                <c:pt idx="28366">
                  <c:v>87857</c:v>
                </c:pt>
                <c:pt idx="28367">
                  <c:v>87853</c:v>
                </c:pt>
                <c:pt idx="28368">
                  <c:v>87850</c:v>
                </c:pt>
                <c:pt idx="28369">
                  <c:v>87844</c:v>
                </c:pt>
                <c:pt idx="28370">
                  <c:v>87842</c:v>
                </c:pt>
                <c:pt idx="28371">
                  <c:v>87837</c:v>
                </c:pt>
                <c:pt idx="28372">
                  <c:v>87835</c:v>
                </c:pt>
                <c:pt idx="28373">
                  <c:v>87826</c:v>
                </c:pt>
                <c:pt idx="28374">
                  <c:v>87824</c:v>
                </c:pt>
                <c:pt idx="28375">
                  <c:v>87822</c:v>
                </c:pt>
                <c:pt idx="28376">
                  <c:v>87821</c:v>
                </c:pt>
                <c:pt idx="28377">
                  <c:v>87809</c:v>
                </c:pt>
                <c:pt idx="28378">
                  <c:v>87794</c:v>
                </c:pt>
                <c:pt idx="28379">
                  <c:v>87793</c:v>
                </c:pt>
                <c:pt idx="28380">
                  <c:v>87789</c:v>
                </c:pt>
                <c:pt idx="28381">
                  <c:v>87785</c:v>
                </c:pt>
                <c:pt idx="28382">
                  <c:v>87784</c:v>
                </c:pt>
                <c:pt idx="28383">
                  <c:v>87773</c:v>
                </c:pt>
                <c:pt idx="28384">
                  <c:v>87752</c:v>
                </c:pt>
                <c:pt idx="28385">
                  <c:v>87751</c:v>
                </c:pt>
                <c:pt idx="28386">
                  <c:v>87750</c:v>
                </c:pt>
                <c:pt idx="28387">
                  <c:v>87746</c:v>
                </c:pt>
                <c:pt idx="28388">
                  <c:v>87740</c:v>
                </c:pt>
                <c:pt idx="28389">
                  <c:v>87734</c:v>
                </c:pt>
                <c:pt idx="28390">
                  <c:v>87731</c:v>
                </c:pt>
                <c:pt idx="28391">
                  <c:v>87729</c:v>
                </c:pt>
                <c:pt idx="28392">
                  <c:v>87721</c:v>
                </c:pt>
                <c:pt idx="28393">
                  <c:v>87683</c:v>
                </c:pt>
                <c:pt idx="28394">
                  <c:v>87675</c:v>
                </c:pt>
                <c:pt idx="28395">
                  <c:v>87672</c:v>
                </c:pt>
                <c:pt idx="28396">
                  <c:v>87671</c:v>
                </c:pt>
                <c:pt idx="28397">
                  <c:v>87670</c:v>
                </c:pt>
                <c:pt idx="28398">
                  <c:v>87664</c:v>
                </c:pt>
                <c:pt idx="28399">
                  <c:v>87662</c:v>
                </c:pt>
                <c:pt idx="28400">
                  <c:v>87658</c:v>
                </c:pt>
                <c:pt idx="28401">
                  <c:v>87646</c:v>
                </c:pt>
                <c:pt idx="28402">
                  <c:v>87645</c:v>
                </c:pt>
                <c:pt idx="28403">
                  <c:v>87641</c:v>
                </c:pt>
                <c:pt idx="28404">
                  <c:v>87629</c:v>
                </c:pt>
                <c:pt idx="28405">
                  <c:v>87622</c:v>
                </c:pt>
                <c:pt idx="28406">
                  <c:v>87620</c:v>
                </c:pt>
                <c:pt idx="28407">
                  <c:v>87607</c:v>
                </c:pt>
                <c:pt idx="28408">
                  <c:v>87600</c:v>
                </c:pt>
                <c:pt idx="28409">
                  <c:v>87600</c:v>
                </c:pt>
                <c:pt idx="28410">
                  <c:v>87598</c:v>
                </c:pt>
                <c:pt idx="28411">
                  <c:v>87591</c:v>
                </c:pt>
                <c:pt idx="28412">
                  <c:v>87587</c:v>
                </c:pt>
                <c:pt idx="28413">
                  <c:v>87586</c:v>
                </c:pt>
                <c:pt idx="28414">
                  <c:v>87570</c:v>
                </c:pt>
                <c:pt idx="28415">
                  <c:v>87570</c:v>
                </c:pt>
                <c:pt idx="28416">
                  <c:v>87566</c:v>
                </c:pt>
                <c:pt idx="28417">
                  <c:v>87566</c:v>
                </c:pt>
                <c:pt idx="28418">
                  <c:v>87557</c:v>
                </c:pt>
                <c:pt idx="28419">
                  <c:v>87550</c:v>
                </c:pt>
                <c:pt idx="28420">
                  <c:v>87549</c:v>
                </c:pt>
                <c:pt idx="28421">
                  <c:v>87529</c:v>
                </c:pt>
                <c:pt idx="28422">
                  <c:v>87526</c:v>
                </c:pt>
                <c:pt idx="28423">
                  <c:v>87518</c:v>
                </c:pt>
                <c:pt idx="28424">
                  <c:v>87516</c:v>
                </c:pt>
                <c:pt idx="28425">
                  <c:v>87510</c:v>
                </c:pt>
                <c:pt idx="28426">
                  <c:v>87506</c:v>
                </c:pt>
                <c:pt idx="28427">
                  <c:v>87501</c:v>
                </c:pt>
                <c:pt idx="28428">
                  <c:v>87497</c:v>
                </c:pt>
                <c:pt idx="28429">
                  <c:v>87497</c:v>
                </c:pt>
                <c:pt idx="28430">
                  <c:v>87492</c:v>
                </c:pt>
                <c:pt idx="28431">
                  <c:v>87490</c:v>
                </c:pt>
                <c:pt idx="28432">
                  <c:v>87490</c:v>
                </c:pt>
                <c:pt idx="28433">
                  <c:v>87486</c:v>
                </c:pt>
                <c:pt idx="28434">
                  <c:v>87475</c:v>
                </c:pt>
                <c:pt idx="28435">
                  <c:v>87474</c:v>
                </c:pt>
                <c:pt idx="28436">
                  <c:v>87473</c:v>
                </c:pt>
                <c:pt idx="28437">
                  <c:v>87465</c:v>
                </c:pt>
                <c:pt idx="28438">
                  <c:v>87464</c:v>
                </c:pt>
                <c:pt idx="28439">
                  <c:v>87463</c:v>
                </c:pt>
                <c:pt idx="28440">
                  <c:v>87458</c:v>
                </c:pt>
                <c:pt idx="28441">
                  <c:v>87458</c:v>
                </c:pt>
                <c:pt idx="28442">
                  <c:v>87455</c:v>
                </c:pt>
                <c:pt idx="28443">
                  <c:v>87452</c:v>
                </c:pt>
                <c:pt idx="28444">
                  <c:v>87445</c:v>
                </c:pt>
                <c:pt idx="28445">
                  <c:v>87435</c:v>
                </c:pt>
                <c:pt idx="28446">
                  <c:v>87426</c:v>
                </c:pt>
                <c:pt idx="28447">
                  <c:v>87424</c:v>
                </c:pt>
                <c:pt idx="28448">
                  <c:v>87420</c:v>
                </c:pt>
                <c:pt idx="28449">
                  <c:v>87418</c:v>
                </c:pt>
                <c:pt idx="28450">
                  <c:v>87412</c:v>
                </c:pt>
                <c:pt idx="28451">
                  <c:v>87410</c:v>
                </c:pt>
                <c:pt idx="28452">
                  <c:v>87408</c:v>
                </c:pt>
                <c:pt idx="28453">
                  <c:v>87407</c:v>
                </c:pt>
                <c:pt idx="28454">
                  <c:v>87406</c:v>
                </c:pt>
                <c:pt idx="28455">
                  <c:v>87396</c:v>
                </c:pt>
                <c:pt idx="28456">
                  <c:v>87389</c:v>
                </c:pt>
                <c:pt idx="28457">
                  <c:v>87388</c:v>
                </c:pt>
                <c:pt idx="28458">
                  <c:v>87385</c:v>
                </c:pt>
                <c:pt idx="28459">
                  <c:v>87367</c:v>
                </c:pt>
                <c:pt idx="28460">
                  <c:v>87366</c:v>
                </c:pt>
                <c:pt idx="28461">
                  <c:v>87362</c:v>
                </c:pt>
                <c:pt idx="28462">
                  <c:v>87358</c:v>
                </c:pt>
                <c:pt idx="28463">
                  <c:v>87358</c:v>
                </c:pt>
                <c:pt idx="28464">
                  <c:v>87357</c:v>
                </c:pt>
                <c:pt idx="28465">
                  <c:v>87346</c:v>
                </c:pt>
                <c:pt idx="28466">
                  <c:v>87346</c:v>
                </c:pt>
                <c:pt idx="28467">
                  <c:v>87331</c:v>
                </c:pt>
                <c:pt idx="28468">
                  <c:v>87323</c:v>
                </c:pt>
                <c:pt idx="28469">
                  <c:v>87319</c:v>
                </c:pt>
                <c:pt idx="28470">
                  <c:v>87308</c:v>
                </c:pt>
                <c:pt idx="28471">
                  <c:v>87304</c:v>
                </c:pt>
                <c:pt idx="28472">
                  <c:v>87303</c:v>
                </c:pt>
                <c:pt idx="28473">
                  <c:v>87300</c:v>
                </c:pt>
                <c:pt idx="28474">
                  <c:v>87295</c:v>
                </c:pt>
                <c:pt idx="28475">
                  <c:v>87273</c:v>
                </c:pt>
                <c:pt idx="28476">
                  <c:v>87264</c:v>
                </c:pt>
                <c:pt idx="28477">
                  <c:v>87254</c:v>
                </c:pt>
                <c:pt idx="28478">
                  <c:v>87253</c:v>
                </c:pt>
                <c:pt idx="28479">
                  <c:v>87251</c:v>
                </c:pt>
                <c:pt idx="28480">
                  <c:v>87245</c:v>
                </c:pt>
                <c:pt idx="28481">
                  <c:v>87244</c:v>
                </c:pt>
                <c:pt idx="28482">
                  <c:v>87236</c:v>
                </c:pt>
                <c:pt idx="28483">
                  <c:v>87233</c:v>
                </c:pt>
                <c:pt idx="28484">
                  <c:v>87224</c:v>
                </c:pt>
                <c:pt idx="28485">
                  <c:v>87223</c:v>
                </c:pt>
                <c:pt idx="28486">
                  <c:v>87220</c:v>
                </c:pt>
                <c:pt idx="28487">
                  <c:v>87220</c:v>
                </c:pt>
                <c:pt idx="28488">
                  <c:v>87210</c:v>
                </c:pt>
                <c:pt idx="28489">
                  <c:v>87209</c:v>
                </c:pt>
                <c:pt idx="28490">
                  <c:v>87205</c:v>
                </c:pt>
                <c:pt idx="28491">
                  <c:v>87204</c:v>
                </c:pt>
                <c:pt idx="28492">
                  <c:v>87201</c:v>
                </c:pt>
                <c:pt idx="28493">
                  <c:v>87193</c:v>
                </c:pt>
                <c:pt idx="28494">
                  <c:v>87192</c:v>
                </c:pt>
                <c:pt idx="28495">
                  <c:v>87191</c:v>
                </c:pt>
                <c:pt idx="28496">
                  <c:v>87188</c:v>
                </c:pt>
                <c:pt idx="28497">
                  <c:v>87179</c:v>
                </c:pt>
                <c:pt idx="28498">
                  <c:v>87170</c:v>
                </c:pt>
                <c:pt idx="28499">
                  <c:v>87168</c:v>
                </c:pt>
                <c:pt idx="28500">
                  <c:v>87160</c:v>
                </c:pt>
                <c:pt idx="28501">
                  <c:v>87155</c:v>
                </c:pt>
                <c:pt idx="28502">
                  <c:v>87153</c:v>
                </c:pt>
                <c:pt idx="28503">
                  <c:v>87149</c:v>
                </c:pt>
                <c:pt idx="28504">
                  <c:v>87148</c:v>
                </c:pt>
                <c:pt idx="28505">
                  <c:v>87144</c:v>
                </c:pt>
                <c:pt idx="28506">
                  <c:v>87141</c:v>
                </c:pt>
                <c:pt idx="28507">
                  <c:v>87139</c:v>
                </c:pt>
                <c:pt idx="28508">
                  <c:v>87128</c:v>
                </c:pt>
                <c:pt idx="28509">
                  <c:v>87128</c:v>
                </c:pt>
                <c:pt idx="28510">
                  <c:v>87128</c:v>
                </c:pt>
                <c:pt idx="28511">
                  <c:v>87128</c:v>
                </c:pt>
                <c:pt idx="28512">
                  <c:v>87118</c:v>
                </c:pt>
                <c:pt idx="28513">
                  <c:v>87117</c:v>
                </c:pt>
                <c:pt idx="28514">
                  <c:v>87117</c:v>
                </c:pt>
                <c:pt idx="28515">
                  <c:v>87114</c:v>
                </c:pt>
                <c:pt idx="28516">
                  <c:v>87111</c:v>
                </c:pt>
                <c:pt idx="28517">
                  <c:v>87106</c:v>
                </c:pt>
                <c:pt idx="28518">
                  <c:v>87084</c:v>
                </c:pt>
                <c:pt idx="28519">
                  <c:v>87077</c:v>
                </c:pt>
                <c:pt idx="28520">
                  <c:v>87075</c:v>
                </c:pt>
                <c:pt idx="28521">
                  <c:v>87071</c:v>
                </c:pt>
                <c:pt idx="28522">
                  <c:v>87063</c:v>
                </c:pt>
                <c:pt idx="28523">
                  <c:v>87057</c:v>
                </c:pt>
                <c:pt idx="28524">
                  <c:v>87054</c:v>
                </c:pt>
                <c:pt idx="28525">
                  <c:v>87054</c:v>
                </c:pt>
                <c:pt idx="28526">
                  <c:v>87048</c:v>
                </c:pt>
                <c:pt idx="28527">
                  <c:v>87045</c:v>
                </c:pt>
                <c:pt idx="28528">
                  <c:v>87044</c:v>
                </c:pt>
                <c:pt idx="28529">
                  <c:v>87041</c:v>
                </c:pt>
                <c:pt idx="28530">
                  <c:v>87036</c:v>
                </c:pt>
                <c:pt idx="28531">
                  <c:v>87035</c:v>
                </c:pt>
                <c:pt idx="28532">
                  <c:v>87028</c:v>
                </c:pt>
                <c:pt idx="28533">
                  <c:v>87024</c:v>
                </c:pt>
                <c:pt idx="28534">
                  <c:v>87018</c:v>
                </c:pt>
                <c:pt idx="28535">
                  <c:v>87015</c:v>
                </c:pt>
                <c:pt idx="28536">
                  <c:v>87015</c:v>
                </c:pt>
                <c:pt idx="28537">
                  <c:v>87009</c:v>
                </c:pt>
                <c:pt idx="28538">
                  <c:v>87005</c:v>
                </c:pt>
                <c:pt idx="28539">
                  <c:v>87001</c:v>
                </c:pt>
                <c:pt idx="28540">
                  <c:v>86999</c:v>
                </c:pt>
                <c:pt idx="28541">
                  <c:v>86995</c:v>
                </c:pt>
                <c:pt idx="28542">
                  <c:v>86990</c:v>
                </c:pt>
                <c:pt idx="28543">
                  <c:v>86990</c:v>
                </c:pt>
                <c:pt idx="28544">
                  <c:v>86989</c:v>
                </c:pt>
                <c:pt idx="28545">
                  <c:v>86988</c:v>
                </c:pt>
                <c:pt idx="28546">
                  <c:v>86984</c:v>
                </c:pt>
                <c:pt idx="28547">
                  <c:v>86980</c:v>
                </c:pt>
                <c:pt idx="28548">
                  <c:v>86956</c:v>
                </c:pt>
                <c:pt idx="28549">
                  <c:v>86952</c:v>
                </c:pt>
                <c:pt idx="28550">
                  <c:v>86947</c:v>
                </c:pt>
                <c:pt idx="28551">
                  <c:v>86941</c:v>
                </c:pt>
                <c:pt idx="28552">
                  <c:v>86925</c:v>
                </c:pt>
                <c:pt idx="28553">
                  <c:v>86925</c:v>
                </c:pt>
                <c:pt idx="28554">
                  <c:v>86920</c:v>
                </c:pt>
                <c:pt idx="28555">
                  <c:v>86920</c:v>
                </c:pt>
                <c:pt idx="28556">
                  <c:v>86918</c:v>
                </c:pt>
                <c:pt idx="28557">
                  <c:v>86917</c:v>
                </c:pt>
                <c:pt idx="28558">
                  <c:v>86913</c:v>
                </c:pt>
                <c:pt idx="28559">
                  <c:v>86907</c:v>
                </c:pt>
                <c:pt idx="28560">
                  <c:v>86905</c:v>
                </c:pt>
                <c:pt idx="28561">
                  <c:v>86904</c:v>
                </c:pt>
                <c:pt idx="28562">
                  <c:v>86899</c:v>
                </c:pt>
                <c:pt idx="28563">
                  <c:v>86899</c:v>
                </c:pt>
                <c:pt idx="28564">
                  <c:v>86899</c:v>
                </c:pt>
                <c:pt idx="28565">
                  <c:v>86895</c:v>
                </c:pt>
                <c:pt idx="28566">
                  <c:v>86891</c:v>
                </c:pt>
                <c:pt idx="28567">
                  <c:v>86878</c:v>
                </c:pt>
                <c:pt idx="28568">
                  <c:v>86877</c:v>
                </c:pt>
                <c:pt idx="28569">
                  <c:v>86869</c:v>
                </c:pt>
                <c:pt idx="28570">
                  <c:v>86869</c:v>
                </c:pt>
                <c:pt idx="28571">
                  <c:v>86868</c:v>
                </c:pt>
                <c:pt idx="28572">
                  <c:v>86867</c:v>
                </c:pt>
                <c:pt idx="28573">
                  <c:v>86866</c:v>
                </c:pt>
                <c:pt idx="28574">
                  <c:v>86866</c:v>
                </c:pt>
                <c:pt idx="28575">
                  <c:v>86864</c:v>
                </c:pt>
                <c:pt idx="28576">
                  <c:v>86863</c:v>
                </c:pt>
                <c:pt idx="28577">
                  <c:v>86862</c:v>
                </c:pt>
                <c:pt idx="28578">
                  <c:v>86861</c:v>
                </c:pt>
                <c:pt idx="28579">
                  <c:v>86854</c:v>
                </c:pt>
                <c:pt idx="28580">
                  <c:v>86844</c:v>
                </c:pt>
                <c:pt idx="28581">
                  <c:v>86843</c:v>
                </c:pt>
                <c:pt idx="28582">
                  <c:v>86827</c:v>
                </c:pt>
                <c:pt idx="28583">
                  <c:v>86826</c:v>
                </c:pt>
                <c:pt idx="28584">
                  <c:v>86825</c:v>
                </c:pt>
                <c:pt idx="28585">
                  <c:v>86808</c:v>
                </c:pt>
                <c:pt idx="28586">
                  <c:v>86802</c:v>
                </c:pt>
                <c:pt idx="28587">
                  <c:v>86798</c:v>
                </c:pt>
                <c:pt idx="28588">
                  <c:v>86797</c:v>
                </c:pt>
                <c:pt idx="28589">
                  <c:v>86796</c:v>
                </c:pt>
                <c:pt idx="28590">
                  <c:v>86794</c:v>
                </c:pt>
                <c:pt idx="28591">
                  <c:v>86789</c:v>
                </c:pt>
                <c:pt idx="28592">
                  <c:v>86785</c:v>
                </c:pt>
                <c:pt idx="28593">
                  <c:v>86785</c:v>
                </c:pt>
                <c:pt idx="28594">
                  <c:v>86772</c:v>
                </c:pt>
                <c:pt idx="28595">
                  <c:v>86767</c:v>
                </c:pt>
                <c:pt idx="28596">
                  <c:v>86756</c:v>
                </c:pt>
                <c:pt idx="28597">
                  <c:v>86753</c:v>
                </c:pt>
                <c:pt idx="28598">
                  <c:v>86744</c:v>
                </c:pt>
                <c:pt idx="28599">
                  <c:v>86734</c:v>
                </c:pt>
                <c:pt idx="28600">
                  <c:v>86729</c:v>
                </c:pt>
                <c:pt idx="28601">
                  <c:v>86727</c:v>
                </c:pt>
                <c:pt idx="28602">
                  <c:v>86723</c:v>
                </c:pt>
                <c:pt idx="28603">
                  <c:v>86721</c:v>
                </c:pt>
                <c:pt idx="28604">
                  <c:v>86720</c:v>
                </c:pt>
                <c:pt idx="28605">
                  <c:v>86717</c:v>
                </c:pt>
                <c:pt idx="28606">
                  <c:v>86714</c:v>
                </c:pt>
                <c:pt idx="28607">
                  <c:v>86714</c:v>
                </c:pt>
                <c:pt idx="28608">
                  <c:v>86703</c:v>
                </c:pt>
                <c:pt idx="28609">
                  <c:v>86703</c:v>
                </c:pt>
                <c:pt idx="28610">
                  <c:v>86702</c:v>
                </c:pt>
                <c:pt idx="28611">
                  <c:v>86699</c:v>
                </c:pt>
                <c:pt idx="28612">
                  <c:v>86691</c:v>
                </c:pt>
                <c:pt idx="28613">
                  <c:v>86689</c:v>
                </c:pt>
                <c:pt idx="28614">
                  <c:v>86687</c:v>
                </c:pt>
                <c:pt idx="28615">
                  <c:v>86679</c:v>
                </c:pt>
                <c:pt idx="28616">
                  <c:v>86667</c:v>
                </c:pt>
                <c:pt idx="28617">
                  <c:v>86667</c:v>
                </c:pt>
                <c:pt idx="28618">
                  <c:v>86645</c:v>
                </c:pt>
                <c:pt idx="28619">
                  <c:v>86642</c:v>
                </c:pt>
                <c:pt idx="28620">
                  <c:v>86640</c:v>
                </c:pt>
                <c:pt idx="28621">
                  <c:v>86632</c:v>
                </c:pt>
                <c:pt idx="28622">
                  <c:v>86620</c:v>
                </c:pt>
                <c:pt idx="28623">
                  <c:v>86615</c:v>
                </c:pt>
                <c:pt idx="28624">
                  <c:v>86614</c:v>
                </c:pt>
                <c:pt idx="28625">
                  <c:v>86608</c:v>
                </c:pt>
                <c:pt idx="28626">
                  <c:v>86603</c:v>
                </c:pt>
                <c:pt idx="28627">
                  <c:v>86598</c:v>
                </c:pt>
                <c:pt idx="28628">
                  <c:v>86595</c:v>
                </c:pt>
                <c:pt idx="28629">
                  <c:v>86592</c:v>
                </c:pt>
                <c:pt idx="28630">
                  <c:v>86590</c:v>
                </c:pt>
                <c:pt idx="28631">
                  <c:v>86587</c:v>
                </c:pt>
                <c:pt idx="28632">
                  <c:v>86587</c:v>
                </c:pt>
                <c:pt idx="28633">
                  <c:v>86579</c:v>
                </c:pt>
                <c:pt idx="28634">
                  <c:v>86579</c:v>
                </c:pt>
                <c:pt idx="28635">
                  <c:v>86578</c:v>
                </c:pt>
                <c:pt idx="28636">
                  <c:v>86571</c:v>
                </c:pt>
                <c:pt idx="28637">
                  <c:v>86561</c:v>
                </c:pt>
                <c:pt idx="28638">
                  <c:v>86559</c:v>
                </c:pt>
                <c:pt idx="28639">
                  <c:v>86553</c:v>
                </c:pt>
                <c:pt idx="28640">
                  <c:v>86550</c:v>
                </c:pt>
                <c:pt idx="28641">
                  <c:v>86520</c:v>
                </c:pt>
                <c:pt idx="28642">
                  <c:v>86516</c:v>
                </c:pt>
                <c:pt idx="28643">
                  <c:v>86513</c:v>
                </c:pt>
                <c:pt idx="28644">
                  <c:v>86502</c:v>
                </c:pt>
                <c:pt idx="28645">
                  <c:v>86487</c:v>
                </c:pt>
                <c:pt idx="28646">
                  <c:v>86487</c:v>
                </c:pt>
                <c:pt idx="28647">
                  <c:v>86486</c:v>
                </c:pt>
                <c:pt idx="28648">
                  <c:v>86485</c:v>
                </c:pt>
                <c:pt idx="28649">
                  <c:v>86481</c:v>
                </c:pt>
                <c:pt idx="28650">
                  <c:v>86480</c:v>
                </c:pt>
                <c:pt idx="28651">
                  <c:v>86469</c:v>
                </c:pt>
                <c:pt idx="28652">
                  <c:v>86467</c:v>
                </c:pt>
                <c:pt idx="28653">
                  <c:v>86466</c:v>
                </c:pt>
                <c:pt idx="28654">
                  <c:v>86465</c:v>
                </c:pt>
                <c:pt idx="28655">
                  <c:v>86465</c:v>
                </c:pt>
                <c:pt idx="28656">
                  <c:v>86460</c:v>
                </c:pt>
                <c:pt idx="28657">
                  <c:v>86452</c:v>
                </c:pt>
                <c:pt idx="28658">
                  <c:v>86442</c:v>
                </c:pt>
                <c:pt idx="28659">
                  <c:v>86439</c:v>
                </c:pt>
                <c:pt idx="28660">
                  <c:v>86437</c:v>
                </c:pt>
                <c:pt idx="28661">
                  <c:v>86434</c:v>
                </c:pt>
                <c:pt idx="28662">
                  <c:v>86430</c:v>
                </c:pt>
                <c:pt idx="28663">
                  <c:v>86429</c:v>
                </c:pt>
                <c:pt idx="28664">
                  <c:v>86428</c:v>
                </c:pt>
                <c:pt idx="28665">
                  <c:v>86414</c:v>
                </c:pt>
                <c:pt idx="28666">
                  <c:v>86409</c:v>
                </c:pt>
                <c:pt idx="28667">
                  <c:v>86407</c:v>
                </c:pt>
                <c:pt idx="28668">
                  <c:v>86404</c:v>
                </c:pt>
                <c:pt idx="28669">
                  <c:v>86403</c:v>
                </c:pt>
                <c:pt idx="28670">
                  <c:v>86401</c:v>
                </c:pt>
                <c:pt idx="28671">
                  <c:v>86390</c:v>
                </c:pt>
                <c:pt idx="28672">
                  <c:v>86390</c:v>
                </c:pt>
                <c:pt idx="28673">
                  <c:v>86387</c:v>
                </c:pt>
                <c:pt idx="28674">
                  <c:v>86381</c:v>
                </c:pt>
                <c:pt idx="28675">
                  <c:v>86373</c:v>
                </c:pt>
                <c:pt idx="28676">
                  <c:v>86372</c:v>
                </c:pt>
                <c:pt idx="28677">
                  <c:v>86371</c:v>
                </c:pt>
                <c:pt idx="28678">
                  <c:v>86369</c:v>
                </c:pt>
                <c:pt idx="28679">
                  <c:v>86369</c:v>
                </c:pt>
                <c:pt idx="28680">
                  <c:v>86367</c:v>
                </c:pt>
                <c:pt idx="28681">
                  <c:v>86366</c:v>
                </c:pt>
                <c:pt idx="28682">
                  <c:v>86364</c:v>
                </c:pt>
                <c:pt idx="28683">
                  <c:v>86360</c:v>
                </c:pt>
                <c:pt idx="28684">
                  <c:v>86356</c:v>
                </c:pt>
                <c:pt idx="28685">
                  <c:v>86355</c:v>
                </c:pt>
                <c:pt idx="28686">
                  <c:v>86342</c:v>
                </c:pt>
                <c:pt idx="28687">
                  <c:v>86340</c:v>
                </c:pt>
                <c:pt idx="28688">
                  <c:v>86339</c:v>
                </c:pt>
                <c:pt idx="28689">
                  <c:v>86339</c:v>
                </c:pt>
                <c:pt idx="28690">
                  <c:v>86338</c:v>
                </c:pt>
                <c:pt idx="28691">
                  <c:v>86337</c:v>
                </c:pt>
                <c:pt idx="28692">
                  <c:v>86329</c:v>
                </c:pt>
                <c:pt idx="28693">
                  <c:v>86328</c:v>
                </c:pt>
                <c:pt idx="28694">
                  <c:v>86318</c:v>
                </c:pt>
                <c:pt idx="28695">
                  <c:v>86315</c:v>
                </c:pt>
                <c:pt idx="28696">
                  <c:v>86309</c:v>
                </c:pt>
                <c:pt idx="28697">
                  <c:v>86298</c:v>
                </c:pt>
                <c:pt idx="28698">
                  <c:v>86286</c:v>
                </c:pt>
                <c:pt idx="28699">
                  <c:v>86282</c:v>
                </c:pt>
                <c:pt idx="28700">
                  <c:v>86275</c:v>
                </c:pt>
                <c:pt idx="28701">
                  <c:v>86270</c:v>
                </c:pt>
                <c:pt idx="28702">
                  <c:v>86267</c:v>
                </c:pt>
                <c:pt idx="28703">
                  <c:v>86262</c:v>
                </c:pt>
                <c:pt idx="28704">
                  <c:v>86256</c:v>
                </c:pt>
                <c:pt idx="28705">
                  <c:v>86256</c:v>
                </c:pt>
                <c:pt idx="28706">
                  <c:v>86252</c:v>
                </c:pt>
                <c:pt idx="28707">
                  <c:v>86249</c:v>
                </c:pt>
                <c:pt idx="28708">
                  <c:v>86230</c:v>
                </c:pt>
                <c:pt idx="28709">
                  <c:v>86227</c:v>
                </c:pt>
                <c:pt idx="28710">
                  <c:v>86203</c:v>
                </c:pt>
                <c:pt idx="28711">
                  <c:v>86196</c:v>
                </c:pt>
                <c:pt idx="28712">
                  <c:v>86186</c:v>
                </c:pt>
                <c:pt idx="28713">
                  <c:v>86185</c:v>
                </c:pt>
                <c:pt idx="28714">
                  <c:v>86179</c:v>
                </c:pt>
                <c:pt idx="28715">
                  <c:v>86177</c:v>
                </c:pt>
                <c:pt idx="28716">
                  <c:v>86175</c:v>
                </c:pt>
                <c:pt idx="28717">
                  <c:v>86174</c:v>
                </c:pt>
                <c:pt idx="28718">
                  <c:v>86164</c:v>
                </c:pt>
                <c:pt idx="28719">
                  <c:v>86155</c:v>
                </c:pt>
                <c:pt idx="28720">
                  <c:v>86155</c:v>
                </c:pt>
                <c:pt idx="28721">
                  <c:v>86150</c:v>
                </c:pt>
                <c:pt idx="28722">
                  <c:v>86148</c:v>
                </c:pt>
                <c:pt idx="28723">
                  <c:v>86148</c:v>
                </c:pt>
                <c:pt idx="28724">
                  <c:v>86148</c:v>
                </c:pt>
                <c:pt idx="28725">
                  <c:v>86147</c:v>
                </c:pt>
                <c:pt idx="28726">
                  <c:v>86140</c:v>
                </c:pt>
                <c:pt idx="28727">
                  <c:v>86134</c:v>
                </c:pt>
                <c:pt idx="28728">
                  <c:v>86127</c:v>
                </c:pt>
                <c:pt idx="28729">
                  <c:v>86127</c:v>
                </c:pt>
                <c:pt idx="28730">
                  <c:v>86126</c:v>
                </c:pt>
                <c:pt idx="28731">
                  <c:v>86110</c:v>
                </c:pt>
                <c:pt idx="28732">
                  <c:v>86107</c:v>
                </c:pt>
                <c:pt idx="28733">
                  <c:v>86104</c:v>
                </c:pt>
                <c:pt idx="28734">
                  <c:v>86093</c:v>
                </c:pt>
                <c:pt idx="28735">
                  <c:v>86083</c:v>
                </c:pt>
                <c:pt idx="28736">
                  <c:v>86083</c:v>
                </c:pt>
                <c:pt idx="28737">
                  <c:v>86078</c:v>
                </c:pt>
                <c:pt idx="28738">
                  <c:v>86070</c:v>
                </c:pt>
                <c:pt idx="28739">
                  <c:v>86070</c:v>
                </c:pt>
                <c:pt idx="28740">
                  <c:v>86067</c:v>
                </c:pt>
                <c:pt idx="28741">
                  <c:v>86061</c:v>
                </c:pt>
                <c:pt idx="28742">
                  <c:v>86050</c:v>
                </c:pt>
                <c:pt idx="28743">
                  <c:v>86042</c:v>
                </c:pt>
                <c:pt idx="28744">
                  <c:v>86040</c:v>
                </c:pt>
                <c:pt idx="28745">
                  <c:v>86038</c:v>
                </c:pt>
                <c:pt idx="28746">
                  <c:v>86033</c:v>
                </c:pt>
                <c:pt idx="28747">
                  <c:v>86024</c:v>
                </c:pt>
                <c:pt idx="28748">
                  <c:v>86021</c:v>
                </c:pt>
                <c:pt idx="28749">
                  <c:v>86019</c:v>
                </c:pt>
                <c:pt idx="28750">
                  <c:v>86014</c:v>
                </c:pt>
                <c:pt idx="28751">
                  <c:v>86013</c:v>
                </c:pt>
                <c:pt idx="28752">
                  <c:v>85996</c:v>
                </c:pt>
                <c:pt idx="28753">
                  <c:v>85984</c:v>
                </c:pt>
                <c:pt idx="28754">
                  <c:v>85980</c:v>
                </c:pt>
                <c:pt idx="28755">
                  <c:v>85979</c:v>
                </c:pt>
                <c:pt idx="28756">
                  <c:v>85979</c:v>
                </c:pt>
                <c:pt idx="28757">
                  <c:v>85978</c:v>
                </c:pt>
                <c:pt idx="28758">
                  <c:v>85968</c:v>
                </c:pt>
                <c:pt idx="28759">
                  <c:v>85963</c:v>
                </c:pt>
                <c:pt idx="28760">
                  <c:v>85961</c:v>
                </c:pt>
                <c:pt idx="28761">
                  <c:v>85959</c:v>
                </c:pt>
                <c:pt idx="28762">
                  <c:v>85955</c:v>
                </c:pt>
                <c:pt idx="28763">
                  <c:v>85955</c:v>
                </c:pt>
                <c:pt idx="28764">
                  <c:v>85951</c:v>
                </c:pt>
                <c:pt idx="28765">
                  <c:v>85951</c:v>
                </c:pt>
                <c:pt idx="28766">
                  <c:v>85950</c:v>
                </c:pt>
                <c:pt idx="28767">
                  <c:v>85948</c:v>
                </c:pt>
                <c:pt idx="28768">
                  <c:v>85943</c:v>
                </c:pt>
                <c:pt idx="28769">
                  <c:v>85930</c:v>
                </c:pt>
                <c:pt idx="28770">
                  <c:v>85930</c:v>
                </c:pt>
                <c:pt idx="28771">
                  <c:v>85929</c:v>
                </c:pt>
                <c:pt idx="28772">
                  <c:v>85928</c:v>
                </c:pt>
                <c:pt idx="28773">
                  <c:v>85919</c:v>
                </c:pt>
                <c:pt idx="28774">
                  <c:v>85919</c:v>
                </c:pt>
                <c:pt idx="28775">
                  <c:v>85919</c:v>
                </c:pt>
                <c:pt idx="28776">
                  <c:v>85918</c:v>
                </c:pt>
                <c:pt idx="28777">
                  <c:v>85905</c:v>
                </c:pt>
                <c:pt idx="28778">
                  <c:v>85902</c:v>
                </c:pt>
                <c:pt idx="28779">
                  <c:v>85899</c:v>
                </c:pt>
                <c:pt idx="28780">
                  <c:v>85895</c:v>
                </c:pt>
                <c:pt idx="28781">
                  <c:v>85894</c:v>
                </c:pt>
                <c:pt idx="28782">
                  <c:v>85883</c:v>
                </c:pt>
                <c:pt idx="28783">
                  <c:v>85868</c:v>
                </c:pt>
                <c:pt idx="28784">
                  <c:v>85867</c:v>
                </c:pt>
                <c:pt idx="28785">
                  <c:v>85865</c:v>
                </c:pt>
                <c:pt idx="28786">
                  <c:v>85858</c:v>
                </c:pt>
                <c:pt idx="28787">
                  <c:v>85858</c:v>
                </c:pt>
                <c:pt idx="28788">
                  <c:v>85857</c:v>
                </c:pt>
                <c:pt idx="28789">
                  <c:v>85857</c:v>
                </c:pt>
                <c:pt idx="28790">
                  <c:v>85856</c:v>
                </c:pt>
                <c:pt idx="28791">
                  <c:v>85845</c:v>
                </c:pt>
                <c:pt idx="28792">
                  <c:v>85841</c:v>
                </c:pt>
                <c:pt idx="28793">
                  <c:v>85829</c:v>
                </c:pt>
                <c:pt idx="28794">
                  <c:v>85824</c:v>
                </c:pt>
                <c:pt idx="28795">
                  <c:v>85823</c:v>
                </c:pt>
                <c:pt idx="28796">
                  <c:v>85822</c:v>
                </c:pt>
                <c:pt idx="28797">
                  <c:v>85817</c:v>
                </c:pt>
                <c:pt idx="28798">
                  <c:v>85816</c:v>
                </c:pt>
                <c:pt idx="28799">
                  <c:v>85801</c:v>
                </c:pt>
                <c:pt idx="28800">
                  <c:v>85800</c:v>
                </c:pt>
                <c:pt idx="28801">
                  <c:v>85785</c:v>
                </c:pt>
                <c:pt idx="28802">
                  <c:v>85765</c:v>
                </c:pt>
                <c:pt idx="28803">
                  <c:v>85765</c:v>
                </c:pt>
                <c:pt idx="28804">
                  <c:v>85764</c:v>
                </c:pt>
                <c:pt idx="28805">
                  <c:v>85760</c:v>
                </c:pt>
                <c:pt idx="28806">
                  <c:v>85755</c:v>
                </c:pt>
                <c:pt idx="28807">
                  <c:v>85752</c:v>
                </c:pt>
                <c:pt idx="28808">
                  <c:v>85749</c:v>
                </c:pt>
                <c:pt idx="28809">
                  <c:v>85746</c:v>
                </c:pt>
                <c:pt idx="28810">
                  <c:v>85741</c:v>
                </c:pt>
                <c:pt idx="28811">
                  <c:v>85737</c:v>
                </c:pt>
                <c:pt idx="28812">
                  <c:v>85737</c:v>
                </c:pt>
                <c:pt idx="28813">
                  <c:v>85719</c:v>
                </c:pt>
                <c:pt idx="28814">
                  <c:v>85705</c:v>
                </c:pt>
                <c:pt idx="28815">
                  <c:v>85702</c:v>
                </c:pt>
                <c:pt idx="28816">
                  <c:v>85701</c:v>
                </c:pt>
                <c:pt idx="28817">
                  <c:v>85698</c:v>
                </c:pt>
                <c:pt idx="28818">
                  <c:v>85691</c:v>
                </c:pt>
                <c:pt idx="28819">
                  <c:v>85672</c:v>
                </c:pt>
                <c:pt idx="28820">
                  <c:v>85664</c:v>
                </c:pt>
                <c:pt idx="28821">
                  <c:v>85664</c:v>
                </c:pt>
                <c:pt idx="28822">
                  <c:v>85662</c:v>
                </c:pt>
                <c:pt idx="28823">
                  <c:v>85662</c:v>
                </c:pt>
                <c:pt idx="28824">
                  <c:v>85658</c:v>
                </c:pt>
                <c:pt idx="28825">
                  <c:v>85657</c:v>
                </c:pt>
                <c:pt idx="28826">
                  <c:v>85653</c:v>
                </c:pt>
                <c:pt idx="28827">
                  <c:v>85652</c:v>
                </c:pt>
                <c:pt idx="28828">
                  <c:v>85652</c:v>
                </c:pt>
                <c:pt idx="28829">
                  <c:v>85647</c:v>
                </c:pt>
                <c:pt idx="28830">
                  <c:v>85639</c:v>
                </c:pt>
                <c:pt idx="28831">
                  <c:v>85638</c:v>
                </c:pt>
                <c:pt idx="28832">
                  <c:v>85636</c:v>
                </c:pt>
                <c:pt idx="28833">
                  <c:v>85623</c:v>
                </c:pt>
                <c:pt idx="28834">
                  <c:v>85614</c:v>
                </c:pt>
                <c:pt idx="28835">
                  <c:v>85606</c:v>
                </c:pt>
                <c:pt idx="28836">
                  <c:v>85596</c:v>
                </c:pt>
                <c:pt idx="28837">
                  <c:v>85596</c:v>
                </c:pt>
                <c:pt idx="28838">
                  <c:v>85595</c:v>
                </c:pt>
                <c:pt idx="28839">
                  <c:v>85593</c:v>
                </c:pt>
                <c:pt idx="28840">
                  <c:v>85588</c:v>
                </c:pt>
                <c:pt idx="28841">
                  <c:v>85583</c:v>
                </c:pt>
                <c:pt idx="28842">
                  <c:v>85583</c:v>
                </c:pt>
                <c:pt idx="28843">
                  <c:v>85555</c:v>
                </c:pt>
                <c:pt idx="28844">
                  <c:v>85548</c:v>
                </c:pt>
                <c:pt idx="28845">
                  <c:v>85542</c:v>
                </c:pt>
                <c:pt idx="28846">
                  <c:v>85541</c:v>
                </c:pt>
                <c:pt idx="28847">
                  <c:v>85541</c:v>
                </c:pt>
                <c:pt idx="28848">
                  <c:v>85541</c:v>
                </c:pt>
                <c:pt idx="28849">
                  <c:v>85531</c:v>
                </c:pt>
                <c:pt idx="28850">
                  <c:v>85530</c:v>
                </c:pt>
                <c:pt idx="28851">
                  <c:v>85527</c:v>
                </c:pt>
                <c:pt idx="28852">
                  <c:v>85518</c:v>
                </c:pt>
                <c:pt idx="28853">
                  <c:v>85516</c:v>
                </c:pt>
                <c:pt idx="28854">
                  <c:v>85500</c:v>
                </c:pt>
                <c:pt idx="28855">
                  <c:v>85497</c:v>
                </c:pt>
                <c:pt idx="28856">
                  <c:v>85496</c:v>
                </c:pt>
                <c:pt idx="28857">
                  <c:v>85493</c:v>
                </c:pt>
                <c:pt idx="28858">
                  <c:v>85491</c:v>
                </c:pt>
                <c:pt idx="28859">
                  <c:v>85483</c:v>
                </c:pt>
                <c:pt idx="28860">
                  <c:v>85480</c:v>
                </c:pt>
                <c:pt idx="28861">
                  <c:v>85478</c:v>
                </c:pt>
                <c:pt idx="28862">
                  <c:v>85474</c:v>
                </c:pt>
                <c:pt idx="28863">
                  <c:v>85449</c:v>
                </c:pt>
                <c:pt idx="28864">
                  <c:v>85447</c:v>
                </c:pt>
                <c:pt idx="28865">
                  <c:v>85438</c:v>
                </c:pt>
                <c:pt idx="28866">
                  <c:v>85435</c:v>
                </c:pt>
                <c:pt idx="28867">
                  <c:v>85431</c:v>
                </c:pt>
                <c:pt idx="28868">
                  <c:v>85428</c:v>
                </c:pt>
                <c:pt idx="28869">
                  <c:v>85428</c:v>
                </c:pt>
                <c:pt idx="28870">
                  <c:v>85425</c:v>
                </c:pt>
                <c:pt idx="28871">
                  <c:v>85424</c:v>
                </c:pt>
                <c:pt idx="28872">
                  <c:v>85424</c:v>
                </c:pt>
                <c:pt idx="28873">
                  <c:v>85423</c:v>
                </c:pt>
                <c:pt idx="28874">
                  <c:v>85420</c:v>
                </c:pt>
                <c:pt idx="28875">
                  <c:v>85407</c:v>
                </c:pt>
                <c:pt idx="28876">
                  <c:v>85406</c:v>
                </c:pt>
                <c:pt idx="28877">
                  <c:v>85388</c:v>
                </c:pt>
                <c:pt idx="28878">
                  <c:v>85387</c:v>
                </c:pt>
                <c:pt idx="28879">
                  <c:v>85387</c:v>
                </c:pt>
                <c:pt idx="28880">
                  <c:v>85378</c:v>
                </c:pt>
                <c:pt idx="28881">
                  <c:v>85369</c:v>
                </c:pt>
                <c:pt idx="28882">
                  <c:v>85368</c:v>
                </c:pt>
                <c:pt idx="28883">
                  <c:v>85366</c:v>
                </c:pt>
                <c:pt idx="28884">
                  <c:v>85357</c:v>
                </c:pt>
                <c:pt idx="28885">
                  <c:v>85356</c:v>
                </c:pt>
                <c:pt idx="28886">
                  <c:v>85353</c:v>
                </c:pt>
                <c:pt idx="28887">
                  <c:v>85343</c:v>
                </c:pt>
                <c:pt idx="28888">
                  <c:v>85331</c:v>
                </c:pt>
                <c:pt idx="28889">
                  <c:v>85324</c:v>
                </c:pt>
                <c:pt idx="28890">
                  <c:v>85324</c:v>
                </c:pt>
                <c:pt idx="28891">
                  <c:v>85319</c:v>
                </c:pt>
                <c:pt idx="28892">
                  <c:v>85316</c:v>
                </c:pt>
                <c:pt idx="28893">
                  <c:v>85311</c:v>
                </c:pt>
                <c:pt idx="28894">
                  <c:v>85307</c:v>
                </c:pt>
                <c:pt idx="28895">
                  <c:v>85302</c:v>
                </c:pt>
                <c:pt idx="28896">
                  <c:v>85284</c:v>
                </c:pt>
                <c:pt idx="28897">
                  <c:v>85277</c:v>
                </c:pt>
                <c:pt idx="28898">
                  <c:v>85267</c:v>
                </c:pt>
                <c:pt idx="28899">
                  <c:v>85263</c:v>
                </c:pt>
                <c:pt idx="28900">
                  <c:v>85259</c:v>
                </c:pt>
                <c:pt idx="28901">
                  <c:v>85256</c:v>
                </c:pt>
                <c:pt idx="28902">
                  <c:v>85251</c:v>
                </c:pt>
                <c:pt idx="28903">
                  <c:v>85242</c:v>
                </c:pt>
                <c:pt idx="28904">
                  <c:v>85240</c:v>
                </c:pt>
                <c:pt idx="28905">
                  <c:v>85234</c:v>
                </c:pt>
                <c:pt idx="28906">
                  <c:v>85228</c:v>
                </c:pt>
                <c:pt idx="28907">
                  <c:v>85225</c:v>
                </c:pt>
                <c:pt idx="28908">
                  <c:v>85224</c:v>
                </c:pt>
                <c:pt idx="28909">
                  <c:v>85211</c:v>
                </c:pt>
                <c:pt idx="28910">
                  <c:v>85200</c:v>
                </c:pt>
                <c:pt idx="28911">
                  <c:v>85195</c:v>
                </c:pt>
                <c:pt idx="28912">
                  <c:v>85194</c:v>
                </c:pt>
                <c:pt idx="28913">
                  <c:v>85193</c:v>
                </c:pt>
                <c:pt idx="28914">
                  <c:v>85192</c:v>
                </c:pt>
                <c:pt idx="28915">
                  <c:v>85189</c:v>
                </c:pt>
                <c:pt idx="28916">
                  <c:v>85188</c:v>
                </c:pt>
                <c:pt idx="28917">
                  <c:v>85187</c:v>
                </c:pt>
                <c:pt idx="28918">
                  <c:v>85186</c:v>
                </c:pt>
                <c:pt idx="28919">
                  <c:v>85185</c:v>
                </c:pt>
                <c:pt idx="28920">
                  <c:v>85179</c:v>
                </c:pt>
                <c:pt idx="28921">
                  <c:v>85179</c:v>
                </c:pt>
                <c:pt idx="28922">
                  <c:v>85169</c:v>
                </c:pt>
                <c:pt idx="28923">
                  <c:v>85168</c:v>
                </c:pt>
                <c:pt idx="28924">
                  <c:v>85166</c:v>
                </c:pt>
                <c:pt idx="28925">
                  <c:v>85156</c:v>
                </c:pt>
                <c:pt idx="28926">
                  <c:v>85151</c:v>
                </c:pt>
                <c:pt idx="28927">
                  <c:v>85143</c:v>
                </c:pt>
                <c:pt idx="28928">
                  <c:v>85137</c:v>
                </c:pt>
                <c:pt idx="28929">
                  <c:v>85127</c:v>
                </c:pt>
                <c:pt idx="28930">
                  <c:v>85126</c:v>
                </c:pt>
                <c:pt idx="28931">
                  <c:v>85125</c:v>
                </c:pt>
                <c:pt idx="28932">
                  <c:v>85125</c:v>
                </c:pt>
                <c:pt idx="28933">
                  <c:v>85119</c:v>
                </c:pt>
                <c:pt idx="28934">
                  <c:v>85116</c:v>
                </c:pt>
                <c:pt idx="28935">
                  <c:v>85112</c:v>
                </c:pt>
                <c:pt idx="28936">
                  <c:v>85110</c:v>
                </c:pt>
                <c:pt idx="28937">
                  <c:v>85109</c:v>
                </c:pt>
                <c:pt idx="28938">
                  <c:v>85099</c:v>
                </c:pt>
                <c:pt idx="28939">
                  <c:v>85096</c:v>
                </c:pt>
                <c:pt idx="28940">
                  <c:v>85096</c:v>
                </c:pt>
                <c:pt idx="28941">
                  <c:v>85085</c:v>
                </c:pt>
                <c:pt idx="28942">
                  <c:v>85084</c:v>
                </c:pt>
                <c:pt idx="28943">
                  <c:v>85083</c:v>
                </c:pt>
                <c:pt idx="28944">
                  <c:v>85076</c:v>
                </c:pt>
                <c:pt idx="28945">
                  <c:v>85074</c:v>
                </c:pt>
                <c:pt idx="28946">
                  <c:v>85068</c:v>
                </c:pt>
                <c:pt idx="28947">
                  <c:v>85068</c:v>
                </c:pt>
                <c:pt idx="28948">
                  <c:v>85059</c:v>
                </c:pt>
                <c:pt idx="28949">
                  <c:v>85040</c:v>
                </c:pt>
                <c:pt idx="28950">
                  <c:v>85035</c:v>
                </c:pt>
                <c:pt idx="28951">
                  <c:v>85021</c:v>
                </c:pt>
                <c:pt idx="28952">
                  <c:v>85019</c:v>
                </c:pt>
                <c:pt idx="28953">
                  <c:v>85009</c:v>
                </c:pt>
                <c:pt idx="28954">
                  <c:v>85008</c:v>
                </c:pt>
                <c:pt idx="28955">
                  <c:v>85006</c:v>
                </c:pt>
                <c:pt idx="28956">
                  <c:v>85003</c:v>
                </c:pt>
                <c:pt idx="28957">
                  <c:v>84999</c:v>
                </c:pt>
                <c:pt idx="28958">
                  <c:v>84999</c:v>
                </c:pt>
                <c:pt idx="28959">
                  <c:v>84994</c:v>
                </c:pt>
                <c:pt idx="28960">
                  <c:v>84990</c:v>
                </c:pt>
                <c:pt idx="28961">
                  <c:v>84983</c:v>
                </c:pt>
                <c:pt idx="28962">
                  <c:v>84983</c:v>
                </c:pt>
                <c:pt idx="28963">
                  <c:v>84978</c:v>
                </c:pt>
                <c:pt idx="28964">
                  <c:v>84973</c:v>
                </c:pt>
                <c:pt idx="28965">
                  <c:v>84973</c:v>
                </c:pt>
                <c:pt idx="28966">
                  <c:v>84972</c:v>
                </c:pt>
                <c:pt idx="28967">
                  <c:v>84970</c:v>
                </c:pt>
                <c:pt idx="28968">
                  <c:v>84970</c:v>
                </c:pt>
                <c:pt idx="28969">
                  <c:v>84969</c:v>
                </c:pt>
                <c:pt idx="28970">
                  <c:v>84967</c:v>
                </c:pt>
                <c:pt idx="28971">
                  <c:v>84966</c:v>
                </c:pt>
                <c:pt idx="28972">
                  <c:v>84963</c:v>
                </c:pt>
                <c:pt idx="28973">
                  <c:v>84962</c:v>
                </c:pt>
                <c:pt idx="28974">
                  <c:v>84957</c:v>
                </c:pt>
                <c:pt idx="28975">
                  <c:v>84955</c:v>
                </c:pt>
                <c:pt idx="28976">
                  <c:v>84948</c:v>
                </c:pt>
                <c:pt idx="28977">
                  <c:v>84942</c:v>
                </c:pt>
                <c:pt idx="28978">
                  <c:v>84941</c:v>
                </c:pt>
                <c:pt idx="28979">
                  <c:v>84932</c:v>
                </c:pt>
                <c:pt idx="28980">
                  <c:v>84926</c:v>
                </c:pt>
                <c:pt idx="28981">
                  <c:v>84925</c:v>
                </c:pt>
                <c:pt idx="28982">
                  <c:v>84920</c:v>
                </c:pt>
                <c:pt idx="28983">
                  <c:v>84920</c:v>
                </c:pt>
                <c:pt idx="28984">
                  <c:v>84919</c:v>
                </c:pt>
                <c:pt idx="28985">
                  <c:v>84918</c:v>
                </c:pt>
                <c:pt idx="28986">
                  <c:v>84918</c:v>
                </c:pt>
                <c:pt idx="28987">
                  <c:v>84916</c:v>
                </c:pt>
                <c:pt idx="28988">
                  <c:v>84901</c:v>
                </c:pt>
                <c:pt idx="28989">
                  <c:v>84892</c:v>
                </c:pt>
                <c:pt idx="28990">
                  <c:v>84883</c:v>
                </c:pt>
                <c:pt idx="28991">
                  <c:v>84882</c:v>
                </c:pt>
                <c:pt idx="28992">
                  <c:v>84879</c:v>
                </c:pt>
                <c:pt idx="28993">
                  <c:v>84867</c:v>
                </c:pt>
                <c:pt idx="28994">
                  <c:v>84859</c:v>
                </c:pt>
                <c:pt idx="28995">
                  <c:v>84853</c:v>
                </c:pt>
                <c:pt idx="28996">
                  <c:v>84843</c:v>
                </c:pt>
                <c:pt idx="28997">
                  <c:v>84836</c:v>
                </c:pt>
                <c:pt idx="28998">
                  <c:v>84835</c:v>
                </c:pt>
                <c:pt idx="28999">
                  <c:v>84834</c:v>
                </c:pt>
                <c:pt idx="29000">
                  <c:v>84831</c:v>
                </c:pt>
                <c:pt idx="29001">
                  <c:v>84827</c:v>
                </c:pt>
                <c:pt idx="29002">
                  <c:v>84815</c:v>
                </c:pt>
                <c:pt idx="29003">
                  <c:v>84814</c:v>
                </c:pt>
                <c:pt idx="29004">
                  <c:v>84810</c:v>
                </c:pt>
                <c:pt idx="29005">
                  <c:v>84809</c:v>
                </c:pt>
                <c:pt idx="29006">
                  <c:v>84805</c:v>
                </c:pt>
                <c:pt idx="29007">
                  <c:v>84804</c:v>
                </c:pt>
                <c:pt idx="29008">
                  <c:v>84801</c:v>
                </c:pt>
                <c:pt idx="29009">
                  <c:v>84796</c:v>
                </c:pt>
                <c:pt idx="29010">
                  <c:v>84795</c:v>
                </c:pt>
                <c:pt idx="29011">
                  <c:v>84793</c:v>
                </c:pt>
                <c:pt idx="29012">
                  <c:v>84791</c:v>
                </c:pt>
                <c:pt idx="29013">
                  <c:v>84789</c:v>
                </c:pt>
                <c:pt idx="29014">
                  <c:v>84786</c:v>
                </c:pt>
                <c:pt idx="29015">
                  <c:v>84785</c:v>
                </c:pt>
                <c:pt idx="29016">
                  <c:v>84768</c:v>
                </c:pt>
                <c:pt idx="29017">
                  <c:v>84752</c:v>
                </c:pt>
                <c:pt idx="29018">
                  <c:v>84749</c:v>
                </c:pt>
                <c:pt idx="29019">
                  <c:v>84744</c:v>
                </c:pt>
                <c:pt idx="29020">
                  <c:v>84744</c:v>
                </c:pt>
                <c:pt idx="29021">
                  <c:v>84743</c:v>
                </c:pt>
                <c:pt idx="29022">
                  <c:v>84742</c:v>
                </c:pt>
                <c:pt idx="29023">
                  <c:v>84742</c:v>
                </c:pt>
                <c:pt idx="29024">
                  <c:v>84741</c:v>
                </c:pt>
                <c:pt idx="29025">
                  <c:v>84737</c:v>
                </c:pt>
                <c:pt idx="29026">
                  <c:v>84727</c:v>
                </c:pt>
                <c:pt idx="29027">
                  <c:v>84724</c:v>
                </c:pt>
                <c:pt idx="29028">
                  <c:v>84721</c:v>
                </c:pt>
                <c:pt idx="29029">
                  <c:v>84715</c:v>
                </c:pt>
                <c:pt idx="29030">
                  <c:v>84714</c:v>
                </c:pt>
                <c:pt idx="29031">
                  <c:v>84709</c:v>
                </c:pt>
                <c:pt idx="29032">
                  <c:v>84709</c:v>
                </c:pt>
                <c:pt idx="29033">
                  <c:v>84706</c:v>
                </c:pt>
                <c:pt idx="29034">
                  <c:v>84701</c:v>
                </c:pt>
                <c:pt idx="29035">
                  <c:v>84698</c:v>
                </c:pt>
                <c:pt idx="29036">
                  <c:v>84692</c:v>
                </c:pt>
                <c:pt idx="29037">
                  <c:v>84685</c:v>
                </c:pt>
                <c:pt idx="29038">
                  <c:v>84683</c:v>
                </c:pt>
                <c:pt idx="29039">
                  <c:v>84681</c:v>
                </c:pt>
                <c:pt idx="29040">
                  <c:v>84679</c:v>
                </c:pt>
                <c:pt idx="29041">
                  <c:v>84676</c:v>
                </c:pt>
                <c:pt idx="29042">
                  <c:v>84674</c:v>
                </c:pt>
                <c:pt idx="29043">
                  <c:v>84673</c:v>
                </c:pt>
                <c:pt idx="29044">
                  <c:v>84664</c:v>
                </c:pt>
                <c:pt idx="29045">
                  <c:v>84650</c:v>
                </c:pt>
                <c:pt idx="29046">
                  <c:v>84647</c:v>
                </c:pt>
                <c:pt idx="29047">
                  <c:v>84644</c:v>
                </c:pt>
                <c:pt idx="29048">
                  <c:v>84623</c:v>
                </c:pt>
                <c:pt idx="29049">
                  <c:v>84617</c:v>
                </c:pt>
                <c:pt idx="29050">
                  <c:v>84615</c:v>
                </c:pt>
                <c:pt idx="29051">
                  <c:v>84609</c:v>
                </c:pt>
                <c:pt idx="29052">
                  <c:v>84609</c:v>
                </c:pt>
                <c:pt idx="29053">
                  <c:v>84603</c:v>
                </c:pt>
                <c:pt idx="29054">
                  <c:v>84598</c:v>
                </c:pt>
                <c:pt idx="29055">
                  <c:v>84585</c:v>
                </c:pt>
                <c:pt idx="29056">
                  <c:v>84584</c:v>
                </c:pt>
                <c:pt idx="29057">
                  <c:v>84582</c:v>
                </c:pt>
                <c:pt idx="29058">
                  <c:v>84581</c:v>
                </c:pt>
                <c:pt idx="29059">
                  <c:v>84580</c:v>
                </c:pt>
                <c:pt idx="29060">
                  <c:v>84579</c:v>
                </c:pt>
                <c:pt idx="29061">
                  <c:v>84578</c:v>
                </c:pt>
                <c:pt idx="29062">
                  <c:v>84577</c:v>
                </c:pt>
                <c:pt idx="29063">
                  <c:v>84575</c:v>
                </c:pt>
                <c:pt idx="29064">
                  <c:v>84574</c:v>
                </c:pt>
                <c:pt idx="29065">
                  <c:v>84563</c:v>
                </c:pt>
                <c:pt idx="29066">
                  <c:v>84561</c:v>
                </c:pt>
                <c:pt idx="29067">
                  <c:v>84536</c:v>
                </c:pt>
                <c:pt idx="29068">
                  <c:v>84532</c:v>
                </c:pt>
                <c:pt idx="29069">
                  <c:v>84520</c:v>
                </c:pt>
                <c:pt idx="29070">
                  <c:v>84510</c:v>
                </c:pt>
                <c:pt idx="29071">
                  <c:v>84509</c:v>
                </c:pt>
                <c:pt idx="29072">
                  <c:v>84499</c:v>
                </c:pt>
                <c:pt idx="29073">
                  <c:v>84498</c:v>
                </c:pt>
                <c:pt idx="29074">
                  <c:v>84497</c:v>
                </c:pt>
                <c:pt idx="29075">
                  <c:v>84493</c:v>
                </c:pt>
                <c:pt idx="29076">
                  <c:v>84493</c:v>
                </c:pt>
                <c:pt idx="29077">
                  <c:v>84488</c:v>
                </c:pt>
                <c:pt idx="29078">
                  <c:v>84473</c:v>
                </c:pt>
                <c:pt idx="29079">
                  <c:v>84472</c:v>
                </c:pt>
                <c:pt idx="29080">
                  <c:v>84470</c:v>
                </c:pt>
                <c:pt idx="29081">
                  <c:v>84468</c:v>
                </c:pt>
                <c:pt idx="29082">
                  <c:v>84465</c:v>
                </c:pt>
                <c:pt idx="29083">
                  <c:v>84451</c:v>
                </c:pt>
                <c:pt idx="29084">
                  <c:v>84447</c:v>
                </c:pt>
                <c:pt idx="29085">
                  <c:v>84445</c:v>
                </c:pt>
                <c:pt idx="29086">
                  <c:v>84436</c:v>
                </c:pt>
                <c:pt idx="29087">
                  <c:v>84427</c:v>
                </c:pt>
                <c:pt idx="29088">
                  <c:v>84427</c:v>
                </c:pt>
                <c:pt idx="29089">
                  <c:v>84426</c:v>
                </c:pt>
                <c:pt idx="29090">
                  <c:v>84421</c:v>
                </c:pt>
                <c:pt idx="29091">
                  <c:v>84419</c:v>
                </c:pt>
                <c:pt idx="29092">
                  <c:v>84411</c:v>
                </c:pt>
                <c:pt idx="29093">
                  <c:v>84395</c:v>
                </c:pt>
                <c:pt idx="29094">
                  <c:v>84394</c:v>
                </c:pt>
                <c:pt idx="29095">
                  <c:v>84393</c:v>
                </c:pt>
                <c:pt idx="29096">
                  <c:v>84391</c:v>
                </c:pt>
                <c:pt idx="29097">
                  <c:v>84387</c:v>
                </c:pt>
                <c:pt idx="29098">
                  <c:v>84385</c:v>
                </c:pt>
                <c:pt idx="29099">
                  <c:v>84383</c:v>
                </c:pt>
                <c:pt idx="29100">
                  <c:v>84376</c:v>
                </c:pt>
                <c:pt idx="29101">
                  <c:v>84373</c:v>
                </c:pt>
                <c:pt idx="29102">
                  <c:v>84367</c:v>
                </c:pt>
                <c:pt idx="29103">
                  <c:v>84367</c:v>
                </c:pt>
                <c:pt idx="29104">
                  <c:v>84367</c:v>
                </c:pt>
                <c:pt idx="29105">
                  <c:v>84363</c:v>
                </c:pt>
                <c:pt idx="29106">
                  <c:v>84362</c:v>
                </c:pt>
                <c:pt idx="29107">
                  <c:v>84356</c:v>
                </c:pt>
                <c:pt idx="29108">
                  <c:v>84352</c:v>
                </c:pt>
                <c:pt idx="29109">
                  <c:v>84336</c:v>
                </c:pt>
                <c:pt idx="29110">
                  <c:v>84314</c:v>
                </c:pt>
                <c:pt idx="29111">
                  <c:v>84308</c:v>
                </c:pt>
                <c:pt idx="29112">
                  <c:v>84303</c:v>
                </c:pt>
                <c:pt idx="29113">
                  <c:v>84299</c:v>
                </c:pt>
                <c:pt idx="29114">
                  <c:v>84292</c:v>
                </c:pt>
                <c:pt idx="29115">
                  <c:v>84286</c:v>
                </c:pt>
                <c:pt idx="29116">
                  <c:v>84285</c:v>
                </c:pt>
                <c:pt idx="29117">
                  <c:v>84274</c:v>
                </c:pt>
                <c:pt idx="29118">
                  <c:v>84274</c:v>
                </c:pt>
                <c:pt idx="29119">
                  <c:v>84273</c:v>
                </c:pt>
                <c:pt idx="29120">
                  <c:v>84263</c:v>
                </c:pt>
                <c:pt idx="29121">
                  <c:v>84250</c:v>
                </c:pt>
                <c:pt idx="29122">
                  <c:v>84248</c:v>
                </c:pt>
                <c:pt idx="29123">
                  <c:v>84241</c:v>
                </c:pt>
                <c:pt idx="29124">
                  <c:v>84240</c:v>
                </c:pt>
                <c:pt idx="29125">
                  <c:v>84240</c:v>
                </c:pt>
                <c:pt idx="29126">
                  <c:v>84240</c:v>
                </c:pt>
                <c:pt idx="29127">
                  <c:v>84234</c:v>
                </c:pt>
                <c:pt idx="29128">
                  <c:v>84230</c:v>
                </c:pt>
                <c:pt idx="29129">
                  <c:v>84227</c:v>
                </c:pt>
                <c:pt idx="29130">
                  <c:v>84227</c:v>
                </c:pt>
                <c:pt idx="29131">
                  <c:v>84226</c:v>
                </c:pt>
                <c:pt idx="29132">
                  <c:v>84219</c:v>
                </c:pt>
                <c:pt idx="29133">
                  <c:v>84211</c:v>
                </c:pt>
                <c:pt idx="29134">
                  <c:v>84206</c:v>
                </c:pt>
                <c:pt idx="29135">
                  <c:v>84201</c:v>
                </c:pt>
                <c:pt idx="29136">
                  <c:v>84196</c:v>
                </c:pt>
                <c:pt idx="29137">
                  <c:v>84179</c:v>
                </c:pt>
                <c:pt idx="29138">
                  <c:v>84177</c:v>
                </c:pt>
                <c:pt idx="29139">
                  <c:v>84171</c:v>
                </c:pt>
                <c:pt idx="29140">
                  <c:v>84166</c:v>
                </c:pt>
                <c:pt idx="29141">
                  <c:v>84158</c:v>
                </c:pt>
                <c:pt idx="29142">
                  <c:v>84153</c:v>
                </c:pt>
                <c:pt idx="29143">
                  <c:v>84151</c:v>
                </c:pt>
                <c:pt idx="29144">
                  <c:v>84151</c:v>
                </c:pt>
                <c:pt idx="29145">
                  <c:v>84149</c:v>
                </c:pt>
                <c:pt idx="29146">
                  <c:v>84147</c:v>
                </c:pt>
                <c:pt idx="29147">
                  <c:v>84141</c:v>
                </c:pt>
                <c:pt idx="29148">
                  <c:v>84139</c:v>
                </c:pt>
                <c:pt idx="29149">
                  <c:v>84139</c:v>
                </c:pt>
                <c:pt idx="29150">
                  <c:v>84123</c:v>
                </c:pt>
                <c:pt idx="29151">
                  <c:v>84120</c:v>
                </c:pt>
                <c:pt idx="29152">
                  <c:v>84119</c:v>
                </c:pt>
                <c:pt idx="29153">
                  <c:v>84117</c:v>
                </c:pt>
                <c:pt idx="29154">
                  <c:v>84116</c:v>
                </c:pt>
                <c:pt idx="29155">
                  <c:v>84113</c:v>
                </c:pt>
                <c:pt idx="29156">
                  <c:v>84112</c:v>
                </c:pt>
                <c:pt idx="29157">
                  <c:v>84099</c:v>
                </c:pt>
                <c:pt idx="29158">
                  <c:v>84093</c:v>
                </c:pt>
                <c:pt idx="29159">
                  <c:v>84090</c:v>
                </c:pt>
                <c:pt idx="29160">
                  <c:v>84090</c:v>
                </c:pt>
                <c:pt idx="29161">
                  <c:v>84086</c:v>
                </c:pt>
                <c:pt idx="29162">
                  <c:v>84081</c:v>
                </c:pt>
                <c:pt idx="29163">
                  <c:v>84074</c:v>
                </c:pt>
                <c:pt idx="29164">
                  <c:v>84073</c:v>
                </c:pt>
                <c:pt idx="29165">
                  <c:v>84072</c:v>
                </c:pt>
                <c:pt idx="29166">
                  <c:v>84058</c:v>
                </c:pt>
                <c:pt idx="29167">
                  <c:v>84058</c:v>
                </c:pt>
                <c:pt idx="29168">
                  <c:v>84057</c:v>
                </c:pt>
                <c:pt idx="29169">
                  <c:v>84055</c:v>
                </c:pt>
                <c:pt idx="29170">
                  <c:v>84055</c:v>
                </c:pt>
                <c:pt idx="29171">
                  <c:v>84049</c:v>
                </c:pt>
                <c:pt idx="29172">
                  <c:v>84044</c:v>
                </c:pt>
                <c:pt idx="29173">
                  <c:v>84042</c:v>
                </c:pt>
                <c:pt idx="29174">
                  <c:v>84034</c:v>
                </c:pt>
                <c:pt idx="29175">
                  <c:v>84019</c:v>
                </c:pt>
                <c:pt idx="29176">
                  <c:v>84018</c:v>
                </c:pt>
                <c:pt idx="29177">
                  <c:v>84012</c:v>
                </c:pt>
                <c:pt idx="29178">
                  <c:v>84009</c:v>
                </c:pt>
                <c:pt idx="29179">
                  <c:v>84004</c:v>
                </c:pt>
                <c:pt idx="29180">
                  <c:v>83995</c:v>
                </c:pt>
                <c:pt idx="29181">
                  <c:v>83992</c:v>
                </c:pt>
                <c:pt idx="29182">
                  <c:v>83992</c:v>
                </c:pt>
                <c:pt idx="29183">
                  <c:v>83992</c:v>
                </c:pt>
                <c:pt idx="29184">
                  <c:v>83977</c:v>
                </c:pt>
                <c:pt idx="29185">
                  <c:v>83973</c:v>
                </c:pt>
                <c:pt idx="29186">
                  <c:v>83971</c:v>
                </c:pt>
                <c:pt idx="29187">
                  <c:v>83965</c:v>
                </c:pt>
                <c:pt idx="29188">
                  <c:v>83964</c:v>
                </c:pt>
                <c:pt idx="29189">
                  <c:v>83963</c:v>
                </c:pt>
                <c:pt idx="29190">
                  <c:v>83955</c:v>
                </c:pt>
                <c:pt idx="29191">
                  <c:v>83952</c:v>
                </c:pt>
                <c:pt idx="29192">
                  <c:v>83939</c:v>
                </c:pt>
                <c:pt idx="29193">
                  <c:v>83939</c:v>
                </c:pt>
                <c:pt idx="29194">
                  <c:v>83938</c:v>
                </c:pt>
                <c:pt idx="29195">
                  <c:v>83938</c:v>
                </c:pt>
                <c:pt idx="29196">
                  <c:v>83935</c:v>
                </c:pt>
                <c:pt idx="29197">
                  <c:v>83935</c:v>
                </c:pt>
                <c:pt idx="29198">
                  <c:v>83931</c:v>
                </c:pt>
                <c:pt idx="29199">
                  <c:v>83926</c:v>
                </c:pt>
                <c:pt idx="29200">
                  <c:v>83925</c:v>
                </c:pt>
                <c:pt idx="29201">
                  <c:v>83923</c:v>
                </c:pt>
                <c:pt idx="29202">
                  <c:v>83889</c:v>
                </c:pt>
                <c:pt idx="29203">
                  <c:v>83887</c:v>
                </c:pt>
                <c:pt idx="29204">
                  <c:v>83878</c:v>
                </c:pt>
                <c:pt idx="29205">
                  <c:v>83874</c:v>
                </c:pt>
                <c:pt idx="29206">
                  <c:v>83870</c:v>
                </c:pt>
                <c:pt idx="29207">
                  <c:v>83861</c:v>
                </c:pt>
                <c:pt idx="29208">
                  <c:v>83860</c:v>
                </c:pt>
                <c:pt idx="29209">
                  <c:v>83855</c:v>
                </c:pt>
                <c:pt idx="29210">
                  <c:v>83849</c:v>
                </c:pt>
                <c:pt idx="29211">
                  <c:v>83848</c:v>
                </c:pt>
                <c:pt idx="29212">
                  <c:v>83842</c:v>
                </c:pt>
                <c:pt idx="29213">
                  <c:v>83828</c:v>
                </c:pt>
                <c:pt idx="29214">
                  <c:v>83825</c:v>
                </c:pt>
                <c:pt idx="29215">
                  <c:v>83821</c:v>
                </c:pt>
                <c:pt idx="29216">
                  <c:v>83816</c:v>
                </c:pt>
                <c:pt idx="29217">
                  <c:v>83812</c:v>
                </c:pt>
                <c:pt idx="29218">
                  <c:v>83812</c:v>
                </c:pt>
                <c:pt idx="29219">
                  <c:v>83808</c:v>
                </c:pt>
                <c:pt idx="29220">
                  <c:v>83804</c:v>
                </c:pt>
                <c:pt idx="29221">
                  <c:v>83801</c:v>
                </c:pt>
                <c:pt idx="29222">
                  <c:v>83800</c:v>
                </c:pt>
                <c:pt idx="29223">
                  <c:v>83783</c:v>
                </c:pt>
                <c:pt idx="29224">
                  <c:v>83775</c:v>
                </c:pt>
                <c:pt idx="29225">
                  <c:v>83774</c:v>
                </c:pt>
                <c:pt idx="29226">
                  <c:v>83774</c:v>
                </c:pt>
                <c:pt idx="29227">
                  <c:v>83733</c:v>
                </c:pt>
                <c:pt idx="29228">
                  <c:v>83733</c:v>
                </c:pt>
                <c:pt idx="29229">
                  <c:v>83727</c:v>
                </c:pt>
                <c:pt idx="29230">
                  <c:v>83725</c:v>
                </c:pt>
                <c:pt idx="29231">
                  <c:v>83714</c:v>
                </c:pt>
                <c:pt idx="29232">
                  <c:v>83711</c:v>
                </c:pt>
                <c:pt idx="29233">
                  <c:v>83707</c:v>
                </c:pt>
                <c:pt idx="29234">
                  <c:v>83702</c:v>
                </c:pt>
                <c:pt idx="29235">
                  <c:v>83697</c:v>
                </c:pt>
                <c:pt idx="29236">
                  <c:v>83691</c:v>
                </c:pt>
                <c:pt idx="29237">
                  <c:v>83688</c:v>
                </c:pt>
                <c:pt idx="29238">
                  <c:v>83686</c:v>
                </c:pt>
                <c:pt idx="29239">
                  <c:v>83685</c:v>
                </c:pt>
                <c:pt idx="29240">
                  <c:v>83684</c:v>
                </c:pt>
                <c:pt idx="29241">
                  <c:v>83684</c:v>
                </c:pt>
                <c:pt idx="29242">
                  <c:v>83677</c:v>
                </c:pt>
                <c:pt idx="29243">
                  <c:v>83666</c:v>
                </c:pt>
                <c:pt idx="29244">
                  <c:v>83655</c:v>
                </c:pt>
                <c:pt idx="29245">
                  <c:v>83652</c:v>
                </c:pt>
                <c:pt idx="29246">
                  <c:v>83651</c:v>
                </c:pt>
                <c:pt idx="29247">
                  <c:v>83640</c:v>
                </c:pt>
                <c:pt idx="29248">
                  <c:v>83630</c:v>
                </c:pt>
                <c:pt idx="29249">
                  <c:v>83626</c:v>
                </c:pt>
                <c:pt idx="29250">
                  <c:v>83623</c:v>
                </c:pt>
                <c:pt idx="29251">
                  <c:v>83612</c:v>
                </c:pt>
                <c:pt idx="29252">
                  <c:v>83606</c:v>
                </c:pt>
                <c:pt idx="29253">
                  <c:v>83605</c:v>
                </c:pt>
                <c:pt idx="29254">
                  <c:v>83598</c:v>
                </c:pt>
                <c:pt idx="29255">
                  <c:v>83586</c:v>
                </c:pt>
                <c:pt idx="29256">
                  <c:v>83580</c:v>
                </c:pt>
                <c:pt idx="29257">
                  <c:v>83578</c:v>
                </c:pt>
                <c:pt idx="29258">
                  <c:v>83572</c:v>
                </c:pt>
                <c:pt idx="29259">
                  <c:v>83571</c:v>
                </c:pt>
                <c:pt idx="29260">
                  <c:v>83571</c:v>
                </c:pt>
                <c:pt idx="29261">
                  <c:v>83567</c:v>
                </c:pt>
                <c:pt idx="29262">
                  <c:v>83564</c:v>
                </c:pt>
                <c:pt idx="29263">
                  <c:v>83564</c:v>
                </c:pt>
                <c:pt idx="29264">
                  <c:v>83561</c:v>
                </c:pt>
                <c:pt idx="29265">
                  <c:v>83555</c:v>
                </c:pt>
                <c:pt idx="29266">
                  <c:v>83554</c:v>
                </c:pt>
                <c:pt idx="29267">
                  <c:v>83553</c:v>
                </c:pt>
                <c:pt idx="29268">
                  <c:v>83552</c:v>
                </c:pt>
                <c:pt idx="29269">
                  <c:v>83547</c:v>
                </c:pt>
                <c:pt idx="29270">
                  <c:v>83524</c:v>
                </c:pt>
                <c:pt idx="29271">
                  <c:v>83518</c:v>
                </c:pt>
                <c:pt idx="29272">
                  <c:v>83514</c:v>
                </c:pt>
                <c:pt idx="29273">
                  <c:v>83510</c:v>
                </c:pt>
                <c:pt idx="29274">
                  <c:v>83510</c:v>
                </c:pt>
                <c:pt idx="29275">
                  <c:v>83503</c:v>
                </c:pt>
                <c:pt idx="29276">
                  <c:v>83494</c:v>
                </c:pt>
                <c:pt idx="29277">
                  <c:v>83487</c:v>
                </c:pt>
                <c:pt idx="29278">
                  <c:v>83487</c:v>
                </c:pt>
                <c:pt idx="29279">
                  <c:v>83487</c:v>
                </c:pt>
                <c:pt idx="29280">
                  <c:v>83486</c:v>
                </c:pt>
                <c:pt idx="29281">
                  <c:v>83475</c:v>
                </c:pt>
                <c:pt idx="29282">
                  <c:v>83474</c:v>
                </c:pt>
                <c:pt idx="29283">
                  <c:v>83469</c:v>
                </c:pt>
                <c:pt idx="29284">
                  <c:v>83468</c:v>
                </c:pt>
                <c:pt idx="29285">
                  <c:v>83467</c:v>
                </c:pt>
                <c:pt idx="29286">
                  <c:v>83463</c:v>
                </c:pt>
                <c:pt idx="29287">
                  <c:v>83460</c:v>
                </c:pt>
                <c:pt idx="29288">
                  <c:v>83456</c:v>
                </c:pt>
                <c:pt idx="29289">
                  <c:v>83456</c:v>
                </c:pt>
                <c:pt idx="29290">
                  <c:v>83456</c:v>
                </c:pt>
                <c:pt idx="29291">
                  <c:v>83454</c:v>
                </c:pt>
                <c:pt idx="29292">
                  <c:v>83448</c:v>
                </c:pt>
                <c:pt idx="29293">
                  <c:v>83437</c:v>
                </c:pt>
                <c:pt idx="29294">
                  <c:v>83429</c:v>
                </c:pt>
                <c:pt idx="29295">
                  <c:v>83427</c:v>
                </c:pt>
                <c:pt idx="29296">
                  <c:v>83426</c:v>
                </c:pt>
                <c:pt idx="29297">
                  <c:v>83421</c:v>
                </c:pt>
                <c:pt idx="29298">
                  <c:v>83411</c:v>
                </c:pt>
                <c:pt idx="29299">
                  <c:v>83410</c:v>
                </c:pt>
                <c:pt idx="29300">
                  <c:v>83407</c:v>
                </c:pt>
                <c:pt idx="29301">
                  <c:v>83404</c:v>
                </c:pt>
                <c:pt idx="29302">
                  <c:v>83403</c:v>
                </c:pt>
                <c:pt idx="29303">
                  <c:v>83401</c:v>
                </c:pt>
                <c:pt idx="29304">
                  <c:v>83400</c:v>
                </c:pt>
                <c:pt idx="29305">
                  <c:v>83398</c:v>
                </c:pt>
                <c:pt idx="29306">
                  <c:v>83389</c:v>
                </c:pt>
                <c:pt idx="29307">
                  <c:v>83387</c:v>
                </c:pt>
                <c:pt idx="29308">
                  <c:v>83387</c:v>
                </c:pt>
                <c:pt idx="29309">
                  <c:v>83385</c:v>
                </c:pt>
                <c:pt idx="29310">
                  <c:v>83383</c:v>
                </c:pt>
                <c:pt idx="29311">
                  <c:v>83380</c:v>
                </c:pt>
                <c:pt idx="29312">
                  <c:v>83373</c:v>
                </c:pt>
                <c:pt idx="29313">
                  <c:v>83370</c:v>
                </c:pt>
                <c:pt idx="29314">
                  <c:v>83367</c:v>
                </c:pt>
                <c:pt idx="29315">
                  <c:v>83361</c:v>
                </c:pt>
                <c:pt idx="29316">
                  <c:v>83342</c:v>
                </c:pt>
                <c:pt idx="29317">
                  <c:v>83325</c:v>
                </c:pt>
                <c:pt idx="29318">
                  <c:v>83325</c:v>
                </c:pt>
                <c:pt idx="29319">
                  <c:v>83324</c:v>
                </c:pt>
                <c:pt idx="29320">
                  <c:v>83321</c:v>
                </c:pt>
                <c:pt idx="29321">
                  <c:v>83309</c:v>
                </c:pt>
                <c:pt idx="29322">
                  <c:v>83301</c:v>
                </c:pt>
                <c:pt idx="29323">
                  <c:v>83299</c:v>
                </c:pt>
                <c:pt idx="29324">
                  <c:v>83283</c:v>
                </c:pt>
                <c:pt idx="29325">
                  <c:v>83275</c:v>
                </c:pt>
                <c:pt idx="29326">
                  <c:v>83272</c:v>
                </c:pt>
                <c:pt idx="29327">
                  <c:v>83271</c:v>
                </c:pt>
                <c:pt idx="29328">
                  <c:v>83264</c:v>
                </c:pt>
                <c:pt idx="29329">
                  <c:v>83263</c:v>
                </c:pt>
                <c:pt idx="29330">
                  <c:v>83261</c:v>
                </c:pt>
                <c:pt idx="29331">
                  <c:v>83253</c:v>
                </c:pt>
                <c:pt idx="29332">
                  <c:v>83249</c:v>
                </c:pt>
                <c:pt idx="29333">
                  <c:v>83243</c:v>
                </c:pt>
                <c:pt idx="29334">
                  <c:v>83243</c:v>
                </c:pt>
                <c:pt idx="29335">
                  <c:v>83235</c:v>
                </c:pt>
                <c:pt idx="29336">
                  <c:v>83233</c:v>
                </c:pt>
                <c:pt idx="29337">
                  <c:v>83232</c:v>
                </c:pt>
                <c:pt idx="29338">
                  <c:v>83231</c:v>
                </c:pt>
                <c:pt idx="29339">
                  <c:v>83227</c:v>
                </c:pt>
                <c:pt idx="29340">
                  <c:v>83222</c:v>
                </c:pt>
                <c:pt idx="29341">
                  <c:v>83222</c:v>
                </c:pt>
                <c:pt idx="29342">
                  <c:v>83217</c:v>
                </c:pt>
                <c:pt idx="29343">
                  <c:v>83214</c:v>
                </c:pt>
                <c:pt idx="29344">
                  <c:v>83214</c:v>
                </c:pt>
                <c:pt idx="29345">
                  <c:v>83214</c:v>
                </c:pt>
                <c:pt idx="29346">
                  <c:v>83213</c:v>
                </c:pt>
                <c:pt idx="29347">
                  <c:v>83206</c:v>
                </c:pt>
                <c:pt idx="29348">
                  <c:v>83202</c:v>
                </c:pt>
                <c:pt idx="29349">
                  <c:v>83197</c:v>
                </c:pt>
                <c:pt idx="29350">
                  <c:v>83195</c:v>
                </c:pt>
                <c:pt idx="29351">
                  <c:v>83194</c:v>
                </c:pt>
                <c:pt idx="29352">
                  <c:v>83185</c:v>
                </c:pt>
                <c:pt idx="29353">
                  <c:v>83183</c:v>
                </c:pt>
                <c:pt idx="29354">
                  <c:v>83178</c:v>
                </c:pt>
                <c:pt idx="29355">
                  <c:v>83174</c:v>
                </c:pt>
                <c:pt idx="29356">
                  <c:v>83172</c:v>
                </c:pt>
                <c:pt idx="29357">
                  <c:v>83170</c:v>
                </c:pt>
                <c:pt idx="29358">
                  <c:v>83168</c:v>
                </c:pt>
                <c:pt idx="29359">
                  <c:v>83164</c:v>
                </c:pt>
                <c:pt idx="29360">
                  <c:v>83164</c:v>
                </c:pt>
                <c:pt idx="29361">
                  <c:v>83158</c:v>
                </c:pt>
                <c:pt idx="29362">
                  <c:v>83154</c:v>
                </c:pt>
                <c:pt idx="29363">
                  <c:v>83146</c:v>
                </c:pt>
                <c:pt idx="29364">
                  <c:v>83144</c:v>
                </c:pt>
                <c:pt idx="29365">
                  <c:v>83141</c:v>
                </c:pt>
                <c:pt idx="29366">
                  <c:v>83141</c:v>
                </c:pt>
                <c:pt idx="29367">
                  <c:v>83141</c:v>
                </c:pt>
                <c:pt idx="29368">
                  <c:v>83136</c:v>
                </c:pt>
                <c:pt idx="29369">
                  <c:v>83128</c:v>
                </c:pt>
                <c:pt idx="29370">
                  <c:v>83124</c:v>
                </c:pt>
                <c:pt idx="29371">
                  <c:v>83124</c:v>
                </c:pt>
                <c:pt idx="29372">
                  <c:v>83124</c:v>
                </c:pt>
                <c:pt idx="29373">
                  <c:v>83119</c:v>
                </c:pt>
                <c:pt idx="29374">
                  <c:v>83112</c:v>
                </c:pt>
                <c:pt idx="29375">
                  <c:v>83098</c:v>
                </c:pt>
                <c:pt idx="29376">
                  <c:v>83096</c:v>
                </c:pt>
                <c:pt idx="29377">
                  <c:v>83095</c:v>
                </c:pt>
                <c:pt idx="29378">
                  <c:v>83082</c:v>
                </c:pt>
                <c:pt idx="29379">
                  <c:v>83077</c:v>
                </c:pt>
                <c:pt idx="29380">
                  <c:v>83074</c:v>
                </c:pt>
                <c:pt idx="29381">
                  <c:v>83071</c:v>
                </c:pt>
                <c:pt idx="29382">
                  <c:v>83071</c:v>
                </c:pt>
                <c:pt idx="29383">
                  <c:v>83051</c:v>
                </c:pt>
                <c:pt idx="29384">
                  <c:v>83044</c:v>
                </c:pt>
                <c:pt idx="29385">
                  <c:v>83035</c:v>
                </c:pt>
                <c:pt idx="29386">
                  <c:v>83030</c:v>
                </c:pt>
                <c:pt idx="29387">
                  <c:v>83027</c:v>
                </c:pt>
                <c:pt idx="29388">
                  <c:v>83018</c:v>
                </c:pt>
                <c:pt idx="29389">
                  <c:v>83018</c:v>
                </c:pt>
                <c:pt idx="29390">
                  <c:v>83015</c:v>
                </c:pt>
                <c:pt idx="29391">
                  <c:v>83011</c:v>
                </c:pt>
                <c:pt idx="29392">
                  <c:v>83011</c:v>
                </c:pt>
                <c:pt idx="29393">
                  <c:v>83005</c:v>
                </c:pt>
                <c:pt idx="29394">
                  <c:v>83003</c:v>
                </c:pt>
                <c:pt idx="29395">
                  <c:v>83001</c:v>
                </c:pt>
                <c:pt idx="29396">
                  <c:v>82997</c:v>
                </c:pt>
                <c:pt idx="29397">
                  <c:v>82994</c:v>
                </c:pt>
                <c:pt idx="29398">
                  <c:v>82992</c:v>
                </c:pt>
                <c:pt idx="29399">
                  <c:v>82983</c:v>
                </c:pt>
                <c:pt idx="29400">
                  <c:v>82968</c:v>
                </c:pt>
                <c:pt idx="29401">
                  <c:v>82965</c:v>
                </c:pt>
                <c:pt idx="29402">
                  <c:v>82960</c:v>
                </c:pt>
                <c:pt idx="29403">
                  <c:v>82953</c:v>
                </c:pt>
                <c:pt idx="29404">
                  <c:v>82952</c:v>
                </c:pt>
                <c:pt idx="29405">
                  <c:v>82946</c:v>
                </c:pt>
                <c:pt idx="29406">
                  <c:v>82943</c:v>
                </c:pt>
                <c:pt idx="29407">
                  <c:v>82939</c:v>
                </c:pt>
                <c:pt idx="29408">
                  <c:v>82938</c:v>
                </c:pt>
                <c:pt idx="29409">
                  <c:v>82932</c:v>
                </c:pt>
                <c:pt idx="29410">
                  <c:v>82931</c:v>
                </c:pt>
                <c:pt idx="29411">
                  <c:v>82931</c:v>
                </c:pt>
                <c:pt idx="29412">
                  <c:v>82927</c:v>
                </c:pt>
                <c:pt idx="29413">
                  <c:v>82925</c:v>
                </c:pt>
                <c:pt idx="29414">
                  <c:v>82916</c:v>
                </c:pt>
                <c:pt idx="29415">
                  <c:v>82915</c:v>
                </c:pt>
                <c:pt idx="29416">
                  <c:v>82914</c:v>
                </c:pt>
                <c:pt idx="29417">
                  <c:v>82911</c:v>
                </c:pt>
                <c:pt idx="29418">
                  <c:v>82903</c:v>
                </c:pt>
                <c:pt idx="29419">
                  <c:v>82894</c:v>
                </c:pt>
                <c:pt idx="29420">
                  <c:v>82887</c:v>
                </c:pt>
                <c:pt idx="29421">
                  <c:v>82887</c:v>
                </c:pt>
                <c:pt idx="29422">
                  <c:v>82887</c:v>
                </c:pt>
                <c:pt idx="29423">
                  <c:v>82886</c:v>
                </c:pt>
                <c:pt idx="29424">
                  <c:v>82885</c:v>
                </c:pt>
                <c:pt idx="29425">
                  <c:v>82883</c:v>
                </c:pt>
                <c:pt idx="29426">
                  <c:v>82882</c:v>
                </c:pt>
                <c:pt idx="29427">
                  <c:v>82880</c:v>
                </c:pt>
                <c:pt idx="29428">
                  <c:v>82879</c:v>
                </c:pt>
                <c:pt idx="29429">
                  <c:v>82876</c:v>
                </c:pt>
                <c:pt idx="29430">
                  <c:v>82875</c:v>
                </c:pt>
                <c:pt idx="29431">
                  <c:v>82874</c:v>
                </c:pt>
                <c:pt idx="29432">
                  <c:v>82869</c:v>
                </c:pt>
                <c:pt idx="29433">
                  <c:v>82868</c:v>
                </c:pt>
                <c:pt idx="29434">
                  <c:v>82867</c:v>
                </c:pt>
                <c:pt idx="29435">
                  <c:v>82863</c:v>
                </c:pt>
                <c:pt idx="29436">
                  <c:v>82857</c:v>
                </c:pt>
                <c:pt idx="29437">
                  <c:v>82853</c:v>
                </c:pt>
                <c:pt idx="29438">
                  <c:v>82851</c:v>
                </c:pt>
                <c:pt idx="29439">
                  <c:v>82846</c:v>
                </c:pt>
                <c:pt idx="29440">
                  <c:v>82846</c:v>
                </c:pt>
                <c:pt idx="29441">
                  <c:v>82844</c:v>
                </c:pt>
                <c:pt idx="29442">
                  <c:v>82842</c:v>
                </c:pt>
                <c:pt idx="29443">
                  <c:v>82842</c:v>
                </c:pt>
                <c:pt idx="29444">
                  <c:v>82840</c:v>
                </c:pt>
                <c:pt idx="29445">
                  <c:v>82827</c:v>
                </c:pt>
                <c:pt idx="29446">
                  <c:v>82824</c:v>
                </c:pt>
                <c:pt idx="29447">
                  <c:v>82823</c:v>
                </c:pt>
                <c:pt idx="29448">
                  <c:v>82819</c:v>
                </c:pt>
                <c:pt idx="29449">
                  <c:v>82817</c:v>
                </c:pt>
                <c:pt idx="29450">
                  <c:v>82809</c:v>
                </c:pt>
                <c:pt idx="29451">
                  <c:v>82808</c:v>
                </c:pt>
                <c:pt idx="29452">
                  <c:v>82802</c:v>
                </c:pt>
                <c:pt idx="29453">
                  <c:v>82799</c:v>
                </c:pt>
                <c:pt idx="29454">
                  <c:v>82799</c:v>
                </c:pt>
                <c:pt idx="29455">
                  <c:v>82792</c:v>
                </c:pt>
                <c:pt idx="29456">
                  <c:v>82787</c:v>
                </c:pt>
                <c:pt idx="29457">
                  <c:v>82786</c:v>
                </c:pt>
                <c:pt idx="29458">
                  <c:v>82780</c:v>
                </c:pt>
                <c:pt idx="29459">
                  <c:v>82774</c:v>
                </c:pt>
                <c:pt idx="29460">
                  <c:v>82766</c:v>
                </c:pt>
                <c:pt idx="29461">
                  <c:v>82764</c:v>
                </c:pt>
                <c:pt idx="29462">
                  <c:v>82763</c:v>
                </c:pt>
                <c:pt idx="29463">
                  <c:v>82760</c:v>
                </c:pt>
                <c:pt idx="29464">
                  <c:v>82742</c:v>
                </c:pt>
                <c:pt idx="29465">
                  <c:v>82742</c:v>
                </c:pt>
                <c:pt idx="29466">
                  <c:v>82738</c:v>
                </c:pt>
                <c:pt idx="29467">
                  <c:v>82716</c:v>
                </c:pt>
                <c:pt idx="29468">
                  <c:v>82704</c:v>
                </c:pt>
                <c:pt idx="29469">
                  <c:v>82703</c:v>
                </c:pt>
                <c:pt idx="29470">
                  <c:v>82703</c:v>
                </c:pt>
                <c:pt idx="29471">
                  <c:v>82694</c:v>
                </c:pt>
                <c:pt idx="29472">
                  <c:v>82686</c:v>
                </c:pt>
                <c:pt idx="29473">
                  <c:v>82684</c:v>
                </c:pt>
                <c:pt idx="29474">
                  <c:v>82673</c:v>
                </c:pt>
                <c:pt idx="29475">
                  <c:v>82669</c:v>
                </c:pt>
                <c:pt idx="29476">
                  <c:v>82667</c:v>
                </c:pt>
                <c:pt idx="29477">
                  <c:v>82666</c:v>
                </c:pt>
                <c:pt idx="29478">
                  <c:v>82663</c:v>
                </c:pt>
                <c:pt idx="29479">
                  <c:v>82661</c:v>
                </c:pt>
                <c:pt idx="29480">
                  <c:v>82659</c:v>
                </c:pt>
                <c:pt idx="29481">
                  <c:v>82658</c:v>
                </c:pt>
                <c:pt idx="29482">
                  <c:v>82656</c:v>
                </c:pt>
                <c:pt idx="29483">
                  <c:v>82653</c:v>
                </c:pt>
                <c:pt idx="29484">
                  <c:v>82650</c:v>
                </c:pt>
                <c:pt idx="29485">
                  <c:v>82646</c:v>
                </c:pt>
                <c:pt idx="29486">
                  <c:v>82626</c:v>
                </c:pt>
                <c:pt idx="29487">
                  <c:v>82626</c:v>
                </c:pt>
                <c:pt idx="29488">
                  <c:v>82626</c:v>
                </c:pt>
                <c:pt idx="29489">
                  <c:v>82624</c:v>
                </c:pt>
                <c:pt idx="29490">
                  <c:v>82622</c:v>
                </c:pt>
                <c:pt idx="29491">
                  <c:v>82621</c:v>
                </c:pt>
                <c:pt idx="29492">
                  <c:v>82599</c:v>
                </c:pt>
                <c:pt idx="29493">
                  <c:v>82596</c:v>
                </c:pt>
                <c:pt idx="29494">
                  <c:v>82585</c:v>
                </c:pt>
                <c:pt idx="29495">
                  <c:v>82582</c:v>
                </c:pt>
                <c:pt idx="29496">
                  <c:v>82581</c:v>
                </c:pt>
                <c:pt idx="29497">
                  <c:v>82578</c:v>
                </c:pt>
                <c:pt idx="29498">
                  <c:v>82574</c:v>
                </c:pt>
                <c:pt idx="29499">
                  <c:v>82573</c:v>
                </c:pt>
                <c:pt idx="29500">
                  <c:v>82572</c:v>
                </c:pt>
                <c:pt idx="29501">
                  <c:v>82563</c:v>
                </c:pt>
                <c:pt idx="29502">
                  <c:v>82549</c:v>
                </c:pt>
                <c:pt idx="29503">
                  <c:v>82547</c:v>
                </c:pt>
                <c:pt idx="29504">
                  <c:v>82540</c:v>
                </c:pt>
                <c:pt idx="29505">
                  <c:v>82539</c:v>
                </c:pt>
                <c:pt idx="29506">
                  <c:v>82537</c:v>
                </c:pt>
                <c:pt idx="29507">
                  <c:v>82535</c:v>
                </c:pt>
                <c:pt idx="29508">
                  <c:v>82535</c:v>
                </c:pt>
                <c:pt idx="29509">
                  <c:v>82532</c:v>
                </c:pt>
                <c:pt idx="29510">
                  <c:v>82527</c:v>
                </c:pt>
                <c:pt idx="29511">
                  <c:v>82516</c:v>
                </c:pt>
                <c:pt idx="29512">
                  <c:v>82512</c:v>
                </c:pt>
                <c:pt idx="29513">
                  <c:v>82501</c:v>
                </c:pt>
                <c:pt idx="29514">
                  <c:v>82489</c:v>
                </c:pt>
                <c:pt idx="29515">
                  <c:v>82487</c:v>
                </c:pt>
                <c:pt idx="29516">
                  <c:v>82485</c:v>
                </c:pt>
                <c:pt idx="29517">
                  <c:v>82484</c:v>
                </c:pt>
                <c:pt idx="29518">
                  <c:v>82480</c:v>
                </c:pt>
                <c:pt idx="29519">
                  <c:v>82480</c:v>
                </c:pt>
                <c:pt idx="29520">
                  <c:v>82476</c:v>
                </c:pt>
                <c:pt idx="29521">
                  <c:v>82472</c:v>
                </c:pt>
                <c:pt idx="29522">
                  <c:v>82468</c:v>
                </c:pt>
                <c:pt idx="29523">
                  <c:v>82467</c:v>
                </c:pt>
                <c:pt idx="29524">
                  <c:v>82463</c:v>
                </c:pt>
                <c:pt idx="29525">
                  <c:v>82456</c:v>
                </c:pt>
                <c:pt idx="29526">
                  <c:v>82453</c:v>
                </c:pt>
                <c:pt idx="29527">
                  <c:v>82452</c:v>
                </c:pt>
                <c:pt idx="29528">
                  <c:v>82452</c:v>
                </c:pt>
                <c:pt idx="29529">
                  <c:v>82447</c:v>
                </c:pt>
                <c:pt idx="29530">
                  <c:v>82445</c:v>
                </c:pt>
                <c:pt idx="29531">
                  <c:v>82427</c:v>
                </c:pt>
                <c:pt idx="29532">
                  <c:v>82421</c:v>
                </c:pt>
                <c:pt idx="29533">
                  <c:v>82414</c:v>
                </c:pt>
                <c:pt idx="29534">
                  <c:v>82408</c:v>
                </c:pt>
                <c:pt idx="29535">
                  <c:v>82407</c:v>
                </c:pt>
                <c:pt idx="29536">
                  <c:v>82406</c:v>
                </c:pt>
                <c:pt idx="29537">
                  <c:v>82404</c:v>
                </c:pt>
                <c:pt idx="29538">
                  <c:v>82400</c:v>
                </c:pt>
                <c:pt idx="29539">
                  <c:v>82400</c:v>
                </c:pt>
                <c:pt idx="29540">
                  <c:v>82398</c:v>
                </c:pt>
                <c:pt idx="29541">
                  <c:v>82395</c:v>
                </c:pt>
                <c:pt idx="29542">
                  <c:v>82393</c:v>
                </c:pt>
                <c:pt idx="29543">
                  <c:v>82376</c:v>
                </c:pt>
                <c:pt idx="29544">
                  <c:v>82376</c:v>
                </c:pt>
                <c:pt idx="29545">
                  <c:v>82376</c:v>
                </c:pt>
                <c:pt idx="29546">
                  <c:v>82373</c:v>
                </c:pt>
                <c:pt idx="29547">
                  <c:v>82373</c:v>
                </c:pt>
                <c:pt idx="29548">
                  <c:v>82369</c:v>
                </c:pt>
                <c:pt idx="29549">
                  <c:v>82365</c:v>
                </c:pt>
                <c:pt idx="29550">
                  <c:v>82354</c:v>
                </c:pt>
                <c:pt idx="29551">
                  <c:v>82342</c:v>
                </c:pt>
                <c:pt idx="29552">
                  <c:v>82336</c:v>
                </c:pt>
                <c:pt idx="29553">
                  <c:v>82336</c:v>
                </c:pt>
                <c:pt idx="29554">
                  <c:v>82332</c:v>
                </c:pt>
                <c:pt idx="29555">
                  <c:v>82317</c:v>
                </c:pt>
                <c:pt idx="29556">
                  <c:v>82316</c:v>
                </c:pt>
                <c:pt idx="29557">
                  <c:v>82310</c:v>
                </c:pt>
                <c:pt idx="29558">
                  <c:v>82308</c:v>
                </c:pt>
                <c:pt idx="29559">
                  <c:v>82299</c:v>
                </c:pt>
                <c:pt idx="29560">
                  <c:v>82297</c:v>
                </c:pt>
                <c:pt idx="29561">
                  <c:v>82290</c:v>
                </c:pt>
                <c:pt idx="29562">
                  <c:v>82282</c:v>
                </c:pt>
                <c:pt idx="29563">
                  <c:v>82278</c:v>
                </c:pt>
                <c:pt idx="29564">
                  <c:v>82274</c:v>
                </c:pt>
                <c:pt idx="29565">
                  <c:v>82264</c:v>
                </c:pt>
                <c:pt idx="29566">
                  <c:v>82258</c:v>
                </c:pt>
                <c:pt idx="29567">
                  <c:v>82252</c:v>
                </c:pt>
                <c:pt idx="29568">
                  <c:v>82250</c:v>
                </c:pt>
                <c:pt idx="29569">
                  <c:v>82244</c:v>
                </c:pt>
                <c:pt idx="29570">
                  <c:v>82238</c:v>
                </c:pt>
                <c:pt idx="29571">
                  <c:v>82233</c:v>
                </c:pt>
                <c:pt idx="29572">
                  <c:v>82232</c:v>
                </c:pt>
                <c:pt idx="29573">
                  <c:v>82226</c:v>
                </c:pt>
                <c:pt idx="29574">
                  <c:v>82224</c:v>
                </c:pt>
                <c:pt idx="29575">
                  <c:v>82223</c:v>
                </c:pt>
                <c:pt idx="29576">
                  <c:v>82222</c:v>
                </c:pt>
                <c:pt idx="29577">
                  <c:v>82220</c:v>
                </c:pt>
                <c:pt idx="29578">
                  <c:v>82214</c:v>
                </c:pt>
                <c:pt idx="29579">
                  <c:v>82198</c:v>
                </c:pt>
                <c:pt idx="29580">
                  <c:v>82185</c:v>
                </c:pt>
                <c:pt idx="29581">
                  <c:v>82175</c:v>
                </c:pt>
                <c:pt idx="29582">
                  <c:v>82172</c:v>
                </c:pt>
                <c:pt idx="29583">
                  <c:v>82172</c:v>
                </c:pt>
                <c:pt idx="29584">
                  <c:v>82171</c:v>
                </c:pt>
                <c:pt idx="29585">
                  <c:v>82171</c:v>
                </c:pt>
                <c:pt idx="29586">
                  <c:v>82166</c:v>
                </c:pt>
                <c:pt idx="29587">
                  <c:v>82162</c:v>
                </c:pt>
                <c:pt idx="29588">
                  <c:v>82158</c:v>
                </c:pt>
                <c:pt idx="29589">
                  <c:v>82154</c:v>
                </c:pt>
                <c:pt idx="29590">
                  <c:v>82150</c:v>
                </c:pt>
                <c:pt idx="29591">
                  <c:v>82149</c:v>
                </c:pt>
                <c:pt idx="29592">
                  <c:v>82149</c:v>
                </c:pt>
                <c:pt idx="29593">
                  <c:v>82148</c:v>
                </c:pt>
                <c:pt idx="29594">
                  <c:v>82146</c:v>
                </c:pt>
                <c:pt idx="29595">
                  <c:v>82145</c:v>
                </c:pt>
                <c:pt idx="29596">
                  <c:v>82123</c:v>
                </c:pt>
                <c:pt idx="29597">
                  <c:v>82118</c:v>
                </c:pt>
                <c:pt idx="29598">
                  <c:v>82112</c:v>
                </c:pt>
                <c:pt idx="29599">
                  <c:v>82101</c:v>
                </c:pt>
                <c:pt idx="29600">
                  <c:v>82097</c:v>
                </c:pt>
                <c:pt idx="29601">
                  <c:v>82094</c:v>
                </c:pt>
                <c:pt idx="29602">
                  <c:v>82094</c:v>
                </c:pt>
                <c:pt idx="29603">
                  <c:v>82086</c:v>
                </c:pt>
                <c:pt idx="29604">
                  <c:v>82083</c:v>
                </c:pt>
                <c:pt idx="29605">
                  <c:v>82078</c:v>
                </c:pt>
                <c:pt idx="29606">
                  <c:v>82070</c:v>
                </c:pt>
                <c:pt idx="29607">
                  <c:v>82060</c:v>
                </c:pt>
                <c:pt idx="29608">
                  <c:v>82060</c:v>
                </c:pt>
                <c:pt idx="29609">
                  <c:v>82060</c:v>
                </c:pt>
                <c:pt idx="29610">
                  <c:v>82055</c:v>
                </c:pt>
                <c:pt idx="29611">
                  <c:v>82043</c:v>
                </c:pt>
                <c:pt idx="29612">
                  <c:v>82037</c:v>
                </c:pt>
                <c:pt idx="29613">
                  <c:v>82033</c:v>
                </c:pt>
                <c:pt idx="29614">
                  <c:v>82031</c:v>
                </c:pt>
                <c:pt idx="29615">
                  <c:v>82030</c:v>
                </c:pt>
                <c:pt idx="29616">
                  <c:v>82028</c:v>
                </c:pt>
                <c:pt idx="29617">
                  <c:v>82027</c:v>
                </c:pt>
                <c:pt idx="29618">
                  <c:v>82026</c:v>
                </c:pt>
                <c:pt idx="29619">
                  <c:v>82017</c:v>
                </c:pt>
                <c:pt idx="29620">
                  <c:v>82013</c:v>
                </c:pt>
                <c:pt idx="29621">
                  <c:v>82012</c:v>
                </c:pt>
                <c:pt idx="29622">
                  <c:v>82010</c:v>
                </c:pt>
                <c:pt idx="29623">
                  <c:v>82008</c:v>
                </c:pt>
                <c:pt idx="29624">
                  <c:v>82006</c:v>
                </c:pt>
                <c:pt idx="29625">
                  <c:v>82004</c:v>
                </c:pt>
                <c:pt idx="29626">
                  <c:v>81999</c:v>
                </c:pt>
                <c:pt idx="29627">
                  <c:v>81998</c:v>
                </c:pt>
                <c:pt idx="29628">
                  <c:v>81994</c:v>
                </c:pt>
                <c:pt idx="29629">
                  <c:v>81988</c:v>
                </c:pt>
                <c:pt idx="29630">
                  <c:v>81981</c:v>
                </c:pt>
                <c:pt idx="29631">
                  <c:v>81977</c:v>
                </c:pt>
                <c:pt idx="29632">
                  <c:v>81976</c:v>
                </c:pt>
                <c:pt idx="29633">
                  <c:v>81968</c:v>
                </c:pt>
                <c:pt idx="29634">
                  <c:v>81966</c:v>
                </c:pt>
                <c:pt idx="29635">
                  <c:v>81964</c:v>
                </c:pt>
                <c:pt idx="29636">
                  <c:v>81961</c:v>
                </c:pt>
                <c:pt idx="29637">
                  <c:v>81961</c:v>
                </c:pt>
                <c:pt idx="29638">
                  <c:v>81959</c:v>
                </c:pt>
                <c:pt idx="29639">
                  <c:v>81949</c:v>
                </c:pt>
                <c:pt idx="29640">
                  <c:v>81948</c:v>
                </c:pt>
                <c:pt idx="29641">
                  <c:v>81948</c:v>
                </c:pt>
                <c:pt idx="29642">
                  <c:v>81948</c:v>
                </c:pt>
                <c:pt idx="29643">
                  <c:v>81946</c:v>
                </c:pt>
                <c:pt idx="29644">
                  <c:v>81942</c:v>
                </c:pt>
                <c:pt idx="29645">
                  <c:v>81935</c:v>
                </c:pt>
                <c:pt idx="29646">
                  <c:v>81933</c:v>
                </c:pt>
                <c:pt idx="29647">
                  <c:v>81931</c:v>
                </c:pt>
                <c:pt idx="29648">
                  <c:v>81928</c:v>
                </c:pt>
                <c:pt idx="29649">
                  <c:v>81927</c:v>
                </c:pt>
                <c:pt idx="29650">
                  <c:v>81920</c:v>
                </c:pt>
                <c:pt idx="29651">
                  <c:v>81899</c:v>
                </c:pt>
                <c:pt idx="29652">
                  <c:v>81895</c:v>
                </c:pt>
                <c:pt idx="29653">
                  <c:v>81890</c:v>
                </c:pt>
                <c:pt idx="29654">
                  <c:v>81890</c:v>
                </c:pt>
                <c:pt idx="29655">
                  <c:v>81889</c:v>
                </c:pt>
                <c:pt idx="29656">
                  <c:v>81880</c:v>
                </c:pt>
                <c:pt idx="29657">
                  <c:v>81879</c:v>
                </c:pt>
                <c:pt idx="29658">
                  <c:v>81879</c:v>
                </c:pt>
                <c:pt idx="29659">
                  <c:v>81878</c:v>
                </c:pt>
                <c:pt idx="29660">
                  <c:v>81873</c:v>
                </c:pt>
                <c:pt idx="29661">
                  <c:v>81870</c:v>
                </c:pt>
                <c:pt idx="29662">
                  <c:v>81869</c:v>
                </c:pt>
                <c:pt idx="29663">
                  <c:v>81869</c:v>
                </c:pt>
                <c:pt idx="29664">
                  <c:v>81867</c:v>
                </c:pt>
                <c:pt idx="29665">
                  <c:v>81858</c:v>
                </c:pt>
                <c:pt idx="29666">
                  <c:v>81856</c:v>
                </c:pt>
                <c:pt idx="29667">
                  <c:v>81846</c:v>
                </c:pt>
                <c:pt idx="29668">
                  <c:v>81844</c:v>
                </c:pt>
                <c:pt idx="29669">
                  <c:v>81843</c:v>
                </c:pt>
                <c:pt idx="29670">
                  <c:v>81838</c:v>
                </c:pt>
                <c:pt idx="29671">
                  <c:v>81835</c:v>
                </c:pt>
                <c:pt idx="29672">
                  <c:v>81833</c:v>
                </c:pt>
                <c:pt idx="29673">
                  <c:v>81832</c:v>
                </c:pt>
                <c:pt idx="29674">
                  <c:v>81828</c:v>
                </c:pt>
                <c:pt idx="29675">
                  <c:v>81825</c:v>
                </c:pt>
                <c:pt idx="29676">
                  <c:v>81823</c:v>
                </c:pt>
                <c:pt idx="29677">
                  <c:v>81809</c:v>
                </c:pt>
                <c:pt idx="29678">
                  <c:v>81806</c:v>
                </c:pt>
                <c:pt idx="29679">
                  <c:v>81797</c:v>
                </c:pt>
                <c:pt idx="29680">
                  <c:v>81790</c:v>
                </c:pt>
                <c:pt idx="29681">
                  <c:v>81790</c:v>
                </c:pt>
                <c:pt idx="29682">
                  <c:v>81782</c:v>
                </c:pt>
                <c:pt idx="29683">
                  <c:v>81782</c:v>
                </c:pt>
                <c:pt idx="29684">
                  <c:v>81780</c:v>
                </c:pt>
                <c:pt idx="29685">
                  <c:v>81777</c:v>
                </c:pt>
                <c:pt idx="29686">
                  <c:v>81765</c:v>
                </c:pt>
                <c:pt idx="29687">
                  <c:v>81758</c:v>
                </c:pt>
                <c:pt idx="29688">
                  <c:v>81755</c:v>
                </c:pt>
                <c:pt idx="29689">
                  <c:v>81754</c:v>
                </c:pt>
                <c:pt idx="29690">
                  <c:v>81747</c:v>
                </c:pt>
                <c:pt idx="29691">
                  <c:v>81744</c:v>
                </c:pt>
                <c:pt idx="29692">
                  <c:v>81742</c:v>
                </c:pt>
                <c:pt idx="29693">
                  <c:v>81742</c:v>
                </c:pt>
                <c:pt idx="29694">
                  <c:v>81736</c:v>
                </c:pt>
                <c:pt idx="29695">
                  <c:v>81735</c:v>
                </c:pt>
                <c:pt idx="29696">
                  <c:v>81729</c:v>
                </c:pt>
                <c:pt idx="29697">
                  <c:v>81728</c:v>
                </c:pt>
                <c:pt idx="29698">
                  <c:v>81727</c:v>
                </c:pt>
                <c:pt idx="29699">
                  <c:v>81725</c:v>
                </c:pt>
                <c:pt idx="29700">
                  <c:v>81710</c:v>
                </c:pt>
                <c:pt idx="29701">
                  <c:v>81708</c:v>
                </c:pt>
                <c:pt idx="29702">
                  <c:v>81707</c:v>
                </c:pt>
                <c:pt idx="29703">
                  <c:v>81693</c:v>
                </c:pt>
                <c:pt idx="29704">
                  <c:v>81677</c:v>
                </c:pt>
                <c:pt idx="29705">
                  <c:v>81672</c:v>
                </c:pt>
                <c:pt idx="29706">
                  <c:v>81670</c:v>
                </c:pt>
                <c:pt idx="29707">
                  <c:v>81666</c:v>
                </c:pt>
                <c:pt idx="29708">
                  <c:v>81659</c:v>
                </c:pt>
                <c:pt idx="29709">
                  <c:v>81651</c:v>
                </c:pt>
                <c:pt idx="29710">
                  <c:v>81645</c:v>
                </c:pt>
                <c:pt idx="29711">
                  <c:v>81639</c:v>
                </c:pt>
                <c:pt idx="29712">
                  <c:v>81638</c:v>
                </c:pt>
                <c:pt idx="29713">
                  <c:v>81632</c:v>
                </c:pt>
                <c:pt idx="29714">
                  <c:v>81632</c:v>
                </c:pt>
                <c:pt idx="29715">
                  <c:v>81620</c:v>
                </c:pt>
                <c:pt idx="29716">
                  <c:v>81620</c:v>
                </c:pt>
                <c:pt idx="29717">
                  <c:v>81619</c:v>
                </c:pt>
                <c:pt idx="29718">
                  <c:v>81619</c:v>
                </c:pt>
                <c:pt idx="29719">
                  <c:v>81619</c:v>
                </c:pt>
                <c:pt idx="29720">
                  <c:v>81615</c:v>
                </c:pt>
                <c:pt idx="29721">
                  <c:v>81604</c:v>
                </c:pt>
                <c:pt idx="29722">
                  <c:v>81600</c:v>
                </c:pt>
                <c:pt idx="29723">
                  <c:v>81596</c:v>
                </c:pt>
                <c:pt idx="29724">
                  <c:v>81587</c:v>
                </c:pt>
                <c:pt idx="29725">
                  <c:v>81586</c:v>
                </c:pt>
                <c:pt idx="29726">
                  <c:v>81577</c:v>
                </c:pt>
                <c:pt idx="29727">
                  <c:v>81574</c:v>
                </c:pt>
                <c:pt idx="29728">
                  <c:v>81568</c:v>
                </c:pt>
                <c:pt idx="29729">
                  <c:v>81564</c:v>
                </c:pt>
                <c:pt idx="29730">
                  <c:v>81564</c:v>
                </c:pt>
                <c:pt idx="29731">
                  <c:v>81562</c:v>
                </c:pt>
                <c:pt idx="29732">
                  <c:v>81548</c:v>
                </c:pt>
                <c:pt idx="29733">
                  <c:v>81547</c:v>
                </c:pt>
                <c:pt idx="29734">
                  <c:v>81545</c:v>
                </c:pt>
                <c:pt idx="29735">
                  <c:v>81545</c:v>
                </c:pt>
                <c:pt idx="29736">
                  <c:v>81545</c:v>
                </c:pt>
                <c:pt idx="29737">
                  <c:v>81540</c:v>
                </c:pt>
                <c:pt idx="29738">
                  <c:v>81536</c:v>
                </c:pt>
                <c:pt idx="29739">
                  <c:v>81534</c:v>
                </c:pt>
                <c:pt idx="29740">
                  <c:v>81533</c:v>
                </c:pt>
                <c:pt idx="29741">
                  <c:v>81530</c:v>
                </c:pt>
                <c:pt idx="29742">
                  <c:v>81525</c:v>
                </c:pt>
                <c:pt idx="29743">
                  <c:v>81519</c:v>
                </c:pt>
                <c:pt idx="29744">
                  <c:v>81518</c:v>
                </c:pt>
                <c:pt idx="29745">
                  <c:v>81518</c:v>
                </c:pt>
                <c:pt idx="29746">
                  <c:v>81515</c:v>
                </c:pt>
                <c:pt idx="29747">
                  <c:v>81511</c:v>
                </c:pt>
                <c:pt idx="29748">
                  <c:v>81507</c:v>
                </c:pt>
                <c:pt idx="29749">
                  <c:v>81489</c:v>
                </c:pt>
                <c:pt idx="29750">
                  <c:v>81487</c:v>
                </c:pt>
                <c:pt idx="29751">
                  <c:v>81482</c:v>
                </c:pt>
                <c:pt idx="29752">
                  <c:v>81479</c:v>
                </c:pt>
                <c:pt idx="29753">
                  <c:v>81474</c:v>
                </c:pt>
                <c:pt idx="29754">
                  <c:v>81471</c:v>
                </c:pt>
                <c:pt idx="29755">
                  <c:v>81468</c:v>
                </c:pt>
                <c:pt idx="29756">
                  <c:v>81467</c:v>
                </c:pt>
                <c:pt idx="29757">
                  <c:v>81466</c:v>
                </c:pt>
                <c:pt idx="29758">
                  <c:v>81465</c:v>
                </c:pt>
                <c:pt idx="29759">
                  <c:v>81464</c:v>
                </c:pt>
                <c:pt idx="29760">
                  <c:v>81460</c:v>
                </c:pt>
                <c:pt idx="29761">
                  <c:v>81458</c:v>
                </c:pt>
                <c:pt idx="29762">
                  <c:v>81456</c:v>
                </c:pt>
                <c:pt idx="29763">
                  <c:v>81451</c:v>
                </c:pt>
                <c:pt idx="29764">
                  <c:v>81448</c:v>
                </c:pt>
                <c:pt idx="29765">
                  <c:v>81446</c:v>
                </c:pt>
                <c:pt idx="29766">
                  <c:v>81440</c:v>
                </c:pt>
                <c:pt idx="29767">
                  <c:v>81428</c:v>
                </c:pt>
                <c:pt idx="29768">
                  <c:v>81427</c:v>
                </c:pt>
                <c:pt idx="29769">
                  <c:v>81426</c:v>
                </c:pt>
                <c:pt idx="29770">
                  <c:v>81416</c:v>
                </c:pt>
                <c:pt idx="29771">
                  <c:v>81412</c:v>
                </c:pt>
                <c:pt idx="29772">
                  <c:v>81403</c:v>
                </c:pt>
                <c:pt idx="29773">
                  <c:v>81399</c:v>
                </c:pt>
                <c:pt idx="29774">
                  <c:v>81395</c:v>
                </c:pt>
                <c:pt idx="29775">
                  <c:v>81393</c:v>
                </c:pt>
                <c:pt idx="29776">
                  <c:v>81381</c:v>
                </c:pt>
                <c:pt idx="29777">
                  <c:v>81364</c:v>
                </c:pt>
                <c:pt idx="29778">
                  <c:v>81362</c:v>
                </c:pt>
                <c:pt idx="29779">
                  <c:v>81360</c:v>
                </c:pt>
                <c:pt idx="29780">
                  <c:v>81360</c:v>
                </c:pt>
                <c:pt idx="29781">
                  <c:v>81359</c:v>
                </c:pt>
                <c:pt idx="29782">
                  <c:v>81358</c:v>
                </c:pt>
                <c:pt idx="29783">
                  <c:v>81351</c:v>
                </c:pt>
                <c:pt idx="29784">
                  <c:v>81348</c:v>
                </c:pt>
                <c:pt idx="29785">
                  <c:v>81340</c:v>
                </c:pt>
                <c:pt idx="29786">
                  <c:v>81339</c:v>
                </c:pt>
                <c:pt idx="29787">
                  <c:v>81339</c:v>
                </c:pt>
                <c:pt idx="29788">
                  <c:v>81337</c:v>
                </c:pt>
                <c:pt idx="29789">
                  <c:v>81334</c:v>
                </c:pt>
                <c:pt idx="29790">
                  <c:v>81333</c:v>
                </c:pt>
                <c:pt idx="29791">
                  <c:v>81332</c:v>
                </c:pt>
                <c:pt idx="29792">
                  <c:v>81327</c:v>
                </c:pt>
                <c:pt idx="29793">
                  <c:v>81325</c:v>
                </c:pt>
                <c:pt idx="29794">
                  <c:v>81322</c:v>
                </c:pt>
                <c:pt idx="29795">
                  <c:v>81316</c:v>
                </c:pt>
                <c:pt idx="29796">
                  <c:v>81309</c:v>
                </c:pt>
                <c:pt idx="29797">
                  <c:v>81297</c:v>
                </c:pt>
                <c:pt idx="29798">
                  <c:v>81295</c:v>
                </c:pt>
                <c:pt idx="29799">
                  <c:v>81291</c:v>
                </c:pt>
                <c:pt idx="29800">
                  <c:v>81290</c:v>
                </c:pt>
                <c:pt idx="29801">
                  <c:v>81289</c:v>
                </c:pt>
                <c:pt idx="29802">
                  <c:v>81284</c:v>
                </c:pt>
                <c:pt idx="29803">
                  <c:v>81281</c:v>
                </c:pt>
                <c:pt idx="29804">
                  <c:v>81280</c:v>
                </c:pt>
                <c:pt idx="29805">
                  <c:v>81280</c:v>
                </c:pt>
                <c:pt idx="29806">
                  <c:v>81277</c:v>
                </c:pt>
                <c:pt idx="29807">
                  <c:v>81275</c:v>
                </c:pt>
                <c:pt idx="29808">
                  <c:v>81275</c:v>
                </c:pt>
                <c:pt idx="29809">
                  <c:v>81273</c:v>
                </c:pt>
                <c:pt idx="29810">
                  <c:v>81272</c:v>
                </c:pt>
                <c:pt idx="29811">
                  <c:v>81268</c:v>
                </c:pt>
                <c:pt idx="29812">
                  <c:v>81267</c:v>
                </c:pt>
                <c:pt idx="29813">
                  <c:v>81252</c:v>
                </c:pt>
                <c:pt idx="29814">
                  <c:v>81248</c:v>
                </c:pt>
                <c:pt idx="29815">
                  <c:v>81244</c:v>
                </c:pt>
                <c:pt idx="29816">
                  <c:v>81234</c:v>
                </c:pt>
                <c:pt idx="29817">
                  <c:v>81229</c:v>
                </c:pt>
                <c:pt idx="29818">
                  <c:v>81224</c:v>
                </c:pt>
                <c:pt idx="29819">
                  <c:v>81224</c:v>
                </c:pt>
                <c:pt idx="29820">
                  <c:v>81221</c:v>
                </c:pt>
                <c:pt idx="29821">
                  <c:v>81221</c:v>
                </c:pt>
                <c:pt idx="29822">
                  <c:v>81220</c:v>
                </c:pt>
                <c:pt idx="29823">
                  <c:v>81216</c:v>
                </c:pt>
                <c:pt idx="29824">
                  <c:v>81214</c:v>
                </c:pt>
                <c:pt idx="29825">
                  <c:v>81204</c:v>
                </c:pt>
                <c:pt idx="29826">
                  <c:v>81202</c:v>
                </c:pt>
                <c:pt idx="29827">
                  <c:v>81199</c:v>
                </c:pt>
                <c:pt idx="29828">
                  <c:v>81196</c:v>
                </c:pt>
                <c:pt idx="29829">
                  <c:v>81183</c:v>
                </c:pt>
                <c:pt idx="29830">
                  <c:v>81175</c:v>
                </c:pt>
                <c:pt idx="29831">
                  <c:v>81170</c:v>
                </c:pt>
                <c:pt idx="29832">
                  <c:v>81169</c:v>
                </c:pt>
                <c:pt idx="29833">
                  <c:v>81164</c:v>
                </c:pt>
                <c:pt idx="29834">
                  <c:v>81163</c:v>
                </c:pt>
                <c:pt idx="29835">
                  <c:v>81157</c:v>
                </c:pt>
                <c:pt idx="29836">
                  <c:v>81147</c:v>
                </c:pt>
                <c:pt idx="29837">
                  <c:v>81147</c:v>
                </c:pt>
                <c:pt idx="29838">
                  <c:v>81146</c:v>
                </c:pt>
                <c:pt idx="29839">
                  <c:v>81133</c:v>
                </c:pt>
                <c:pt idx="29840">
                  <c:v>81131</c:v>
                </c:pt>
                <c:pt idx="29841">
                  <c:v>81129</c:v>
                </c:pt>
                <c:pt idx="29842">
                  <c:v>81117</c:v>
                </c:pt>
                <c:pt idx="29843">
                  <c:v>81117</c:v>
                </c:pt>
                <c:pt idx="29844">
                  <c:v>81115</c:v>
                </c:pt>
                <c:pt idx="29845">
                  <c:v>81110</c:v>
                </c:pt>
                <c:pt idx="29846">
                  <c:v>81094</c:v>
                </c:pt>
                <c:pt idx="29847">
                  <c:v>81092</c:v>
                </c:pt>
                <c:pt idx="29848">
                  <c:v>81086</c:v>
                </c:pt>
                <c:pt idx="29849">
                  <c:v>81085</c:v>
                </c:pt>
                <c:pt idx="29850">
                  <c:v>81084</c:v>
                </c:pt>
                <c:pt idx="29851">
                  <c:v>81065</c:v>
                </c:pt>
                <c:pt idx="29852">
                  <c:v>81052</c:v>
                </c:pt>
                <c:pt idx="29853">
                  <c:v>81051</c:v>
                </c:pt>
                <c:pt idx="29854">
                  <c:v>81050</c:v>
                </c:pt>
                <c:pt idx="29855">
                  <c:v>81049</c:v>
                </c:pt>
                <c:pt idx="29856">
                  <c:v>81049</c:v>
                </c:pt>
                <c:pt idx="29857">
                  <c:v>81042</c:v>
                </c:pt>
                <c:pt idx="29858">
                  <c:v>81038</c:v>
                </c:pt>
                <c:pt idx="29859">
                  <c:v>81038</c:v>
                </c:pt>
                <c:pt idx="29860">
                  <c:v>81034</c:v>
                </c:pt>
                <c:pt idx="29861">
                  <c:v>81034</c:v>
                </c:pt>
                <c:pt idx="29862">
                  <c:v>81034</c:v>
                </c:pt>
                <c:pt idx="29863">
                  <c:v>81030</c:v>
                </c:pt>
                <c:pt idx="29864">
                  <c:v>81026</c:v>
                </c:pt>
                <c:pt idx="29865">
                  <c:v>81021</c:v>
                </c:pt>
                <c:pt idx="29866">
                  <c:v>81014</c:v>
                </c:pt>
                <c:pt idx="29867">
                  <c:v>81013</c:v>
                </c:pt>
                <c:pt idx="29868">
                  <c:v>81010</c:v>
                </c:pt>
                <c:pt idx="29869">
                  <c:v>81006</c:v>
                </c:pt>
                <c:pt idx="29870">
                  <c:v>81001</c:v>
                </c:pt>
                <c:pt idx="29871">
                  <c:v>80991</c:v>
                </c:pt>
                <c:pt idx="29872">
                  <c:v>80985</c:v>
                </c:pt>
                <c:pt idx="29873">
                  <c:v>80983</c:v>
                </c:pt>
                <c:pt idx="29874">
                  <c:v>80979</c:v>
                </c:pt>
                <c:pt idx="29875">
                  <c:v>80973</c:v>
                </c:pt>
                <c:pt idx="29876">
                  <c:v>80961</c:v>
                </c:pt>
                <c:pt idx="29877">
                  <c:v>80958</c:v>
                </c:pt>
                <c:pt idx="29878">
                  <c:v>80948</c:v>
                </c:pt>
                <c:pt idx="29879">
                  <c:v>80947</c:v>
                </c:pt>
                <c:pt idx="29880">
                  <c:v>80946</c:v>
                </c:pt>
                <c:pt idx="29881">
                  <c:v>80938</c:v>
                </c:pt>
                <c:pt idx="29882">
                  <c:v>80932</c:v>
                </c:pt>
                <c:pt idx="29883">
                  <c:v>80930</c:v>
                </c:pt>
                <c:pt idx="29884">
                  <c:v>80929</c:v>
                </c:pt>
                <c:pt idx="29885">
                  <c:v>80927</c:v>
                </c:pt>
                <c:pt idx="29886">
                  <c:v>80919</c:v>
                </c:pt>
                <c:pt idx="29887">
                  <c:v>80911</c:v>
                </c:pt>
                <c:pt idx="29888">
                  <c:v>80911</c:v>
                </c:pt>
                <c:pt idx="29889">
                  <c:v>80906</c:v>
                </c:pt>
                <c:pt idx="29890">
                  <c:v>80905</c:v>
                </c:pt>
                <c:pt idx="29891">
                  <c:v>80902</c:v>
                </c:pt>
                <c:pt idx="29892">
                  <c:v>80902</c:v>
                </c:pt>
                <c:pt idx="29893">
                  <c:v>80880</c:v>
                </c:pt>
                <c:pt idx="29894">
                  <c:v>80879</c:v>
                </c:pt>
                <c:pt idx="29895">
                  <c:v>80867</c:v>
                </c:pt>
                <c:pt idx="29896">
                  <c:v>80865</c:v>
                </c:pt>
                <c:pt idx="29897">
                  <c:v>80855</c:v>
                </c:pt>
                <c:pt idx="29898">
                  <c:v>80854</c:v>
                </c:pt>
                <c:pt idx="29899">
                  <c:v>80853</c:v>
                </c:pt>
                <c:pt idx="29900">
                  <c:v>80847</c:v>
                </c:pt>
                <c:pt idx="29901">
                  <c:v>80840</c:v>
                </c:pt>
                <c:pt idx="29902">
                  <c:v>80831</c:v>
                </c:pt>
                <c:pt idx="29903">
                  <c:v>80824</c:v>
                </c:pt>
                <c:pt idx="29904">
                  <c:v>80822</c:v>
                </c:pt>
                <c:pt idx="29905">
                  <c:v>80821</c:v>
                </c:pt>
                <c:pt idx="29906">
                  <c:v>80819</c:v>
                </c:pt>
                <c:pt idx="29907">
                  <c:v>80819</c:v>
                </c:pt>
                <c:pt idx="29908">
                  <c:v>80806</c:v>
                </c:pt>
                <c:pt idx="29909">
                  <c:v>80806</c:v>
                </c:pt>
                <c:pt idx="29910">
                  <c:v>80794</c:v>
                </c:pt>
                <c:pt idx="29911">
                  <c:v>80793</c:v>
                </c:pt>
                <c:pt idx="29912">
                  <c:v>80786</c:v>
                </c:pt>
                <c:pt idx="29913">
                  <c:v>80786</c:v>
                </c:pt>
                <c:pt idx="29914">
                  <c:v>80785</c:v>
                </c:pt>
                <c:pt idx="29915">
                  <c:v>80782</c:v>
                </c:pt>
                <c:pt idx="29916">
                  <c:v>80774</c:v>
                </c:pt>
                <c:pt idx="29917">
                  <c:v>80765</c:v>
                </c:pt>
                <c:pt idx="29918">
                  <c:v>80762</c:v>
                </c:pt>
                <c:pt idx="29919">
                  <c:v>80759</c:v>
                </c:pt>
                <c:pt idx="29920">
                  <c:v>80756</c:v>
                </c:pt>
                <c:pt idx="29921">
                  <c:v>80753</c:v>
                </c:pt>
                <c:pt idx="29922">
                  <c:v>80748</c:v>
                </c:pt>
                <c:pt idx="29923">
                  <c:v>80743</c:v>
                </c:pt>
                <c:pt idx="29924">
                  <c:v>80742</c:v>
                </c:pt>
                <c:pt idx="29925">
                  <c:v>80736</c:v>
                </c:pt>
                <c:pt idx="29926">
                  <c:v>80734</c:v>
                </c:pt>
                <c:pt idx="29927">
                  <c:v>80726</c:v>
                </c:pt>
                <c:pt idx="29928">
                  <c:v>80723</c:v>
                </c:pt>
                <c:pt idx="29929">
                  <c:v>80716</c:v>
                </c:pt>
                <c:pt idx="29930">
                  <c:v>80714</c:v>
                </c:pt>
                <c:pt idx="29931">
                  <c:v>80714</c:v>
                </c:pt>
                <c:pt idx="29932">
                  <c:v>80711</c:v>
                </c:pt>
                <c:pt idx="29933">
                  <c:v>80698</c:v>
                </c:pt>
                <c:pt idx="29934">
                  <c:v>80694</c:v>
                </c:pt>
                <c:pt idx="29935">
                  <c:v>80686</c:v>
                </c:pt>
                <c:pt idx="29936">
                  <c:v>80684</c:v>
                </c:pt>
                <c:pt idx="29937">
                  <c:v>80676</c:v>
                </c:pt>
                <c:pt idx="29938">
                  <c:v>80675</c:v>
                </c:pt>
                <c:pt idx="29939">
                  <c:v>80668</c:v>
                </c:pt>
                <c:pt idx="29940">
                  <c:v>80668</c:v>
                </c:pt>
                <c:pt idx="29941">
                  <c:v>80666</c:v>
                </c:pt>
                <c:pt idx="29942">
                  <c:v>80661</c:v>
                </c:pt>
                <c:pt idx="29943">
                  <c:v>80652</c:v>
                </c:pt>
                <c:pt idx="29944">
                  <c:v>80649</c:v>
                </c:pt>
                <c:pt idx="29945">
                  <c:v>80647</c:v>
                </c:pt>
                <c:pt idx="29946">
                  <c:v>80646</c:v>
                </c:pt>
                <c:pt idx="29947">
                  <c:v>80638</c:v>
                </c:pt>
                <c:pt idx="29948">
                  <c:v>80638</c:v>
                </c:pt>
                <c:pt idx="29949">
                  <c:v>80630</c:v>
                </c:pt>
                <c:pt idx="29950">
                  <c:v>80622</c:v>
                </c:pt>
                <c:pt idx="29951">
                  <c:v>80616</c:v>
                </c:pt>
                <c:pt idx="29952">
                  <c:v>80607</c:v>
                </c:pt>
                <c:pt idx="29953">
                  <c:v>80604</c:v>
                </c:pt>
                <c:pt idx="29954">
                  <c:v>80603</c:v>
                </c:pt>
                <c:pt idx="29955">
                  <c:v>80595</c:v>
                </c:pt>
                <c:pt idx="29956">
                  <c:v>80590</c:v>
                </c:pt>
                <c:pt idx="29957">
                  <c:v>80590</c:v>
                </c:pt>
                <c:pt idx="29958">
                  <c:v>80579</c:v>
                </c:pt>
                <c:pt idx="29959">
                  <c:v>80579</c:v>
                </c:pt>
                <c:pt idx="29960">
                  <c:v>80548</c:v>
                </c:pt>
                <c:pt idx="29961">
                  <c:v>80544</c:v>
                </c:pt>
                <c:pt idx="29962">
                  <c:v>80542</c:v>
                </c:pt>
                <c:pt idx="29963">
                  <c:v>80542</c:v>
                </c:pt>
                <c:pt idx="29964">
                  <c:v>80524</c:v>
                </c:pt>
                <c:pt idx="29965">
                  <c:v>80519</c:v>
                </c:pt>
                <c:pt idx="29966">
                  <c:v>80518</c:v>
                </c:pt>
                <c:pt idx="29967">
                  <c:v>80515</c:v>
                </c:pt>
                <c:pt idx="29968">
                  <c:v>80508</c:v>
                </c:pt>
                <c:pt idx="29969">
                  <c:v>80505</c:v>
                </c:pt>
                <c:pt idx="29970">
                  <c:v>80498</c:v>
                </c:pt>
                <c:pt idx="29971">
                  <c:v>80491</c:v>
                </c:pt>
                <c:pt idx="29972">
                  <c:v>80488</c:v>
                </c:pt>
                <c:pt idx="29973">
                  <c:v>80480</c:v>
                </c:pt>
                <c:pt idx="29974">
                  <c:v>80475</c:v>
                </c:pt>
                <c:pt idx="29975">
                  <c:v>80471</c:v>
                </c:pt>
                <c:pt idx="29976">
                  <c:v>80470</c:v>
                </c:pt>
                <c:pt idx="29977">
                  <c:v>80460</c:v>
                </c:pt>
                <c:pt idx="29978">
                  <c:v>80459</c:v>
                </c:pt>
                <c:pt idx="29979">
                  <c:v>80459</c:v>
                </c:pt>
                <c:pt idx="29980">
                  <c:v>80439</c:v>
                </c:pt>
                <c:pt idx="29981">
                  <c:v>80436</c:v>
                </c:pt>
                <c:pt idx="29982">
                  <c:v>80434</c:v>
                </c:pt>
                <c:pt idx="29983">
                  <c:v>80434</c:v>
                </c:pt>
                <c:pt idx="29984">
                  <c:v>80430</c:v>
                </c:pt>
                <c:pt idx="29985">
                  <c:v>80428</c:v>
                </c:pt>
                <c:pt idx="29986">
                  <c:v>80426</c:v>
                </c:pt>
                <c:pt idx="29987">
                  <c:v>80417</c:v>
                </c:pt>
                <c:pt idx="29988">
                  <c:v>80406</c:v>
                </c:pt>
                <c:pt idx="29989">
                  <c:v>80402</c:v>
                </c:pt>
                <c:pt idx="29990">
                  <c:v>80402</c:v>
                </c:pt>
                <c:pt idx="29991">
                  <c:v>80401</c:v>
                </c:pt>
                <c:pt idx="29992">
                  <c:v>80398</c:v>
                </c:pt>
                <c:pt idx="29993">
                  <c:v>80386</c:v>
                </c:pt>
                <c:pt idx="29994">
                  <c:v>80385</c:v>
                </c:pt>
                <c:pt idx="29995">
                  <c:v>80385</c:v>
                </c:pt>
                <c:pt idx="29996">
                  <c:v>80376</c:v>
                </c:pt>
                <c:pt idx="29997">
                  <c:v>80372</c:v>
                </c:pt>
                <c:pt idx="29998">
                  <c:v>80370</c:v>
                </c:pt>
                <c:pt idx="29999">
                  <c:v>80370</c:v>
                </c:pt>
                <c:pt idx="30000">
                  <c:v>80367</c:v>
                </c:pt>
                <c:pt idx="30001">
                  <c:v>80366</c:v>
                </c:pt>
                <c:pt idx="30002">
                  <c:v>80362</c:v>
                </c:pt>
                <c:pt idx="30003">
                  <c:v>80360</c:v>
                </c:pt>
                <c:pt idx="30004">
                  <c:v>80360</c:v>
                </c:pt>
                <c:pt idx="30005">
                  <c:v>80358</c:v>
                </c:pt>
                <c:pt idx="30006">
                  <c:v>80356</c:v>
                </c:pt>
                <c:pt idx="30007">
                  <c:v>80342</c:v>
                </c:pt>
                <c:pt idx="30008">
                  <c:v>80340</c:v>
                </c:pt>
                <c:pt idx="30009">
                  <c:v>80338</c:v>
                </c:pt>
                <c:pt idx="30010">
                  <c:v>80334</c:v>
                </c:pt>
                <c:pt idx="30011">
                  <c:v>80331</c:v>
                </c:pt>
                <c:pt idx="30012">
                  <c:v>80331</c:v>
                </c:pt>
                <c:pt idx="30013">
                  <c:v>80331</c:v>
                </c:pt>
                <c:pt idx="30014">
                  <c:v>80323</c:v>
                </c:pt>
                <c:pt idx="30015">
                  <c:v>80320</c:v>
                </c:pt>
                <c:pt idx="30016">
                  <c:v>80319</c:v>
                </c:pt>
                <c:pt idx="30017">
                  <c:v>80301</c:v>
                </c:pt>
                <c:pt idx="30018">
                  <c:v>80288</c:v>
                </c:pt>
                <c:pt idx="30019">
                  <c:v>80278</c:v>
                </c:pt>
                <c:pt idx="30020">
                  <c:v>80278</c:v>
                </c:pt>
                <c:pt idx="30021">
                  <c:v>80275</c:v>
                </c:pt>
                <c:pt idx="30022">
                  <c:v>80274</c:v>
                </c:pt>
                <c:pt idx="30023">
                  <c:v>80273</c:v>
                </c:pt>
                <c:pt idx="30024">
                  <c:v>80272</c:v>
                </c:pt>
                <c:pt idx="30025">
                  <c:v>80272</c:v>
                </c:pt>
                <c:pt idx="30026">
                  <c:v>80263</c:v>
                </c:pt>
                <c:pt idx="30027">
                  <c:v>80263</c:v>
                </c:pt>
                <c:pt idx="30028">
                  <c:v>80256</c:v>
                </c:pt>
                <c:pt idx="30029">
                  <c:v>80255</c:v>
                </c:pt>
                <c:pt idx="30030">
                  <c:v>80250</c:v>
                </c:pt>
                <c:pt idx="30031">
                  <c:v>80238</c:v>
                </c:pt>
                <c:pt idx="30032">
                  <c:v>80234</c:v>
                </c:pt>
                <c:pt idx="30033">
                  <c:v>80221</c:v>
                </c:pt>
                <c:pt idx="30034">
                  <c:v>80211</c:v>
                </c:pt>
                <c:pt idx="30035">
                  <c:v>80207</c:v>
                </c:pt>
                <c:pt idx="30036">
                  <c:v>80206</c:v>
                </c:pt>
                <c:pt idx="30037">
                  <c:v>80164</c:v>
                </c:pt>
                <c:pt idx="30038">
                  <c:v>80157</c:v>
                </c:pt>
                <c:pt idx="30039">
                  <c:v>80155</c:v>
                </c:pt>
                <c:pt idx="30040">
                  <c:v>80146</c:v>
                </c:pt>
                <c:pt idx="30041">
                  <c:v>80144</c:v>
                </c:pt>
                <c:pt idx="30042">
                  <c:v>80137</c:v>
                </c:pt>
                <c:pt idx="30043">
                  <c:v>80134</c:v>
                </c:pt>
                <c:pt idx="30044">
                  <c:v>80126</c:v>
                </c:pt>
                <c:pt idx="30045">
                  <c:v>80121</c:v>
                </c:pt>
                <c:pt idx="30046">
                  <c:v>80119</c:v>
                </c:pt>
                <c:pt idx="30047">
                  <c:v>80119</c:v>
                </c:pt>
                <c:pt idx="30048">
                  <c:v>80114</c:v>
                </c:pt>
                <c:pt idx="30049">
                  <c:v>80113</c:v>
                </c:pt>
                <c:pt idx="30050">
                  <c:v>80110</c:v>
                </c:pt>
                <c:pt idx="30051">
                  <c:v>80099</c:v>
                </c:pt>
                <c:pt idx="30052">
                  <c:v>80093</c:v>
                </c:pt>
                <c:pt idx="30053">
                  <c:v>80082</c:v>
                </c:pt>
                <c:pt idx="30054">
                  <c:v>80067</c:v>
                </c:pt>
                <c:pt idx="30055">
                  <c:v>80056</c:v>
                </c:pt>
                <c:pt idx="30056">
                  <c:v>80049</c:v>
                </c:pt>
                <c:pt idx="30057">
                  <c:v>80048</c:v>
                </c:pt>
                <c:pt idx="30058">
                  <c:v>80048</c:v>
                </c:pt>
                <c:pt idx="30059">
                  <c:v>80047</c:v>
                </c:pt>
                <c:pt idx="30060">
                  <c:v>80046</c:v>
                </c:pt>
                <c:pt idx="30061">
                  <c:v>80044</c:v>
                </c:pt>
                <c:pt idx="30062">
                  <c:v>80041</c:v>
                </c:pt>
                <c:pt idx="30063">
                  <c:v>80041</c:v>
                </c:pt>
                <c:pt idx="30064">
                  <c:v>80040</c:v>
                </c:pt>
                <c:pt idx="30065">
                  <c:v>80038</c:v>
                </c:pt>
                <c:pt idx="30066">
                  <c:v>80036</c:v>
                </c:pt>
                <c:pt idx="30067">
                  <c:v>80027</c:v>
                </c:pt>
                <c:pt idx="30068">
                  <c:v>80026</c:v>
                </c:pt>
                <c:pt idx="30069">
                  <c:v>80022</c:v>
                </c:pt>
                <c:pt idx="30070">
                  <c:v>80012</c:v>
                </c:pt>
                <c:pt idx="30071">
                  <c:v>80008</c:v>
                </c:pt>
                <c:pt idx="30072">
                  <c:v>79993</c:v>
                </c:pt>
                <c:pt idx="30073">
                  <c:v>79985</c:v>
                </c:pt>
                <c:pt idx="30074">
                  <c:v>79984</c:v>
                </c:pt>
                <c:pt idx="30075">
                  <c:v>79959</c:v>
                </c:pt>
                <c:pt idx="30076">
                  <c:v>79958</c:v>
                </c:pt>
                <c:pt idx="30077">
                  <c:v>79958</c:v>
                </c:pt>
                <c:pt idx="30078">
                  <c:v>79955</c:v>
                </c:pt>
                <c:pt idx="30079">
                  <c:v>79955</c:v>
                </c:pt>
                <c:pt idx="30080">
                  <c:v>79951</c:v>
                </c:pt>
                <c:pt idx="30081">
                  <c:v>79948</c:v>
                </c:pt>
                <c:pt idx="30082">
                  <c:v>79939</c:v>
                </c:pt>
                <c:pt idx="30083">
                  <c:v>79932</c:v>
                </c:pt>
                <c:pt idx="30084">
                  <c:v>79930</c:v>
                </c:pt>
                <c:pt idx="30085">
                  <c:v>79917</c:v>
                </c:pt>
                <c:pt idx="30086">
                  <c:v>79916</c:v>
                </c:pt>
                <c:pt idx="30087">
                  <c:v>79915</c:v>
                </c:pt>
                <c:pt idx="30088">
                  <c:v>79910</c:v>
                </c:pt>
                <c:pt idx="30089">
                  <c:v>79907</c:v>
                </c:pt>
                <c:pt idx="30090">
                  <c:v>79904</c:v>
                </c:pt>
                <c:pt idx="30091">
                  <c:v>79897</c:v>
                </c:pt>
                <c:pt idx="30092">
                  <c:v>79884</c:v>
                </c:pt>
                <c:pt idx="30093">
                  <c:v>79882</c:v>
                </c:pt>
                <c:pt idx="30094">
                  <c:v>79881</c:v>
                </c:pt>
                <c:pt idx="30095">
                  <c:v>79881</c:v>
                </c:pt>
                <c:pt idx="30096">
                  <c:v>79876</c:v>
                </c:pt>
                <c:pt idx="30097">
                  <c:v>79872</c:v>
                </c:pt>
                <c:pt idx="30098">
                  <c:v>79866</c:v>
                </c:pt>
                <c:pt idx="30099">
                  <c:v>79859</c:v>
                </c:pt>
                <c:pt idx="30100">
                  <c:v>79859</c:v>
                </c:pt>
                <c:pt idx="30101">
                  <c:v>79858</c:v>
                </c:pt>
                <c:pt idx="30102">
                  <c:v>79854</c:v>
                </c:pt>
                <c:pt idx="30103">
                  <c:v>79848</c:v>
                </c:pt>
                <c:pt idx="30104">
                  <c:v>79847</c:v>
                </c:pt>
                <c:pt idx="30105">
                  <c:v>79846</c:v>
                </c:pt>
                <c:pt idx="30106">
                  <c:v>79840</c:v>
                </c:pt>
                <c:pt idx="30107">
                  <c:v>79825</c:v>
                </c:pt>
                <c:pt idx="30108">
                  <c:v>79825</c:v>
                </c:pt>
                <c:pt idx="30109">
                  <c:v>79813</c:v>
                </c:pt>
                <c:pt idx="30110">
                  <c:v>79811</c:v>
                </c:pt>
                <c:pt idx="30111">
                  <c:v>79811</c:v>
                </c:pt>
                <c:pt idx="30112">
                  <c:v>79808</c:v>
                </c:pt>
                <c:pt idx="30113">
                  <c:v>79804</c:v>
                </c:pt>
                <c:pt idx="30114">
                  <c:v>79802</c:v>
                </c:pt>
                <c:pt idx="30115">
                  <c:v>79798</c:v>
                </c:pt>
                <c:pt idx="30116">
                  <c:v>79789</c:v>
                </c:pt>
                <c:pt idx="30117">
                  <c:v>79787</c:v>
                </c:pt>
                <c:pt idx="30118">
                  <c:v>79785</c:v>
                </c:pt>
                <c:pt idx="30119">
                  <c:v>79783</c:v>
                </c:pt>
                <c:pt idx="30120">
                  <c:v>79775</c:v>
                </c:pt>
                <c:pt idx="30121">
                  <c:v>79767</c:v>
                </c:pt>
                <c:pt idx="30122">
                  <c:v>79759</c:v>
                </c:pt>
                <c:pt idx="30123">
                  <c:v>79754</c:v>
                </c:pt>
                <c:pt idx="30124">
                  <c:v>79753</c:v>
                </c:pt>
                <c:pt idx="30125">
                  <c:v>79751</c:v>
                </c:pt>
                <c:pt idx="30126">
                  <c:v>79745</c:v>
                </c:pt>
                <c:pt idx="30127">
                  <c:v>79743</c:v>
                </c:pt>
                <c:pt idx="30128">
                  <c:v>79742</c:v>
                </c:pt>
                <c:pt idx="30129">
                  <c:v>79740</c:v>
                </c:pt>
                <c:pt idx="30130">
                  <c:v>79739</c:v>
                </c:pt>
                <c:pt idx="30131">
                  <c:v>79738</c:v>
                </c:pt>
                <c:pt idx="30132">
                  <c:v>79736</c:v>
                </c:pt>
                <c:pt idx="30133">
                  <c:v>79736</c:v>
                </c:pt>
                <c:pt idx="30134">
                  <c:v>79712</c:v>
                </c:pt>
                <c:pt idx="30135">
                  <c:v>79707</c:v>
                </c:pt>
                <c:pt idx="30136">
                  <c:v>79704</c:v>
                </c:pt>
                <c:pt idx="30137">
                  <c:v>79703</c:v>
                </c:pt>
                <c:pt idx="30138">
                  <c:v>79698</c:v>
                </c:pt>
                <c:pt idx="30139">
                  <c:v>79692</c:v>
                </c:pt>
                <c:pt idx="30140">
                  <c:v>79683</c:v>
                </c:pt>
                <c:pt idx="30141">
                  <c:v>79682</c:v>
                </c:pt>
                <c:pt idx="30142">
                  <c:v>79681</c:v>
                </c:pt>
                <c:pt idx="30143">
                  <c:v>79679</c:v>
                </c:pt>
                <c:pt idx="30144">
                  <c:v>79678</c:v>
                </c:pt>
                <c:pt idx="30145">
                  <c:v>79674</c:v>
                </c:pt>
                <c:pt idx="30146">
                  <c:v>79669</c:v>
                </c:pt>
                <c:pt idx="30147">
                  <c:v>79668</c:v>
                </c:pt>
                <c:pt idx="30148">
                  <c:v>79660</c:v>
                </c:pt>
                <c:pt idx="30149">
                  <c:v>79657</c:v>
                </c:pt>
                <c:pt idx="30150">
                  <c:v>79657</c:v>
                </c:pt>
                <c:pt idx="30151">
                  <c:v>79657</c:v>
                </c:pt>
                <c:pt idx="30152">
                  <c:v>79648</c:v>
                </c:pt>
                <c:pt idx="30153">
                  <c:v>79643</c:v>
                </c:pt>
                <c:pt idx="30154">
                  <c:v>79640</c:v>
                </c:pt>
                <c:pt idx="30155">
                  <c:v>79639</c:v>
                </c:pt>
                <c:pt idx="30156">
                  <c:v>79636</c:v>
                </c:pt>
                <c:pt idx="30157">
                  <c:v>79628</c:v>
                </c:pt>
                <c:pt idx="30158">
                  <c:v>79623</c:v>
                </c:pt>
                <c:pt idx="30159">
                  <c:v>79620</c:v>
                </c:pt>
                <c:pt idx="30160">
                  <c:v>79609</c:v>
                </c:pt>
                <c:pt idx="30161">
                  <c:v>79608</c:v>
                </c:pt>
                <c:pt idx="30162">
                  <c:v>79606</c:v>
                </c:pt>
                <c:pt idx="30163">
                  <c:v>79604</c:v>
                </c:pt>
                <c:pt idx="30164">
                  <c:v>79585</c:v>
                </c:pt>
                <c:pt idx="30165">
                  <c:v>79583</c:v>
                </c:pt>
                <c:pt idx="30166">
                  <c:v>79579</c:v>
                </c:pt>
                <c:pt idx="30167">
                  <c:v>79577</c:v>
                </c:pt>
                <c:pt idx="30168">
                  <c:v>79567</c:v>
                </c:pt>
                <c:pt idx="30169">
                  <c:v>79566</c:v>
                </c:pt>
                <c:pt idx="30170">
                  <c:v>79565</c:v>
                </c:pt>
                <c:pt idx="30171">
                  <c:v>79557</c:v>
                </c:pt>
                <c:pt idx="30172">
                  <c:v>79557</c:v>
                </c:pt>
                <c:pt idx="30173">
                  <c:v>79553</c:v>
                </c:pt>
                <c:pt idx="30174">
                  <c:v>79549</c:v>
                </c:pt>
                <c:pt idx="30175">
                  <c:v>79549</c:v>
                </c:pt>
                <c:pt idx="30176">
                  <c:v>79547</c:v>
                </c:pt>
                <c:pt idx="30177">
                  <c:v>79529</c:v>
                </c:pt>
                <c:pt idx="30178">
                  <c:v>79526</c:v>
                </c:pt>
                <c:pt idx="30179">
                  <c:v>79513</c:v>
                </c:pt>
                <c:pt idx="30180">
                  <c:v>79510</c:v>
                </c:pt>
                <c:pt idx="30181">
                  <c:v>79507</c:v>
                </c:pt>
                <c:pt idx="30182">
                  <c:v>79503</c:v>
                </c:pt>
                <c:pt idx="30183">
                  <c:v>79500</c:v>
                </c:pt>
                <c:pt idx="30184">
                  <c:v>79498</c:v>
                </c:pt>
                <c:pt idx="30185">
                  <c:v>79490</c:v>
                </c:pt>
                <c:pt idx="30186">
                  <c:v>79488</c:v>
                </c:pt>
                <c:pt idx="30187">
                  <c:v>79483</c:v>
                </c:pt>
                <c:pt idx="30188">
                  <c:v>79481</c:v>
                </c:pt>
                <c:pt idx="30189">
                  <c:v>79479</c:v>
                </c:pt>
                <c:pt idx="30190">
                  <c:v>79465</c:v>
                </c:pt>
                <c:pt idx="30191">
                  <c:v>79461</c:v>
                </c:pt>
                <c:pt idx="30192">
                  <c:v>79452</c:v>
                </c:pt>
                <c:pt idx="30193">
                  <c:v>79450</c:v>
                </c:pt>
                <c:pt idx="30194">
                  <c:v>79450</c:v>
                </c:pt>
                <c:pt idx="30195">
                  <c:v>79445</c:v>
                </c:pt>
                <c:pt idx="30196">
                  <c:v>79441</c:v>
                </c:pt>
                <c:pt idx="30197">
                  <c:v>79431</c:v>
                </c:pt>
                <c:pt idx="30198">
                  <c:v>79427</c:v>
                </c:pt>
                <c:pt idx="30199">
                  <c:v>79421</c:v>
                </c:pt>
                <c:pt idx="30200">
                  <c:v>79417</c:v>
                </c:pt>
                <c:pt idx="30201">
                  <c:v>79400</c:v>
                </c:pt>
                <c:pt idx="30202">
                  <c:v>79389</c:v>
                </c:pt>
                <c:pt idx="30203">
                  <c:v>79388</c:v>
                </c:pt>
                <c:pt idx="30204">
                  <c:v>79368</c:v>
                </c:pt>
                <c:pt idx="30205">
                  <c:v>79365</c:v>
                </c:pt>
                <c:pt idx="30206">
                  <c:v>79364</c:v>
                </c:pt>
                <c:pt idx="30207">
                  <c:v>79359</c:v>
                </c:pt>
                <c:pt idx="30208">
                  <c:v>79354</c:v>
                </c:pt>
                <c:pt idx="30209">
                  <c:v>79341</c:v>
                </c:pt>
                <c:pt idx="30210">
                  <c:v>79339</c:v>
                </c:pt>
                <c:pt idx="30211">
                  <c:v>79333</c:v>
                </c:pt>
                <c:pt idx="30212">
                  <c:v>79328</c:v>
                </c:pt>
                <c:pt idx="30213">
                  <c:v>79328</c:v>
                </c:pt>
                <c:pt idx="30214">
                  <c:v>79326</c:v>
                </c:pt>
                <c:pt idx="30215">
                  <c:v>79317</c:v>
                </c:pt>
                <c:pt idx="30216">
                  <c:v>79314</c:v>
                </c:pt>
                <c:pt idx="30217">
                  <c:v>79306</c:v>
                </c:pt>
                <c:pt idx="30218">
                  <c:v>79295</c:v>
                </c:pt>
                <c:pt idx="30219">
                  <c:v>79292</c:v>
                </c:pt>
                <c:pt idx="30220">
                  <c:v>79284</c:v>
                </c:pt>
                <c:pt idx="30221">
                  <c:v>79280</c:v>
                </c:pt>
                <c:pt idx="30222">
                  <c:v>79279</c:v>
                </c:pt>
                <c:pt idx="30223">
                  <c:v>79276</c:v>
                </c:pt>
                <c:pt idx="30224">
                  <c:v>79274</c:v>
                </c:pt>
                <c:pt idx="30225">
                  <c:v>79269</c:v>
                </c:pt>
                <c:pt idx="30226">
                  <c:v>79259</c:v>
                </c:pt>
                <c:pt idx="30227">
                  <c:v>79257</c:v>
                </c:pt>
                <c:pt idx="30228">
                  <c:v>79255</c:v>
                </c:pt>
                <c:pt idx="30229">
                  <c:v>79252</c:v>
                </c:pt>
                <c:pt idx="30230">
                  <c:v>79251</c:v>
                </c:pt>
                <c:pt idx="30231">
                  <c:v>79250</c:v>
                </c:pt>
                <c:pt idx="30232">
                  <c:v>79244</c:v>
                </c:pt>
                <c:pt idx="30233">
                  <c:v>79225</c:v>
                </c:pt>
                <c:pt idx="30234">
                  <c:v>79213</c:v>
                </c:pt>
                <c:pt idx="30235">
                  <c:v>79212</c:v>
                </c:pt>
                <c:pt idx="30236">
                  <c:v>79209</c:v>
                </c:pt>
                <c:pt idx="30237">
                  <c:v>79197</c:v>
                </c:pt>
                <c:pt idx="30238">
                  <c:v>79189</c:v>
                </c:pt>
                <c:pt idx="30239">
                  <c:v>79183</c:v>
                </c:pt>
                <c:pt idx="30240">
                  <c:v>79175</c:v>
                </c:pt>
                <c:pt idx="30241">
                  <c:v>79172</c:v>
                </c:pt>
                <c:pt idx="30242">
                  <c:v>79169</c:v>
                </c:pt>
                <c:pt idx="30243">
                  <c:v>79165</c:v>
                </c:pt>
                <c:pt idx="30244">
                  <c:v>79164</c:v>
                </c:pt>
                <c:pt idx="30245">
                  <c:v>79164</c:v>
                </c:pt>
                <c:pt idx="30246">
                  <c:v>79155</c:v>
                </c:pt>
                <c:pt idx="30247">
                  <c:v>79140</c:v>
                </c:pt>
                <c:pt idx="30248">
                  <c:v>79137</c:v>
                </c:pt>
                <c:pt idx="30249">
                  <c:v>79136</c:v>
                </c:pt>
                <c:pt idx="30250">
                  <c:v>79128</c:v>
                </c:pt>
                <c:pt idx="30251">
                  <c:v>79125</c:v>
                </c:pt>
                <c:pt idx="30252">
                  <c:v>79119</c:v>
                </c:pt>
                <c:pt idx="30253">
                  <c:v>79118</c:v>
                </c:pt>
                <c:pt idx="30254">
                  <c:v>79117</c:v>
                </c:pt>
                <c:pt idx="30255">
                  <c:v>79117</c:v>
                </c:pt>
                <c:pt idx="30256">
                  <c:v>79115</c:v>
                </c:pt>
                <c:pt idx="30257">
                  <c:v>79113</c:v>
                </c:pt>
                <c:pt idx="30258">
                  <c:v>79109</c:v>
                </c:pt>
                <c:pt idx="30259">
                  <c:v>79100</c:v>
                </c:pt>
                <c:pt idx="30260">
                  <c:v>79094</c:v>
                </c:pt>
                <c:pt idx="30261">
                  <c:v>79091</c:v>
                </c:pt>
                <c:pt idx="30262">
                  <c:v>79088</c:v>
                </c:pt>
                <c:pt idx="30263">
                  <c:v>79081</c:v>
                </c:pt>
                <c:pt idx="30264">
                  <c:v>79080</c:v>
                </c:pt>
                <c:pt idx="30265">
                  <c:v>79075</c:v>
                </c:pt>
                <c:pt idx="30266">
                  <c:v>79075</c:v>
                </c:pt>
                <c:pt idx="30267">
                  <c:v>79064</c:v>
                </c:pt>
                <c:pt idx="30268">
                  <c:v>79058</c:v>
                </c:pt>
                <c:pt idx="30269">
                  <c:v>79053</c:v>
                </c:pt>
                <c:pt idx="30270">
                  <c:v>79053</c:v>
                </c:pt>
                <c:pt idx="30271">
                  <c:v>79044</c:v>
                </c:pt>
                <c:pt idx="30272">
                  <c:v>79038</c:v>
                </c:pt>
                <c:pt idx="30273">
                  <c:v>79033</c:v>
                </c:pt>
                <c:pt idx="30274">
                  <c:v>79032</c:v>
                </c:pt>
                <c:pt idx="30275">
                  <c:v>79030</c:v>
                </c:pt>
                <c:pt idx="30276">
                  <c:v>79024</c:v>
                </c:pt>
                <c:pt idx="30277">
                  <c:v>79018</c:v>
                </c:pt>
                <c:pt idx="30278">
                  <c:v>79017</c:v>
                </c:pt>
                <c:pt idx="30279">
                  <c:v>79010</c:v>
                </c:pt>
                <c:pt idx="30280">
                  <c:v>79005</c:v>
                </c:pt>
                <c:pt idx="30281">
                  <c:v>79004</c:v>
                </c:pt>
                <c:pt idx="30282">
                  <c:v>79003</c:v>
                </c:pt>
                <c:pt idx="30283">
                  <c:v>79002</c:v>
                </c:pt>
                <c:pt idx="30284">
                  <c:v>79000</c:v>
                </c:pt>
                <c:pt idx="30285">
                  <c:v>78989</c:v>
                </c:pt>
                <c:pt idx="30286">
                  <c:v>78985</c:v>
                </c:pt>
                <c:pt idx="30287">
                  <c:v>78984</c:v>
                </c:pt>
                <c:pt idx="30288">
                  <c:v>78983</c:v>
                </c:pt>
                <c:pt idx="30289">
                  <c:v>78975</c:v>
                </c:pt>
                <c:pt idx="30290">
                  <c:v>78973</c:v>
                </c:pt>
                <c:pt idx="30291">
                  <c:v>78971</c:v>
                </c:pt>
                <c:pt idx="30292">
                  <c:v>78965</c:v>
                </c:pt>
                <c:pt idx="30293">
                  <c:v>78962</c:v>
                </c:pt>
                <c:pt idx="30294">
                  <c:v>78961</c:v>
                </c:pt>
                <c:pt idx="30295">
                  <c:v>78957</c:v>
                </c:pt>
                <c:pt idx="30296">
                  <c:v>78954</c:v>
                </c:pt>
                <c:pt idx="30297">
                  <c:v>78951</c:v>
                </c:pt>
                <c:pt idx="30298">
                  <c:v>78939</c:v>
                </c:pt>
                <c:pt idx="30299">
                  <c:v>78935</c:v>
                </c:pt>
                <c:pt idx="30300">
                  <c:v>78934</c:v>
                </c:pt>
                <c:pt idx="30301">
                  <c:v>78928</c:v>
                </c:pt>
                <c:pt idx="30302">
                  <c:v>78925</c:v>
                </c:pt>
                <c:pt idx="30303">
                  <c:v>78921</c:v>
                </c:pt>
                <c:pt idx="30304">
                  <c:v>78907</c:v>
                </c:pt>
                <c:pt idx="30305">
                  <c:v>78905</c:v>
                </c:pt>
                <c:pt idx="30306">
                  <c:v>78904</c:v>
                </c:pt>
                <c:pt idx="30307">
                  <c:v>78902</c:v>
                </c:pt>
                <c:pt idx="30308">
                  <c:v>78896</c:v>
                </c:pt>
                <c:pt idx="30309">
                  <c:v>78896</c:v>
                </c:pt>
                <c:pt idx="30310">
                  <c:v>78896</c:v>
                </c:pt>
                <c:pt idx="30311">
                  <c:v>78893</c:v>
                </c:pt>
                <c:pt idx="30312">
                  <c:v>78883</c:v>
                </c:pt>
                <c:pt idx="30313">
                  <c:v>78880</c:v>
                </c:pt>
                <c:pt idx="30314">
                  <c:v>78880</c:v>
                </c:pt>
                <c:pt idx="30315">
                  <c:v>78879</c:v>
                </c:pt>
                <c:pt idx="30316">
                  <c:v>78879</c:v>
                </c:pt>
                <c:pt idx="30317">
                  <c:v>78875</c:v>
                </c:pt>
                <c:pt idx="30318">
                  <c:v>78861</c:v>
                </c:pt>
                <c:pt idx="30319">
                  <c:v>78856</c:v>
                </c:pt>
                <c:pt idx="30320">
                  <c:v>78844</c:v>
                </c:pt>
                <c:pt idx="30321">
                  <c:v>78843</c:v>
                </c:pt>
                <c:pt idx="30322">
                  <c:v>78837</c:v>
                </c:pt>
                <c:pt idx="30323">
                  <c:v>78836</c:v>
                </c:pt>
                <c:pt idx="30324">
                  <c:v>78832</c:v>
                </c:pt>
                <c:pt idx="30325">
                  <c:v>78829</c:v>
                </c:pt>
                <c:pt idx="30326">
                  <c:v>78822</c:v>
                </c:pt>
                <c:pt idx="30327">
                  <c:v>78821</c:v>
                </c:pt>
                <c:pt idx="30328">
                  <c:v>78818</c:v>
                </c:pt>
                <c:pt idx="30329">
                  <c:v>78818</c:v>
                </c:pt>
                <c:pt idx="30330">
                  <c:v>78814</c:v>
                </c:pt>
                <c:pt idx="30331">
                  <c:v>78812</c:v>
                </c:pt>
                <c:pt idx="30332">
                  <c:v>78808</c:v>
                </c:pt>
                <c:pt idx="30333">
                  <c:v>78807</c:v>
                </c:pt>
                <c:pt idx="30334">
                  <c:v>78801</c:v>
                </c:pt>
                <c:pt idx="30335">
                  <c:v>78794</c:v>
                </c:pt>
                <c:pt idx="30336">
                  <c:v>78784</c:v>
                </c:pt>
                <c:pt idx="30337">
                  <c:v>78773</c:v>
                </c:pt>
                <c:pt idx="30338">
                  <c:v>78768</c:v>
                </c:pt>
                <c:pt idx="30339">
                  <c:v>78762</c:v>
                </c:pt>
                <c:pt idx="30340">
                  <c:v>78755</c:v>
                </c:pt>
                <c:pt idx="30341">
                  <c:v>78754</c:v>
                </c:pt>
                <c:pt idx="30342">
                  <c:v>78745</c:v>
                </c:pt>
                <c:pt idx="30343">
                  <c:v>78745</c:v>
                </c:pt>
                <c:pt idx="30344">
                  <c:v>78743</c:v>
                </c:pt>
                <c:pt idx="30345">
                  <c:v>78737</c:v>
                </c:pt>
                <c:pt idx="30346">
                  <c:v>78732</c:v>
                </c:pt>
                <c:pt idx="30347">
                  <c:v>78731</c:v>
                </c:pt>
                <c:pt idx="30348">
                  <c:v>78722</c:v>
                </c:pt>
                <c:pt idx="30349">
                  <c:v>78721</c:v>
                </c:pt>
                <c:pt idx="30350">
                  <c:v>78715</c:v>
                </c:pt>
                <c:pt idx="30351">
                  <c:v>78704</c:v>
                </c:pt>
                <c:pt idx="30352">
                  <c:v>78692</c:v>
                </c:pt>
                <c:pt idx="30353">
                  <c:v>78678</c:v>
                </c:pt>
                <c:pt idx="30354">
                  <c:v>78671</c:v>
                </c:pt>
                <c:pt idx="30355">
                  <c:v>78668</c:v>
                </c:pt>
                <c:pt idx="30356">
                  <c:v>78656</c:v>
                </c:pt>
                <c:pt idx="30357">
                  <c:v>78654</c:v>
                </c:pt>
                <c:pt idx="30358">
                  <c:v>78649</c:v>
                </c:pt>
                <c:pt idx="30359">
                  <c:v>78649</c:v>
                </c:pt>
                <c:pt idx="30360">
                  <c:v>78635</c:v>
                </c:pt>
                <c:pt idx="30361">
                  <c:v>78630</c:v>
                </c:pt>
                <c:pt idx="30362">
                  <c:v>78616</c:v>
                </c:pt>
                <c:pt idx="30363">
                  <c:v>78613</c:v>
                </c:pt>
                <c:pt idx="30364">
                  <c:v>78609</c:v>
                </c:pt>
                <c:pt idx="30365">
                  <c:v>78605</c:v>
                </c:pt>
                <c:pt idx="30366">
                  <c:v>78599</c:v>
                </c:pt>
                <c:pt idx="30367">
                  <c:v>78598</c:v>
                </c:pt>
                <c:pt idx="30368">
                  <c:v>78597</c:v>
                </c:pt>
                <c:pt idx="30369">
                  <c:v>78593</c:v>
                </c:pt>
                <c:pt idx="30370">
                  <c:v>78578</c:v>
                </c:pt>
                <c:pt idx="30371">
                  <c:v>78559</c:v>
                </c:pt>
                <c:pt idx="30372">
                  <c:v>78548</c:v>
                </c:pt>
                <c:pt idx="30373">
                  <c:v>78538</c:v>
                </c:pt>
                <c:pt idx="30374">
                  <c:v>78530</c:v>
                </c:pt>
                <c:pt idx="30375">
                  <c:v>78523</c:v>
                </c:pt>
                <c:pt idx="30376">
                  <c:v>78513</c:v>
                </c:pt>
                <c:pt idx="30377">
                  <c:v>78510</c:v>
                </c:pt>
                <c:pt idx="30378">
                  <c:v>78501</c:v>
                </c:pt>
                <c:pt idx="30379">
                  <c:v>78500</c:v>
                </c:pt>
                <c:pt idx="30380">
                  <c:v>78499</c:v>
                </c:pt>
                <c:pt idx="30381">
                  <c:v>78484</c:v>
                </c:pt>
                <c:pt idx="30382">
                  <c:v>78478</c:v>
                </c:pt>
                <c:pt idx="30383">
                  <c:v>78477</c:v>
                </c:pt>
                <c:pt idx="30384">
                  <c:v>78474</c:v>
                </c:pt>
                <c:pt idx="30385">
                  <c:v>78474</c:v>
                </c:pt>
                <c:pt idx="30386">
                  <c:v>78469</c:v>
                </c:pt>
                <c:pt idx="30387">
                  <c:v>78454</c:v>
                </c:pt>
                <c:pt idx="30388">
                  <c:v>78449</c:v>
                </c:pt>
                <c:pt idx="30389">
                  <c:v>78445</c:v>
                </c:pt>
                <c:pt idx="30390">
                  <c:v>78431</c:v>
                </c:pt>
                <c:pt idx="30391">
                  <c:v>78429</c:v>
                </c:pt>
                <c:pt idx="30392">
                  <c:v>78427</c:v>
                </c:pt>
                <c:pt idx="30393">
                  <c:v>78425</c:v>
                </c:pt>
                <c:pt idx="30394">
                  <c:v>78414</c:v>
                </c:pt>
                <c:pt idx="30395">
                  <c:v>78404</c:v>
                </c:pt>
                <c:pt idx="30396">
                  <c:v>78401</c:v>
                </c:pt>
                <c:pt idx="30397">
                  <c:v>78401</c:v>
                </c:pt>
                <c:pt idx="30398">
                  <c:v>78400</c:v>
                </c:pt>
                <c:pt idx="30399">
                  <c:v>78395</c:v>
                </c:pt>
                <c:pt idx="30400">
                  <c:v>78392</c:v>
                </c:pt>
                <c:pt idx="30401">
                  <c:v>78388</c:v>
                </c:pt>
                <c:pt idx="30402">
                  <c:v>78381</c:v>
                </c:pt>
                <c:pt idx="30403">
                  <c:v>78380</c:v>
                </c:pt>
                <c:pt idx="30404">
                  <c:v>78375</c:v>
                </c:pt>
                <c:pt idx="30405">
                  <c:v>78369</c:v>
                </c:pt>
                <c:pt idx="30406">
                  <c:v>78369</c:v>
                </c:pt>
                <c:pt idx="30407">
                  <c:v>78365</c:v>
                </c:pt>
                <c:pt idx="30408">
                  <c:v>78362</c:v>
                </c:pt>
                <c:pt idx="30409">
                  <c:v>78354</c:v>
                </c:pt>
                <c:pt idx="30410">
                  <c:v>78353</c:v>
                </c:pt>
                <c:pt idx="30411">
                  <c:v>78343</c:v>
                </c:pt>
                <c:pt idx="30412">
                  <c:v>78339</c:v>
                </c:pt>
                <c:pt idx="30413">
                  <c:v>78335</c:v>
                </c:pt>
                <c:pt idx="30414">
                  <c:v>78321</c:v>
                </c:pt>
                <c:pt idx="30415">
                  <c:v>78320</c:v>
                </c:pt>
                <c:pt idx="30416">
                  <c:v>78320</c:v>
                </c:pt>
                <c:pt idx="30417">
                  <c:v>78312</c:v>
                </c:pt>
                <c:pt idx="30418">
                  <c:v>78312</c:v>
                </c:pt>
                <c:pt idx="30419">
                  <c:v>78309</c:v>
                </c:pt>
                <c:pt idx="30420">
                  <c:v>78287</c:v>
                </c:pt>
                <c:pt idx="30421">
                  <c:v>78286</c:v>
                </c:pt>
                <c:pt idx="30422">
                  <c:v>78286</c:v>
                </c:pt>
                <c:pt idx="30423">
                  <c:v>78286</c:v>
                </c:pt>
                <c:pt idx="30424">
                  <c:v>78281</c:v>
                </c:pt>
                <c:pt idx="30425">
                  <c:v>78280</c:v>
                </c:pt>
                <c:pt idx="30426">
                  <c:v>78279</c:v>
                </c:pt>
                <c:pt idx="30427">
                  <c:v>78277</c:v>
                </c:pt>
                <c:pt idx="30428">
                  <c:v>78266</c:v>
                </c:pt>
                <c:pt idx="30429">
                  <c:v>78261</c:v>
                </c:pt>
                <c:pt idx="30430">
                  <c:v>78258</c:v>
                </c:pt>
                <c:pt idx="30431">
                  <c:v>78253</c:v>
                </c:pt>
                <c:pt idx="30432">
                  <c:v>78251</c:v>
                </c:pt>
                <c:pt idx="30433">
                  <c:v>78250</c:v>
                </c:pt>
                <c:pt idx="30434">
                  <c:v>78238</c:v>
                </c:pt>
                <c:pt idx="30435">
                  <c:v>78237</c:v>
                </c:pt>
                <c:pt idx="30436">
                  <c:v>78235</c:v>
                </c:pt>
                <c:pt idx="30437">
                  <c:v>78227</c:v>
                </c:pt>
                <c:pt idx="30438">
                  <c:v>78221</c:v>
                </c:pt>
                <c:pt idx="30439">
                  <c:v>78219</c:v>
                </c:pt>
                <c:pt idx="30440">
                  <c:v>78218</c:v>
                </c:pt>
                <c:pt idx="30441">
                  <c:v>78198</c:v>
                </c:pt>
                <c:pt idx="30442">
                  <c:v>78195</c:v>
                </c:pt>
                <c:pt idx="30443">
                  <c:v>78184</c:v>
                </c:pt>
                <c:pt idx="30444">
                  <c:v>78182</c:v>
                </c:pt>
                <c:pt idx="30445">
                  <c:v>78175</c:v>
                </c:pt>
                <c:pt idx="30446">
                  <c:v>78163</c:v>
                </c:pt>
                <c:pt idx="30447">
                  <c:v>78163</c:v>
                </c:pt>
                <c:pt idx="30448">
                  <c:v>78161</c:v>
                </c:pt>
                <c:pt idx="30449">
                  <c:v>78160</c:v>
                </c:pt>
                <c:pt idx="30450">
                  <c:v>78158</c:v>
                </c:pt>
                <c:pt idx="30451">
                  <c:v>78143</c:v>
                </c:pt>
                <c:pt idx="30452">
                  <c:v>78131</c:v>
                </c:pt>
                <c:pt idx="30453">
                  <c:v>78122</c:v>
                </c:pt>
                <c:pt idx="30454">
                  <c:v>78122</c:v>
                </c:pt>
                <c:pt idx="30455">
                  <c:v>78116</c:v>
                </c:pt>
                <c:pt idx="30456">
                  <c:v>78109</c:v>
                </c:pt>
                <c:pt idx="30457">
                  <c:v>78100</c:v>
                </c:pt>
                <c:pt idx="30458">
                  <c:v>78080</c:v>
                </c:pt>
                <c:pt idx="30459">
                  <c:v>78074</c:v>
                </c:pt>
                <c:pt idx="30460">
                  <c:v>78074</c:v>
                </c:pt>
                <c:pt idx="30461">
                  <c:v>78068</c:v>
                </c:pt>
                <c:pt idx="30462">
                  <c:v>78061</c:v>
                </c:pt>
                <c:pt idx="30463">
                  <c:v>78060</c:v>
                </c:pt>
                <c:pt idx="30464">
                  <c:v>78035</c:v>
                </c:pt>
                <c:pt idx="30465">
                  <c:v>78034</c:v>
                </c:pt>
                <c:pt idx="30466">
                  <c:v>78026</c:v>
                </c:pt>
                <c:pt idx="30467">
                  <c:v>78025</c:v>
                </c:pt>
                <c:pt idx="30468">
                  <c:v>78023</c:v>
                </c:pt>
                <c:pt idx="30469">
                  <c:v>78021</c:v>
                </c:pt>
                <c:pt idx="30470">
                  <c:v>78015</c:v>
                </c:pt>
                <c:pt idx="30471">
                  <c:v>78014</c:v>
                </c:pt>
                <c:pt idx="30472">
                  <c:v>78005</c:v>
                </c:pt>
                <c:pt idx="30473">
                  <c:v>78002</c:v>
                </c:pt>
                <c:pt idx="30474">
                  <c:v>78000</c:v>
                </c:pt>
                <c:pt idx="30475">
                  <c:v>77997</c:v>
                </c:pt>
                <c:pt idx="30476">
                  <c:v>77992</c:v>
                </c:pt>
                <c:pt idx="30477">
                  <c:v>77992</c:v>
                </c:pt>
                <c:pt idx="30478">
                  <c:v>77984</c:v>
                </c:pt>
                <c:pt idx="30479">
                  <c:v>77982</c:v>
                </c:pt>
                <c:pt idx="30480">
                  <c:v>77977</c:v>
                </c:pt>
                <c:pt idx="30481">
                  <c:v>77969</c:v>
                </c:pt>
                <c:pt idx="30482">
                  <c:v>77964</c:v>
                </c:pt>
                <c:pt idx="30483">
                  <c:v>77962</c:v>
                </c:pt>
                <c:pt idx="30484">
                  <c:v>77936</c:v>
                </c:pt>
                <c:pt idx="30485">
                  <c:v>77934</c:v>
                </c:pt>
                <c:pt idx="30486">
                  <c:v>77915</c:v>
                </c:pt>
                <c:pt idx="30487">
                  <c:v>77902</c:v>
                </c:pt>
                <c:pt idx="30488">
                  <c:v>77898</c:v>
                </c:pt>
                <c:pt idx="30489">
                  <c:v>77897</c:v>
                </c:pt>
                <c:pt idx="30490">
                  <c:v>77893</c:v>
                </c:pt>
                <c:pt idx="30491">
                  <c:v>77891</c:v>
                </c:pt>
                <c:pt idx="30492">
                  <c:v>77890</c:v>
                </c:pt>
                <c:pt idx="30493">
                  <c:v>77890</c:v>
                </c:pt>
                <c:pt idx="30494">
                  <c:v>77890</c:v>
                </c:pt>
                <c:pt idx="30495">
                  <c:v>77884</c:v>
                </c:pt>
                <c:pt idx="30496">
                  <c:v>77882</c:v>
                </c:pt>
                <c:pt idx="30497">
                  <c:v>77880</c:v>
                </c:pt>
                <c:pt idx="30498">
                  <c:v>77877</c:v>
                </c:pt>
                <c:pt idx="30499">
                  <c:v>77874</c:v>
                </c:pt>
                <c:pt idx="30500">
                  <c:v>77873</c:v>
                </c:pt>
                <c:pt idx="30501">
                  <c:v>77870</c:v>
                </c:pt>
                <c:pt idx="30502">
                  <c:v>77864</c:v>
                </c:pt>
                <c:pt idx="30503">
                  <c:v>77852</c:v>
                </c:pt>
                <c:pt idx="30504">
                  <c:v>77846</c:v>
                </c:pt>
                <c:pt idx="30505">
                  <c:v>77838</c:v>
                </c:pt>
                <c:pt idx="30506">
                  <c:v>77836</c:v>
                </c:pt>
                <c:pt idx="30507">
                  <c:v>77831</c:v>
                </c:pt>
                <c:pt idx="30508">
                  <c:v>77829</c:v>
                </c:pt>
                <c:pt idx="30509">
                  <c:v>77828</c:v>
                </c:pt>
                <c:pt idx="30510">
                  <c:v>77822</c:v>
                </c:pt>
                <c:pt idx="30511">
                  <c:v>77815</c:v>
                </c:pt>
                <c:pt idx="30512">
                  <c:v>77814</c:v>
                </c:pt>
                <c:pt idx="30513">
                  <c:v>77814</c:v>
                </c:pt>
                <c:pt idx="30514">
                  <c:v>77812</c:v>
                </c:pt>
                <c:pt idx="30515">
                  <c:v>77812</c:v>
                </c:pt>
                <c:pt idx="30516">
                  <c:v>77806</c:v>
                </c:pt>
                <c:pt idx="30517">
                  <c:v>77803</c:v>
                </c:pt>
                <c:pt idx="30518">
                  <c:v>77800</c:v>
                </c:pt>
                <c:pt idx="30519">
                  <c:v>77799</c:v>
                </c:pt>
                <c:pt idx="30520">
                  <c:v>77795</c:v>
                </c:pt>
                <c:pt idx="30521">
                  <c:v>77791</c:v>
                </c:pt>
                <c:pt idx="30522">
                  <c:v>77785</c:v>
                </c:pt>
                <c:pt idx="30523">
                  <c:v>77781</c:v>
                </c:pt>
                <c:pt idx="30524">
                  <c:v>77774</c:v>
                </c:pt>
                <c:pt idx="30525">
                  <c:v>77773</c:v>
                </c:pt>
                <c:pt idx="30526">
                  <c:v>77766</c:v>
                </c:pt>
                <c:pt idx="30527">
                  <c:v>77761</c:v>
                </c:pt>
                <c:pt idx="30528">
                  <c:v>77758</c:v>
                </c:pt>
                <c:pt idx="30529">
                  <c:v>77757</c:v>
                </c:pt>
                <c:pt idx="30530">
                  <c:v>77757</c:v>
                </c:pt>
                <c:pt idx="30531">
                  <c:v>77751</c:v>
                </c:pt>
                <c:pt idx="30532">
                  <c:v>77750</c:v>
                </c:pt>
                <c:pt idx="30533">
                  <c:v>77741</c:v>
                </c:pt>
                <c:pt idx="30534">
                  <c:v>77733</c:v>
                </c:pt>
                <c:pt idx="30535">
                  <c:v>77726</c:v>
                </c:pt>
                <c:pt idx="30536">
                  <c:v>77717</c:v>
                </c:pt>
                <c:pt idx="30537">
                  <c:v>77715</c:v>
                </c:pt>
                <c:pt idx="30538">
                  <c:v>77711</c:v>
                </c:pt>
                <c:pt idx="30539">
                  <c:v>77709</c:v>
                </c:pt>
                <c:pt idx="30540">
                  <c:v>77701</c:v>
                </c:pt>
                <c:pt idx="30541">
                  <c:v>77699</c:v>
                </c:pt>
                <c:pt idx="30542">
                  <c:v>77690</c:v>
                </c:pt>
                <c:pt idx="30543">
                  <c:v>77688</c:v>
                </c:pt>
                <c:pt idx="30544">
                  <c:v>77685</c:v>
                </c:pt>
                <c:pt idx="30545">
                  <c:v>77682</c:v>
                </c:pt>
                <c:pt idx="30546">
                  <c:v>77669</c:v>
                </c:pt>
                <c:pt idx="30547">
                  <c:v>77657</c:v>
                </c:pt>
                <c:pt idx="30548">
                  <c:v>77655</c:v>
                </c:pt>
                <c:pt idx="30549">
                  <c:v>77649</c:v>
                </c:pt>
                <c:pt idx="30550">
                  <c:v>77649</c:v>
                </c:pt>
                <c:pt idx="30551">
                  <c:v>77639</c:v>
                </c:pt>
                <c:pt idx="30552">
                  <c:v>77636</c:v>
                </c:pt>
                <c:pt idx="30553">
                  <c:v>77632</c:v>
                </c:pt>
                <c:pt idx="30554">
                  <c:v>77628</c:v>
                </c:pt>
                <c:pt idx="30555">
                  <c:v>77626</c:v>
                </c:pt>
                <c:pt idx="30556">
                  <c:v>77618</c:v>
                </c:pt>
                <c:pt idx="30557">
                  <c:v>77608</c:v>
                </c:pt>
                <c:pt idx="30558">
                  <c:v>77604</c:v>
                </c:pt>
                <c:pt idx="30559">
                  <c:v>77604</c:v>
                </c:pt>
                <c:pt idx="30560">
                  <c:v>77602</c:v>
                </c:pt>
                <c:pt idx="30561">
                  <c:v>77597</c:v>
                </c:pt>
                <c:pt idx="30562">
                  <c:v>77593</c:v>
                </c:pt>
                <c:pt idx="30563">
                  <c:v>77588</c:v>
                </c:pt>
                <c:pt idx="30564">
                  <c:v>77582</c:v>
                </c:pt>
                <c:pt idx="30565">
                  <c:v>77581</c:v>
                </c:pt>
                <c:pt idx="30566">
                  <c:v>77580</c:v>
                </c:pt>
                <c:pt idx="30567">
                  <c:v>77580</c:v>
                </c:pt>
                <c:pt idx="30568">
                  <c:v>77579</c:v>
                </c:pt>
                <c:pt idx="30569">
                  <c:v>77572</c:v>
                </c:pt>
                <c:pt idx="30570">
                  <c:v>77572</c:v>
                </c:pt>
                <c:pt idx="30571">
                  <c:v>77569</c:v>
                </c:pt>
                <c:pt idx="30572">
                  <c:v>77559</c:v>
                </c:pt>
                <c:pt idx="30573">
                  <c:v>77559</c:v>
                </c:pt>
                <c:pt idx="30574">
                  <c:v>77547</c:v>
                </c:pt>
                <c:pt idx="30575">
                  <c:v>77541</c:v>
                </c:pt>
                <c:pt idx="30576">
                  <c:v>77539</c:v>
                </c:pt>
                <c:pt idx="30577">
                  <c:v>77537</c:v>
                </c:pt>
                <c:pt idx="30578">
                  <c:v>77536</c:v>
                </c:pt>
                <c:pt idx="30579">
                  <c:v>77509</c:v>
                </c:pt>
                <c:pt idx="30580">
                  <c:v>77499</c:v>
                </c:pt>
                <c:pt idx="30581">
                  <c:v>77492</c:v>
                </c:pt>
                <c:pt idx="30582">
                  <c:v>77488</c:v>
                </c:pt>
                <c:pt idx="30583">
                  <c:v>77488</c:v>
                </c:pt>
                <c:pt idx="30584">
                  <c:v>77484</c:v>
                </c:pt>
                <c:pt idx="30585">
                  <c:v>77478</c:v>
                </c:pt>
                <c:pt idx="30586">
                  <c:v>77473</c:v>
                </c:pt>
                <c:pt idx="30587">
                  <c:v>77471</c:v>
                </c:pt>
                <c:pt idx="30588">
                  <c:v>77450</c:v>
                </c:pt>
                <c:pt idx="30589">
                  <c:v>77448</c:v>
                </c:pt>
                <c:pt idx="30590">
                  <c:v>77448</c:v>
                </c:pt>
                <c:pt idx="30591">
                  <c:v>77446</c:v>
                </c:pt>
                <c:pt idx="30592">
                  <c:v>77442</c:v>
                </c:pt>
                <c:pt idx="30593">
                  <c:v>77440</c:v>
                </c:pt>
                <c:pt idx="30594">
                  <c:v>77437</c:v>
                </c:pt>
                <c:pt idx="30595">
                  <c:v>77434</c:v>
                </c:pt>
                <c:pt idx="30596">
                  <c:v>77433</c:v>
                </c:pt>
                <c:pt idx="30597">
                  <c:v>77425</c:v>
                </c:pt>
                <c:pt idx="30598">
                  <c:v>77423</c:v>
                </c:pt>
                <c:pt idx="30599">
                  <c:v>77422</c:v>
                </c:pt>
                <c:pt idx="30600">
                  <c:v>77411</c:v>
                </c:pt>
                <c:pt idx="30601">
                  <c:v>77410</c:v>
                </c:pt>
                <c:pt idx="30602">
                  <c:v>77406</c:v>
                </c:pt>
                <c:pt idx="30603">
                  <c:v>77400</c:v>
                </c:pt>
                <c:pt idx="30604">
                  <c:v>77399</c:v>
                </c:pt>
                <c:pt idx="30605">
                  <c:v>77388</c:v>
                </c:pt>
                <c:pt idx="30606">
                  <c:v>77376</c:v>
                </c:pt>
                <c:pt idx="30607">
                  <c:v>77374</c:v>
                </c:pt>
                <c:pt idx="30608">
                  <c:v>77373</c:v>
                </c:pt>
                <c:pt idx="30609">
                  <c:v>77368</c:v>
                </c:pt>
                <c:pt idx="30610">
                  <c:v>77367</c:v>
                </c:pt>
                <c:pt idx="30611">
                  <c:v>77365</c:v>
                </c:pt>
                <c:pt idx="30612">
                  <c:v>77360</c:v>
                </c:pt>
                <c:pt idx="30613">
                  <c:v>77350</c:v>
                </c:pt>
                <c:pt idx="30614">
                  <c:v>77350</c:v>
                </c:pt>
                <c:pt idx="30615">
                  <c:v>77341</c:v>
                </c:pt>
                <c:pt idx="30616">
                  <c:v>77339</c:v>
                </c:pt>
                <c:pt idx="30617">
                  <c:v>77330</c:v>
                </c:pt>
                <c:pt idx="30618">
                  <c:v>77327</c:v>
                </c:pt>
                <c:pt idx="30619">
                  <c:v>77327</c:v>
                </c:pt>
                <c:pt idx="30620">
                  <c:v>77326</c:v>
                </c:pt>
                <c:pt idx="30621">
                  <c:v>77315</c:v>
                </c:pt>
                <c:pt idx="30622">
                  <c:v>77301</c:v>
                </c:pt>
                <c:pt idx="30623">
                  <c:v>77300</c:v>
                </c:pt>
                <c:pt idx="30624">
                  <c:v>77290</c:v>
                </c:pt>
                <c:pt idx="30625">
                  <c:v>77277</c:v>
                </c:pt>
                <c:pt idx="30626">
                  <c:v>77272</c:v>
                </c:pt>
                <c:pt idx="30627">
                  <c:v>77270</c:v>
                </c:pt>
                <c:pt idx="30628">
                  <c:v>77264</c:v>
                </c:pt>
                <c:pt idx="30629">
                  <c:v>77260</c:v>
                </c:pt>
                <c:pt idx="30630">
                  <c:v>77259</c:v>
                </c:pt>
                <c:pt idx="30631">
                  <c:v>77258</c:v>
                </c:pt>
                <c:pt idx="30632">
                  <c:v>77244</c:v>
                </c:pt>
                <c:pt idx="30633">
                  <c:v>77243</c:v>
                </c:pt>
                <c:pt idx="30634">
                  <c:v>77226</c:v>
                </c:pt>
                <c:pt idx="30635">
                  <c:v>77208</c:v>
                </c:pt>
                <c:pt idx="30636">
                  <c:v>77207</c:v>
                </c:pt>
                <c:pt idx="30637">
                  <c:v>77201</c:v>
                </c:pt>
                <c:pt idx="30638">
                  <c:v>77199</c:v>
                </c:pt>
                <c:pt idx="30639">
                  <c:v>77191</c:v>
                </c:pt>
                <c:pt idx="30640">
                  <c:v>77189</c:v>
                </c:pt>
                <c:pt idx="30641">
                  <c:v>77184</c:v>
                </c:pt>
                <c:pt idx="30642">
                  <c:v>77183</c:v>
                </c:pt>
                <c:pt idx="30643">
                  <c:v>77177</c:v>
                </c:pt>
                <c:pt idx="30644">
                  <c:v>77173</c:v>
                </c:pt>
                <c:pt idx="30645">
                  <c:v>77171</c:v>
                </c:pt>
                <c:pt idx="30646">
                  <c:v>77163</c:v>
                </c:pt>
                <c:pt idx="30647">
                  <c:v>77156</c:v>
                </c:pt>
                <c:pt idx="30648">
                  <c:v>77155</c:v>
                </c:pt>
                <c:pt idx="30649">
                  <c:v>77151</c:v>
                </c:pt>
                <c:pt idx="30650">
                  <c:v>77147</c:v>
                </c:pt>
                <c:pt idx="30651">
                  <c:v>77143</c:v>
                </c:pt>
                <c:pt idx="30652">
                  <c:v>77142</c:v>
                </c:pt>
                <c:pt idx="30653">
                  <c:v>77142</c:v>
                </c:pt>
                <c:pt idx="30654">
                  <c:v>77138</c:v>
                </c:pt>
                <c:pt idx="30655">
                  <c:v>77137</c:v>
                </c:pt>
                <c:pt idx="30656">
                  <c:v>77137</c:v>
                </c:pt>
                <c:pt idx="30657">
                  <c:v>77132</c:v>
                </c:pt>
                <c:pt idx="30658">
                  <c:v>77127</c:v>
                </c:pt>
                <c:pt idx="30659">
                  <c:v>77124</c:v>
                </c:pt>
                <c:pt idx="30660">
                  <c:v>77122</c:v>
                </c:pt>
                <c:pt idx="30661">
                  <c:v>77117</c:v>
                </c:pt>
                <c:pt idx="30662">
                  <c:v>77116</c:v>
                </c:pt>
                <c:pt idx="30663">
                  <c:v>77115</c:v>
                </c:pt>
                <c:pt idx="30664">
                  <c:v>77103</c:v>
                </c:pt>
                <c:pt idx="30665">
                  <c:v>77100</c:v>
                </c:pt>
                <c:pt idx="30666">
                  <c:v>77096</c:v>
                </c:pt>
                <c:pt idx="30667">
                  <c:v>77096</c:v>
                </c:pt>
                <c:pt idx="30668">
                  <c:v>77089</c:v>
                </c:pt>
                <c:pt idx="30669">
                  <c:v>77085</c:v>
                </c:pt>
                <c:pt idx="30670">
                  <c:v>77080</c:v>
                </c:pt>
                <c:pt idx="30671">
                  <c:v>77054</c:v>
                </c:pt>
                <c:pt idx="30672">
                  <c:v>77052</c:v>
                </c:pt>
                <c:pt idx="30673">
                  <c:v>77040</c:v>
                </c:pt>
                <c:pt idx="30674">
                  <c:v>77038</c:v>
                </c:pt>
                <c:pt idx="30675">
                  <c:v>77037</c:v>
                </c:pt>
                <c:pt idx="30676">
                  <c:v>77017</c:v>
                </c:pt>
                <c:pt idx="30677">
                  <c:v>77016</c:v>
                </c:pt>
                <c:pt idx="30678">
                  <c:v>77015</c:v>
                </c:pt>
                <c:pt idx="30679">
                  <c:v>77013</c:v>
                </c:pt>
                <c:pt idx="30680">
                  <c:v>77009</c:v>
                </c:pt>
                <c:pt idx="30681">
                  <c:v>77005</c:v>
                </c:pt>
                <c:pt idx="30682">
                  <c:v>76996</c:v>
                </c:pt>
                <c:pt idx="30683">
                  <c:v>76994</c:v>
                </c:pt>
                <c:pt idx="30684">
                  <c:v>76979</c:v>
                </c:pt>
                <c:pt idx="30685">
                  <c:v>76974</c:v>
                </c:pt>
                <c:pt idx="30686">
                  <c:v>76963</c:v>
                </c:pt>
                <c:pt idx="30687">
                  <c:v>76961</c:v>
                </c:pt>
                <c:pt idx="30688">
                  <c:v>76951</c:v>
                </c:pt>
                <c:pt idx="30689">
                  <c:v>76946</c:v>
                </c:pt>
                <c:pt idx="30690">
                  <c:v>76944</c:v>
                </c:pt>
                <c:pt idx="30691">
                  <c:v>76931</c:v>
                </c:pt>
                <c:pt idx="30692">
                  <c:v>76911</c:v>
                </c:pt>
                <c:pt idx="30693">
                  <c:v>76905</c:v>
                </c:pt>
                <c:pt idx="30694">
                  <c:v>76890</c:v>
                </c:pt>
                <c:pt idx="30695">
                  <c:v>76887</c:v>
                </c:pt>
                <c:pt idx="30696">
                  <c:v>76878</c:v>
                </c:pt>
                <c:pt idx="30697">
                  <c:v>76878</c:v>
                </c:pt>
                <c:pt idx="30698">
                  <c:v>76878</c:v>
                </c:pt>
                <c:pt idx="30699">
                  <c:v>76876</c:v>
                </c:pt>
                <c:pt idx="30700">
                  <c:v>76876</c:v>
                </c:pt>
                <c:pt idx="30701">
                  <c:v>76873</c:v>
                </c:pt>
                <c:pt idx="30702">
                  <c:v>76869</c:v>
                </c:pt>
                <c:pt idx="30703">
                  <c:v>76862</c:v>
                </c:pt>
                <c:pt idx="30704">
                  <c:v>76858</c:v>
                </c:pt>
                <c:pt idx="30705">
                  <c:v>76854</c:v>
                </c:pt>
                <c:pt idx="30706">
                  <c:v>76850</c:v>
                </c:pt>
                <c:pt idx="30707">
                  <c:v>76840</c:v>
                </c:pt>
                <c:pt idx="30708">
                  <c:v>76837</c:v>
                </c:pt>
                <c:pt idx="30709">
                  <c:v>76834</c:v>
                </c:pt>
                <c:pt idx="30710">
                  <c:v>76833</c:v>
                </c:pt>
                <c:pt idx="30711">
                  <c:v>76831</c:v>
                </c:pt>
                <c:pt idx="30712">
                  <c:v>76831</c:v>
                </c:pt>
                <c:pt idx="30713">
                  <c:v>76827</c:v>
                </c:pt>
                <c:pt idx="30714">
                  <c:v>76823</c:v>
                </c:pt>
                <c:pt idx="30715">
                  <c:v>76819</c:v>
                </c:pt>
                <c:pt idx="30716">
                  <c:v>76817</c:v>
                </c:pt>
                <c:pt idx="30717">
                  <c:v>76812</c:v>
                </c:pt>
                <c:pt idx="30718">
                  <c:v>76810</c:v>
                </c:pt>
                <c:pt idx="30719">
                  <c:v>76806</c:v>
                </c:pt>
                <c:pt idx="30720">
                  <c:v>76800</c:v>
                </c:pt>
                <c:pt idx="30721">
                  <c:v>76788</c:v>
                </c:pt>
                <c:pt idx="30722">
                  <c:v>76786</c:v>
                </c:pt>
                <c:pt idx="30723">
                  <c:v>76769</c:v>
                </c:pt>
                <c:pt idx="30724">
                  <c:v>76769</c:v>
                </c:pt>
                <c:pt idx="30725">
                  <c:v>76756</c:v>
                </c:pt>
                <c:pt idx="30726">
                  <c:v>76753</c:v>
                </c:pt>
                <c:pt idx="30727">
                  <c:v>76751</c:v>
                </c:pt>
                <c:pt idx="30728">
                  <c:v>76750</c:v>
                </c:pt>
                <c:pt idx="30729">
                  <c:v>76749</c:v>
                </c:pt>
                <c:pt idx="30730">
                  <c:v>76746</c:v>
                </c:pt>
                <c:pt idx="30731">
                  <c:v>76744</c:v>
                </c:pt>
                <c:pt idx="30732">
                  <c:v>76740</c:v>
                </c:pt>
                <c:pt idx="30733">
                  <c:v>76736</c:v>
                </c:pt>
                <c:pt idx="30734">
                  <c:v>76724</c:v>
                </c:pt>
                <c:pt idx="30735">
                  <c:v>76708</c:v>
                </c:pt>
                <c:pt idx="30736">
                  <c:v>76707</c:v>
                </c:pt>
                <c:pt idx="30737">
                  <c:v>76702</c:v>
                </c:pt>
                <c:pt idx="30738">
                  <c:v>76696</c:v>
                </c:pt>
                <c:pt idx="30739">
                  <c:v>76690</c:v>
                </c:pt>
                <c:pt idx="30740">
                  <c:v>76682</c:v>
                </c:pt>
                <c:pt idx="30741">
                  <c:v>76668</c:v>
                </c:pt>
                <c:pt idx="30742">
                  <c:v>76663</c:v>
                </c:pt>
                <c:pt idx="30743">
                  <c:v>76652</c:v>
                </c:pt>
                <c:pt idx="30744">
                  <c:v>76644</c:v>
                </c:pt>
                <c:pt idx="30745">
                  <c:v>76643</c:v>
                </c:pt>
                <c:pt idx="30746">
                  <c:v>76635</c:v>
                </c:pt>
                <c:pt idx="30747">
                  <c:v>76629</c:v>
                </c:pt>
                <c:pt idx="30748">
                  <c:v>76627</c:v>
                </c:pt>
                <c:pt idx="30749">
                  <c:v>76615</c:v>
                </c:pt>
                <c:pt idx="30750">
                  <c:v>76615</c:v>
                </c:pt>
                <c:pt idx="30751">
                  <c:v>76611</c:v>
                </c:pt>
                <c:pt idx="30752">
                  <c:v>76605</c:v>
                </c:pt>
                <c:pt idx="30753">
                  <c:v>76604</c:v>
                </c:pt>
                <c:pt idx="30754">
                  <c:v>76595</c:v>
                </c:pt>
                <c:pt idx="30755">
                  <c:v>76594</c:v>
                </c:pt>
                <c:pt idx="30756">
                  <c:v>76590</c:v>
                </c:pt>
                <c:pt idx="30757">
                  <c:v>76589</c:v>
                </c:pt>
                <c:pt idx="30758">
                  <c:v>76581</c:v>
                </c:pt>
                <c:pt idx="30759">
                  <c:v>76581</c:v>
                </c:pt>
                <c:pt idx="30760">
                  <c:v>76580</c:v>
                </c:pt>
                <c:pt idx="30761">
                  <c:v>76579</c:v>
                </c:pt>
                <c:pt idx="30762">
                  <c:v>76578</c:v>
                </c:pt>
                <c:pt idx="30763">
                  <c:v>76576</c:v>
                </c:pt>
                <c:pt idx="30764">
                  <c:v>76573</c:v>
                </c:pt>
                <c:pt idx="30765">
                  <c:v>76566</c:v>
                </c:pt>
                <c:pt idx="30766">
                  <c:v>76552</c:v>
                </c:pt>
                <c:pt idx="30767">
                  <c:v>76547</c:v>
                </c:pt>
                <c:pt idx="30768">
                  <c:v>76515</c:v>
                </c:pt>
                <c:pt idx="30769">
                  <c:v>76514</c:v>
                </c:pt>
                <c:pt idx="30770">
                  <c:v>76514</c:v>
                </c:pt>
                <c:pt idx="30771">
                  <c:v>76507</c:v>
                </c:pt>
                <c:pt idx="30772">
                  <c:v>76498</c:v>
                </c:pt>
                <c:pt idx="30773">
                  <c:v>76485</c:v>
                </c:pt>
                <c:pt idx="30774">
                  <c:v>76484</c:v>
                </c:pt>
                <c:pt idx="30775">
                  <c:v>76484</c:v>
                </c:pt>
                <c:pt idx="30776">
                  <c:v>76483</c:v>
                </c:pt>
                <c:pt idx="30777">
                  <c:v>76478</c:v>
                </c:pt>
                <c:pt idx="30778">
                  <c:v>76476</c:v>
                </c:pt>
                <c:pt idx="30779">
                  <c:v>76469</c:v>
                </c:pt>
                <c:pt idx="30780">
                  <c:v>76465</c:v>
                </c:pt>
                <c:pt idx="30781">
                  <c:v>76463</c:v>
                </c:pt>
                <c:pt idx="30782">
                  <c:v>76460</c:v>
                </c:pt>
                <c:pt idx="30783">
                  <c:v>76458</c:v>
                </c:pt>
                <c:pt idx="30784">
                  <c:v>76450</c:v>
                </c:pt>
                <c:pt idx="30785">
                  <c:v>76450</c:v>
                </c:pt>
                <c:pt idx="30786">
                  <c:v>76432</c:v>
                </c:pt>
                <c:pt idx="30787">
                  <c:v>76431</c:v>
                </c:pt>
                <c:pt idx="30788">
                  <c:v>76430</c:v>
                </c:pt>
                <c:pt idx="30789">
                  <c:v>76421</c:v>
                </c:pt>
                <c:pt idx="30790">
                  <c:v>76421</c:v>
                </c:pt>
                <c:pt idx="30791">
                  <c:v>76421</c:v>
                </c:pt>
                <c:pt idx="30792">
                  <c:v>76417</c:v>
                </c:pt>
                <c:pt idx="30793">
                  <c:v>76417</c:v>
                </c:pt>
                <c:pt idx="30794">
                  <c:v>76417</c:v>
                </c:pt>
                <c:pt idx="30795">
                  <c:v>76416</c:v>
                </c:pt>
                <c:pt idx="30796">
                  <c:v>76416</c:v>
                </c:pt>
                <c:pt idx="30797">
                  <c:v>76408</c:v>
                </c:pt>
                <c:pt idx="30798">
                  <c:v>76403</c:v>
                </c:pt>
                <c:pt idx="30799">
                  <c:v>76402</c:v>
                </c:pt>
                <c:pt idx="30800">
                  <c:v>76402</c:v>
                </c:pt>
                <c:pt idx="30801">
                  <c:v>76383</c:v>
                </c:pt>
                <c:pt idx="30802">
                  <c:v>76377</c:v>
                </c:pt>
                <c:pt idx="30803">
                  <c:v>76373</c:v>
                </c:pt>
                <c:pt idx="30804">
                  <c:v>76365</c:v>
                </c:pt>
                <c:pt idx="30805">
                  <c:v>76364</c:v>
                </c:pt>
                <c:pt idx="30806">
                  <c:v>76358</c:v>
                </c:pt>
                <c:pt idx="30807">
                  <c:v>76356</c:v>
                </c:pt>
                <c:pt idx="30808">
                  <c:v>76354</c:v>
                </c:pt>
                <c:pt idx="30809">
                  <c:v>76351</c:v>
                </c:pt>
                <c:pt idx="30810">
                  <c:v>76347</c:v>
                </c:pt>
                <c:pt idx="30811">
                  <c:v>76343</c:v>
                </c:pt>
                <c:pt idx="30812">
                  <c:v>76340</c:v>
                </c:pt>
                <c:pt idx="30813">
                  <c:v>76340</c:v>
                </c:pt>
                <c:pt idx="30814">
                  <c:v>76332</c:v>
                </c:pt>
                <c:pt idx="30815">
                  <c:v>76325</c:v>
                </c:pt>
                <c:pt idx="30816">
                  <c:v>76322</c:v>
                </c:pt>
                <c:pt idx="30817">
                  <c:v>76316</c:v>
                </c:pt>
                <c:pt idx="30818">
                  <c:v>76302</c:v>
                </c:pt>
                <c:pt idx="30819">
                  <c:v>76296</c:v>
                </c:pt>
                <c:pt idx="30820">
                  <c:v>76296</c:v>
                </c:pt>
                <c:pt idx="30821">
                  <c:v>76294</c:v>
                </c:pt>
                <c:pt idx="30822">
                  <c:v>76271</c:v>
                </c:pt>
                <c:pt idx="30823">
                  <c:v>76264</c:v>
                </c:pt>
                <c:pt idx="30824">
                  <c:v>76262</c:v>
                </c:pt>
                <c:pt idx="30825">
                  <c:v>76262</c:v>
                </c:pt>
                <c:pt idx="30826">
                  <c:v>76259</c:v>
                </c:pt>
                <c:pt idx="30827">
                  <c:v>76245</c:v>
                </c:pt>
                <c:pt idx="30828">
                  <c:v>76233</c:v>
                </c:pt>
                <c:pt idx="30829">
                  <c:v>76231</c:v>
                </c:pt>
                <c:pt idx="30830">
                  <c:v>76230</c:v>
                </c:pt>
                <c:pt idx="30831">
                  <c:v>76225</c:v>
                </c:pt>
                <c:pt idx="30832">
                  <c:v>76224</c:v>
                </c:pt>
                <c:pt idx="30833">
                  <c:v>76209</c:v>
                </c:pt>
                <c:pt idx="30834">
                  <c:v>76206</c:v>
                </c:pt>
                <c:pt idx="30835">
                  <c:v>76205</c:v>
                </c:pt>
                <c:pt idx="30836">
                  <c:v>76200</c:v>
                </c:pt>
                <c:pt idx="30837">
                  <c:v>76196</c:v>
                </c:pt>
                <c:pt idx="30838">
                  <c:v>76188</c:v>
                </c:pt>
                <c:pt idx="30839">
                  <c:v>76178</c:v>
                </c:pt>
                <c:pt idx="30840">
                  <c:v>76178</c:v>
                </c:pt>
                <c:pt idx="30841">
                  <c:v>76164</c:v>
                </c:pt>
                <c:pt idx="30842">
                  <c:v>76159</c:v>
                </c:pt>
                <c:pt idx="30843">
                  <c:v>76156</c:v>
                </c:pt>
                <c:pt idx="30844">
                  <c:v>76155</c:v>
                </c:pt>
                <c:pt idx="30845">
                  <c:v>76147</c:v>
                </c:pt>
                <c:pt idx="30846">
                  <c:v>76146</c:v>
                </c:pt>
                <c:pt idx="30847">
                  <c:v>76145</c:v>
                </c:pt>
                <c:pt idx="30848">
                  <c:v>76144</c:v>
                </c:pt>
                <c:pt idx="30849">
                  <c:v>76143</c:v>
                </c:pt>
                <c:pt idx="30850">
                  <c:v>76111</c:v>
                </c:pt>
                <c:pt idx="30851">
                  <c:v>76111</c:v>
                </c:pt>
                <c:pt idx="30852">
                  <c:v>76110</c:v>
                </c:pt>
                <c:pt idx="30853">
                  <c:v>76110</c:v>
                </c:pt>
                <c:pt idx="30854">
                  <c:v>76101</c:v>
                </c:pt>
                <c:pt idx="30855">
                  <c:v>76099</c:v>
                </c:pt>
                <c:pt idx="30856">
                  <c:v>76098</c:v>
                </c:pt>
                <c:pt idx="30857">
                  <c:v>76092</c:v>
                </c:pt>
                <c:pt idx="30858">
                  <c:v>76075</c:v>
                </c:pt>
                <c:pt idx="30859">
                  <c:v>76074</c:v>
                </c:pt>
                <c:pt idx="30860">
                  <c:v>76069</c:v>
                </c:pt>
                <c:pt idx="30861">
                  <c:v>76066</c:v>
                </c:pt>
                <c:pt idx="30862">
                  <c:v>76049</c:v>
                </c:pt>
                <c:pt idx="30863">
                  <c:v>76043</c:v>
                </c:pt>
                <c:pt idx="30864">
                  <c:v>76033</c:v>
                </c:pt>
                <c:pt idx="30865">
                  <c:v>76025</c:v>
                </c:pt>
                <c:pt idx="30866">
                  <c:v>76012</c:v>
                </c:pt>
                <c:pt idx="30867">
                  <c:v>76011</c:v>
                </c:pt>
                <c:pt idx="30868">
                  <c:v>75998</c:v>
                </c:pt>
                <c:pt idx="30869">
                  <c:v>75992</c:v>
                </c:pt>
                <c:pt idx="30870">
                  <c:v>75986</c:v>
                </c:pt>
                <c:pt idx="30871">
                  <c:v>75985</c:v>
                </c:pt>
                <c:pt idx="30872">
                  <c:v>75976</c:v>
                </c:pt>
                <c:pt idx="30873">
                  <c:v>75976</c:v>
                </c:pt>
                <c:pt idx="30874">
                  <c:v>75974</c:v>
                </c:pt>
                <c:pt idx="30875">
                  <c:v>75974</c:v>
                </c:pt>
                <c:pt idx="30876">
                  <c:v>75967</c:v>
                </c:pt>
                <c:pt idx="30877">
                  <c:v>75963</c:v>
                </c:pt>
                <c:pt idx="30878">
                  <c:v>75954</c:v>
                </c:pt>
                <c:pt idx="30879">
                  <c:v>75953</c:v>
                </c:pt>
                <c:pt idx="30880">
                  <c:v>75952</c:v>
                </c:pt>
                <c:pt idx="30881">
                  <c:v>75940</c:v>
                </c:pt>
                <c:pt idx="30882">
                  <c:v>75937</c:v>
                </c:pt>
                <c:pt idx="30883">
                  <c:v>75933</c:v>
                </c:pt>
                <c:pt idx="30884">
                  <c:v>75932</c:v>
                </c:pt>
                <c:pt idx="30885">
                  <c:v>75927</c:v>
                </c:pt>
                <c:pt idx="30886">
                  <c:v>75916</c:v>
                </c:pt>
                <c:pt idx="30887">
                  <c:v>75911</c:v>
                </c:pt>
                <c:pt idx="30888">
                  <c:v>75907</c:v>
                </c:pt>
                <c:pt idx="30889">
                  <c:v>75902</c:v>
                </c:pt>
                <c:pt idx="30890">
                  <c:v>75895</c:v>
                </c:pt>
                <c:pt idx="30891">
                  <c:v>75884</c:v>
                </c:pt>
                <c:pt idx="30892">
                  <c:v>75882</c:v>
                </c:pt>
                <c:pt idx="30893">
                  <c:v>75880</c:v>
                </c:pt>
                <c:pt idx="30894">
                  <c:v>75880</c:v>
                </c:pt>
                <c:pt idx="30895">
                  <c:v>75874</c:v>
                </c:pt>
                <c:pt idx="30896">
                  <c:v>75874</c:v>
                </c:pt>
                <c:pt idx="30897">
                  <c:v>75872</c:v>
                </c:pt>
                <c:pt idx="30898">
                  <c:v>75870</c:v>
                </c:pt>
                <c:pt idx="30899">
                  <c:v>75869</c:v>
                </c:pt>
                <c:pt idx="30900">
                  <c:v>75867</c:v>
                </c:pt>
                <c:pt idx="30901">
                  <c:v>75855</c:v>
                </c:pt>
                <c:pt idx="30902">
                  <c:v>75852</c:v>
                </c:pt>
                <c:pt idx="30903">
                  <c:v>75852</c:v>
                </c:pt>
                <c:pt idx="30904">
                  <c:v>75851</c:v>
                </c:pt>
                <c:pt idx="30905">
                  <c:v>75847</c:v>
                </c:pt>
                <c:pt idx="30906">
                  <c:v>75836</c:v>
                </c:pt>
                <c:pt idx="30907">
                  <c:v>75827</c:v>
                </c:pt>
                <c:pt idx="30908">
                  <c:v>75821</c:v>
                </c:pt>
                <c:pt idx="30909">
                  <c:v>75819</c:v>
                </c:pt>
                <c:pt idx="30910">
                  <c:v>75817</c:v>
                </c:pt>
                <c:pt idx="30911">
                  <c:v>75808</c:v>
                </c:pt>
                <c:pt idx="30912">
                  <c:v>75795</c:v>
                </c:pt>
                <c:pt idx="30913">
                  <c:v>75792</c:v>
                </c:pt>
                <c:pt idx="30914">
                  <c:v>75771</c:v>
                </c:pt>
                <c:pt idx="30915">
                  <c:v>75771</c:v>
                </c:pt>
                <c:pt idx="30916">
                  <c:v>75759</c:v>
                </c:pt>
                <c:pt idx="30917">
                  <c:v>75749</c:v>
                </c:pt>
                <c:pt idx="30918">
                  <c:v>75737</c:v>
                </c:pt>
                <c:pt idx="30919">
                  <c:v>75734</c:v>
                </c:pt>
                <c:pt idx="30920">
                  <c:v>75728</c:v>
                </c:pt>
                <c:pt idx="30921">
                  <c:v>75725</c:v>
                </c:pt>
                <c:pt idx="30922">
                  <c:v>75714</c:v>
                </c:pt>
                <c:pt idx="30923">
                  <c:v>75714</c:v>
                </c:pt>
                <c:pt idx="30924">
                  <c:v>75714</c:v>
                </c:pt>
                <c:pt idx="30925">
                  <c:v>75711</c:v>
                </c:pt>
                <c:pt idx="30926">
                  <c:v>75705</c:v>
                </c:pt>
                <c:pt idx="30927">
                  <c:v>75703</c:v>
                </c:pt>
                <c:pt idx="30928">
                  <c:v>75698</c:v>
                </c:pt>
                <c:pt idx="30929">
                  <c:v>75698</c:v>
                </c:pt>
                <c:pt idx="30930">
                  <c:v>75694</c:v>
                </c:pt>
                <c:pt idx="30931">
                  <c:v>75693</c:v>
                </c:pt>
                <c:pt idx="30932">
                  <c:v>75686</c:v>
                </c:pt>
                <c:pt idx="30933">
                  <c:v>75684</c:v>
                </c:pt>
                <c:pt idx="30934">
                  <c:v>75660</c:v>
                </c:pt>
                <c:pt idx="30935">
                  <c:v>75655</c:v>
                </c:pt>
                <c:pt idx="30936">
                  <c:v>75652</c:v>
                </c:pt>
                <c:pt idx="30937">
                  <c:v>75650</c:v>
                </c:pt>
                <c:pt idx="30938">
                  <c:v>75646</c:v>
                </c:pt>
                <c:pt idx="30939">
                  <c:v>75638</c:v>
                </c:pt>
                <c:pt idx="30940">
                  <c:v>75633</c:v>
                </c:pt>
                <c:pt idx="30941">
                  <c:v>75628</c:v>
                </c:pt>
                <c:pt idx="30942">
                  <c:v>75626</c:v>
                </c:pt>
                <c:pt idx="30943">
                  <c:v>75626</c:v>
                </c:pt>
                <c:pt idx="30944">
                  <c:v>75623</c:v>
                </c:pt>
                <c:pt idx="30945">
                  <c:v>75610</c:v>
                </c:pt>
                <c:pt idx="30946">
                  <c:v>75601</c:v>
                </c:pt>
                <c:pt idx="30947">
                  <c:v>75595</c:v>
                </c:pt>
                <c:pt idx="30948">
                  <c:v>75592</c:v>
                </c:pt>
                <c:pt idx="30949">
                  <c:v>75583</c:v>
                </c:pt>
                <c:pt idx="30950">
                  <c:v>75577</c:v>
                </c:pt>
                <c:pt idx="30951">
                  <c:v>75564</c:v>
                </c:pt>
                <c:pt idx="30952">
                  <c:v>75555</c:v>
                </c:pt>
                <c:pt idx="30953">
                  <c:v>75554</c:v>
                </c:pt>
                <c:pt idx="30954">
                  <c:v>75554</c:v>
                </c:pt>
                <c:pt idx="30955">
                  <c:v>75542</c:v>
                </c:pt>
                <c:pt idx="30956">
                  <c:v>75539</c:v>
                </c:pt>
                <c:pt idx="30957">
                  <c:v>75530</c:v>
                </c:pt>
                <c:pt idx="30958">
                  <c:v>75522</c:v>
                </c:pt>
                <c:pt idx="30959">
                  <c:v>75521</c:v>
                </c:pt>
                <c:pt idx="30960">
                  <c:v>75508</c:v>
                </c:pt>
                <c:pt idx="30961">
                  <c:v>75506</c:v>
                </c:pt>
                <c:pt idx="30962">
                  <c:v>75502</c:v>
                </c:pt>
                <c:pt idx="30963">
                  <c:v>75501</c:v>
                </c:pt>
                <c:pt idx="30964">
                  <c:v>75495</c:v>
                </c:pt>
                <c:pt idx="30965">
                  <c:v>75494</c:v>
                </c:pt>
                <c:pt idx="30966">
                  <c:v>75490</c:v>
                </c:pt>
                <c:pt idx="30967">
                  <c:v>75489</c:v>
                </c:pt>
                <c:pt idx="30968">
                  <c:v>75486</c:v>
                </c:pt>
                <c:pt idx="30969">
                  <c:v>75475</c:v>
                </c:pt>
                <c:pt idx="30970">
                  <c:v>75467</c:v>
                </c:pt>
                <c:pt idx="30971">
                  <c:v>75464</c:v>
                </c:pt>
                <c:pt idx="30972">
                  <c:v>75463</c:v>
                </c:pt>
                <c:pt idx="30973">
                  <c:v>75440</c:v>
                </c:pt>
                <c:pt idx="30974">
                  <c:v>75426</c:v>
                </c:pt>
                <c:pt idx="30975">
                  <c:v>75423</c:v>
                </c:pt>
                <c:pt idx="30976">
                  <c:v>75423</c:v>
                </c:pt>
                <c:pt idx="30977">
                  <c:v>75414</c:v>
                </c:pt>
                <c:pt idx="30978">
                  <c:v>75412</c:v>
                </c:pt>
                <c:pt idx="30979">
                  <c:v>75393</c:v>
                </c:pt>
                <c:pt idx="30980">
                  <c:v>75384</c:v>
                </c:pt>
                <c:pt idx="30981">
                  <c:v>75378</c:v>
                </c:pt>
                <c:pt idx="30982">
                  <c:v>75375</c:v>
                </c:pt>
                <c:pt idx="30983">
                  <c:v>75369</c:v>
                </c:pt>
                <c:pt idx="30984">
                  <c:v>75364</c:v>
                </c:pt>
                <c:pt idx="30985">
                  <c:v>75358</c:v>
                </c:pt>
                <c:pt idx="30986">
                  <c:v>75357</c:v>
                </c:pt>
                <c:pt idx="30987">
                  <c:v>75354</c:v>
                </c:pt>
                <c:pt idx="30988">
                  <c:v>75341</c:v>
                </c:pt>
                <c:pt idx="30989">
                  <c:v>75339</c:v>
                </c:pt>
                <c:pt idx="30990">
                  <c:v>75335</c:v>
                </c:pt>
                <c:pt idx="30991">
                  <c:v>75332</c:v>
                </c:pt>
                <c:pt idx="30992">
                  <c:v>75331</c:v>
                </c:pt>
                <c:pt idx="30993">
                  <c:v>75327</c:v>
                </c:pt>
                <c:pt idx="30994">
                  <c:v>75326</c:v>
                </c:pt>
                <c:pt idx="30995">
                  <c:v>75321</c:v>
                </c:pt>
                <c:pt idx="30996">
                  <c:v>75310</c:v>
                </c:pt>
                <c:pt idx="30997">
                  <c:v>75308</c:v>
                </c:pt>
                <c:pt idx="30998">
                  <c:v>75308</c:v>
                </c:pt>
                <c:pt idx="30999">
                  <c:v>75306</c:v>
                </c:pt>
                <c:pt idx="31000">
                  <c:v>75303</c:v>
                </c:pt>
                <c:pt idx="31001">
                  <c:v>75302</c:v>
                </c:pt>
                <c:pt idx="31002">
                  <c:v>75300</c:v>
                </c:pt>
                <c:pt idx="31003">
                  <c:v>75299</c:v>
                </c:pt>
                <c:pt idx="31004">
                  <c:v>75288</c:v>
                </c:pt>
                <c:pt idx="31005">
                  <c:v>75287</c:v>
                </c:pt>
                <c:pt idx="31006">
                  <c:v>75279</c:v>
                </c:pt>
                <c:pt idx="31007">
                  <c:v>75272</c:v>
                </c:pt>
                <c:pt idx="31008">
                  <c:v>75271</c:v>
                </c:pt>
                <c:pt idx="31009">
                  <c:v>75271</c:v>
                </c:pt>
                <c:pt idx="31010">
                  <c:v>75269</c:v>
                </c:pt>
                <c:pt idx="31011">
                  <c:v>75263</c:v>
                </c:pt>
                <c:pt idx="31012">
                  <c:v>75262</c:v>
                </c:pt>
                <c:pt idx="31013">
                  <c:v>75254</c:v>
                </c:pt>
                <c:pt idx="31014">
                  <c:v>75247</c:v>
                </c:pt>
                <c:pt idx="31015">
                  <c:v>75244</c:v>
                </c:pt>
                <c:pt idx="31016">
                  <c:v>75240</c:v>
                </c:pt>
                <c:pt idx="31017">
                  <c:v>75228</c:v>
                </c:pt>
                <c:pt idx="31018">
                  <c:v>75226</c:v>
                </c:pt>
                <c:pt idx="31019">
                  <c:v>75226</c:v>
                </c:pt>
                <c:pt idx="31020">
                  <c:v>75225</c:v>
                </c:pt>
                <c:pt idx="31021">
                  <c:v>75221</c:v>
                </c:pt>
                <c:pt idx="31022">
                  <c:v>75220</c:v>
                </c:pt>
                <c:pt idx="31023">
                  <c:v>75205</c:v>
                </c:pt>
                <c:pt idx="31024">
                  <c:v>75202</c:v>
                </c:pt>
                <c:pt idx="31025">
                  <c:v>75202</c:v>
                </c:pt>
                <c:pt idx="31026">
                  <c:v>75188</c:v>
                </c:pt>
                <c:pt idx="31027">
                  <c:v>75185</c:v>
                </c:pt>
                <c:pt idx="31028">
                  <c:v>75165</c:v>
                </c:pt>
                <c:pt idx="31029">
                  <c:v>75161</c:v>
                </c:pt>
                <c:pt idx="31030">
                  <c:v>75138</c:v>
                </c:pt>
                <c:pt idx="31031">
                  <c:v>75135</c:v>
                </c:pt>
                <c:pt idx="31032">
                  <c:v>75123</c:v>
                </c:pt>
                <c:pt idx="31033">
                  <c:v>75117</c:v>
                </c:pt>
                <c:pt idx="31034">
                  <c:v>75110</c:v>
                </c:pt>
                <c:pt idx="31035">
                  <c:v>75103</c:v>
                </c:pt>
                <c:pt idx="31036">
                  <c:v>75101</c:v>
                </c:pt>
                <c:pt idx="31037">
                  <c:v>75100</c:v>
                </c:pt>
                <c:pt idx="31038">
                  <c:v>75092</c:v>
                </c:pt>
                <c:pt idx="31039">
                  <c:v>75090</c:v>
                </c:pt>
                <c:pt idx="31040">
                  <c:v>75089</c:v>
                </c:pt>
                <c:pt idx="31041">
                  <c:v>75087</c:v>
                </c:pt>
                <c:pt idx="31042">
                  <c:v>75085</c:v>
                </c:pt>
                <c:pt idx="31043">
                  <c:v>75083</c:v>
                </c:pt>
                <c:pt idx="31044">
                  <c:v>75076</c:v>
                </c:pt>
                <c:pt idx="31045">
                  <c:v>75064</c:v>
                </c:pt>
                <c:pt idx="31046">
                  <c:v>75058</c:v>
                </c:pt>
                <c:pt idx="31047">
                  <c:v>75049</c:v>
                </c:pt>
                <c:pt idx="31048">
                  <c:v>75046</c:v>
                </c:pt>
                <c:pt idx="31049">
                  <c:v>75043</c:v>
                </c:pt>
                <c:pt idx="31050">
                  <c:v>75039</c:v>
                </c:pt>
                <c:pt idx="31051">
                  <c:v>75036</c:v>
                </c:pt>
                <c:pt idx="31052">
                  <c:v>75027</c:v>
                </c:pt>
                <c:pt idx="31053">
                  <c:v>75024</c:v>
                </c:pt>
                <c:pt idx="31054">
                  <c:v>75020</c:v>
                </c:pt>
                <c:pt idx="31055">
                  <c:v>75018</c:v>
                </c:pt>
                <c:pt idx="31056">
                  <c:v>75014</c:v>
                </c:pt>
                <c:pt idx="31057">
                  <c:v>75005</c:v>
                </c:pt>
                <c:pt idx="31058">
                  <c:v>74989</c:v>
                </c:pt>
                <c:pt idx="31059">
                  <c:v>74984</c:v>
                </c:pt>
                <c:pt idx="31060">
                  <c:v>74984</c:v>
                </c:pt>
                <c:pt idx="31061">
                  <c:v>74980</c:v>
                </c:pt>
                <c:pt idx="31062">
                  <c:v>74964</c:v>
                </c:pt>
                <c:pt idx="31063">
                  <c:v>74953</c:v>
                </c:pt>
                <c:pt idx="31064">
                  <c:v>74942</c:v>
                </c:pt>
                <c:pt idx="31065">
                  <c:v>74931</c:v>
                </c:pt>
                <c:pt idx="31066">
                  <c:v>74926</c:v>
                </c:pt>
                <c:pt idx="31067">
                  <c:v>74923</c:v>
                </c:pt>
                <c:pt idx="31068">
                  <c:v>74923</c:v>
                </c:pt>
                <c:pt idx="31069">
                  <c:v>74920</c:v>
                </c:pt>
                <c:pt idx="31070">
                  <c:v>74898</c:v>
                </c:pt>
                <c:pt idx="31071">
                  <c:v>74885</c:v>
                </c:pt>
                <c:pt idx="31072">
                  <c:v>74883</c:v>
                </c:pt>
                <c:pt idx="31073">
                  <c:v>74883</c:v>
                </c:pt>
                <c:pt idx="31074">
                  <c:v>74874</c:v>
                </c:pt>
                <c:pt idx="31075">
                  <c:v>74872</c:v>
                </c:pt>
                <c:pt idx="31076">
                  <c:v>74871</c:v>
                </c:pt>
                <c:pt idx="31077">
                  <c:v>74859</c:v>
                </c:pt>
                <c:pt idx="31078">
                  <c:v>74858</c:v>
                </c:pt>
                <c:pt idx="31079">
                  <c:v>74836</c:v>
                </c:pt>
                <c:pt idx="31080">
                  <c:v>74836</c:v>
                </c:pt>
                <c:pt idx="31081">
                  <c:v>74829</c:v>
                </c:pt>
                <c:pt idx="31082">
                  <c:v>74823</c:v>
                </c:pt>
                <c:pt idx="31083">
                  <c:v>74817</c:v>
                </c:pt>
                <c:pt idx="31084">
                  <c:v>74814</c:v>
                </c:pt>
                <c:pt idx="31085">
                  <c:v>74811</c:v>
                </c:pt>
                <c:pt idx="31086">
                  <c:v>74805</c:v>
                </c:pt>
                <c:pt idx="31087">
                  <c:v>74804</c:v>
                </c:pt>
                <c:pt idx="31088">
                  <c:v>74804</c:v>
                </c:pt>
                <c:pt idx="31089">
                  <c:v>74799</c:v>
                </c:pt>
                <c:pt idx="31090">
                  <c:v>74788</c:v>
                </c:pt>
                <c:pt idx="31091">
                  <c:v>74787</c:v>
                </c:pt>
                <c:pt idx="31092">
                  <c:v>74779</c:v>
                </c:pt>
                <c:pt idx="31093">
                  <c:v>74776</c:v>
                </c:pt>
                <c:pt idx="31094">
                  <c:v>74769</c:v>
                </c:pt>
                <c:pt idx="31095">
                  <c:v>74760</c:v>
                </c:pt>
                <c:pt idx="31096">
                  <c:v>74757</c:v>
                </c:pt>
                <c:pt idx="31097">
                  <c:v>74751</c:v>
                </c:pt>
                <c:pt idx="31098">
                  <c:v>74749</c:v>
                </c:pt>
                <c:pt idx="31099">
                  <c:v>74743</c:v>
                </c:pt>
                <c:pt idx="31100">
                  <c:v>74736</c:v>
                </c:pt>
                <c:pt idx="31101">
                  <c:v>74715</c:v>
                </c:pt>
                <c:pt idx="31102">
                  <c:v>74713</c:v>
                </c:pt>
                <c:pt idx="31103">
                  <c:v>74703</c:v>
                </c:pt>
                <c:pt idx="31104">
                  <c:v>74690</c:v>
                </c:pt>
                <c:pt idx="31105">
                  <c:v>74688</c:v>
                </c:pt>
                <c:pt idx="31106">
                  <c:v>74679</c:v>
                </c:pt>
                <c:pt idx="31107">
                  <c:v>74671</c:v>
                </c:pt>
                <c:pt idx="31108">
                  <c:v>74667</c:v>
                </c:pt>
                <c:pt idx="31109">
                  <c:v>74666</c:v>
                </c:pt>
                <c:pt idx="31110">
                  <c:v>74647</c:v>
                </c:pt>
                <c:pt idx="31111">
                  <c:v>74646</c:v>
                </c:pt>
                <c:pt idx="31112">
                  <c:v>74637</c:v>
                </c:pt>
                <c:pt idx="31113">
                  <c:v>74631</c:v>
                </c:pt>
                <c:pt idx="31114">
                  <c:v>74628</c:v>
                </c:pt>
                <c:pt idx="31115">
                  <c:v>74627</c:v>
                </c:pt>
                <c:pt idx="31116">
                  <c:v>74619</c:v>
                </c:pt>
                <c:pt idx="31117">
                  <c:v>74614</c:v>
                </c:pt>
                <c:pt idx="31118">
                  <c:v>74590</c:v>
                </c:pt>
                <c:pt idx="31119">
                  <c:v>74589</c:v>
                </c:pt>
                <c:pt idx="31120">
                  <c:v>74585</c:v>
                </c:pt>
                <c:pt idx="31121">
                  <c:v>74584</c:v>
                </c:pt>
                <c:pt idx="31122">
                  <c:v>74577</c:v>
                </c:pt>
                <c:pt idx="31123">
                  <c:v>74576</c:v>
                </c:pt>
                <c:pt idx="31124">
                  <c:v>74575</c:v>
                </c:pt>
                <c:pt idx="31125">
                  <c:v>74574</c:v>
                </c:pt>
                <c:pt idx="31126">
                  <c:v>74573</c:v>
                </c:pt>
                <c:pt idx="31127">
                  <c:v>74570</c:v>
                </c:pt>
                <c:pt idx="31128">
                  <c:v>74559</c:v>
                </c:pt>
                <c:pt idx="31129">
                  <c:v>74555</c:v>
                </c:pt>
                <c:pt idx="31130">
                  <c:v>74553</c:v>
                </c:pt>
                <c:pt idx="31131">
                  <c:v>74552</c:v>
                </c:pt>
                <c:pt idx="31132">
                  <c:v>74548</c:v>
                </c:pt>
                <c:pt idx="31133">
                  <c:v>74542</c:v>
                </c:pt>
                <c:pt idx="31134">
                  <c:v>74519</c:v>
                </c:pt>
                <c:pt idx="31135">
                  <c:v>74514</c:v>
                </c:pt>
                <c:pt idx="31136">
                  <c:v>74512</c:v>
                </c:pt>
                <c:pt idx="31137">
                  <c:v>74512</c:v>
                </c:pt>
                <c:pt idx="31138">
                  <c:v>74508</c:v>
                </c:pt>
                <c:pt idx="31139">
                  <c:v>74507</c:v>
                </c:pt>
                <c:pt idx="31140">
                  <c:v>74504</c:v>
                </c:pt>
                <c:pt idx="31141">
                  <c:v>74499</c:v>
                </c:pt>
                <c:pt idx="31142">
                  <c:v>74490</c:v>
                </c:pt>
                <c:pt idx="31143">
                  <c:v>74484</c:v>
                </c:pt>
                <c:pt idx="31144">
                  <c:v>74481</c:v>
                </c:pt>
                <c:pt idx="31145">
                  <c:v>74467</c:v>
                </c:pt>
                <c:pt idx="31146">
                  <c:v>74441</c:v>
                </c:pt>
                <c:pt idx="31147">
                  <c:v>74440</c:v>
                </c:pt>
                <c:pt idx="31148">
                  <c:v>74430</c:v>
                </c:pt>
                <c:pt idx="31149">
                  <c:v>74423</c:v>
                </c:pt>
                <c:pt idx="31150">
                  <c:v>74413</c:v>
                </c:pt>
                <c:pt idx="31151">
                  <c:v>74413</c:v>
                </c:pt>
                <c:pt idx="31152">
                  <c:v>74405</c:v>
                </c:pt>
                <c:pt idx="31153">
                  <c:v>74385</c:v>
                </c:pt>
                <c:pt idx="31154">
                  <c:v>74381</c:v>
                </c:pt>
                <c:pt idx="31155">
                  <c:v>74376</c:v>
                </c:pt>
                <c:pt idx="31156">
                  <c:v>74366</c:v>
                </c:pt>
                <c:pt idx="31157">
                  <c:v>74363</c:v>
                </c:pt>
                <c:pt idx="31158">
                  <c:v>74360</c:v>
                </c:pt>
                <c:pt idx="31159">
                  <c:v>74357</c:v>
                </c:pt>
                <c:pt idx="31160">
                  <c:v>74356</c:v>
                </c:pt>
                <c:pt idx="31161">
                  <c:v>74353</c:v>
                </c:pt>
                <c:pt idx="31162">
                  <c:v>74343</c:v>
                </c:pt>
                <c:pt idx="31163">
                  <c:v>74342</c:v>
                </c:pt>
                <c:pt idx="31164">
                  <c:v>74332</c:v>
                </c:pt>
                <c:pt idx="31165">
                  <c:v>74332</c:v>
                </c:pt>
                <c:pt idx="31166">
                  <c:v>74332</c:v>
                </c:pt>
                <c:pt idx="31167">
                  <c:v>74326</c:v>
                </c:pt>
                <c:pt idx="31168">
                  <c:v>74310</c:v>
                </c:pt>
                <c:pt idx="31169">
                  <c:v>74304</c:v>
                </c:pt>
                <c:pt idx="31170">
                  <c:v>74301</c:v>
                </c:pt>
                <c:pt idx="31171">
                  <c:v>74294</c:v>
                </c:pt>
                <c:pt idx="31172">
                  <c:v>74290</c:v>
                </c:pt>
                <c:pt idx="31173">
                  <c:v>74288</c:v>
                </c:pt>
                <c:pt idx="31174">
                  <c:v>74285</c:v>
                </c:pt>
                <c:pt idx="31175">
                  <c:v>74275</c:v>
                </c:pt>
                <c:pt idx="31176">
                  <c:v>74268</c:v>
                </c:pt>
                <c:pt idx="31177">
                  <c:v>74266</c:v>
                </c:pt>
                <c:pt idx="31178">
                  <c:v>74260</c:v>
                </c:pt>
                <c:pt idx="31179">
                  <c:v>74255</c:v>
                </c:pt>
                <c:pt idx="31180">
                  <c:v>74254</c:v>
                </c:pt>
                <c:pt idx="31181">
                  <c:v>74253</c:v>
                </c:pt>
                <c:pt idx="31182">
                  <c:v>74253</c:v>
                </c:pt>
                <c:pt idx="31183">
                  <c:v>74244</c:v>
                </c:pt>
                <c:pt idx="31184">
                  <c:v>74243</c:v>
                </c:pt>
                <c:pt idx="31185">
                  <c:v>74241</c:v>
                </c:pt>
                <c:pt idx="31186">
                  <c:v>74235</c:v>
                </c:pt>
                <c:pt idx="31187">
                  <c:v>74220</c:v>
                </c:pt>
                <c:pt idx="31188">
                  <c:v>74211</c:v>
                </c:pt>
                <c:pt idx="31189">
                  <c:v>74202</c:v>
                </c:pt>
                <c:pt idx="31190">
                  <c:v>74202</c:v>
                </c:pt>
                <c:pt idx="31191">
                  <c:v>74198</c:v>
                </c:pt>
                <c:pt idx="31192">
                  <c:v>74198</c:v>
                </c:pt>
                <c:pt idx="31193">
                  <c:v>74196</c:v>
                </c:pt>
                <c:pt idx="31194">
                  <c:v>74194</c:v>
                </c:pt>
                <c:pt idx="31195">
                  <c:v>74192</c:v>
                </c:pt>
                <c:pt idx="31196">
                  <c:v>74189</c:v>
                </c:pt>
                <c:pt idx="31197">
                  <c:v>74162</c:v>
                </c:pt>
                <c:pt idx="31198">
                  <c:v>74145</c:v>
                </c:pt>
                <c:pt idx="31199">
                  <c:v>74143</c:v>
                </c:pt>
                <c:pt idx="31200">
                  <c:v>74140</c:v>
                </c:pt>
                <c:pt idx="31201">
                  <c:v>74136</c:v>
                </c:pt>
                <c:pt idx="31202">
                  <c:v>74125</c:v>
                </c:pt>
                <c:pt idx="31203">
                  <c:v>74121</c:v>
                </c:pt>
                <c:pt idx="31204">
                  <c:v>74112</c:v>
                </c:pt>
                <c:pt idx="31205">
                  <c:v>74104</c:v>
                </c:pt>
                <c:pt idx="31206">
                  <c:v>74100</c:v>
                </c:pt>
                <c:pt idx="31207">
                  <c:v>74095</c:v>
                </c:pt>
                <c:pt idx="31208">
                  <c:v>74091</c:v>
                </c:pt>
                <c:pt idx="31209">
                  <c:v>74091</c:v>
                </c:pt>
                <c:pt idx="31210">
                  <c:v>74082</c:v>
                </c:pt>
                <c:pt idx="31211">
                  <c:v>74081</c:v>
                </c:pt>
                <c:pt idx="31212">
                  <c:v>74070</c:v>
                </c:pt>
                <c:pt idx="31213">
                  <c:v>74068</c:v>
                </c:pt>
                <c:pt idx="31214">
                  <c:v>74060</c:v>
                </c:pt>
                <c:pt idx="31215">
                  <c:v>74055</c:v>
                </c:pt>
                <c:pt idx="31216">
                  <c:v>74054</c:v>
                </c:pt>
                <c:pt idx="31217">
                  <c:v>74047</c:v>
                </c:pt>
                <c:pt idx="31218">
                  <c:v>74046</c:v>
                </c:pt>
                <c:pt idx="31219">
                  <c:v>74045</c:v>
                </c:pt>
                <c:pt idx="31220">
                  <c:v>74045</c:v>
                </c:pt>
                <c:pt idx="31221">
                  <c:v>74037</c:v>
                </c:pt>
                <c:pt idx="31222">
                  <c:v>74036</c:v>
                </c:pt>
                <c:pt idx="31223">
                  <c:v>74035</c:v>
                </c:pt>
                <c:pt idx="31224">
                  <c:v>74033</c:v>
                </c:pt>
                <c:pt idx="31225">
                  <c:v>74020</c:v>
                </c:pt>
                <c:pt idx="31226">
                  <c:v>74019</c:v>
                </c:pt>
                <c:pt idx="31227">
                  <c:v>74012</c:v>
                </c:pt>
                <c:pt idx="31228">
                  <c:v>74006</c:v>
                </c:pt>
                <c:pt idx="31229">
                  <c:v>74001</c:v>
                </c:pt>
                <c:pt idx="31230">
                  <c:v>73987</c:v>
                </c:pt>
                <c:pt idx="31231">
                  <c:v>73987</c:v>
                </c:pt>
                <c:pt idx="31232">
                  <c:v>73969</c:v>
                </c:pt>
                <c:pt idx="31233">
                  <c:v>73954</c:v>
                </c:pt>
                <c:pt idx="31234">
                  <c:v>73952</c:v>
                </c:pt>
                <c:pt idx="31235">
                  <c:v>73934</c:v>
                </c:pt>
                <c:pt idx="31236">
                  <c:v>73919</c:v>
                </c:pt>
                <c:pt idx="31237">
                  <c:v>73917</c:v>
                </c:pt>
                <c:pt idx="31238">
                  <c:v>73916</c:v>
                </c:pt>
                <c:pt idx="31239">
                  <c:v>73914</c:v>
                </c:pt>
                <c:pt idx="31240">
                  <c:v>73910</c:v>
                </c:pt>
                <c:pt idx="31241">
                  <c:v>73899</c:v>
                </c:pt>
                <c:pt idx="31242">
                  <c:v>73880</c:v>
                </c:pt>
                <c:pt idx="31243">
                  <c:v>73877</c:v>
                </c:pt>
                <c:pt idx="31244">
                  <c:v>73861</c:v>
                </c:pt>
                <c:pt idx="31245">
                  <c:v>73861</c:v>
                </c:pt>
                <c:pt idx="31246">
                  <c:v>73853</c:v>
                </c:pt>
                <c:pt idx="31247">
                  <c:v>73845</c:v>
                </c:pt>
                <c:pt idx="31248">
                  <c:v>73841</c:v>
                </c:pt>
                <c:pt idx="31249">
                  <c:v>73832</c:v>
                </c:pt>
                <c:pt idx="31250">
                  <c:v>73831</c:v>
                </c:pt>
                <c:pt idx="31251">
                  <c:v>73828</c:v>
                </c:pt>
                <c:pt idx="31252">
                  <c:v>73825</c:v>
                </c:pt>
                <c:pt idx="31253">
                  <c:v>73820</c:v>
                </c:pt>
                <c:pt idx="31254">
                  <c:v>73818</c:v>
                </c:pt>
                <c:pt idx="31255">
                  <c:v>73815</c:v>
                </c:pt>
                <c:pt idx="31256">
                  <c:v>73814</c:v>
                </c:pt>
                <c:pt idx="31257">
                  <c:v>73807</c:v>
                </c:pt>
                <c:pt idx="31258">
                  <c:v>73798</c:v>
                </c:pt>
                <c:pt idx="31259">
                  <c:v>73791</c:v>
                </c:pt>
                <c:pt idx="31260">
                  <c:v>73784</c:v>
                </c:pt>
                <c:pt idx="31261">
                  <c:v>73780</c:v>
                </c:pt>
                <c:pt idx="31262">
                  <c:v>73767</c:v>
                </c:pt>
                <c:pt idx="31263">
                  <c:v>73764</c:v>
                </c:pt>
                <c:pt idx="31264">
                  <c:v>73753</c:v>
                </c:pt>
                <c:pt idx="31265">
                  <c:v>73750</c:v>
                </c:pt>
                <c:pt idx="31266">
                  <c:v>73748</c:v>
                </c:pt>
                <c:pt idx="31267">
                  <c:v>73745</c:v>
                </c:pt>
                <c:pt idx="31268">
                  <c:v>73742</c:v>
                </c:pt>
                <c:pt idx="31269">
                  <c:v>73742</c:v>
                </c:pt>
                <c:pt idx="31270">
                  <c:v>73742</c:v>
                </c:pt>
                <c:pt idx="31271">
                  <c:v>73740</c:v>
                </c:pt>
                <c:pt idx="31272">
                  <c:v>73729</c:v>
                </c:pt>
                <c:pt idx="31273">
                  <c:v>73723</c:v>
                </c:pt>
                <c:pt idx="31274">
                  <c:v>73718</c:v>
                </c:pt>
                <c:pt idx="31275">
                  <c:v>73715</c:v>
                </c:pt>
                <c:pt idx="31276">
                  <c:v>73709</c:v>
                </c:pt>
                <c:pt idx="31277">
                  <c:v>73708</c:v>
                </c:pt>
                <c:pt idx="31278">
                  <c:v>73707</c:v>
                </c:pt>
                <c:pt idx="31279">
                  <c:v>73701</c:v>
                </c:pt>
                <c:pt idx="31280">
                  <c:v>73697</c:v>
                </c:pt>
                <c:pt idx="31281">
                  <c:v>73696</c:v>
                </c:pt>
                <c:pt idx="31282">
                  <c:v>73696</c:v>
                </c:pt>
                <c:pt idx="31283">
                  <c:v>73695</c:v>
                </c:pt>
                <c:pt idx="31284">
                  <c:v>73694</c:v>
                </c:pt>
                <c:pt idx="31285">
                  <c:v>73690</c:v>
                </c:pt>
                <c:pt idx="31286">
                  <c:v>73677</c:v>
                </c:pt>
                <c:pt idx="31287">
                  <c:v>73675</c:v>
                </c:pt>
                <c:pt idx="31288">
                  <c:v>73672</c:v>
                </c:pt>
                <c:pt idx="31289">
                  <c:v>73659</c:v>
                </c:pt>
                <c:pt idx="31290">
                  <c:v>73649</c:v>
                </c:pt>
                <c:pt idx="31291">
                  <c:v>73639</c:v>
                </c:pt>
                <c:pt idx="31292">
                  <c:v>73637</c:v>
                </c:pt>
                <c:pt idx="31293">
                  <c:v>73615</c:v>
                </c:pt>
                <c:pt idx="31294">
                  <c:v>73608</c:v>
                </c:pt>
                <c:pt idx="31295">
                  <c:v>73593</c:v>
                </c:pt>
                <c:pt idx="31296">
                  <c:v>73592</c:v>
                </c:pt>
                <c:pt idx="31297">
                  <c:v>73586</c:v>
                </c:pt>
                <c:pt idx="31298">
                  <c:v>73579</c:v>
                </c:pt>
                <c:pt idx="31299">
                  <c:v>73579</c:v>
                </c:pt>
                <c:pt idx="31300">
                  <c:v>73577</c:v>
                </c:pt>
                <c:pt idx="31301">
                  <c:v>73559</c:v>
                </c:pt>
                <c:pt idx="31302">
                  <c:v>73557</c:v>
                </c:pt>
                <c:pt idx="31303">
                  <c:v>73551</c:v>
                </c:pt>
                <c:pt idx="31304">
                  <c:v>73547</c:v>
                </c:pt>
                <c:pt idx="31305">
                  <c:v>73544</c:v>
                </c:pt>
                <c:pt idx="31306">
                  <c:v>73537</c:v>
                </c:pt>
                <c:pt idx="31307">
                  <c:v>73530</c:v>
                </c:pt>
                <c:pt idx="31308">
                  <c:v>73520</c:v>
                </c:pt>
                <c:pt idx="31309">
                  <c:v>73503</c:v>
                </c:pt>
                <c:pt idx="31310">
                  <c:v>73501</c:v>
                </c:pt>
                <c:pt idx="31311">
                  <c:v>73497</c:v>
                </c:pt>
                <c:pt idx="31312">
                  <c:v>73493</c:v>
                </c:pt>
                <c:pt idx="31313">
                  <c:v>73491</c:v>
                </c:pt>
                <c:pt idx="31314">
                  <c:v>73490</c:v>
                </c:pt>
                <c:pt idx="31315">
                  <c:v>73485</c:v>
                </c:pt>
                <c:pt idx="31316">
                  <c:v>73479</c:v>
                </c:pt>
                <c:pt idx="31317">
                  <c:v>73469</c:v>
                </c:pt>
                <c:pt idx="31318">
                  <c:v>73466</c:v>
                </c:pt>
                <c:pt idx="31319">
                  <c:v>73458</c:v>
                </c:pt>
                <c:pt idx="31320">
                  <c:v>73453</c:v>
                </c:pt>
                <c:pt idx="31321">
                  <c:v>73441</c:v>
                </c:pt>
                <c:pt idx="31322">
                  <c:v>73441</c:v>
                </c:pt>
                <c:pt idx="31323">
                  <c:v>73428</c:v>
                </c:pt>
                <c:pt idx="31324">
                  <c:v>73400</c:v>
                </c:pt>
                <c:pt idx="31325">
                  <c:v>73384</c:v>
                </c:pt>
                <c:pt idx="31326">
                  <c:v>73377</c:v>
                </c:pt>
                <c:pt idx="31327">
                  <c:v>73359</c:v>
                </c:pt>
                <c:pt idx="31328">
                  <c:v>73355</c:v>
                </c:pt>
                <c:pt idx="31329">
                  <c:v>73348</c:v>
                </c:pt>
                <c:pt idx="31330">
                  <c:v>73343</c:v>
                </c:pt>
                <c:pt idx="31331">
                  <c:v>73321</c:v>
                </c:pt>
                <c:pt idx="31332">
                  <c:v>73313</c:v>
                </c:pt>
                <c:pt idx="31333">
                  <c:v>73304</c:v>
                </c:pt>
                <c:pt idx="31334">
                  <c:v>73302</c:v>
                </c:pt>
                <c:pt idx="31335">
                  <c:v>73296</c:v>
                </c:pt>
                <c:pt idx="31336">
                  <c:v>73296</c:v>
                </c:pt>
                <c:pt idx="31337">
                  <c:v>73291</c:v>
                </c:pt>
                <c:pt idx="31338">
                  <c:v>73289</c:v>
                </c:pt>
                <c:pt idx="31339">
                  <c:v>73281</c:v>
                </c:pt>
                <c:pt idx="31340">
                  <c:v>73280</c:v>
                </c:pt>
                <c:pt idx="31341">
                  <c:v>73267</c:v>
                </c:pt>
                <c:pt idx="31342">
                  <c:v>73258</c:v>
                </c:pt>
                <c:pt idx="31343">
                  <c:v>73244</c:v>
                </c:pt>
                <c:pt idx="31344">
                  <c:v>73237</c:v>
                </c:pt>
                <c:pt idx="31345">
                  <c:v>73236</c:v>
                </c:pt>
                <c:pt idx="31346">
                  <c:v>73230</c:v>
                </c:pt>
                <c:pt idx="31347">
                  <c:v>73228</c:v>
                </c:pt>
                <c:pt idx="31348">
                  <c:v>73222</c:v>
                </c:pt>
                <c:pt idx="31349">
                  <c:v>73220</c:v>
                </c:pt>
                <c:pt idx="31350">
                  <c:v>73219</c:v>
                </c:pt>
                <c:pt idx="31351">
                  <c:v>73215</c:v>
                </c:pt>
                <c:pt idx="31352">
                  <c:v>73210</c:v>
                </c:pt>
                <c:pt idx="31353">
                  <c:v>73207</c:v>
                </c:pt>
                <c:pt idx="31354">
                  <c:v>73203</c:v>
                </c:pt>
                <c:pt idx="31355">
                  <c:v>73195</c:v>
                </c:pt>
                <c:pt idx="31356">
                  <c:v>73193</c:v>
                </c:pt>
                <c:pt idx="31357">
                  <c:v>73192</c:v>
                </c:pt>
                <c:pt idx="31358">
                  <c:v>73185</c:v>
                </c:pt>
                <c:pt idx="31359">
                  <c:v>73184</c:v>
                </c:pt>
                <c:pt idx="31360">
                  <c:v>73160</c:v>
                </c:pt>
                <c:pt idx="31361">
                  <c:v>73143</c:v>
                </c:pt>
                <c:pt idx="31362">
                  <c:v>73139</c:v>
                </c:pt>
                <c:pt idx="31363">
                  <c:v>73119</c:v>
                </c:pt>
                <c:pt idx="31364">
                  <c:v>73116</c:v>
                </c:pt>
                <c:pt idx="31365">
                  <c:v>73113</c:v>
                </c:pt>
                <c:pt idx="31366">
                  <c:v>73098</c:v>
                </c:pt>
                <c:pt idx="31367">
                  <c:v>73083</c:v>
                </c:pt>
                <c:pt idx="31368">
                  <c:v>73083</c:v>
                </c:pt>
                <c:pt idx="31369">
                  <c:v>73079</c:v>
                </c:pt>
                <c:pt idx="31370">
                  <c:v>73075</c:v>
                </c:pt>
                <c:pt idx="31371">
                  <c:v>73068</c:v>
                </c:pt>
                <c:pt idx="31372">
                  <c:v>73066</c:v>
                </c:pt>
                <c:pt idx="31373">
                  <c:v>73063</c:v>
                </c:pt>
                <c:pt idx="31374">
                  <c:v>73063</c:v>
                </c:pt>
                <c:pt idx="31375">
                  <c:v>73062</c:v>
                </c:pt>
                <c:pt idx="31376">
                  <c:v>73059</c:v>
                </c:pt>
                <c:pt idx="31377">
                  <c:v>73057</c:v>
                </c:pt>
                <c:pt idx="31378">
                  <c:v>73051</c:v>
                </c:pt>
                <c:pt idx="31379">
                  <c:v>73050</c:v>
                </c:pt>
                <c:pt idx="31380">
                  <c:v>73035</c:v>
                </c:pt>
                <c:pt idx="31381">
                  <c:v>73003</c:v>
                </c:pt>
                <c:pt idx="31382">
                  <c:v>73001</c:v>
                </c:pt>
                <c:pt idx="31383">
                  <c:v>73000</c:v>
                </c:pt>
                <c:pt idx="31384">
                  <c:v>72999</c:v>
                </c:pt>
                <c:pt idx="31385">
                  <c:v>72990</c:v>
                </c:pt>
                <c:pt idx="31386">
                  <c:v>72978</c:v>
                </c:pt>
                <c:pt idx="31387">
                  <c:v>72976</c:v>
                </c:pt>
                <c:pt idx="31388">
                  <c:v>72971</c:v>
                </c:pt>
                <c:pt idx="31389">
                  <c:v>72964</c:v>
                </c:pt>
                <c:pt idx="31390">
                  <c:v>72949</c:v>
                </c:pt>
                <c:pt idx="31391">
                  <c:v>72940</c:v>
                </c:pt>
                <c:pt idx="31392">
                  <c:v>72937</c:v>
                </c:pt>
                <c:pt idx="31393">
                  <c:v>72924</c:v>
                </c:pt>
                <c:pt idx="31394">
                  <c:v>72921</c:v>
                </c:pt>
                <c:pt idx="31395">
                  <c:v>72919</c:v>
                </c:pt>
                <c:pt idx="31396">
                  <c:v>72919</c:v>
                </c:pt>
                <c:pt idx="31397">
                  <c:v>72914</c:v>
                </c:pt>
                <c:pt idx="31398">
                  <c:v>72905</c:v>
                </c:pt>
                <c:pt idx="31399">
                  <c:v>72900</c:v>
                </c:pt>
                <c:pt idx="31400">
                  <c:v>72899</c:v>
                </c:pt>
                <c:pt idx="31401">
                  <c:v>72892</c:v>
                </c:pt>
                <c:pt idx="31402">
                  <c:v>72890</c:v>
                </c:pt>
                <c:pt idx="31403">
                  <c:v>72873</c:v>
                </c:pt>
                <c:pt idx="31404">
                  <c:v>72872</c:v>
                </c:pt>
                <c:pt idx="31405">
                  <c:v>72868</c:v>
                </c:pt>
                <c:pt idx="31406">
                  <c:v>72864</c:v>
                </c:pt>
                <c:pt idx="31407">
                  <c:v>72863</c:v>
                </c:pt>
                <c:pt idx="31408">
                  <c:v>72853</c:v>
                </c:pt>
                <c:pt idx="31409">
                  <c:v>72853</c:v>
                </c:pt>
                <c:pt idx="31410">
                  <c:v>72850</c:v>
                </c:pt>
                <c:pt idx="31411">
                  <c:v>72848</c:v>
                </c:pt>
                <c:pt idx="31412">
                  <c:v>72848</c:v>
                </c:pt>
                <c:pt idx="31413">
                  <c:v>72844</c:v>
                </c:pt>
                <c:pt idx="31414">
                  <c:v>72826</c:v>
                </c:pt>
                <c:pt idx="31415">
                  <c:v>72822</c:v>
                </c:pt>
                <c:pt idx="31416">
                  <c:v>72818</c:v>
                </c:pt>
                <c:pt idx="31417">
                  <c:v>72817</c:v>
                </c:pt>
                <c:pt idx="31418">
                  <c:v>72811</c:v>
                </c:pt>
                <c:pt idx="31419">
                  <c:v>72809</c:v>
                </c:pt>
                <c:pt idx="31420">
                  <c:v>72806</c:v>
                </c:pt>
                <c:pt idx="31421">
                  <c:v>72805</c:v>
                </c:pt>
                <c:pt idx="31422">
                  <c:v>72804</c:v>
                </c:pt>
                <c:pt idx="31423">
                  <c:v>72803</c:v>
                </c:pt>
                <c:pt idx="31424">
                  <c:v>72789</c:v>
                </c:pt>
                <c:pt idx="31425">
                  <c:v>72782</c:v>
                </c:pt>
                <c:pt idx="31426">
                  <c:v>72772</c:v>
                </c:pt>
                <c:pt idx="31427">
                  <c:v>72762</c:v>
                </c:pt>
                <c:pt idx="31428">
                  <c:v>72745</c:v>
                </c:pt>
                <c:pt idx="31429">
                  <c:v>72740</c:v>
                </c:pt>
                <c:pt idx="31430">
                  <c:v>72731</c:v>
                </c:pt>
                <c:pt idx="31431">
                  <c:v>72718</c:v>
                </c:pt>
                <c:pt idx="31432">
                  <c:v>72707</c:v>
                </c:pt>
                <c:pt idx="31433">
                  <c:v>72700</c:v>
                </c:pt>
                <c:pt idx="31434">
                  <c:v>72668</c:v>
                </c:pt>
                <c:pt idx="31435">
                  <c:v>72665</c:v>
                </c:pt>
                <c:pt idx="31436">
                  <c:v>72645</c:v>
                </c:pt>
                <c:pt idx="31437">
                  <c:v>72642</c:v>
                </c:pt>
                <c:pt idx="31438">
                  <c:v>72630</c:v>
                </c:pt>
                <c:pt idx="31439">
                  <c:v>72628</c:v>
                </c:pt>
                <c:pt idx="31440">
                  <c:v>72625</c:v>
                </c:pt>
                <c:pt idx="31441">
                  <c:v>72623</c:v>
                </c:pt>
                <c:pt idx="31442">
                  <c:v>72617</c:v>
                </c:pt>
                <c:pt idx="31443">
                  <c:v>72613</c:v>
                </c:pt>
                <c:pt idx="31444">
                  <c:v>72613</c:v>
                </c:pt>
                <c:pt idx="31445">
                  <c:v>72603</c:v>
                </c:pt>
                <c:pt idx="31446">
                  <c:v>72601</c:v>
                </c:pt>
                <c:pt idx="31447">
                  <c:v>72585</c:v>
                </c:pt>
                <c:pt idx="31448">
                  <c:v>72577</c:v>
                </c:pt>
                <c:pt idx="31449">
                  <c:v>72568</c:v>
                </c:pt>
                <c:pt idx="31450">
                  <c:v>72561</c:v>
                </c:pt>
                <c:pt idx="31451">
                  <c:v>72561</c:v>
                </c:pt>
                <c:pt idx="31452">
                  <c:v>72554</c:v>
                </c:pt>
                <c:pt idx="31453">
                  <c:v>72550</c:v>
                </c:pt>
                <c:pt idx="31454">
                  <c:v>72548</c:v>
                </c:pt>
                <c:pt idx="31455">
                  <c:v>72540</c:v>
                </c:pt>
                <c:pt idx="31456">
                  <c:v>72536</c:v>
                </c:pt>
                <c:pt idx="31457">
                  <c:v>72536</c:v>
                </c:pt>
                <c:pt idx="31458">
                  <c:v>72535</c:v>
                </c:pt>
                <c:pt idx="31459">
                  <c:v>72532</c:v>
                </c:pt>
                <c:pt idx="31460">
                  <c:v>72528</c:v>
                </c:pt>
                <c:pt idx="31461">
                  <c:v>72525</c:v>
                </c:pt>
                <c:pt idx="31462">
                  <c:v>72524</c:v>
                </c:pt>
                <c:pt idx="31463">
                  <c:v>72515</c:v>
                </c:pt>
                <c:pt idx="31464">
                  <c:v>72499</c:v>
                </c:pt>
                <c:pt idx="31465">
                  <c:v>72495</c:v>
                </c:pt>
                <c:pt idx="31466">
                  <c:v>72489</c:v>
                </c:pt>
                <c:pt idx="31467">
                  <c:v>72480</c:v>
                </c:pt>
                <c:pt idx="31468">
                  <c:v>72479</c:v>
                </c:pt>
                <c:pt idx="31469">
                  <c:v>72477</c:v>
                </c:pt>
                <c:pt idx="31470">
                  <c:v>72465</c:v>
                </c:pt>
                <c:pt idx="31471">
                  <c:v>72463</c:v>
                </c:pt>
                <c:pt idx="31472">
                  <c:v>72451</c:v>
                </c:pt>
                <c:pt idx="31473">
                  <c:v>72451</c:v>
                </c:pt>
                <c:pt idx="31474">
                  <c:v>72445</c:v>
                </c:pt>
                <c:pt idx="31475">
                  <c:v>72445</c:v>
                </c:pt>
                <c:pt idx="31476">
                  <c:v>72438</c:v>
                </c:pt>
                <c:pt idx="31477">
                  <c:v>72426</c:v>
                </c:pt>
                <c:pt idx="31478">
                  <c:v>72422</c:v>
                </c:pt>
                <c:pt idx="31479">
                  <c:v>72410</c:v>
                </c:pt>
                <c:pt idx="31480">
                  <c:v>72402</c:v>
                </c:pt>
                <c:pt idx="31481">
                  <c:v>72401</c:v>
                </c:pt>
                <c:pt idx="31482">
                  <c:v>72384</c:v>
                </c:pt>
                <c:pt idx="31483">
                  <c:v>72383</c:v>
                </c:pt>
                <c:pt idx="31484">
                  <c:v>72383</c:v>
                </c:pt>
                <c:pt idx="31485">
                  <c:v>72378</c:v>
                </c:pt>
                <c:pt idx="31486">
                  <c:v>72376</c:v>
                </c:pt>
                <c:pt idx="31487">
                  <c:v>72372</c:v>
                </c:pt>
                <c:pt idx="31488">
                  <c:v>72369</c:v>
                </c:pt>
                <c:pt idx="31489">
                  <c:v>72364</c:v>
                </c:pt>
                <c:pt idx="31490">
                  <c:v>72363</c:v>
                </c:pt>
                <c:pt idx="31491">
                  <c:v>72360</c:v>
                </c:pt>
                <c:pt idx="31492">
                  <c:v>72355</c:v>
                </c:pt>
                <c:pt idx="31493">
                  <c:v>72349</c:v>
                </c:pt>
                <c:pt idx="31494">
                  <c:v>72339</c:v>
                </c:pt>
                <c:pt idx="31495">
                  <c:v>72336</c:v>
                </c:pt>
                <c:pt idx="31496">
                  <c:v>72334</c:v>
                </c:pt>
                <c:pt idx="31497">
                  <c:v>72329</c:v>
                </c:pt>
                <c:pt idx="31498">
                  <c:v>72322</c:v>
                </c:pt>
                <c:pt idx="31499">
                  <c:v>72321</c:v>
                </c:pt>
                <c:pt idx="31500">
                  <c:v>72318</c:v>
                </c:pt>
                <c:pt idx="31501">
                  <c:v>72314</c:v>
                </c:pt>
                <c:pt idx="31502">
                  <c:v>72313</c:v>
                </c:pt>
                <c:pt idx="31503">
                  <c:v>72304</c:v>
                </c:pt>
                <c:pt idx="31504">
                  <c:v>72304</c:v>
                </c:pt>
                <c:pt idx="31505">
                  <c:v>72304</c:v>
                </c:pt>
                <c:pt idx="31506">
                  <c:v>72294</c:v>
                </c:pt>
                <c:pt idx="31507">
                  <c:v>72294</c:v>
                </c:pt>
                <c:pt idx="31508">
                  <c:v>72292</c:v>
                </c:pt>
                <c:pt idx="31509">
                  <c:v>72284</c:v>
                </c:pt>
                <c:pt idx="31510">
                  <c:v>72277</c:v>
                </c:pt>
                <c:pt idx="31511">
                  <c:v>72272</c:v>
                </c:pt>
                <c:pt idx="31512">
                  <c:v>72265</c:v>
                </c:pt>
                <c:pt idx="31513">
                  <c:v>72261</c:v>
                </c:pt>
                <c:pt idx="31514">
                  <c:v>72257</c:v>
                </c:pt>
                <c:pt idx="31515">
                  <c:v>72254</c:v>
                </c:pt>
                <c:pt idx="31516">
                  <c:v>72252</c:v>
                </c:pt>
                <c:pt idx="31517">
                  <c:v>72249</c:v>
                </c:pt>
                <c:pt idx="31518">
                  <c:v>72249</c:v>
                </c:pt>
                <c:pt idx="31519">
                  <c:v>72247</c:v>
                </c:pt>
                <c:pt idx="31520">
                  <c:v>72245</c:v>
                </c:pt>
                <c:pt idx="31521">
                  <c:v>72234</c:v>
                </c:pt>
                <c:pt idx="31522">
                  <c:v>72232</c:v>
                </c:pt>
                <c:pt idx="31523">
                  <c:v>72231</c:v>
                </c:pt>
                <c:pt idx="31524">
                  <c:v>72231</c:v>
                </c:pt>
                <c:pt idx="31525">
                  <c:v>72230</c:v>
                </c:pt>
                <c:pt idx="31526">
                  <c:v>72221</c:v>
                </c:pt>
                <c:pt idx="31527">
                  <c:v>72213</c:v>
                </c:pt>
                <c:pt idx="31528">
                  <c:v>72213</c:v>
                </c:pt>
                <c:pt idx="31529">
                  <c:v>72207</c:v>
                </c:pt>
                <c:pt idx="31530">
                  <c:v>72204</c:v>
                </c:pt>
                <c:pt idx="31531">
                  <c:v>72192</c:v>
                </c:pt>
                <c:pt idx="31532">
                  <c:v>72184</c:v>
                </c:pt>
                <c:pt idx="31533">
                  <c:v>72180</c:v>
                </c:pt>
                <c:pt idx="31534">
                  <c:v>72171</c:v>
                </c:pt>
                <c:pt idx="31535">
                  <c:v>72170</c:v>
                </c:pt>
                <c:pt idx="31536">
                  <c:v>72167</c:v>
                </c:pt>
                <c:pt idx="31537">
                  <c:v>72163</c:v>
                </c:pt>
                <c:pt idx="31538">
                  <c:v>72142</c:v>
                </c:pt>
                <c:pt idx="31539">
                  <c:v>72142</c:v>
                </c:pt>
                <c:pt idx="31540">
                  <c:v>72140</c:v>
                </c:pt>
                <c:pt idx="31541">
                  <c:v>72139</c:v>
                </c:pt>
                <c:pt idx="31542">
                  <c:v>72133</c:v>
                </c:pt>
                <c:pt idx="31543">
                  <c:v>72127</c:v>
                </c:pt>
                <c:pt idx="31544">
                  <c:v>72126</c:v>
                </c:pt>
                <c:pt idx="31545">
                  <c:v>72106</c:v>
                </c:pt>
                <c:pt idx="31546">
                  <c:v>72105</c:v>
                </c:pt>
                <c:pt idx="31547">
                  <c:v>72096</c:v>
                </c:pt>
                <c:pt idx="31548">
                  <c:v>72089</c:v>
                </c:pt>
                <c:pt idx="31549">
                  <c:v>72083</c:v>
                </c:pt>
                <c:pt idx="31550">
                  <c:v>72079</c:v>
                </c:pt>
                <c:pt idx="31551">
                  <c:v>72069</c:v>
                </c:pt>
                <c:pt idx="31552">
                  <c:v>72069</c:v>
                </c:pt>
                <c:pt idx="31553">
                  <c:v>72055</c:v>
                </c:pt>
                <c:pt idx="31554">
                  <c:v>72048</c:v>
                </c:pt>
                <c:pt idx="31555">
                  <c:v>72047</c:v>
                </c:pt>
                <c:pt idx="31556">
                  <c:v>72046</c:v>
                </c:pt>
                <c:pt idx="31557">
                  <c:v>72034</c:v>
                </c:pt>
                <c:pt idx="31558">
                  <c:v>72025</c:v>
                </c:pt>
                <c:pt idx="31559">
                  <c:v>72025</c:v>
                </c:pt>
                <c:pt idx="31560">
                  <c:v>72009</c:v>
                </c:pt>
                <c:pt idx="31561">
                  <c:v>72008</c:v>
                </c:pt>
                <c:pt idx="31562">
                  <c:v>71980</c:v>
                </c:pt>
                <c:pt idx="31563">
                  <c:v>71965</c:v>
                </c:pt>
                <c:pt idx="31564">
                  <c:v>71950</c:v>
                </c:pt>
                <c:pt idx="31565">
                  <c:v>71944</c:v>
                </c:pt>
                <c:pt idx="31566">
                  <c:v>71936</c:v>
                </c:pt>
                <c:pt idx="31567">
                  <c:v>71929</c:v>
                </c:pt>
                <c:pt idx="31568">
                  <c:v>71923</c:v>
                </c:pt>
                <c:pt idx="31569">
                  <c:v>71902</c:v>
                </c:pt>
                <c:pt idx="31570">
                  <c:v>71891</c:v>
                </c:pt>
                <c:pt idx="31571">
                  <c:v>71891</c:v>
                </c:pt>
                <c:pt idx="31572">
                  <c:v>71886</c:v>
                </c:pt>
                <c:pt idx="31573">
                  <c:v>71876</c:v>
                </c:pt>
                <c:pt idx="31574">
                  <c:v>71866</c:v>
                </c:pt>
                <c:pt idx="31575">
                  <c:v>71851</c:v>
                </c:pt>
                <c:pt idx="31576">
                  <c:v>71850</c:v>
                </c:pt>
                <c:pt idx="31577">
                  <c:v>71848</c:v>
                </c:pt>
                <c:pt idx="31578">
                  <c:v>71848</c:v>
                </c:pt>
                <c:pt idx="31579">
                  <c:v>71830</c:v>
                </c:pt>
                <c:pt idx="31580">
                  <c:v>71828</c:v>
                </c:pt>
                <c:pt idx="31581">
                  <c:v>71828</c:v>
                </c:pt>
                <c:pt idx="31582">
                  <c:v>71821</c:v>
                </c:pt>
                <c:pt idx="31583">
                  <c:v>71816</c:v>
                </c:pt>
                <c:pt idx="31584">
                  <c:v>71811</c:v>
                </c:pt>
                <c:pt idx="31585">
                  <c:v>71804</c:v>
                </c:pt>
                <c:pt idx="31586">
                  <c:v>71792</c:v>
                </c:pt>
                <c:pt idx="31587">
                  <c:v>71785</c:v>
                </c:pt>
                <c:pt idx="31588">
                  <c:v>71779</c:v>
                </c:pt>
                <c:pt idx="31589">
                  <c:v>71778</c:v>
                </c:pt>
                <c:pt idx="31590">
                  <c:v>71761</c:v>
                </c:pt>
                <c:pt idx="31591">
                  <c:v>71755</c:v>
                </c:pt>
                <c:pt idx="31592">
                  <c:v>71750</c:v>
                </c:pt>
                <c:pt idx="31593">
                  <c:v>71742</c:v>
                </c:pt>
                <c:pt idx="31594">
                  <c:v>71734</c:v>
                </c:pt>
                <c:pt idx="31595">
                  <c:v>71733</c:v>
                </c:pt>
                <c:pt idx="31596">
                  <c:v>71722</c:v>
                </c:pt>
                <c:pt idx="31597">
                  <c:v>71721</c:v>
                </c:pt>
                <c:pt idx="31598">
                  <c:v>71704</c:v>
                </c:pt>
                <c:pt idx="31599">
                  <c:v>71702</c:v>
                </c:pt>
                <c:pt idx="31600">
                  <c:v>71685</c:v>
                </c:pt>
                <c:pt idx="31601">
                  <c:v>71657</c:v>
                </c:pt>
                <c:pt idx="31602">
                  <c:v>71656</c:v>
                </c:pt>
                <c:pt idx="31603">
                  <c:v>71650</c:v>
                </c:pt>
                <c:pt idx="31604">
                  <c:v>71633</c:v>
                </c:pt>
                <c:pt idx="31605">
                  <c:v>71631</c:v>
                </c:pt>
                <c:pt idx="31606">
                  <c:v>71624</c:v>
                </c:pt>
                <c:pt idx="31607">
                  <c:v>71621</c:v>
                </c:pt>
                <c:pt idx="31608">
                  <c:v>71604</c:v>
                </c:pt>
                <c:pt idx="31609">
                  <c:v>71594</c:v>
                </c:pt>
                <c:pt idx="31610">
                  <c:v>71580</c:v>
                </c:pt>
                <c:pt idx="31611">
                  <c:v>71576</c:v>
                </c:pt>
                <c:pt idx="31612">
                  <c:v>71569</c:v>
                </c:pt>
                <c:pt idx="31613">
                  <c:v>71561</c:v>
                </c:pt>
                <c:pt idx="31614">
                  <c:v>71551</c:v>
                </c:pt>
                <c:pt idx="31615">
                  <c:v>71550</c:v>
                </c:pt>
                <c:pt idx="31616">
                  <c:v>71531</c:v>
                </c:pt>
                <c:pt idx="31617">
                  <c:v>71528</c:v>
                </c:pt>
                <c:pt idx="31618">
                  <c:v>71526</c:v>
                </c:pt>
                <c:pt idx="31619">
                  <c:v>71508</c:v>
                </c:pt>
                <c:pt idx="31620">
                  <c:v>71507</c:v>
                </c:pt>
                <c:pt idx="31621">
                  <c:v>71497</c:v>
                </c:pt>
                <c:pt idx="31622">
                  <c:v>71495</c:v>
                </c:pt>
                <c:pt idx="31623">
                  <c:v>71494</c:v>
                </c:pt>
                <c:pt idx="31624">
                  <c:v>71492</c:v>
                </c:pt>
                <c:pt idx="31625">
                  <c:v>71489</c:v>
                </c:pt>
                <c:pt idx="31626">
                  <c:v>71486</c:v>
                </c:pt>
                <c:pt idx="31627">
                  <c:v>71481</c:v>
                </c:pt>
                <c:pt idx="31628">
                  <c:v>71475</c:v>
                </c:pt>
                <c:pt idx="31629">
                  <c:v>71470</c:v>
                </c:pt>
                <c:pt idx="31630">
                  <c:v>71453</c:v>
                </c:pt>
                <c:pt idx="31631">
                  <c:v>71416</c:v>
                </c:pt>
                <c:pt idx="31632">
                  <c:v>71412</c:v>
                </c:pt>
                <c:pt idx="31633">
                  <c:v>71407</c:v>
                </c:pt>
                <c:pt idx="31634">
                  <c:v>71398</c:v>
                </c:pt>
                <c:pt idx="31635">
                  <c:v>71386</c:v>
                </c:pt>
                <c:pt idx="31636">
                  <c:v>71385</c:v>
                </c:pt>
                <c:pt idx="31637">
                  <c:v>71379</c:v>
                </c:pt>
                <c:pt idx="31638">
                  <c:v>71379</c:v>
                </c:pt>
                <c:pt idx="31639">
                  <c:v>71367</c:v>
                </c:pt>
                <c:pt idx="31640">
                  <c:v>71337</c:v>
                </c:pt>
                <c:pt idx="31641">
                  <c:v>71320</c:v>
                </c:pt>
                <c:pt idx="31642">
                  <c:v>71299</c:v>
                </c:pt>
                <c:pt idx="31643">
                  <c:v>71291</c:v>
                </c:pt>
                <c:pt idx="31644">
                  <c:v>71290</c:v>
                </c:pt>
                <c:pt idx="31645">
                  <c:v>71272</c:v>
                </c:pt>
                <c:pt idx="31646">
                  <c:v>71271</c:v>
                </c:pt>
                <c:pt idx="31647">
                  <c:v>71270</c:v>
                </c:pt>
                <c:pt idx="31648">
                  <c:v>71247</c:v>
                </c:pt>
                <c:pt idx="31649">
                  <c:v>71226</c:v>
                </c:pt>
                <c:pt idx="31650">
                  <c:v>71211</c:v>
                </c:pt>
                <c:pt idx="31651">
                  <c:v>71201</c:v>
                </c:pt>
                <c:pt idx="31652">
                  <c:v>71156</c:v>
                </c:pt>
                <c:pt idx="31653">
                  <c:v>71131</c:v>
                </c:pt>
                <c:pt idx="31654">
                  <c:v>71113</c:v>
                </c:pt>
                <c:pt idx="31655">
                  <c:v>71096</c:v>
                </c:pt>
                <c:pt idx="31656">
                  <c:v>71093</c:v>
                </c:pt>
                <c:pt idx="31657">
                  <c:v>71091</c:v>
                </c:pt>
                <c:pt idx="31658">
                  <c:v>71088</c:v>
                </c:pt>
                <c:pt idx="31659">
                  <c:v>71077</c:v>
                </c:pt>
                <c:pt idx="31660">
                  <c:v>71064</c:v>
                </c:pt>
                <c:pt idx="31661">
                  <c:v>71061</c:v>
                </c:pt>
                <c:pt idx="31662">
                  <c:v>71060</c:v>
                </c:pt>
                <c:pt idx="31663">
                  <c:v>71060</c:v>
                </c:pt>
                <c:pt idx="31664">
                  <c:v>71058</c:v>
                </c:pt>
                <c:pt idx="31665">
                  <c:v>71044</c:v>
                </c:pt>
                <c:pt idx="31666">
                  <c:v>71040</c:v>
                </c:pt>
                <c:pt idx="31667">
                  <c:v>71024</c:v>
                </c:pt>
                <c:pt idx="31668">
                  <c:v>71020</c:v>
                </c:pt>
                <c:pt idx="31669">
                  <c:v>71016</c:v>
                </c:pt>
                <c:pt idx="31670">
                  <c:v>70983</c:v>
                </c:pt>
                <c:pt idx="31671">
                  <c:v>70980</c:v>
                </c:pt>
                <c:pt idx="31672">
                  <c:v>70980</c:v>
                </c:pt>
                <c:pt idx="31673">
                  <c:v>70971</c:v>
                </c:pt>
                <c:pt idx="31674">
                  <c:v>70963</c:v>
                </c:pt>
                <c:pt idx="31675">
                  <c:v>70956</c:v>
                </c:pt>
                <c:pt idx="31676">
                  <c:v>70948</c:v>
                </c:pt>
                <c:pt idx="31677">
                  <c:v>70947</c:v>
                </c:pt>
                <c:pt idx="31678">
                  <c:v>70947</c:v>
                </c:pt>
                <c:pt idx="31679">
                  <c:v>70941</c:v>
                </c:pt>
                <c:pt idx="31680">
                  <c:v>70936</c:v>
                </c:pt>
                <c:pt idx="31681">
                  <c:v>70931</c:v>
                </c:pt>
                <c:pt idx="31682">
                  <c:v>70920</c:v>
                </c:pt>
                <c:pt idx="31683">
                  <c:v>70909</c:v>
                </c:pt>
                <c:pt idx="31684">
                  <c:v>70897</c:v>
                </c:pt>
                <c:pt idx="31685">
                  <c:v>70878</c:v>
                </c:pt>
                <c:pt idx="31686">
                  <c:v>70875</c:v>
                </c:pt>
                <c:pt idx="31687">
                  <c:v>70869</c:v>
                </c:pt>
                <c:pt idx="31688">
                  <c:v>70866</c:v>
                </c:pt>
                <c:pt idx="31689">
                  <c:v>70864</c:v>
                </c:pt>
                <c:pt idx="31690">
                  <c:v>70858</c:v>
                </c:pt>
                <c:pt idx="31691">
                  <c:v>70855</c:v>
                </c:pt>
                <c:pt idx="31692">
                  <c:v>70837</c:v>
                </c:pt>
                <c:pt idx="31693">
                  <c:v>70833</c:v>
                </c:pt>
                <c:pt idx="31694">
                  <c:v>70829</c:v>
                </c:pt>
                <c:pt idx="31695">
                  <c:v>70828</c:v>
                </c:pt>
                <c:pt idx="31696">
                  <c:v>70823</c:v>
                </c:pt>
                <c:pt idx="31697">
                  <c:v>70809</c:v>
                </c:pt>
                <c:pt idx="31698">
                  <c:v>70770</c:v>
                </c:pt>
                <c:pt idx="31699">
                  <c:v>70769</c:v>
                </c:pt>
                <c:pt idx="31700">
                  <c:v>70766</c:v>
                </c:pt>
                <c:pt idx="31701">
                  <c:v>70766</c:v>
                </c:pt>
                <c:pt idx="31702">
                  <c:v>70757</c:v>
                </c:pt>
                <c:pt idx="31703">
                  <c:v>70740</c:v>
                </c:pt>
                <c:pt idx="31704">
                  <c:v>70739</c:v>
                </c:pt>
                <c:pt idx="31705">
                  <c:v>70737</c:v>
                </c:pt>
                <c:pt idx="31706">
                  <c:v>70719</c:v>
                </c:pt>
                <c:pt idx="31707">
                  <c:v>70718</c:v>
                </c:pt>
                <c:pt idx="31708">
                  <c:v>70691</c:v>
                </c:pt>
                <c:pt idx="31709">
                  <c:v>70675</c:v>
                </c:pt>
                <c:pt idx="31710">
                  <c:v>70658</c:v>
                </c:pt>
                <c:pt idx="31711">
                  <c:v>70641</c:v>
                </c:pt>
                <c:pt idx="31712">
                  <c:v>70636</c:v>
                </c:pt>
                <c:pt idx="31713">
                  <c:v>70634</c:v>
                </c:pt>
                <c:pt idx="31714">
                  <c:v>70633</c:v>
                </c:pt>
                <c:pt idx="31715">
                  <c:v>70626</c:v>
                </c:pt>
                <c:pt idx="31716">
                  <c:v>70616</c:v>
                </c:pt>
                <c:pt idx="31717">
                  <c:v>70615</c:v>
                </c:pt>
                <c:pt idx="31718">
                  <c:v>70604</c:v>
                </c:pt>
                <c:pt idx="31719">
                  <c:v>70600</c:v>
                </c:pt>
                <c:pt idx="31720">
                  <c:v>70597</c:v>
                </c:pt>
                <c:pt idx="31721">
                  <c:v>70595</c:v>
                </c:pt>
                <c:pt idx="31722">
                  <c:v>70576</c:v>
                </c:pt>
                <c:pt idx="31723">
                  <c:v>70569</c:v>
                </c:pt>
                <c:pt idx="31724">
                  <c:v>70567</c:v>
                </c:pt>
                <c:pt idx="31725">
                  <c:v>70565</c:v>
                </c:pt>
                <c:pt idx="31726">
                  <c:v>70548</c:v>
                </c:pt>
                <c:pt idx="31727">
                  <c:v>70546</c:v>
                </c:pt>
                <c:pt idx="31728">
                  <c:v>70544</c:v>
                </c:pt>
                <c:pt idx="31729">
                  <c:v>70531</c:v>
                </c:pt>
                <c:pt idx="31730">
                  <c:v>70526</c:v>
                </c:pt>
                <c:pt idx="31731">
                  <c:v>70526</c:v>
                </c:pt>
                <c:pt idx="31732">
                  <c:v>70515</c:v>
                </c:pt>
                <c:pt idx="31733">
                  <c:v>70501</c:v>
                </c:pt>
                <c:pt idx="31734">
                  <c:v>70497</c:v>
                </c:pt>
                <c:pt idx="31735">
                  <c:v>70496</c:v>
                </c:pt>
                <c:pt idx="31736">
                  <c:v>70470</c:v>
                </c:pt>
                <c:pt idx="31737">
                  <c:v>70464</c:v>
                </c:pt>
                <c:pt idx="31738">
                  <c:v>70462</c:v>
                </c:pt>
                <c:pt idx="31739">
                  <c:v>70462</c:v>
                </c:pt>
                <c:pt idx="31740">
                  <c:v>70454</c:v>
                </c:pt>
                <c:pt idx="31741">
                  <c:v>70430</c:v>
                </c:pt>
                <c:pt idx="31742">
                  <c:v>70426</c:v>
                </c:pt>
                <c:pt idx="31743">
                  <c:v>70422</c:v>
                </c:pt>
                <c:pt idx="31744">
                  <c:v>70421</c:v>
                </c:pt>
                <c:pt idx="31745">
                  <c:v>70417</c:v>
                </c:pt>
                <c:pt idx="31746">
                  <c:v>70413</c:v>
                </c:pt>
                <c:pt idx="31747">
                  <c:v>70406</c:v>
                </c:pt>
                <c:pt idx="31748">
                  <c:v>70395</c:v>
                </c:pt>
                <c:pt idx="31749">
                  <c:v>70388</c:v>
                </c:pt>
                <c:pt idx="31750">
                  <c:v>70383</c:v>
                </c:pt>
                <c:pt idx="31751">
                  <c:v>70380</c:v>
                </c:pt>
                <c:pt idx="31752">
                  <c:v>70360</c:v>
                </c:pt>
                <c:pt idx="31753">
                  <c:v>70349</c:v>
                </c:pt>
                <c:pt idx="31754">
                  <c:v>70343</c:v>
                </c:pt>
                <c:pt idx="31755">
                  <c:v>70342</c:v>
                </c:pt>
                <c:pt idx="31756">
                  <c:v>70334</c:v>
                </c:pt>
                <c:pt idx="31757">
                  <c:v>70333</c:v>
                </c:pt>
                <c:pt idx="31758">
                  <c:v>70333</c:v>
                </c:pt>
                <c:pt idx="31759">
                  <c:v>70332</c:v>
                </c:pt>
                <c:pt idx="31760">
                  <c:v>70320</c:v>
                </c:pt>
                <c:pt idx="31761">
                  <c:v>70314</c:v>
                </c:pt>
                <c:pt idx="31762">
                  <c:v>70312</c:v>
                </c:pt>
                <c:pt idx="31763">
                  <c:v>70283</c:v>
                </c:pt>
                <c:pt idx="31764">
                  <c:v>70259</c:v>
                </c:pt>
                <c:pt idx="31765">
                  <c:v>70222</c:v>
                </c:pt>
                <c:pt idx="31766">
                  <c:v>70199</c:v>
                </c:pt>
                <c:pt idx="31767">
                  <c:v>70168</c:v>
                </c:pt>
                <c:pt idx="31768">
                  <c:v>70138</c:v>
                </c:pt>
                <c:pt idx="31769">
                  <c:v>70123</c:v>
                </c:pt>
                <c:pt idx="31770">
                  <c:v>70117</c:v>
                </c:pt>
                <c:pt idx="31771">
                  <c:v>70109</c:v>
                </c:pt>
                <c:pt idx="31772">
                  <c:v>70107</c:v>
                </c:pt>
                <c:pt idx="31773">
                  <c:v>70098</c:v>
                </c:pt>
                <c:pt idx="31774">
                  <c:v>70097</c:v>
                </c:pt>
                <c:pt idx="31775">
                  <c:v>70092</c:v>
                </c:pt>
                <c:pt idx="31776">
                  <c:v>70090</c:v>
                </c:pt>
                <c:pt idx="31777">
                  <c:v>70083</c:v>
                </c:pt>
                <c:pt idx="31778">
                  <c:v>70082</c:v>
                </c:pt>
                <c:pt idx="31779">
                  <c:v>70081</c:v>
                </c:pt>
                <c:pt idx="31780">
                  <c:v>70053</c:v>
                </c:pt>
                <c:pt idx="31781">
                  <c:v>70050</c:v>
                </c:pt>
                <c:pt idx="31782">
                  <c:v>70044</c:v>
                </c:pt>
                <c:pt idx="31783">
                  <c:v>70025</c:v>
                </c:pt>
                <c:pt idx="31784">
                  <c:v>70022</c:v>
                </c:pt>
                <c:pt idx="31785">
                  <c:v>70017</c:v>
                </c:pt>
                <c:pt idx="31786">
                  <c:v>70017</c:v>
                </c:pt>
                <c:pt idx="31787">
                  <c:v>70016</c:v>
                </c:pt>
                <c:pt idx="31788">
                  <c:v>70015</c:v>
                </c:pt>
                <c:pt idx="31789">
                  <c:v>70010</c:v>
                </c:pt>
                <c:pt idx="31790">
                  <c:v>70003</c:v>
                </c:pt>
                <c:pt idx="31791">
                  <c:v>70000</c:v>
                </c:pt>
                <c:pt idx="31792">
                  <c:v>69993</c:v>
                </c:pt>
                <c:pt idx="31793">
                  <c:v>69991</c:v>
                </c:pt>
                <c:pt idx="31794">
                  <c:v>69950</c:v>
                </c:pt>
                <c:pt idx="31795">
                  <c:v>69940</c:v>
                </c:pt>
                <c:pt idx="31796">
                  <c:v>69932</c:v>
                </c:pt>
                <c:pt idx="31797">
                  <c:v>69927</c:v>
                </c:pt>
                <c:pt idx="31798">
                  <c:v>69908</c:v>
                </c:pt>
                <c:pt idx="31799">
                  <c:v>69875</c:v>
                </c:pt>
                <c:pt idx="31800">
                  <c:v>69854</c:v>
                </c:pt>
                <c:pt idx="31801">
                  <c:v>69852</c:v>
                </c:pt>
                <c:pt idx="31802">
                  <c:v>69845</c:v>
                </c:pt>
                <c:pt idx="31803">
                  <c:v>69832</c:v>
                </c:pt>
                <c:pt idx="31804">
                  <c:v>69813</c:v>
                </c:pt>
                <c:pt idx="31805">
                  <c:v>69775</c:v>
                </c:pt>
                <c:pt idx="31806">
                  <c:v>69766</c:v>
                </c:pt>
                <c:pt idx="31807">
                  <c:v>69758</c:v>
                </c:pt>
                <c:pt idx="31808">
                  <c:v>69746</c:v>
                </c:pt>
                <c:pt idx="31809">
                  <c:v>69692</c:v>
                </c:pt>
                <c:pt idx="31810">
                  <c:v>69686</c:v>
                </c:pt>
                <c:pt idx="31811">
                  <c:v>69674</c:v>
                </c:pt>
                <c:pt idx="31812">
                  <c:v>69665</c:v>
                </c:pt>
                <c:pt idx="31813">
                  <c:v>69657</c:v>
                </c:pt>
                <c:pt idx="31814">
                  <c:v>69653</c:v>
                </c:pt>
                <c:pt idx="31815">
                  <c:v>69643</c:v>
                </c:pt>
                <c:pt idx="31816">
                  <c:v>69642</c:v>
                </c:pt>
                <c:pt idx="31817">
                  <c:v>69638</c:v>
                </c:pt>
                <c:pt idx="31818">
                  <c:v>69628</c:v>
                </c:pt>
                <c:pt idx="31819">
                  <c:v>69624</c:v>
                </c:pt>
                <c:pt idx="31820">
                  <c:v>69620</c:v>
                </c:pt>
                <c:pt idx="31821">
                  <c:v>69608</c:v>
                </c:pt>
                <c:pt idx="31822">
                  <c:v>69605</c:v>
                </c:pt>
                <c:pt idx="31823">
                  <c:v>69603</c:v>
                </c:pt>
                <c:pt idx="31824">
                  <c:v>69601</c:v>
                </c:pt>
                <c:pt idx="31825">
                  <c:v>69592</c:v>
                </c:pt>
                <c:pt idx="31826">
                  <c:v>69590</c:v>
                </c:pt>
                <c:pt idx="31827">
                  <c:v>69580</c:v>
                </c:pt>
                <c:pt idx="31828">
                  <c:v>69576</c:v>
                </c:pt>
                <c:pt idx="31829">
                  <c:v>69575</c:v>
                </c:pt>
                <c:pt idx="31830">
                  <c:v>69570</c:v>
                </c:pt>
                <c:pt idx="31831">
                  <c:v>69566</c:v>
                </c:pt>
                <c:pt idx="31832">
                  <c:v>69543</c:v>
                </c:pt>
                <c:pt idx="31833">
                  <c:v>69525</c:v>
                </c:pt>
                <c:pt idx="31834">
                  <c:v>69517</c:v>
                </c:pt>
                <c:pt idx="31835">
                  <c:v>69513</c:v>
                </c:pt>
                <c:pt idx="31836">
                  <c:v>69491</c:v>
                </c:pt>
                <c:pt idx="31837">
                  <c:v>69490</c:v>
                </c:pt>
                <c:pt idx="31838">
                  <c:v>69483</c:v>
                </c:pt>
                <c:pt idx="31839">
                  <c:v>69477</c:v>
                </c:pt>
                <c:pt idx="31840">
                  <c:v>69476</c:v>
                </c:pt>
                <c:pt idx="31841">
                  <c:v>69447</c:v>
                </c:pt>
                <c:pt idx="31842">
                  <c:v>69429</c:v>
                </c:pt>
                <c:pt idx="31843">
                  <c:v>69423</c:v>
                </c:pt>
                <c:pt idx="31844">
                  <c:v>69412</c:v>
                </c:pt>
                <c:pt idx="31845">
                  <c:v>69349</c:v>
                </c:pt>
                <c:pt idx="31846">
                  <c:v>69339</c:v>
                </c:pt>
                <c:pt idx="31847">
                  <c:v>69335</c:v>
                </c:pt>
                <c:pt idx="31848">
                  <c:v>69333</c:v>
                </c:pt>
                <c:pt idx="31849">
                  <c:v>69309</c:v>
                </c:pt>
                <c:pt idx="31850">
                  <c:v>69307</c:v>
                </c:pt>
                <c:pt idx="31851">
                  <c:v>69291</c:v>
                </c:pt>
                <c:pt idx="31852">
                  <c:v>69273</c:v>
                </c:pt>
                <c:pt idx="31853">
                  <c:v>69238</c:v>
                </c:pt>
                <c:pt idx="31854">
                  <c:v>69233</c:v>
                </c:pt>
                <c:pt idx="31855">
                  <c:v>69218</c:v>
                </c:pt>
                <c:pt idx="31856">
                  <c:v>69200</c:v>
                </c:pt>
                <c:pt idx="31857">
                  <c:v>69159</c:v>
                </c:pt>
                <c:pt idx="31858">
                  <c:v>69159</c:v>
                </c:pt>
                <c:pt idx="31859">
                  <c:v>69142</c:v>
                </c:pt>
                <c:pt idx="31860">
                  <c:v>69136</c:v>
                </c:pt>
                <c:pt idx="31861">
                  <c:v>69136</c:v>
                </c:pt>
                <c:pt idx="31862">
                  <c:v>69129</c:v>
                </c:pt>
                <c:pt idx="31863">
                  <c:v>69108</c:v>
                </c:pt>
                <c:pt idx="31864">
                  <c:v>69078</c:v>
                </c:pt>
                <c:pt idx="31865">
                  <c:v>69075</c:v>
                </c:pt>
                <c:pt idx="31866">
                  <c:v>69058</c:v>
                </c:pt>
                <c:pt idx="31867">
                  <c:v>69054</c:v>
                </c:pt>
                <c:pt idx="31868">
                  <c:v>69037</c:v>
                </c:pt>
                <c:pt idx="31869">
                  <c:v>69015</c:v>
                </c:pt>
                <c:pt idx="31870">
                  <c:v>69005</c:v>
                </c:pt>
                <c:pt idx="31871">
                  <c:v>69000</c:v>
                </c:pt>
                <c:pt idx="31872">
                  <c:v>68995</c:v>
                </c:pt>
                <c:pt idx="31873">
                  <c:v>68991</c:v>
                </c:pt>
                <c:pt idx="31874">
                  <c:v>68990</c:v>
                </c:pt>
                <c:pt idx="31875">
                  <c:v>68982</c:v>
                </c:pt>
                <c:pt idx="31876">
                  <c:v>68971</c:v>
                </c:pt>
                <c:pt idx="31877">
                  <c:v>68955</c:v>
                </c:pt>
                <c:pt idx="31878">
                  <c:v>68951</c:v>
                </c:pt>
                <c:pt idx="31879">
                  <c:v>68946</c:v>
                </c:pt>
                <c:pt idx="31880">
                  <c:v>68945</c:v>
                </c:pt>
                <c:pt idx="31881">
                  <c:v>68937</c:v>
                </c:pt>
                <c:pt idx="31882">
                  <c:v>68933</c:v>
                </c:pt>
                <c:pt idx="31883">
                  <c:v>68928</c:v>
                </c:pt>
                <c:pt idx="31884">
                  <c:v>68920</c:v>
                </c:pt>
                <c:pt idx="31885">
                  <c:v>68902</c:v>
                </c:pt>
                <c:pt idx="31886">
                  <c:v>68900</c:v>
                </c:pt>
                <c:pt idx="31887">
                  <c:v>68897</c:v>
                </c:pt>
                <c:pt idx="31888">
                  <c:v>68891</c:v>
                </c:pt>
                <c:pt idx="31889">
                  <c:v>68863</c:v>
                </c:pt>
                <c:pt idx="31890">
                  <c:v>68861</c:v>
                </c:pt>
                <c:pt idx="31891">
                  <c:v>68860</c:v>
                </c:pt>
                <c:pt idx="31892">
                  <c:v>68845</c:v>
                </c:pt>
                <c:pt idx="31893">
                  <c:v>68816</c:v>
                </c:pt>
                <c:pt idx="31894">
                  <c:v>68813</c:v>
                </c:pt>
                <c:pt idx="31895">
                  <c:v>68811</c:v>
                </c:pt>
                <c:pt idx="31896">
                  <c:v>68784</c:v>
                </c:pt>
                <c:pt idx="31897">
                  <c:v>68770</c:v>
                </c:pt>
                <c:pt idx="31898">
                  <c:v>68768</c:v>
                </c:pt>
                <c:pt idx="31899">
                  <c:v>68732</c:v>
                </c:pt>
                <c:pt idx="31900">
                  <c:v>68730</c:v>
                </c:pt>
                <c:pt idx="31901">
                  <c:v>68713</c:v>
                </c:pt>
                <c:pt idx="31902">
                  <c:v>68712</c:v>
                </c:pt>
                <c:pt idx="31903">
                  <c:v>68711</c:v>
                </c:pt>
                <c:pt idx="31904">
                  <c:v>68710</c:v>
                </c:pt>
                <c:pt idx="31905">
                  <c:v>68682</c:v>
                </c:pt>
                <c:pt idx="31906">
                  <c:v>68679</c:v>
                </c:pt>
                <c:pt idx="31907">
                  <c:v>68672</c:v>
                </c:pt>
                <c:pt idx="31908">
                  <c:v>68652</c:v>
                </c:pt>
                <c:pt idx="31909">
                  <c:v>68632</c:v>
                </c:pt>
                <c:pt idx="31910">
                  <c:v>68621</c:v>
                </c:pt>
                <c:pt idx="31911">
                  <c:v>68619</c:v>
                </c:pt>
                <c:pt idx="31912">
                  <c:v>68608</c:v>
                </c:pt>
                <c:pt idx="31913">
                  <c:v>68599</c:v>
                </c:pt>
                <c:pt idx="31914">
                  <c:v>68583</c:v>
                </c:pt>
                <c:pt idx="31915">
                  <c:v>68570</c:v>
                </c:pt>
                <c:pt idx="31916">
                  <c:v>68551</c:v>
                </c:pt>
                <c:pt idx="31917">
                  <c:v>68536</c:v>
                </c:pt>
                <c:pt idx="31918">
                  <c:v>68513</c:v>
                </c:pt>
                <c:pt idx="31919">
                  <c:v>68489</c:v>
                </c:pt>
                <c:pt idx="31920">
                  <c:v>68487</c:v>
                </c:pt>
                <c:pt idx="31921">
                  <c:v>68486</c:v>
                </c:pt>
                <c:pt idx="31922">
                  <c:v>68453</c:v>
                </c:pt>
                <c:pt idx="31923">
                  <c:v>68453</c:v>
                </c:pt>
                <c:pt idx="31924">
                  <c:v>68422</c:v>
                </c:pt>
                <c:pt idx="31925">
                  <c:v>68415</c:v>
                </c:pt>
                <c:pt idx="31926">
                  <c:v>68413</c:v>
                </c:pt>
                <c:pt idx="31927">
                  <c:v>68384</c:v>
                </c:pt>
                <c:pt idx="31928">
                  <c:v>68366</c:v>
                </c:pt>
                <c:pt idx="31929">
                  <c:v>68364</c:v>
                </c:pt>
                <c:pt idx="31930">
                  <c:v>68343</c:v>
                </c:pt>
                <c:pt idx="31931">
                  <c:v>68325</c:v>
                </c:pt>
                <c:pt idx="31932">
                  <c:v>68325</c:v>
                </c:pt>
                <c:pt idx="31933">
                  <c:v>68313</c:v>
                </c:pt>
                <c:pt idx="31934">
                  <c:v>68311</c:v>
                </c:pt>
                <c:pt idx="31935">
                  <c:v>68294</c:v>
                </c:pt>
                <c:pt idx="31936">
                  <c:v>68267</c:v>
                </c:pt>
                <c:pt idx="31937">
                  <c:v>68256</c:v>
                </c:pt>
                <c:pt idx="31938">
                  <c:v>68243</c:v>
                </c:pt>
                <c:pt idx="31939">
                  <c:v>68211</c:v>
                </c:pt>
                <c:pt idx="31940">
                  <c:v>68193</c:v>
                </c:pt>
                <c:pt idx="31941">
                  <c:v>68136</c:v>
                </c:pt>
                <c:pt idx="31942">
                  <c:v>68124</c:v>
                </c:pt>
                <c:pt idx="31943">
                  <c:v>68095</c:v>
                </c:pt>
                <c:pt idx="31944">
                  <c:v>68054</c:v>
                </c:pt>
                <c:pt idx="31945">
                  <c:v>68048</c:v>
                </c:pt>
                <c:pt idx="31946">
                  <c:v>68046</c:v>
                </c:pt>
                <c:pt idx="31947">
                  <c:v>68037</c:v>
                </c:pt>
                <c:pt idx="31948">
                  <c:v>68018</c:v>
                </c:pt>
                <c:pt idx="31949">
                  <c:v>68009</c:v>
                </c:pt>
                <c:pt idx="31950">
                  <c:v>67988</c:v>
                </c:pt>
                <c:pt idx="31951">
                  <c:v>67961</c:v>
                </c:pt>
                <c:pt idx="31952">
                  <c:v>67960</c:v>
                </c:pt>
                <c:pt idx="31953">
                  <c:v>67958</c:v>
                </c:pt>
                <c:pt idx="31954">
                  <c:v>67952</c:v>
                </c:pt>
                <c:pt idx="31955">
                  <c:v>67944</c:v>
                </c:pt>
                <c:pt idx="31956">
                  <c:v>67938</c:v>
                </c:pt>
                <c:pt idx="31957">
                  <c:v>67936</c:v>
                </c:pt>
                <c:pt idx="31958">
                  <c:v>67930</c:v>
                </c:pt>
                <c:pt idx="31959">
                  <c:v>67889</c:v>
                </c:pt>
                <c:pt idx="31960">
                  <c:v>67846</c:v>
                </c:pt>
                <c:pt idx="31961">
                  <c:v>67814</c:v>
                </c:pt>
                <c:pt idx="31962">
                  <c:v>67810</c:v>
                </c:pt>
                <c:pt idx="31963">
                  <c:v>67809</c:v>
                </c:pt>
                <c:pt idx="31964">
                  <c:v>67800</c:v>
                </c:pt>
                <c:pt idx="31965">
                  <c:v>67789</c:v>
                </c:pt>
                <c:pt idx="31966">
                  <c:v>67742</c:v>
                </c:pt>
                <c:pt idx="31967">
                  <c:v>67711</c:v>
                </c:pt>
                <c:pt idx="31968">
                  <c:v>67689</c:v>
                </c:pt>
                <c:pt idx="31969">
                  <c:v>67688</c:v>
                </c:pt>
                <c:pt idx="31970">
                  <c:v>67687</c:v>
                </c:pt>
                <c:pt idx="31971">
                  <c:v>67685</c:v>
                </c:pt>
                <c:pt idx="31972">
                  <c:v>67683</c:v>
                </c:pt>
                <c:pt idx="31973">
                  <c:v>67652</c:v>
                </c:pt>
                <c:pt idx="31974">
                  <c:v>67649</c:v>
                </c:pt>
                <c:pt idx="31975">
                  <c:v>67642</c:v>
                </c:pt>
                <c:pt idx="31976">
                  <c:v>67617</c:v>
                </c:pt>
                <c:pt idx="31977">
                  <c:v>67599</c:v>
                </c:pt>
                <c:pt idx="31978">
                  <c:v>67596</c:v>
                </c:pt>
                <c:pt idx="31979">
                  <c:v>67566</c:v>
                </c:pt>
                <c:pt idx="31980">
                  <c:v>67553</c:v>
                </c:pt>
                <c:pt idx="31981">
                  <c:v>67546</c:v>
                </c:pt>
                <c:pt idx="31982">
                  <c:v>67535</c:v>
                </c:pt>
                <c:pt idx="31983">
                  <c:v>67532</c:v>
                </c:pt>
                <c:pt idx="31984">
                  <c:v>67532</c:v>
                </c:pt>
                <c:pt idx="31985">
                  <c:v>67500</c:v>
                </c:pt>
                <c:pt idx="31986">
                  <c:v>67488</c:v>
                </c:pt>
                <c:pt idx="31987">
                  <c:v>67484</c:v>
                </c:pt>
                <c:pt idx="31988">
                  <c:v>67481</c:v>
                </c:pt>
                <c:pt idx="31989">
                  <c:v>67480</c:v>
                </c:pt>
                <c:pt idx="31990">
                  <c:v>67412</c:v>
                </c:pt>
                <c:pt idx="31991">
                  <c:v>67410</c:v>
                </c:pt>
                <c:pt idx="31992">
                  <c:v>67387</c:v>
                </c:pt>
                <c:pt idx="31993">
                  <c:v>67345</c:v>
                </c:pt>
                <c:pt idx="31994">
                  <c:v>67323</c:v>
                </c:pt>
                <c:pt idx="31995">
                  <c:v>67315</c:v>
                </c:pt>
                <c:pt idx="31996">
                  <c:v>67291</c:v>
                </c:pt>
                <c:pt idx="31997">
                  <c:v>67267</c:v>
                </c:pt>
                <c:pt idx="31998">
                  <c:v>67266</c:v>
                </c:pt>
                <c:pt idx="31999">
                  <c:v>67264</c:v>
                </c:pt>
                <c:pt idx="32000">
                  <c:v>67217</c:v>
                </c:pt>
                <c:pt idx="32001">
                  <c:v>67208</c:v>
                </c:pt>
                <c:pt idx="32002">
                  <c:v>67164</c:v>
                </c:pt>
                <c:pt idx="32003">
                  <c:v>67159</c:v>
                </c:pt>
                <c:pt idx="32004">
                  <c:v>67141</c:v>
                </c:pt>
                <c:pt idx="32005">
                  <c:v>67117</c:v>
                </c:pt>
                <c:pt idx="32006">
                  <c:v>67105</c:v>
                </c:pt>
                <c:pt idx="32007">
                  <c:v>67103</c:v>
                </c:pt>
                <c:pt idx="32008">
                  <c:v>67093</c:v>
                </c:pt>
                <c:pt idx="32009">
                  <c:v>67093</c:v>
                </c:pt>
                <c:pt idx="32010">
                  <c:v>67088</c:v>
                </c:pt>
                <c:pt idx="32011">
                  <c:v>67078</c:v>
                </c:pt>
                <c:pt idx="32012">
                  <c:v>67071</c:v>
                </c:pt>
                <c:pt idx="32013">
                  <c:v>67065</c:v>
                </c:pt>
                <c:pt idx="32014">
                  <c:v>67062</c:v>
                </c:pt>
                <c:pt idx="32015">
                  <c:v>67052</c:v>
                </c:pt>
                <c:pt idx="32016">
                  <c:v>67037</c:v>
                </c:pt>
                <c:pt idx="32017">
                  <c:v>67036</c:v>
                </c:pt>
                <c:pt idx="32018">
                  <c:v>67024</c:v>
                </c:pt>
                <c:pt idx="32019">
                  <c:v>67016</c:v>
                </c:pt>
                <c:pt idx="32020">
                  <c:v>67007</c:v>
                </c:pt>
                <c:pt idx="32021">
                  <c:v>67005</c:v>
                </c:pt>
                <c:pt idx="32022">
                  <c:v>66993</c:v>
                </c:pt>
                <c:pt idx="32023">
                  <c:v>66953</c:v>
                </c:pt>
                <c:pt idx="32024">
                  <c:v>66925</c:v>
                </c:pt>
                <c:pt idx="32025">
                  <c:v>66916</c:v>
                </c:pt>
                <c:pt idx="32026">
                  <c:v>66910</c:v>
                </c:pt>
                <c:pt idx="32027">
                  <c:v>66907</c:v>
                </c:pt>
                <c:pt idx="32028">
                  <c:v>66865</c:v>
                </c:pt>
                <c:pt idx="32029">
                  <c:v>66805</c:v>
                </c:pt>
                <c:pt idx="32030">
                  <c:v>66794</c:v>
                </c:pt>
                <c:pt idx="32031">
                  <c:v>66791</c:v>
                </c:pt>
                <c:pt idx="32032">
                  <c:v>66705</c:v>
                </c:pt>
                <c:pt idx="32033">
                  <c:v>66673</c:v>
                </c:pt>
                <c:pt idx="32034">
                  <c:v>66648</c:v>
                </c:pt>
                <c:pt idx="32035">
                  <c:v>66621</c:v>
                </c:pt>
                <c:pt idx="32036">
                  <c:v>66606</c:v>
                </c:pt>
                <c:pt idx="32037">
                  <c:v>66596</c:v>
                </c:pt>
                <c:pt idx="32038">
                  <c:v>66584</c:v>
                </c:pt>
                <c:pt idx="32039">
                  <c:v>66573</c:v>
                </c:pt>
                <c:pt idx="32040">
                  <c:v>66571</c:v>
                </c:pt>
                <c:pt idx="32041">
                  <c:v>66542</c:v>
                </c:pt>
                <c:pt idx="32042">
                  <c:v>66482</c:v>
                </c:pt>
                <c:pt idx="32043">
                  <c:v>66482</c:v>
                </c:pt>
                <c:pt idx="32044">
                  <c:v>66478</c:v>
                </c:pt>
                <c:pt idx="32045">
                  <c:v>66444</c:v>
                </c:pt>
                <c:pt idx="32046">
                  <c:v>66418</c:v>
                </c:pt>
                <c:pt idx="32047">
                  <c:v>66416</c:v>
                </c:pt>
                <c:pt idx="32048">
                  <c:v>66398</c:v>
                </c:pt>
                <c:pt idx="32049">
                  <c:v>66395</c:v>
                </c:pt>
                <c:pt idx="32050">
                  <c:v>66386</c:v>
                </c:pt>
                <c:pt idx="32051">
                  <c:v>66353</c:v>
                </c:pt>
                <c:pt idx="32052">
                  <c:v>66344</c:v>
                </c:pt>
                <c:pt idx="32053">
                  <c:v>66338</c:v>
                </c:pt>
                <c:pt idx="32054">
                  <c:v>66312</c:v>
                </c:pt>
                <c:pt idx="32055">
                  <c:v>66287</c:v>
                </c:pt>
                <c:pt idx="32056">
                  <c:v>66232</c:v>
                </c:pt>
                <c:pt idx="32057">
                  <c:v>66215</c:v>
                </c:pt>
                <c:pt idx="32058">
                  <c:v>66195</c:v>
                </c:pt>
                <c:pt idx="32059">
                  <c:v>66169</c:v>
                </c:pt>
                <c:pt idx="32060">
                  <c:v>66143</c:v>
                </c:pt>
                <c:pt idx="32061">
                  <c:v>66098</c:v>
                </c:pt>
                <c:pt idx="32062">
                  <c:v>66093</c:v>
                </c:pt>
                <c:pt idx="32063">
                  <c:v>66058</c:v>
                </c:pt>
                <c:pt idx="32064">
                  <c:v>66042</c:v>
                </c:pt>
                <c:pt idx="32065">
                  <c:v>66026</c:v>
                </c:pt>
                <c:pt idx="32066">
                  <c:v>66007</c:v>
                </c:pt>
                <c:pt idx="32067">
                  <c:v>65996</c:v>
                </c:pt>
                <c:pt idx="32068">
                  <c:v>65913</c:v>
                </c:pt>
                <c:pt idx="32069">
                  <c:v>65909</c:v>
                </c:pt>
                <c:pt idx="32070">
                  <c:v>65901</c:v>
                </c:pt>
                <c:pt idx="32071">
                  <c:v>65901</c:v>
                </c:pt>
                <c:pt idx="32072">
                  <c:v>65895</c:v>
                </c:pt>
                <c:pt idx="32073">
                  <c:v>65865</c:v>
                </c:pt>
                <c:pt idx="32074">
                  <c:v>65851</c:v>
                </c:pt>
                <c:pt idx="32075">
                  <c:v>65833</c:v>
                </c:pt>
                <c:pt idx="32076">
                  <c:v>65830</c:v>
                </c:pt>
                <c:pt idx="32077">
                  <c:v>65827</c:v>
                </c:pt>
                <c:pt idx="32078">
                  <c:v>65812</c:v>
                </c:pt>
                <c:pt idx="32079">
                  <c:v>65785</c:v>
                </c:pt>
                <c:pt idx="32080">
                  <c:v>65768</c:v>
                </c:pt>
                <c:pt idx="32081">
                  <c:v>65764</c:v>
                </c:pt>
                <c:pt idx="32082">
                  <c:v>65732</c:v>
                </c:pt>
                <c:pt idx="32083">
                  <c:v>65709</c:v>
                </c:pt>
                <c:pt idx="32084">
                  <c:v>65650</c:v>
                </c:pt>
                <c:pt idx="32085">
                  <c:v>65648</c:v>
                </c:pt>
                <c:pt idx="32086">
                  <c:v>65627</c:v>
                </c:pt>
                <c:pt idx="32087">
                  <c:v>65569</c:v>
                </c:pt>
                <c:pt idx="32088">
                  <c:v>65508</c:v>
                </c:pt>
                <c:pt idx="32089">
                  <c:v>65378</c:v>
                </c:pt>
                <c:pt idx="32090">
                  <c:v>65371</c:v>
                </c:pt>
                <c:pt idx="32091">
                  <c:v>65345</c:v>
                </c:pt>
                <c:pt idx="32092">
                  <c:v>65315</c:v>
                </c:pt>
                <c:pt idx="32093">
                  <c:v>65291</c:v>
                </c:pt>
                <c:pt idx="32094">
                  <c:v>65291</c:v>
                </c:pt>
                <c:pt idx="32095">
                  <c:v>65263</c:v>
                </c:pt>
                <c:pt idx="32096">
                  <c:v>65184</c:v>
                </c:pt>
                <c:pt idx="32097">
                  <c:v>65161</c:v>
                </c:pt>
                <c:pt idx="32098">
                  <c:v>65094</c:v>
                </c:pt>
                <c:pt idx="32099">
                  <c:v>65086</c:v>
                </c:pt>
                <c:pt idx="32100">
                  <c:v>65085</c:v>
                </c:pt>
                <c:pt idx="32101">
                  <c:v>65057</c:v>
                </c:pt>
                <c:pt idx="32102">
                  <c:v>65047</c:v>
                </c:pt>
                <c:pt idx="32103">
                  <c:v>65027</c:v>
                </c:pt>
                <c:pt idx="32104">
                  <c:v>65021</c:v>
                </c:pt>
                <c:pt idx="32105">
                  <c:v>64987</c:v>
                </c:pt>
                <c:pt idx="32106">
                  <c:v>64958</c:v>
                </c:pt>
                <c:pt idx="32107">
                  <c:v>64944</c:v>
                </c:pt>
                <c:pt idx="32108">
                  <c:v>64918</c:v>
                </c:pt>
                <c:pt idx="32109">
                  <c:v>64895</c:v>
                </c:pt>
                <c:pt idx="32110">
                  <c:v>64887</c:v>
                </c:pt>
                <c:pt idx="32111">
                  <c:v>64848</c:v>
                </c:pt>
                <c:pt idx="32112">
                  <c:v>64834</c:v>
                </c:pt>
                <c:pt idx="32113">
                  <c:v>64781</c:v>
                </c:pt>
                <c:pt idx="32114">
                  <c:v>64772</c:v>
                </c:pt>
                <c:pt idx="32115">
                  <c:v>64748</c:v>
                </c:pt>
                <c:pt idx="32116">
                  <c:v>64736</c:v>
                </c:pt>
                <c:pt idx="32117">
                  <c:v>64718</c:v>
                </c:pt>
                <c:pt idx="32118">
                  <c:v>64675</c:v>
                </c:pt>
                <c:pt idx="32119">
                  <c:v>64649</c:v>
                </c:pt>
                <c:pt idx="32120">
                  <c:v>64628</c:v>
                </c:pt>
                <c:pt idx="32121">
                  <c:v>64570</c:v>
                </c:pt>
                <c:pt idx="32122">
                  <c:v>64405</c:v>
                </c:pt>
                <c:pt idx="32123">
                  <c:v>64293</c:v>
                </c:pt>
                <c:pt idx="32124">
                  <c:v>64287</c:v>
                </c:pt>
                <c:pt idx="32125">
                  <c:v>64139</c:v>
                </c:pt>
                <c:pt idx="32126">
                  <c:v>64113</c:v>
                </c:pt>
                <c:pt idx="32127">
                  <c:v>64112</c:v>
                </c:pt>
                <c:pt idx="32128">
                  <c:v>64074</c:v>
                </c:pt>
                <c:pt idx="32129">
                  <c:v>64038</c:v>
                </c:pt>
                <c:pt idx="32130">
                  <c:v>64032</c:v>
                </c:pt>
                <c:pt idx="32131">
                  <c:v>64009</c:v>
                </c:pt>
                <c:pt idx="32132">
                  <c:v>63994</c:v>
                </c:pt>
                <c:pt idx="32133">
                  <c:v>63944</c:v>
                </c:pt>
                <c:pt idx="32134">
                  <c:v>63929</c:v>
                </c:pt>
                <c:pt idx="32135">
                  <c:v>63872</c:v>
                </c:pt>
                <c:pt idx="32136">
                  <c:v>63859</c:v>
                </c:pt>
                <c:pt idx="32137">
                  <c:v>63787</c:v>
                </c:pt>
                <c:pt idx="32138">
                  <c:v>63756</c:v>
                </c:pt>
                <c:pt idx="32139">
                  <c:v>63719</c:v>
                </c:pt>
                <c:pt idx="32140">
                  <c:v>63708</c:v>
                </c:pt>
                <c:pt idx="32141">
                  <c:v>63672</c:v>
                </c:pt>
                <c:pt idx="32142">
                  <c:v>63649</c:v>
                </c:pt>
                <c:pt idx="32143">
                  <c:v>63639</c:v>
                </c:pt>
                <c:pt idx="32144">
                  <c:v>63609</c:v>
                </c:pt>
                <c:pt idx="32145">
                  <c:v>63603</c:v>
                </c:pt>
                <c:pt idx="32146">
                  <c:v>63578</c:v>
                </c:pt>
                <c:pt idx="32147">
                  <c:v>63488</c:v>
                </c:pt>
                <c:pt idx="32148">
                  <c:v>63479</c:v>
                </c:pt>
                <c:pt idx="32149">
                  <c:v>63477</c:v>
                </c:pt>
                <c:pt idx="32150">
                  <c:v>63454</c:v>
                </c:pt>
                <c:pt idx="32151">
                  <c:v>63332</c:v>
                </c:pt>
                <c:pt idx="32152">
                  <c:v>63278</c:v>
                </c:pt>
                <c:pt idx="32153">
                  <c:v>63254</c:v>
                </c:pt>
                <c:pt idx="32154">
                  <c:v>63176</c:v>
                </c:pt>
                <c:pt idx="32155">
                  <c:v>63161</c:v>
                </c:pt>
                <c:pt idx="32156">
                  <c:v>63135</c:v>
                </c:pt>
                <c:pt idx="32157">
                  <c:v>63068</c:v>
                </c:pt>
                <c:pt idx="32158">
                  <c:v>62926</c:v>
                </c:pt>
                <c:pt idx="32159">
                  <c:v>62859</c:v>
                </c:pt>
                <c:pt idx="32160">
                  <c:v>62802</c:v>
                </c:pt>
                <c:pt idx="32161">
                  <c:v>62745</c:v>
                </c:pt>
                <c:pt idx="32162">
                  <c:v>62726</c:v>
                </c:pt>
                <c:pt idx="32163">
                  <c:v>62682</c:v>
                </c:pt>
                <c:pt idx="32164">
                  <c:v>62673</c:v>
                </c:pt>
                <c:pt idx="32165">
                  <c:v>62662</c:v>
                </c:pt>
                <c:pt idx="32166">
                  <c:v>62597</c:v>
                </c:pt>
                <c:pt idx="32167">
                  <c:v>62549</c:v>
                </c:pt>
                <c:pt idx="32168">
                  <c:v>62531</c:v>
                </c:pt>
                <c:pt idx="32169">
                  <c:v>62530</c:v>
                </c:pt>
                <c:pt idx="32170">
                  <c:v>62458</c:v>
                </c:pt>
                <c:pt idx="32171">
                  <c:v>62285</c:v>
                </c:pt>
                <c:pt idx="32172">
                  <c:v>62104</c:v>
                </c:pt>
                <c:pt idx="32173">
                  <c:v>62082</c:v>
                </c:pt>
                <c:pt idx="32174">
                  <c:v>62059</c:v>
                </c:pt>
                <c:pt idx="32175">
                  <c:v>62036</c:v>
                </c:pt>
                <c:pt idx="32176">
                  <c:v>62025</c:v>
                </c:pt>
                <c:pt idx="32177">
                  <c:v>61875</c:v>
                </c:pt>
                <c:pt idx="32178">
                  <c:v>61389</c:v>
                </c:pt>
                <c:pt idx="32179">
                  <c:v>61389</c:v>
                </c:pt>
                <c:pt idx="32180">
                  <c:v>61367</c:v>
                </c:pt>
                <c:pt idx="32181">
                  <c:v>61302</c:v>
                </c:pt>
                <c:pt idx="32182">
                  <c:v>61139</c:v>
                </c:pt>
                <c:pt idx="32183">
                  <c:v>61130</c:v>
                </c:pt>
                <c:pt idx="32184">
                  <c:v>60782</c:v>
                </c:pt>
                <c:pt idx="32185">
                  <c:v>60560</c:v>
                </c:pt>
                <c:pt idx="32186">
                  <c:v>60521</c:v>
                </c:pt>
                <c:pt idx="32187">
                  <c:v>60508</c:v>
                </c:pt>
                <c:pt idx="32188">
                  <c:v>60496</c:v>
                </c:pt>
                <c:pt idx="32189">
                  <c:v>60385</c:v>
                </c:pt>
                <c:pt idx="32190">
                  <c:v>60272</c:v>
                </c:pt>
                <c:pt idx="32191">
                  <c:v>60208</c:v>
                </c:pt>
                <c:pt idx="32192">
                  <c:v>60176</c:v>
                </c:pt>
                <c:pt idx="32193">
                  <c:v>60129</c:v>
                </c:pt>
                <c:pt idx="32194">
                  <c:v>60084</c:v>
                </c:pt>
                <c:pt idx="32195">
                  <c:v>60068</c:v>
                </c:pt>
                <c:pt idx="32196">
                  <c:v>59980</c:v>
                </c:pt>
                <c:pt idx="32197">
                  <c:v>59896</c:v>
                </c:pt>
                <c:pt idx="32198">
                  <c:v>59835</c:v>
                </c:pt>
                <c:pt idx="32199">
                  <c:v>59754</c:v>
                </c:pt>
                <c:pt idx="32200">
                  <c:v>59006</c:v>
                </c:pt>
                <c:pt idx="32201">
                  <c:v>59000</c:v>
                </c:pt>
                <c:pt idx="32202">
                  <c:v>58993</c:v>
                </c:pt>
                <c:pt idx="32203">
                  <c:v>58687</c:v>
                </c:pt>
                <c:pt idx="32204">
                  <c:v>58498</c:v>
                </c:pt>
                <c:pt idx="32205">
                  <c:v>58442</c:v>
                </c:pt>
                <c:pt idx="32206">
                  <c:v>58407</c:v>
                </c:pt>
                <c:pt idx="32207">
                  <c:v>58389</c:v>
                </c:pt>
                <c:pt idx="32208">
                  <c:v>58389</c:v>
                </c:pt>
                <c:pt idx="32209">
                  <c:v>58388</c:v>
                </c:pt>
                <c:pt idx="32210">
                  <c:v>58154</c:v>
                </c:pt>
                <c:pt idx="32211">
                  <c:v>57889</c:v>
                </c:pt>
                <c:pt idx="32212">
                  <c:v>57790</c:v>
                </c:pt>
                <c:pt idx="32213">
                  <c:v>57643</c:v>
                </c:pt>
                <c:pt idx="32214">
                  <c:v>57615</c:v>
                </c:pt>
                <c:pt idx="32215">
                  <c:v>57477</c:v>
                </c:pt>
                <c:pt idx="32216">
                  <c:v>57390</c:v>
                </c:pt>
                <c:pt idx="32217">
                  <c:v>57350</c:v>
                </c:pt>
                <c:pt idx="32218">
                  <c:v>56918</c:v>
                </c:pt>
                <c:pt idx="32219">
                  <c:v>56745</c:v>
                </c:pt>
                <c:pt idx="32220">
                  <c:v>56539</c:v>
                </c:pt>
                <c:pt idx="32221">
                  <c:v>56535</c:v>
                </c:pt>
                <c:pt idx="32222">
                  <c:v>56470</c:v>
                </c:pt>
                <c:pt idx="32223">
                  <c:v>56438</c:v>
                </c:pt>
                <c:pt idx="32224">
                  <c:v>56101</c:v>
                </c:pt>
                <c:pt idx="32225">
                  <c:v>55827</c:v>
                </c:pt>
                <c:pt idx="32226">
                  <c:v>55697</c:v>
                </c:pt>
                <c:pt idx="32227">
                  <c:v>55446</c:v>
                </c:pt>
                <c:pt idx="32228">
                  <c:v>55436</c:v>
                </c:pt>
                <c:pt idx="32229">
                  <c:v>55394</c:v>
                </c:pt>
                <c:pt idx="32230">
                  <c:v>55339</c:v>
                </c:pt>
                <c:pt idx="32231">
                  <c:v>55177</c:v>
                </c:pt>
                <c:pt idx="32232">
                  <c:v>55076</c:v>
                </c:pt>
                <c:pt idx="32233">
                  <c:v>54984</c:v>
                </c:pt>
                <c:pt idx="32234">
                  <c:v>54837</c:v>
                </c:pt>
                <c:pt idx="32235">
                  <c:v>54224</c:v>
                </c:pt>
                <c:pt idx="32236">
                  <c:v>53952</c:v>
                </c:pt>
                <c:pt idx="32237">
                  <c:v>53727</c:v>
                </c:pt>
                <c:pt idx="32238">
                  <c:v>53439</c:v>
                </c:pt>
                <c:pt idx="32239">
                  <c:v>53355</c:v>
                </c:pt>
                <c:pt idx="32240">
                  <c:v>53296</c:v>
                </c:pt>
                <c:pt idx="32241">
                  <c:v>53259</c:v>
                </c:pt>
                <c:pt idx="32242">
                  <c:v>53101</c:v>
                </c:pt>
                <c:pt idx="32243">
                  <c:v>52962</c:v>
                </c:pt>
                <c:pt idx="32244">
                  <c:v>52957</c:v>
                </c:pt>
                <c:pt idx="32245">
                  <c:v>52747</c:v>
                </c:pt>
                <c:pt idx="32246">
                  <c:v>52312</c:v>
                </c:pt>
                <c:pt idx="32247">
                  <c:v>52238</c:v>
                </c:pt>
                <c:pt idx="32248">
                  <c:v>52224</c:v>
                </c:pt>
                <c:pt idx="32249">
                  <c:v>51754</c:v>
                </c:pt>
                <c:pt idx="32250">
                  <c:v>51702</c:v>
                </c:pt>
                <c:pt idx="32251">
                  <c:v>51529</c:v>
                </c:pt>
                <c:pt idx="32252">
                  <c:v>51457</c:v>
                </c:pt>
                <c:pt idx="32253">
                  <c:v>51406</c:v>
                </c:pt>
                <c:pt idx="32254">
                  <c:v>51363</c:v>
                </c:pt>
                <c:pt idx="32255">
                  <c:v>51209</c:v>
                </c:pt>
                <c:pt idx="32256">
                  <c:v>51205</c:v>
                </c:pt>
                <c:pt idx="32257">
                  <c:v>51195</c:v>
                </c:pt>
                <c:pt idx="32258">
                  <c:v>51182</c:v>
                </c:pt>
                <c:pt idx="32259">
                  <c:v>50730</c:v>
                </c:pt>
                <c:pt idx="32260">
                  <c:v>50678</c:v>
                </c:pt>
                <c:pt idx="32261">
                  <c:v>50606</c:v>
                </c:pt>
                <c:pt idx="32262">
                  <c:v>50376</c:v>
                </c:pt>
                <c:pt idx="32263">
                  <c:v>50131</c:v>
                </c:pt>
                <c:pt idx="32264">
                  <c:v>50087</c:v>
                </c:pt>
                <c:pt idx="32265">
                  <c:v>50078</c:v>
                </c:pt>
                <c:pt idx="32266">
                  <c:v>50076</c:v>
                </c:pt>
                <c:pt idx="32267">
                  <c:v>50019</c:v>
                </c:pt>
                <c:pt idx="32268">
                  <c:v>49968</c:v>
                </c:pt>
                <c:pt idx="32269">
                  <c:v>49930</c:v>
                </c:pt>
                <c:pt idx="32270">
                  <c:v>49745</c:v>
                </c:pt>
                <c:pt idx="32271">
                  <c:v>49576</c:v>
                </c:pt>
                <c:pt idx="32272">
                  <c:v>49559</c:v>
                </c:pt>
                <c:pt idx="32273">
                  <c:v>49528</c:v>
                </c:pt>
                <c:pt idx="32274">
                  <c:v>49470</c:v>
                </c:pt>
                <c:pt idx="32275">
                  <c:v>49287</c:v>
                </c:pt>
                <c:pt idx="32276">
                  <c:v>49262</c:v>
                </c:pt>
                <c:pt idx="32277">
                  <c:v>49093</c:v>
                </c:pt>
                <c:pt idx="32278">
                  <c:v>49018</c:v>
                </c:pt>
                <c:pt idx="32279">
                  <c:v>48969</c:v>
                </c:pt>
                <c:pt idx="32280">
                  <c:v>48925</c:v>
                </c:pt>
                <c:pt idx="32281">
                  <c:v>48853</c:v>
                </c:pt>
                <c:pt idx="32282">
                  <c:v>48702</c:v>
                </c:pt>
                <c:pt idx="32283">
                  <c:v>48665</c:v>
                </c:pt>
                <c:pt idx="32284">
                  <c:v>48660</c:v>
                </c:pt>
                <c:pt idx="32285">
                  <c:v>48644</c:v>
                </c:pt>
                <c:pt idx="32286">
                  <c:v>48609</c:v>
                </c:pt>
                <c:pt idx="32287">
                  <c:v>48597</c:v>
                </c:pt>
                <c:pt idx="32288">
                  <c:v>48417</c:v>
                </c:pt>
                <c:pt idx="32289">
                  <c:v>48328</c:v>
                </c:pt>
                <c:pt idx="32290">
                  <c:v>48246</c:v>
                </c:pt>
                <c:pt idx="32291">
                  <c:v>48178</c:v>
                </c:pt>
                <c:pt idx="32292">
                  <c:v>48111</c:v>
                </c:pt>
                <c:pt idx="32293">
                  <c:v>47916</c:v>
                </c:pt>
                <c:pt idx="32294">
                  <c:v>47781</c:v>
                </c:pt>
                <c:pt idx="32295">
                  <c:v>47728</c:v>
                </c:pt>
                <c:pt idx="32296">
                  <c:v>47660</c:v>
                </c:pt>
                <c:pt idx="32297">
                  <c:v>47601</c:v>
                </c:pt>
                <c:pt idx="32298">
                  <c:v>47561</c:v>
                </c:pt>
                <c:pt idx="32299">
                  <c:v>47475</c:v>
                </c:pt>
                <c:pt idx="32300">
                  <c:v>47396</c:v>
                </c:pt>
                <c:pt idx="32301">
                  <c:v>47343</c:v>
                </c:pt>
                <c:pt idx="32302">
                  <c:v>47298</c:v>
                </c:pt>
                <c:pt idx="32303">
                  <c:v>47117</c:v>
                </c:pt>
                <c:pt idx="32304">
                  <c:v>47095</c:v>
                </c:pt>
                <c:pt idx="32305">
                  <c:v>46774</c:v>
                </c:pt>
                <c:pt idx="32306">
                  <c:v>46664</c:v>
                </c:pt>
                <c:pt idx="32307">
                  <c:v>46440</c:v>
                </c:pt>
                <c:pt idx="32308">
                  <c:v>46424</c:v>
                </c:pt>
                <c:pt idx="32309">
                  <c:v>46418</c:v>
                </c:pt>
                <c:pt idx="32310">
                  <c:v>46396</c:v>
                </c:pt>
                <c:pt idx="32311">
                  <c:v>46360</c:v>
                </c:pt>
                <c:pt idx="32312">
                  <c:v>46292</c:v>
                </c:pt>
                <c:pt idx="32313">
                  <c:v>46230</c:v>
                </c:pt>
                <c:pt idx="32314">
                  <c:v>46227</c:v>
                </c:pt>
                <c:pt idx="32315">
                  <c:v>46220</c:v>
                </c:pt>
                <c:pt idx="32316">
                  <c:v>46202</c:v>
                </c:pt>
                <c:pt idx="32317">
                  <c:v>46076</c:v>
                </c:pt>
                <c:pt idx="32318">
                  <c:v>46065</c:v>
                </c:pt>
                <c:pt idx="32319">
                  <c:v>45994</c:v>
                </c:pt>
                <c:pt idx="32320">
                  <c:v>45902</c:v>
                </c:pt>
                <c:pt idx="32321">
                  <c:v>45853</c:v>
                </c:pt>
                <c:pt idx="32322">
                  <c:v>45805</c:v>
                </c:pt>
                <c:pt idx="32323">
                  <c:v>45602</c:v>
                </c:pt>
                <c:pt idx="32324">
                  <c:v>45449</c:v>
                </c:pt>
                <c:pt idx="32325">
                  <c:v>45428</c:v>
                </c:pt>
                <c:pt idx="32326">
                  <c:v>45311</c:v>
                </c:pt>
                <c:pt idx="32327">
                  <c:v>45126</c:v>
                </c:pt>
                <c:pt idx="32328">
                  <c:v>45116</c:v>
                </c:pt>
                <c:pt idx="32329">
                  <c:v>45096</c:v>
                </c:pt>
                <c:pt idx="32330">
                  <c:v>45087</c:v>
                </c:pt>
                <c:pt idx="32331">
                  <c:v>45001</c:v>
                </c:pt>
                <c:pt idx="32332">
                  <c:v>44969</c:v>
                </c:pt>
                <c:pt idx="32333">
                  <c:v>44903</c:v>
                </c:pt>
                <c:pt idx="32334">
                  <c:v>44899</c:v>
                </c:pt>
                <c:pt idx="32335">
                  <c:v>44865</c:v>
                </c:pt>
                <c:pt idx="32336">
                  <c:v>44848</c:v>
                </c:pt>
                <c:pt idx="32337">
                  <c:v>44830</c:v>
                </c:pt>
                <c:pt idx="32338">
                  <c:v>44695</c:v>
                </c:pt>
                <c:pt idx="32339">
                  <c:v>44645</c:v>
                </c:pt>
                <c:pt idx="32340">
                  <c:v>44609</c:v>
                </c:pt>
                <c:pt idx="32341">
                  <c:v>44535</c:v>
                </c:pt>
                <c:pt idx="32342">
                  <c:v>44524</c:v>
                </c:pt>
                <c:pt idx="32343">
                  <c:v>44475</c:v>
                </c:pt>
                <c:pt idx="32344">
                  <c:v>44467</c:v>
                </c:pt>
                <c:pt idx="32345">
                  <c:v>44428</c:v>
                </c:pt>
                <c:pt idx="32346">
                  <c:v>44416</c:v>
                </c:pt>
                <c:pt idx="32347">
                  <c:v>44377</c:v>
                </c:pt>
                <c:pt idx="32348">
                  <c:v>44316</c:v>
                </c:pt>
                <c:pt idx="32349">
                  <c:v>44302</c:v>
                </c:pt>
                <c:pt idx="32350">
                  <c:v>44294</c:v>
                </c:pt>
                <c:pt idx="32351">
                  <c:v>44273</c:v>
                </c:pt>
                <c:pt idx="32352">
                  <c:v>44209</c:v>
                </c:pt>
                <c:pt idx="32353">
                  <c:v>44185</c:v>
                </c:pt>
                <c:pt idx="32354">
                  <c:v>44143</c:v>
                </c:pt>
                <c:pt idx="32355">
                  <c:v>44057</c:v>
                </c:pt>
                <c:pt idx="32356">
                  <c:v>44048</c:v>
                </c:pt>
                <c:pt idx="32357">
                  <c:v>43939</c:v>
                </c:pt>
                <c:pt idx="32358">
                  <c:v>43936</c:v>
                </c:pt>
                <c:pt idx="32359">
                  <c:v>43926</c:v>
                </c:pt>
                <c:pt idx="32360">
                  <c:v>43922</c:v>
                </c:pt>
                <c:pt idx="32361">
                  <c:v>43843</c:v>
                </c:pt>
                <c:pt idx="32362">
                  <c:v>43733</c:v>
                </c:pt>
                <c:pt idx="32363">
                  <c:v>43666</c:v>
                </c:pt>
                <c:pt idx="32364">
                  <c:v>43635</c:v>
                </c:pt>
                <c:pt idx="32365">
                  <c:v>43567</c:v>
                </c:pt>
                <c:pt idx="32366">
                  <c:v>43562</c:v>
                </c:pt>
                <c:pt idx="32367">
                  <c:v>43551</c:v>
                </c:pt>
                <c:pt idx="32368">
                  <c:v>43421</c:v>
                </c:pt>
                <c:pt idx="32369">
                  <c:v>43322</c:v>
                </c:pt>
                <c:pt idx="32370">
                  <c:v>43270</c:v>
                </c:pt>
                <c:pt idx="32371">
                  <c:v>43233</c:v>
                </c:pt>
                <c:pt idx="32372">
                  <c:v>43221</c:v>
                </c:pt>
                <c:pt idx="32373">
                  <c:v>43209</c:v>
                </c:pt>
                <c:pt idx="32374">
                  <c:v>43194</c:v>
                </c:pt>
                <c:pt idx="32375">
                  <c:v>43142</c:v>
                </c:pt>
                <c:pt idx="32376">
                  <c:v>43105</c:v>
                </c:pt>
                <c:pt idx="32377">
                  <c:v>42985</c:v>
                </c:pt>
                <c:pt idx="32378">
                  <c:v>42919</c:v>
                </c:pt>
                <c:pt idx="32379">
                  <c:v>42899</c:v>
                </c:pt>
                <c:pt idx="32380">
                  <c:v>42881</c:v>
                </c:pt>
                <c:pt idx="32381">
                  <c:v>42813</c:v>
                </c:pt>
                <c:pt idx="32382">
                  <c:v>42802</c:v>
                </c:pt>
                <c:pt idx="32383">
                  <c:v>42763</c:v>
                </c:pt>
                <c:pt idx="32384">
                  <c:v>42734</c:v>
                </c:pt>
                <c:pt idx="32385">
                  <c:v>42725</c:v>
                </c:pt>
                <c:pt idx="32386">
                  <c:v>42711</c:v>
                </c:pt>
                <c:pt idx="32387">
                  <c:v>42687</c:v>
                </c:pt>
                <c:pt idx="32388">
                  <c:v>42677</c:v>
                </c:pt>
                <c:pt idx="32389">
                  <c:v>42625</c:v>
                </c:pt>
                <c:pt idx="32390">
                  <c:v>42615</c:v>
                </c:pt>
                <c:pt idx="32391">
                  <c:v>42604</c:v>
                </c:pt>
                <c:pt idx="32392">
                  <c:v>42560</c:v>
                </c:pt>
                <c:pt idx="32393">
                  <c:v>42557</c:v>
                </c:pt>
                <c:pt idx="32394">
                  <c:v>42513</c:v>
                </c:pt>
                <c:pt idx="32395">
                  <c:v>42505</c:v>
                </c:pt>
                <c:pt idx="32396">
                  <c:v>42498</c:v>
                </c:pt>
                <c:pt idx="32397">
                  <c:v>42477</c:v>
                </c:pt>
                <c:pt idx="32398">
                  <c:v>42461</c:v>
                </c:pt>
                <c:pt idx="32399">
                  <c:v>42429</c:v>
                </c:pt>
                <c:pt idx="32400">
                  <c:v>42418</c:v>
                </c:pt>
                <c:pt idx="32401">
                  <c:v>42411</c:v>
                </c:pt>
                <c:pt idx="32402">
                  <c:v>42356</c:v>
                </c:pt>
                <c:pt idx="32403">
                  <c:v>42334</c:v>
                </c:pt>
                <c:pt idx="32404">
                  <c:v>42328</c:v>
                </c:pt>
                <c:pt idx="32405">
                  <c:v>42278</c:v>
                </c:pt>
                <c:pt idx="32406">
                  <c:v>42255</c:v>
                </c:pt>
                <c:pt idx="32407">
                  <c:v>42247</c:v>
                </c:pt>
                <c:pt idx="32408">
                  <c:v>42154</c:v>
                </c:pt>
                <c:pt idx="32409">
                  <c:v>42068</c:v>
                </c:pt>
                <c:pt idx="32410">
                  <c:v>42008</c:v>
                </c:pt>
                <c:pt idx="32411">
                  <c:v>42007</c:v>
                </c:pt>
                <c:pt idx="32412">
                  <c:v>41921</c:v>
                </c:pt>
                <c:pt idx="32413">
                  <c:v>41825</c:v>
                </c:pt>
                <c:pt idx="32414">
                  <c:v>41798</c:v>
                </c:pt>
                <c:pt idx="32415">
                  <c:v>41779</c:v>
                </c:pt>
                <c:pt idx="32416">
                  <c:v>41750</c:v>
                </c:pt>
                <c:pt idx="32417">
                  <c:v>41746</c:v>
                </c:pt>
                <c:pt idx="32418">
                  <c:v>41706</c:v>
                </c:pt>
                <c:pt idx="32419">
                  <c:v>41654</c:v>
                </c:pt>
                <c:pt idx="32420">
                  <c:v>41615</c:v>
                </c:pt>
                <c:pt idx="32421">
                  <c:v>41609</c:v>
                </c:pt>
                <c:pt idx="32422">
                  <c:v>41597</c:v>
                </c:pt>
                <c:pt idx="32423">
                  <c:v>41576</c:v>
                </c:pt>
                <c:pt idx="32424">
                  <c:v>41552</c:v>
                </c:pt>
                <c:pt idx="32425">
                  <c:v>41511</c:v>
                </c:pt>
                <c:pt idx="32426">
                  <c:v>41501</c:v>
                </c:pt>
                <c:pt idx="32427">
                  <c:v>41490</c:v>
                </c:pt>
                <c:pt idx="32428">
                  <c:v>41489</c:v>
                </c:pt>
                <c:pt idx="32429">
                  <c:v>41468</c:v>
                </c:pt>
                <c:pt idx="32430">
                  <c:v>41458</c:v>
                </c:pt>
                <c:pt idx="32431">
                  <c:v>41443</c:v>
                </c:pt>
                <c:pt idx="32432">
                  <c:v>41434</c:v>
                </c:pt>
                <c:pt idx="32433">
                  <c:v>41365</c:v>
                </c:pt>
                <c:pt idx="32434">
                  <c:v>41340</c:v>
                </c:pt>
                <c:pt idx="32435">
                  <c:v>41316</c:v>
                </c:pt>
                <c:pt idx="32436">
                  <c:v>41268</c:v>
                </c:pt>
                <c:pt idx="32437">
                  <c:v>41263</c:v>
                </c:pt>
                <c:pt idx="32438">
                  <c:v>41254</c:v>
                </c:pt>
                <c:pt idx="32439">
                  <c:v>41241</c:v>
                </c:pt>
                <c:pt idx="32440">
                  <c:v>41207</c:v>
                </c:pt>
                <c:pt idx="32441">
                  <c:v>41204</c:v>
                </c:pt>
                <c:pt idx="32442">
                  <c:v>41200</c:v>
                </c:pt>
                <c:pt idx="32443">
                  <c:v>41194</c:v>
                </c:pt>
                <c:pt idx="32444">
                  <c:v>41130</c:v>
                </c:pt>
                <c:pt idx="32445">
                  <c:v>41124</c:v>
                </c:pt>
                <c:pt idx="32446">
                  <c:v>41110</c:v>
                </c:pt>
                <c:pt idx="32447">
                  <c:v>41106</c:v>
                </c:pt>
                <c:pt idx="32448">
                  <c:v>41033</c:v>
                </c:pt>
                <c:pt idx="32449">
                  <c:v>41000</c:v>
                </c:pt>
                <c:pt idx="32450">
                  <c:v>40974</c:v>
                </c:pt>
                <c:pt idx="32451">
                  <c:v>40968</c:v>
                </c:pt>
                <c:pt idx="32452">
                  <c:v>40915</c:v>
                </c:pt>
                <c:pt idx="32453">
                  <c:v>40904</c:v>
                </c:pt>
                <c:pt idx="32454">
                  <c:v>40893</c:v>
                </c:pt>
                <c:pt idx="32455">
                  <c:v>40820</c:v>
                </c:pt>
                <c:pt idx="32456">
                  <c:v>40800</c:v>
                </c:pt>
                <c:pt idx="32457">
                  <c:v>40789</c:v>
                </c:pt>
                <c:pt idx="32458">
                  <c:v>40701</c:v>
                </c:pt>
                <c:pt idx="32459">
                  <c:v>40694</c:v>
                </c:pt>
                <c:pt idx="32460">
                  <c:v>40627</c:v>
                </c:pt>
                <c:pt idx="32461">
                  <c:v>40606</c:v>
                </c:pt>
                <c:pt idx="32462">
                  <c:v>40597</c:v>
                </c:pt>
                <c:pt idx="32463">
                  <c:v>40585</c:v>
                </c:pt>
                <c:pt idx="32464">
                  <c:v>40567</c:v>
                </c:pt>
                <c:pt idx="32465">
                  <c:v>40546</c:v>
                </c:pt>
                <c:pt idx="32466">
                  <c:v>40530</c:v>
                </c:pt>
                <c:pt idx="32467">
                  <c:v>40520</c:v>
                </c:pt>
                <c:pt idx="32468">
                  <c:v>40520</c:v>
                </c:pt>
                <c:pt idx="32469">
                  <c:v>40510</c:v>
                </c:pt>
                <c:pt idx="32470">
                  <c:v>40495</c:v>
                </c:pt>
                <c:pt idx="32471">
                  <c:v>40493</c:v>
                </c:pt>
                <c:pt idx="32472">
                  <c:v>40476</c:v>
                </c:pt>
                <c:pt idx="32473">
                  <c:v>40454</c:v>
                </c:pt>
                <c:pt idx="32474">
                  <c:v>40430</c:v>
                </c:pt>
                <c:pt idx="32475">
                  <c:v>40407</c:v>
                </c:pt>
                <c:pt idx="32476">
                  <c:v>40403</c:v>
                </c:pt>
                <c:pt idx="32477">
                  <c:v>40378</c:v>
                </c:pt>
                <c:pt idx="32478">
                  <c:v>40366</c:v>
                </c:pt>
                <c:pt idx="32479">
                  <c:v>40293</c:v>
                </c:pt>
                <c:pt idx="32480">
                  <c:v>40253</c:v>
                </c:pt>
                <c:pt idx="32481">
                  <c:v>40248</c:v>
                </c:pt>
                <c:pt idx="32482">
                  <c:v>40247</c:v>
                </c:pt>
                <c:pt idx="32483">
                  <c:v>40240</c:v>
                </c:pt>
                <c:pt idx="32484">
                  <c:v>40182</c:v>
                </c:pt>
                <c:pt idx="32485">
                  <c:v>40142</c:v>
                </c:pt>
                <c:pt idx="32486">
                  <c:v>40115</c:v>
                </c:pt>
                <c:pt idx="32487">
                  <c:v>40094</c:v>
                </c:pt>
                <c:pt idx="32488">
                  <c:v>40091</c:v>
                </c:pt>
                <c:pt idx="32489">
                  <c:v>40083</c:v>
                </c:pt>
                <c:pt idx="32490">
                  <c:v>40081</c:v>
                </c:pt>
                <c:pt idx="32491">
                  <c:v>40079</c:v>
                </c:pt>
                <c:pt idx="32492">
                  <c:v>39999</c:v>
                </c:pt>
                <c:pt idx="32493">
                  <c:v>39994</c:v>
                </c:pt>
                <c:pt idx="32494">
                  <c:v>39943</c:v>
                </c:pt>
                <c:pt idx="32495">
                  <c:v>39896</c:v>
                </c:pt>
                <c:pt idx="32496">
                  <c:v>39885</c:v>
                </c:pt>
                <c:pt idx="32497">
                  <c:v>39867</c:v>
                </c:pt>
                <c:pt idx="32498">
                  <c:v>39830</c:v>
                </c:pt>
                <c:pt idx="32499">
                  <c:v>39789</c:v>
                </c:pt>
                <c:pt idx="32500">
                  <c:v>39777</c:v>
                </c:pt>
                <c:pt idx="32501">
                  <c:v>39744</c:v>
                </c:pt>
                <c:pt idx="32502">
                  <c:v>39685</c:v>
                </c:pt>
                <c:pt idx="32503">
                  <c:v>39659</c:v>
                </c:pt>
                <c:pt idx="32504">
                  <c:v>39619</c:v>
                </c:pt>
                <c:pt idx="32505">
                  <c:v>39588</c:v>
                </c:pt>
                <c:pt idx="32506">
                  <c:v>39573</c:v>
                </c:pt>
                <c:pt idx="32507">
                  <c:v>39564</c:v>
                </c:pt>
                <c:pt idx="32508">
                  <c:v>39561</c:v>
                </c:pt>
                <c:pt idx="32509">
                  <c:v>39548</c:v>
                </c:pt>
                <c:pt idx="32510">
                  <c:v>39362</c:v>
                </c:pt>
                <c:pt idx="32511">
                  <c:v>39283</c:v>
                </c:pt>
                <c:pt idx="32512">
                  <c:v>39270</c:v>
                </c:pt>
                <c:pt idx="32513">
                  <c:v>39219</c:v>
                </c:pt>
                <c:pt idx="32514">
                  <c:v>39188</c:v>
                </c:pt>
                <c:pt idx="32515">
                  <c:v>39175</c:v>
                </c:pt>
                <c:pt idx="32516">
                  <c:v>39174</c:v>
                </c:pt>
                <c:pt idx="32517">
                  <c:v>39161</c:v>
                </c:pt>
                <c:pt idx="32518">
                  <c:v>39158</c:v>
                </c:pt>
                <c:pt idx="32519">
                  <c:v>39158</c:v>
                </c:pt>
                <c:pt idx="32520">
                  <c:v>39156</c:v>
                </c:pt>
                <c:pt idx="32521">
                  <c:v>39155</c:v>
                </c:pt>
                <c:pt idx="32522">
                  <c:v>39097</c:v>
                </c:pt>
                <c:pt idx="32523">
                  <c:v>39096</c:v>
                </c:pt>
                <c:pt idx="32524">
                  <c:v>39088</c:v>
                </c:pt>
                <c:pt idx="32525">
                  <c:v>39072</c:v>
                </c:pt>
                <c:pt idx="32526">
                  <c:v>39009</c:v>
                </c:pt>
                <c:pt idx="32527">
                  <c:v>38993</c:v>
                </c:pt>
                <c:pt idx="32528">
                  <c:v>38971</c:v>
                </c:pt>
                <c:pt idx="32529">
                  <c:v>38963</c:v>
                </c:pt>
                <c:pt idx="32530">
                  <c:v>38961</c:v>
                </c:pt>
                <c:pt idx="32531">
                  <c:v>38957</c:v>
                </c:pt>
                <c:pt idx="32532">
                  <c:v>38954</c:v>
                </c:pt>
                <c:pt idx="32533">
                  <c:v>38951</c:v>
                </c:pt>
                <c:pt idx="32534">
                  <c:v>38924</c:v>
                </c:pt>
                <c:pt idx="32535">
                  <c:v>38922</c:v>
                </c:pt>
                <c:pt idx="32536">
                  <c:v>38921</c:v>
                </c:pt>
                <c:pt idx="32537">
                  <c:v>38891</c:v>
                </c:pt>
                <c:pt idx="32538">
                  <c:v>38857</c:v>
                </c:pt>
                <c:pt idx="32539">
                  <c:v>38782</c:v>
                </c:pt>
                <c:pt idx="32540">
                  <c:v>38748</c:v>
                </c:pt>
                <c:pt idx="32541">
                  <c:v>38746</c:v>
                </c:pt>
                <c:pt idx="32542">
                  <c:v>38733</c:v>
                </c:pt>
                <c:pt idx="32543">
                  <c:v>38716</c:v>
                </c:pt>
                <c:pt idx="32544">
                  <c:v>38704</c:v>
                </c:pt>
                <c:pt idx="32545">
                  <c:v>38679</c:v>
                </c:pt>
                <c:pt idx="32546">
                  <c:v>38652</c:v>
                </c:pt>
                <c:pt idx="32547">
                  <c:v>38642</c:v>
                </c:pt>
                <c:pt idx="32548">
                  <c:v>38641</c:v>
                </c:pt>
                <c:pt idx="32549">
                  <c:v>38638</c:v>
                </c:pt>
                <c:pt idx="32550">
                  <c:v>38628</c:v>
                </c:pt>
                <c:pt idx="32551">
                  <c:v>38600</c:v>
                </c:pt>
                <c:pt idx="32552">
                  <c:v>38592</c:v>
                </c:pt>
                <c:pt idx="32553">
                  <c:v>38581</c:v>
                </c:pt>
                <c:pt idx="32554">
                  <c:v>38581</c:v>
                </c:pt>
                <c:pt idx="32555">
                  <c:v>38572</c:v>
                </c:pt>
                <c:pt idx="32556">
                  <c:v>38571</c:v>
                </c:pt>
                <c:pt idx="32557">
                  <c:v>38560</c:v>
                </c:pt>
                <c:pt idx="32558">
                  <c:v>38550</c:v>
                </c:pt>
                <c:pt idx="32559">
                  <c:v>38527</c:v>
                </c:pt>
                <c:pt idx="32560">
                  <c:v>38488</c:v>
                </c:pt>
                <c:pt idx="32561">
                  <c:v>38454</c:v>
                </c:pt>
                <c:pt idx="32562">
                  <c:v>38452</c:v>
                </c:pt>
                <c:pt idx="32563">
                  <c:v>38389</c:v>
                </c:pt>
                <c:pt idx="32564">
                  <c:v>38374</c:v>
                </c:pt>
                <c:pt idx="32565">
                  <c:v>38355</c:v>
                </c:pt>
                <c:pt idx="32566">
                  <c:v>38349</c:v>
                </c:pt>
                <c:pt idx="32567">
                  <c:v>38328</c:v>
                </c:pt>
                <c:pt idx="32568">
                  <c:v>38320</c:v>
                </c:pt>
                <c:pt idx="32569">
                  <c:v>38301</c:v>
                </c:pt>
                <c:pt idx="32570">
                  <c:v>38252</c:v>
                </c:pt>
                <c:pt idx="32571">
                  <c:v>38243</c:v>
                </c:pt>
                <c:pt idx="32572">
                  <c:v>38229</c:v>
                </c:pt>
                <c:pt idx="32573">
                  <c:v>38228</c:v>
                </c:pt>
                <c:pt idx="32574">
                  <c:v>38199</c:v>
                </c:pt>
                <c:pt idx="32575">
                  <c:v>38197</c:v>
                </c:pt>
                <c:pt idx="32576">
                  <c:v>38163</c:v>
                </c:pt>
                <c:pt idx="32577">
                  <c:v>38126</c:v>
                </c:pt>
                <c:pt idx="32578">
                  <c:v>38097</c:v>
                </c:pt>
                <c:pt idx="32579">
                  <c:v>38055</c:v>
                </c:pt>
                <c:pt idx="32580">
                  <c:v>38049</c:v>
                </c:pt>
                <c:pt idx="32581">
                  <c:v>38048</c:v>
                </c:pt>
                <c:pt idx="32582">
                  <c:v>38022</c:v>
                </c:pt>
                <c:pt idx="32583">
                  <c:v>38017</c:v>
                </c:pt>
                <c:pt idx="32584">
                  <c:v>38003</c:v>
                </c:pt>
                <c:pt idx="32585">
                  <c:v>37946</c:v>
                </c:pt>
                <c:pt idx="32586">
                  <c:v>37945</c:v>
                </c:pt>
                <c:pt idx="32587">
                  <c:v>37927</c:v>
                </c:pt>
                <c:pt idx="32588">
                  <c:v>37923</c:v>
                </c:pt>
                <c:pt idx="32589">
                  <c:v>37899</c:v>
                </c:pt>
                <c:pt idx="32590">
                  <c:v>37898</c:v>
                </c:pt>
                <c:pt idx="32591">
                  <c:v>37883</c:v>
                </c:pt>
                <c:pt idx="32592">
                  <c:v>37877</c:v>
                </c:pt>
                <c:pt idx="32593">
                  <c:v>37836</c:v>
                </c:pt>
                <c:pt idx="32594">
                  <c:v>37835</c:v>
                </c:pt>
                <c:pt idx="32595">
                  <c:v>37808</c:v>
                </c:pt>
                <c:pt idx="32596">
                  <c:v>37794</c:v>
                </c:pt>
                <c:pt idx="32597">
                  <c:v>37794</c:v>
                </c:pt>
                <c:pt idx="32598">
                  <c:v>37783</c:v>
                </c:pt>
                <c:pt idx="32599">
                  <c:v>37775</c:v>
                </c:pt>
                <c:pt idx="32600">
                  <c:v>37767</c:v>
                </c:pt>
                <c:pt idx="32601">
                  <c:v>37766</c:v>
                </c:pt>
                <c:pt idx="32602">
                  <c:v>37708</c:v>
                </c:pt>
                <c:pt idx="32603">
                  <c:v>37675</c:v>
                </c:pt>
                <c:pt idx="32604">
                  <c:v>37668</c:v>
                </c:pt>
                <c:pt idx="32605">
                  <c:v>37639</c:v>
                </c:pt>
                <c:pt idx="32606">
                  <c:v>37631</c:v>
                </c:pt>
                <c:pt idx="32607">
                  <c:v>37627</c:v>
                </c:pt>
                <c:pt idx="32608">
                  <c:v>37622</c:v>
                </c:pt>
                <c:pt idx="32609">
                  <c:v>37622</c:v>
                </c:pt>
                <c:pt idx="32610">
                  <c:v>37613</c:v>
                </c:pt>
                <c:pt idx="32611">
                  <c:v>37608</c:v>
                </c:pt>
                <c:pt idx="32612">
                  <c:v>37594</c:v>
                </c:pt>
                <c:pt idx="32613">
                  <c:v>37585</c:v>
                </c:pt>
                <c:pt idx="32614">
                  <c:v>37559</c:v>
                </c:pt>
                <c:pt idx="32615">
                  <c:v>37548</c:v>
                </c:pt>
                <c:pt idx="32616">
                  <c:v>37544</c:v>
                </c:pt>
                <c:pt idx="32617">
                  <c:v>37534</c:v>
                </c:pt>
                <c:pt idx="32618">
                  <c:v>37531</c:v>
                </c:pt>
                <c:pt idx="32619">
                  <c:v>37527</c:v>
                </c:pt>
                <c:pt idx="32620">
                  <c:v>37493</c:v>
                </c:pt>
                <c:pt idx="32621">
                  <c:v>37478</c:v>
                </c:pt>
                <c:pt idx="32622">
                  <c:v>37469</c:v>
                </c:pt>
                <c:pt idx="32623">
                  <c:v>37464</c:v>
                </c:pt>
                <c:pt idx="32624">
                  <c:v>37431</c:v>
                </c:pt>
                <c:pt idx="32625">
                  <c:v>37421</c:v>
                </c:pt>
                <c:pt idx="32626">
                  <c:v>37411</c:v>
                </c:pt>
                <c:pt idx="32627">
                  <c:v>37408</c:v>
                </c:pt>
                <c:pt idx="32628">
                  <c:v>37405</c:v>
                </c:pt>
                <c:pt idx="32629">
                  <c:v>37385</c:v>
                </c:pt>
                <c:pt idx="32630">
                  <c:v>37384</c:v>
                </c:pt>
                <c:pt idx="32631">
                  <c:v>37379</c:v>
                </c:pt>
                <c:pt idx="32632">
                  <c:v>37370</c:v>
                </c:pt>
                <c:pt idx="32633">
                  <c:v>37366</c:v>
                </c:pt>
                <c:pt idx="32634">
                  <c:v>37320</c:v>
                </c:pt>
                <c:pt idx="32635">
                  <c:v>37275</c:v>
                </c:pt>
                <c:pt idx="32636">
                  <c:v>37255</c:v>
                </c:pt>
                <c:pt idx="32637">
                  <c:v>37249</c:v>
                </c:pt>
                <c:pt idx="32638">
                  <c:v>37235</c:v>
                </c:pt>
                <c:pt idx="32639">
                  <c:v>37224</c:v>
                </c:pt>
                <c:pt idx="32640">
                  <c:v>37202</c:v>
                </c:pt>
                <c:pt idx="32641">
                  <c:v>37175</c:v>
                </c:pt>
                <c:pt idx="32642">
                  <c:v>37171</c:v>
                </c:pt>
                <c:pt idx="32643">
                  <c:v>37152</c:v>
                </c:pt>
                <c:pt idx="32644">
                  <c:v>37151</c:v>
                </c:pt>
                <c:pt idx="32645">
                  <c:v>37149</c:v>
                </c:pt>
                <c:pt idx="32646">
                  <c:v>37147</c:v>
                </c:pt>
                <c:pt idx="32647">
                  <c:v>37145</c:v>
                </c:pt>
                <c:pt idx="32648">
                  <c:v>37122</c:v>
                </c:pt>
                <c:pt idx="32649">
                  <c:v>37118</c:v>
                </c:pt>
                <c:pt idx="32650">
                  <c:v>37116</c:v>
                </c:pt>
                <c:pt idx="32651">
                  <c:v>37115</c:v>
                </c:pt>
                <c:pt idx="32652">
                  <c:v>37076</c:v>
                </c:pt>
                <c:pt idx="32653">
                  <c:v>37057</c:v>
                </c:pt>
                <c:pt idx="32654">
                  <c:v>37055</c:v>
                </c:pt>
                <c:pt idx="32655">
                  <c:v>37041</c:v>
                </c:pt>
                <c:pt idx="32656">
                  <c:v>37039</c:v>
                </c:pt>
                <c:pt idx="32657">
                  <c:v>37021</c:v>
                </c:pt>
                <c:pt idx="32658">
                  <c:v>37002</c:v>
                </c:pt>
                <c:pt idx="32659">
                  <c:v>37000</c:v>
                </c:pt>
                <c:pt idx="32660">
                  <c:v>36982</c:v>
                </c:pt>
                <c:pt idx="32661">
                  <c:v>36938</c:v>
                </c:pt>
                <c:pt idx="32662">
                  <c:v>36930</c:v>
                </c:pt>
                <c:pt idx="32663">
                  <c:v>36926</c:v>
                </c:pt>
                <c:pt idx="32664">
                  <c:v>36919</c:v>
                </c:pt>
                <c:pt idx="32665">
                  <c:v>36901</c:v>
                </c:pt>
                <c:pt idx="32666">
                  <c:v>36897</c:v>
                </c:pt>
                <c:pt idx="32667">
                  <c:v>36890</c:v>
                </c:pt>
                <c:pt idx="32668">
                  <c:v>36889</c:v>
                </c:pt>
                <c:pt idx="32669">
                  <c:v>36887</c:v>
                </c:pt>
                <c:pt idx="32670">
                  <c:v>36869</c:v>
                </c:pt>
                <c:pt idx="32671">
                  <c:v>36854</c:v>
                </c:pt>
                <c:pt idx="32672">
                  <c:v>36848</c:v>
                </c:pt>
                <c:pt idx="32673">
                  <c:v>36842</c:v>
                </c:pt>
                <c:pt idx="32674">
                  <c:v>36837</c:v>
                </c:pt>
                <c:pt idx="32675">
                  <c:v>36837</c:v>
                </c:pt>
                <c:pt idx="32676">
                  <c:v>36830</c:v>
                </c:pt>
                <c:pt idx="32677">
                  <c:v>36827</c:v>
                </c:pt>
                <c:pt idx="32678">
                  <c:v>36825</c:v>
                </c:pt>
                <c:pt idx="32679">
                  <c:v>36824</c:v>
                </c:pt>
                <c:pt idx="32680">
                  <c:v>36813</c:v>
                </c:pt>
                <c:pt idx="32681">
                  <c:v>36779</c:v>
                </c:pt>
                <c:pt idx="32682">
                  <c:v>36773</c:v>
                </c:pt>
                <c:pt idx="32683">
                  <c:v>36763</c:v>
                </c:pt>
                <c:pt idx="32684">
                  <c:v>36747</c:v>
                </c:pt>
                <c:pt idx="32685">
                  <c:v>36746</c:v>
                </c:pt>
                <c:pt idx="32686">
                  <c:v>36729</c:v>
                </c:pt>
                <c:pt idx="32687">
                  <c:v>36725</c:v>
                </c:pt>
                <c:pt idx="32688">
                  <c:v>36725</c:v>
                </c:pt>
                <c:pt idx="32689">
                  <c:v>36721</c:v>
                </c:pt>
                <c:pt idx="32690">
                  <c:v>36694</c:v>
                </c:pt>
                <c:pt idx="32691">
                  <c:v>36692</c:v>
                </c:pt>
                <c:pt idx="32692">
                  <c:v>36685</c:v>
                </c:pt>
                <c:pt idx="32693">
                  <c:v>36677</c:v>
                </c:pt>
                <c:pt idx="32694">
                  <c:v>36673</c:v>
                </c:pt>
                <c:pt idx="32695">
                  <c:v>36664</c:v>
                </c:pt>
                <c:pt idx="32696">
                  <c:v>36653</c:v>
                </c:pt>
                <c:pt idx="32697">
                  <c:v>36650</c:v>
                </c:pt>
                <c:pt idx="32698">
                  <c:v>36620</c:v>
                </c:pt>
                <c:pt idx="32699">
                  <c:v>36617</c:v>
                </c:pt>
                <c:pt idx="32700">
                  <c:v>36596</c:v>
                </c:pt>
                <c:pt idx="32701">
                  <c:v>36571</c:v>
                </c:pt>
                <c:pt idx="32702">
                  <c:v>36570</c:v>
                </c:pt>
                <c:pt idx="32703">
                  <c:v>36559</c:v>
                </c:pt>
                <c:pt idx="32704">
                  <c:v>36555</c:v>
                </c:pt>
                <c:pt idx="32705">
                  <c:v>36537</c:v>
                </c:pt>
                <c:pt idx="32706">
                  <c:v>36533</c:v>
                </c:pt>
                <c:pt idx="32707">
                  <c:v>36526</c:v>
                </c:pt>
                <c:pt idx="32708">
                  <c:v>36521</c:v>
                </c:pt>
                <c:pt idx="32709">
                  <c:v>36518</c:v>
                </c:pt>
                <c:pt idx="32710">
                  <c:v>36503</c:v>
                </c:pt>
                <c:pt idx="32711">
                  <c:v>36499</c:v>
                </c:pt>
                <c:pt idx="32712">
                  <c:v>36498</c:v>
                </c:pt>
                <c:pt idx="32713">
                  <c:v>36496</c:v>
                </c:pt>
                <c:pt idx="32714">
                  <c:v>36463</c:v>
                </c:pt>
                <c:pt idx="32715">
                  <c:v>36443</c:v>
                </c:pt>
                <c:pt idx="32716">
                  <c:v>36420</c:v>
                </c:pt>
                <c:pt idx="32717">
                  <c:v>36410</c:v>
                </c:pt>
                <c:pt idx="32718">
                  <c:v>36408</c:v>
                </c:pt>
                <c:pt idx="32719">
                  <c:v>36358</c:v>
                </c:pt>
                <c:pt idx="32720">
                  <c:v>36351</c:v>
                </c:pt>
                <c:pt idx="32721">
                  <c:v>36319</c:v>
                </c:pt>
                <c:pt idx="32722">
                  <c:v>36273</c:v>
                </c:pt>
                <c:pt idx="32723">
                  <c:v>36268</c:v>
                </c:pt>
                <c:pt idx="32724">
                  <c:v>36256</c:v>
                </c:pt>
                <c:pt idx="32725">
                  <c:v>36247</c:v>
                </c:pt>
                <c:pt idx="32726">
                  <c:v>36247</c:v>
                </c:pt>
                <c:pt idx="32727">
                  <c:v>36242</c:v>
                </c:pt>
                <c:pt idx="32728">
                  <c:v>36202</c:v>
                </c:pt>
                <c:pt idx="32729">
                  <c:v>36190</c:v>
                </c:pt>
                <c:pt idx="32730">
                  <c:v>36187</c:v>
                </c:pt>
                <c:pt idx="32731">
                  <c:v>36178</c:v>
                </c:pt>
                <c:pt idx="32732">
                  <c:v>36173</c:v>
                </c:pt>
                <c:pt idx="32733">
                  <c:v>36171</c:v>
                </c:pt>
                <c:pt idx="32734">
                  <c:v>36150</c:v>
                </c:pt>
                <c:pt idx="32735">
                  <c:v>36132</c:v>
                </c:pt>
                <c:pt idx="32736">
                  <c:v>36128</c:v>
                </c:pt>
                <c:pt idx="32737">
                  <c:v>36128</c:v>
                </c:pt>
                <c:pt idx="32738">
                  <c:v>36114</c:v>
                </c:pt>
                <c:pt idx="32739">
                  <c:v>36103</c:v>
                </c:pt>
                <c:pt idx="32740">
                  <c:v>36091</c:v>
                </c:pt>
                <c:pt idx="32741">
                  <c:v>36088</c:v>
                </c:pt>
                <c:pt idx="32742">
                  <c:v>36081</c:v>
                </c:pt>
                <c:pt idx="32743">
                  <c:v>36060</c:v>
                </c:pt>
                <c:pt idx="32744">
                  <c:v>36038</c:v>
                </c:pt>
                <c:pt idx="32745">
                  <c:v>36036</c:v>
                </c:pt>
                <c:pt idx="32746">
                  <c:v>36026</c:v>
                </c:pt>
                <c:pt idx="32747">
                  <c:v>36018</c:v>
                </c:pt>
                <c:pt idx="32748">
                  <c:v>36014</c:v>
                </c:pt>
                <c:pt idx="32749">
                  <c:v>36013</c:v>
                </c:pt>
                <c:pt idx="32750">
                  <c:v>36001</c:v>
                </c:pt>
                <c:pt idx="32751">
                  <c:v>35997</c:v>
                </c:pt>
                <c:pt idx="32752">
                  <c:v>35983</c:v>
                </c:pt>
                <c:pt idx="32753">
                  <c:v>35976</c:v>
                </c:pt>
                <c:pt idx="32754">
                  <c:v>35951</c:v>
                </c:pt>
                <c:pt idx="32755">
                  <c:v>35942</c:v>
                </c:pt>
                <c:pt idx="32756">
                  <c:v>35906</c:v>
                </c:pt>
                <c:pt idx="32757">
                  <c:v>35901</c:v>
                </c:pt>
                <c:pt idx="32758">
                  <c:v>35895</c:v>
                </c:pt>
                <c:pt idx="32759">
                  <c:v>35883</c:v>
                </c:pt>
                <c:pt idx="32760">
                  <c:v>35872</c:v>
                </c:pt>
                <c:pt idx="32761">
                  <c:v>35864</c:v>
                </c:pt>
                <c:pt idx="32762">
                  <c:v>35860</c:v>
                </c:pt>
                <c:pt idx="32763">
                  <c:v>35860</c:v>
                </c:pt>
                <c:pt idx="32764">
                  <c:v>35807</c:v>
                </c:pt>
                <c:pt idx="32765">
                  <c:v>35788</c:v>
                </c:pt>
                <c:pt idx="32766">
                  <c:v>35783</c:v>
                </c:pt>
                <c:pt idx="32767">
                  <c:v>35780</c:v>
                </c:pt>
                <c:pt idx="32768">
                  <c:v>35768</c:v>
                </c:pt>
                <c:pt idx="32769">
                  <c:v>35758</c:v>
                </c:pt>
                <c:pt idx="32770">
                  <c:v>35755</c:v>
                </c:pt>
                <c:pt idx="32771">
                  <c:v>35743</c:v>
                </c:pt>
                <c:pt idx="32772">
                  <c:v>35741</c:v>
                </c:pt>
                <c:pt idx="32773">
                  <c:v>35739</c:v>
                </c:pt>
                <c:pt idx="32774">
                  <c:v>35703</c:v>
                </c:pt>
                <c:pt idx="32775">
                  <c:v>35687</c:v>
                </c:pt>
                <c:pt idx="32776">
                  <c:v>35684</c:v>
                </c:pt>
                <c:pt idx="32777">
                  <c:v>35680</c:v>
                </c:pt>
                <c:pt idx="32778">
                  <c:v>35679</c:v>
                </c:pt>
                <c:pt idx="32779">
                  <c:v>35677</c:v>
                </c:pt>
                <c:pt idx="32780">
                  <c:v>35665</c:v>
                </c:pt>
                <c:pt idx="32781">
                  <c:v>35659</c:v>
                </c:pt>
                <c:pt idx="32782">
                  <c:v>35633</c:v>
                </c:pt>
                <c:pt idx="32783">
                  <c:v>35620</c:v>
                </c:pt>
                <c:pt idx="32784">
                  <c:v>35589</c:v>
                </c:pt>
                <c:pt idx="32785">
                  <c:v>35584</c:v>
                </c:pt>
                <c:pt idx="32786">
                  <c:v>35580</c:v>
                </c:pt>
                <c:pt idx="32787">
                  <c:v>35569</c:v>
                </c:pt>
                <c:pt idx="32788">
                  <c:v>35553</c:v>
                </c:pt>
                <c:pt idx="32789">
                  <c:v>35537</c:v>
                </c:pt>
                <c:pt idx="32790">
                  <c:v>35523</c:v>
                </c:pt>
                <c:pt idx="32791">
                  <c:v>35521</c:v>
                </c:pt>
                <c:pt idx="32792">
                  <c:v>35509</c:v>
                </c:pt>
                <c:pt idx="32793">
                  <c:v>35480</c:v>
                </c:pt>
                <c:pt idx="32794">
                  <c:v>35463</c:v>
                </c:pt>
                <c:pt idx="32795">
                  <c:v>35458</c:v>
                </c:pt>
                <c:pt idx="32796">
                  <c:v>35446</c:v>
                </c:pt>
                <c:pt idx="32797">
                  <c:v>35440</c:v>
                </c:pt>
                <c:pt idx="32798">
                  <c:v>35434</c:v>
                </c:pt>
                <c:pt idx="32799">
                  <c:v>35431</c:v>
                </c:pt>
                <c:pt idx="32800">
                  <c:v>35429</c:v>
                </c:pt>
                <c:pt idx="32801">
                  <c:v>35427</c:v>
                </c:pt>
                <c:pt idx="32802">
                  <c:v>35411</c:v>
                </c:pt>
                <c:pt idx="32803">
                  <c:v>35397</c:v>
                </c:pt>
                <c:pt idx="32804">
                  <c:v>35390</c:v>
                </c:pt>
                <c:pt idx="32805">
                  <c:v>35382</c:v>
                </c:pt>
                <c:pt idx="32806">
                  <c:v>35361</c:v>
                </c:pt>
                <c:pt idx="32807">
                  <c:v>35352</c:v>
                </c:pt>
                <c:pt idx="32808">
                  <c:v>35345</c:v>
                </c:pt>
                <c:pt idx="32809">
                  <c:v>35331</c:v>
                </c:pt>
                <c:pt idx="32810">
                  <c:v>35324</c:v>
                </c:pt>
                <c:pt idx="32811">
                  <c:v>35323</c:v>
                </c:pt>
                <c:pt idx="32812">
                  <c:v>35315</c:v>
                </c:pt>
                <c:pt idx="32813">
                  <c:v>35315</c:v>
                </c:pt>
                <c:pt idx="32814">
                  <c:v>35311</c:v>
                </c:pt>
                <c:pt idx="32815">
                  <c:v>35304</c:v>
                </c:pt>
                <c:pt idx="32816">
                  <c:v>35304</c:v>
                </c:pt>
                <c:pt idx="32817">
                  <c:v>35290</c:v>
                </c:pt>
                <c:pt idx="32818">
                  <c:v>35281</c:v>
                </c:pt>
                <c:pt idx="32819">
                  <c:v>35273</c:v>
                </c:pt>
                <c:pt idx="32820">
                  <c:v>35272</c:v>
                </c:pt>
                <c:pt idx="32821">
                  <c:v>35270</c:v>
                </c:pt>
                <c:pt idx="32822">
                  <c:v>35266</c:v>
                </c:pt>
                <c:pt idx="32823">
                  <c:v>35261</c:v>
                </c:pt>
                <c:pt idx="32824">
                  <c:v>35254</c:v>
                </c:pt>
                <c:pt idx="32825">
                  <c:v>35252</c:v>
                </c:pt>
                <c:pt idx="32826">
                  <c:v>35250</c:v>
                </c:pt>
                <c:pt idx="32827">
                  <c:v>35247</c:v>
                </c:pt>
                <c:pt idx="32828">
                  <c:v>35242</c:v>
                </c:pt>
                <c:pt idx="32829">
                  <c:v>35239</c:v>
                </c:pt>
                <c:pt idx="32830">
                  <c:v>35238</c:v>
                </c:pt>
                <c:pt idx="32831">
                  <c:v>35213</c:v>
                </c:pt>
                <c:pt idx="32832">
                  <c:v>35197</c:v>
                </c:pt>
                <c:pt idx="32833">
                  <c:v>35196</c:v>
                </c:pt>
                <c:pt idx="32834">
                  <c:v>35187</c:v>
                </c:pt>
                <c:pt idx="32835">
                  <c:v>35172</c:v>
                </c:pt>
                <c:pt idx="32836">
                  <c:v>35171</c:v>
                </c:pt>
                <c:pt idx="32837">
                  <c:v>35170</c:v>
                </c:pt>
                <c:pt idx="32838">
                  <c:v>35168</c:v>
                </c:pt>
                <c:pt idx="32839">
                  <c:v>35167</c:v>
                </c:pt>
                <c:pt idx="32840">
                  <c:v>35166</c:v>
                </c:pt>
                <c:pt idx="32841">
                  <c:v>35161</c:v>
                </c:pt>
                <c:pt idx="32842">
                  <c:v>35151</c:v>
                </c:pt>
                <c:pt idx="32843">
                  <c:v>35141</c:v>
                </c:pt>
                <c:pt idx="32844">
                  <c:v>35140</c:v>
                </c:pt>
                <c:pt idx="32845">
                  <c:v>35129</c:v>
                </c:pt>
                <c:pt idx="32846">
                  <c:v>35126</c:v>
                </c:pt>
                <c:pt idx="32847">
                  <c:v>35110</c:v>
                </c:pt>
                <c:pt idx="32848">
                  <c:v>35105</c:v>
                </c:pt>
                <c:pt idx="32849">
                  <c:v>35085</c:v>
                </c:pt>
                <c:pt idx="32850">
                  <c:v>35063</c:v>
                </c:pt>
                <c:pt idx="32851">
                  <c:v>35062</c:v>
                </c:pt>
                <c:pt idx="32852">
                  <c:v>35062</c:v>
                </c:pt>
                <c:pt idx="32853">
                  <c:v>35061</c:v>
                </c:pt>
                <c:pt idx="32854">
                  <c:v>35050</c:v>
                </c:pt>
                <c:pt idx="32855">
                  <c:v>35050</c:v>
                </c:pt>
                <c:pt idx="32856">
                  <c:v>35038</c:v>
                </c:pt>
                <c:pt idx="32857">
                  <c:v>35027</c:v>
                </c:pt>
                <c:pt idx="32858">
                  <c:v>35015</c:v>
                </c:pt>
                <c:pt idx="32859">
                  <c:v>35012</c:v>
                </c:pt>
                <c:pt idx="32860">
                  <c:v>35000</c:v>
                </c:pt>
                <c:pt idx="32861">
                  <c:v>34997</c:v>
                </c:pt>
                <c:pt idx="32862">
                  <c:v>34991</c:v>
                </c:pt>
                <c:pt idx="32863">
                  <c:v>34989</c:v>
                </c:pt>
                <c:pt idx="32864">
                  <c:v>34976</c:v>
                </c:pt>
                <c:pt idx="32865">
                  <c:v>34969</c:v>
                </c:pt>
                <c:pt idx="32866">
                  <c:v>34953</c:v>
                </c:pt>
                <c:pt idx="32867">
                  <c:v>34938</c:v>
                </c:pt>
                <c:pt idx="32868">
                  <c:v>34933</c:v>
                </c:pt>
                <c:pt idx="32869">
                  <c:v>34928</c:v>
                </c:pt>
                <c:pt idx="32870">
                  <c:v>34927</c:v>
                </c:pt>
                <c:pt idx="32871">
                  <c:v>34926</c:v>
                </c:pt>
                <c:pt idx="32872">
                  <c:v>34926</c:v>
                </c:pt>
                <c:pt idx="32873">
                  <c:v>34924</c:v>
                </c:pt>
                <c:pt idx="32874">
                  <c:v>34924</c:v>
                </c:pt>
                <c:pt idx="32875">
                  <c:v>34920</c:v>
                </c:pt>
                <c:pt idx="32876">
                  <c:v>34913</c:v>
                </c:pt>
                <c:pt idx="32877">
                  <c:v>34911</c:v>
                </c:pt>
                <c:pt idx="32878">
                  <c:v>34908</c:v>
                </c:pt>
                <c:pt idx="32879">
                  <c:v>34897</c:v>
                </c:pt>
                <c:pt idx="32880">
                  <c:v>34894</c:v>
                </c:pt>
                <c:pt idx="32881">
                  <c:v>34887</c:v>
                </c:pt>
                <c:pt idx="32882">
                  <c:v>34886</c:v>
                </c:pt>
                <c:pt idx="32883">
                  <c:v>34885</c:v>
                </c:pt>
                <c:pt idx="32884">
                  <c:v>34865</c:v>
                </c:pt>
                <c:pt idx="32885">
                  <c:v>34837</c:v>
                </c:pt>
                <c:pt idx="32886">
                  <c:v>34830</c:v>
                </c:pt>
                <c:pt idx="32887">
                  <c:v>34830</c:v>
                </c:pt>
                <c:pt idx="32888">
                  <c:v>34821</c:v>
                </c:pt>
                <c:pt idx="32889">
                  <c:v>34803</c:v>
                </c:pt>
                <c:pt idx="32890">
                  <c:v>34796</c:v>
                </c:pt>
                <c:pt idx="32891">
                  <c:v>34787</c:v>
                </c:pt>
                <c:pt idx="32892">
                  <c:v>34781</c:v>
                </c:pt>
                <c:pt idx="32893">
                  <c:v>34781</c:v>
                </c:pt>
                <c:pt idx="32894">
                  <c:v>34778</c:v>
                </c:pt>
                <c:pt idx="32895">
                  <c:v>34776</c:v>
                </c:pt>
                <c:pt idx="32896">
                  <c:v>34775</c:v>
                </c:pt>
                <c:pt idx="32897">
                  <c:v>34766</c:v>
                </c:pt>
                <c:pt idx="32898">
                  <c:v>34755</c:v>
                </c:pt>
                <c:pt idx="32899">
                  <c:v>34753</c:v>
                </c:pt>
                <c:pt idx="32900">
                  <c:v>34743</c:v>
                </c:pt>
                <c:pt idx="32901">
                  <c:v>34741</c:v>
                </c:pt>
                <c:pt idx="32902">
                  <c:v>34734</c:v>
                </c:pt>
                <c:pt idx="32903">
                  <c:v>34727</c:v>
                </c:pt>
                <c:pt idx="32904">
                  <c:v>34714</c:v>
                </c:pt>
                <c:pt idx="32905">
                  <c:v>34713</c:v>
                </c:pt>
                <c:pt idx="32906">
                  <c:v>34705</c:v>
                </c:pt>
                <c:pt idx="32907">
                  <c:v>34675</c:v>
                </c:pt>
                <c:pt idx="32908">
                  <c:v>34669</c:v>
                </c:pt>
                <c:pt idx="32909">
                  <c:v>34635</c:v>
                </c:pt>
                <c:pt idx="32910">
                  <c:v>34632</c:v>
                </c:pt>
                <c:pt idx="32911">
                  <c:v>34618</c:v>
                </c:pt>
                <c:pt idx="32912">
                  <c:v>34618</c:v>
                </c:pt>
                <c:pt idx="32913">
                  <c:v>34612</c:v>
                </c:pt>
                <c:pt idx="32914">
                  <c:v>34611</c:v>
                </c:pt>
                <c:pt idx="32915">
                  <c:v>34592</c:v>
                </c:pt>
                <c:pt idx="32916">
                  <c:v>34577</c:v>
                </c:pt>
                <c:pt idx="32917">
                  <c:v>34569</c:v>
                </c:pt>
                <c:pt idx="32918">
                  <c:v>34546</c:v>
                </c:pt>
                <c:pt idx="32919">
                  <c:v>34539</c:v>
                </c:pt>
                <c:pt idx="32920">
                  <c:v>34537</c:v>
                </c:pt>
                <c:pt idx="32921">
                  <c:v>34534</c:v>
                </c:pt>
                <c:pt idx="32922">
                  <c:v>34531</c:v>
                </c:pt>
                <c:pt idx="32923">
                  <c:v>34531</c:v>
                </c:pt>
                <c:pt idx="32924">
                  <c:v>34518</c:v>
                </c:pt>
                <c:pt idx="32925">
                  <c:v>34516</c:v>
                </c:pt>
                <c:pt idx="32926">
                  <c:v>34511</c:v>
                </c:pt>
                <c:pt idx="32927">
                  <c:v>34510</c:v>
                </c:pt>
                <c:pt idx="32928">
                  <c:v>34504</c:v>
                </c:pt>
                <c:pt idx="32929">
                  <c:v>34497</c:v>
                </c:pt>
                <c:pt idx="32930">
                  <c:v>34493</c:v>
                </c:pt>
                <c:pt idx="32931">
                  <c:v>34481</c:v>
                </c:pt>
                <c:pt idx="32932">
                  <c:v>34477</c:v>
                </c:pt>
                <c:pt idx="32933">
                  <c:v>34469</c:v>
                </c:pt>
                <c:pt idx="32934">
                  <c:v>34466</c:v>
                </c:pt>
                <c:pt idx="32935">
                  <c:v>34463</c:v>
                </c:pt>
                <c:pt idx="32936">
                  <c:v>34461</c:v>
                </c:pt>
                <c:pt idx="32937">
                  <c:v>34453</c:v>
                </c:pt>
                <c:pt idx="32938">
                  <c:v>34453</c:v>
                </c:pt>
                <c:pt idx="32939">
                  <c:v>34450</c:v>
                </c:pt>
                <c:pt idx="32940">
                  <c:v>34449</c:v>
                </c:pt>
                <c:pt idx="32941">
                  <c:v>34442</c:v>
                </c:pt>
                <c:pt idx="32942">
                  <c:v>34427</c:v>
                </c:pt>
                <c:pt idx="32943">
                  <c:v>34418</c:v>
                </c:pt>
                <c:pt idx="32944">
                  <c:v>34416</c:v>
                </c:pt>
                <c:pt idx="32945">
                  <c:v>34412</c:v>
                </c:pt>
                <c:pt idx="32946">
                  <c:v>34408</c:v>
                </c:pt>
                <c:pt idx="32947">
                  <c:v>34404</c:v>
                </c:pt>
                <c:pt idx="32948">
                  <c:v>34374</c:v>
                </c:pt>
                <c:pt idx="32949">
                  <c:v>34366</c:v>
                </c:pt>
                <c:pt idx="32950">
                  <c:v>34365</c:v>
                </c:pt>
                <c:pt idx="32951">
                  <c:v>34363</c:v>
                </c:pt>
                <c:pt idx="32952">
                  <c:v>34359</c:v>
                </c:pt>
                <c:pt idx="32953">
                  <c:v>34352</c:v>
                </c:pt>
                <c:pt idx="32954">
                  <c:v>34349</c:v>
                </c:pt>
                <c:pt idx="32955">
                  <c:v>34331</c:v>
                </c:pt>
                <c:pt idx="32956">
                  <c:v>34314</c:v>
                </c:pt>
                <c:pt idx="32957">
                  <c:v>34312</c:v>
                </c:pt>
                <c:pt idx="32958">
                  <c:v>34305</c:v>
                </c:pt>
                <c:pt idx="32959">
                  <c:v>34298</c:v>
                </c:pt>
                <c:pt idx="32960">
                  <c:v>34291</c:v>
                </c:pt>
                <c:pt idx="32961">
                  <c:v>34289</c:v>
                </c:pt>
                <c:pt idx="32962">
                  <c:v>34277</c:v>
                </c:pt>
                <c:pt idx="32963">
                  <c:v>34276</c:v>
                </c:pt>
                <c:pt idx="32964">
                  <c:v>34254</c:v>
                </c:pt>
                <c:pt idx="32965">
                  <c:v>34248</c:v>
                </c:pt>
                <c:pt idx="32966">
                  <c:v>34244</c:v>
                </c:pt>
                <c:pt idx="32967">
                  <c:v>34234</c:v>
                </c:pt>
                <c:pt idx="32968">
                  <c:v>34227</c:v>
                </c:pt>
                <c:pt idx="32969">
                  <c:v>34221</c:v>
                </c:pt>
                <c:pt idx="32970">
                  <c:v>34209</c:v>
                </c:pt>
                <c:pt idx="32971">
                  <c:v>34197</c:v>
                </c:pt>
                <c:pt idx="32972">
                  <c:v>34190</c:v>
                </c:pt>
                <c:pt idx="32973">
                  <c:v>34188</c:v>
                </c:pt>
                <c:pt idx="32974">
                  <c:v>34186</c:v>
                </c:pt>
                <c:pt idx="32975">
                  <c:v>34180</c:v>
                </c:pt>
                <c:pt idx="32976">
                  <c:v>34177</c:v>
                </c:pt>
                <c:pt idx="32977">
                  <c:v>34174</c:v>
                </c:pt>
                <c:pt idx="32978">
                  <c:v>34172</c:v>
                </c:pt>
                <c:pt idx="32979">
                  <c:v>34158</c:v>
                </c:pt>
                <c:pt idx="32980">
                  <c:v>34145</c:v>
                </c:pt>
                <c:pt idx="32981">
                  <c:v>34145</c:v>
                </c:pt>
                <c:pt idx="32982">
                  <c:v>34141</c:v>
                </c:pt>
                <c:pt idx="32983">
                  <c:v>34108</c:v>
                </c:pt>
                <c:pt idx="32984">
                  <c:v>34107</c:v>
                </c:pt>
                <c:pt idx="32985">
                  <c:v>34101</c:v>
                </c:pt>
                <c:pt idx="32986">
                  <c:v>34082</c:v>
                </c:pt>
                <c:pt idx="32987">
                  <c:v>34081</c:v>
                </c:pt>
                <c:pt idx="32988">
                  <c:v>34075</c:v>
                </c:pt>
                <c:pt idx="32989">
                  <c:v>34069</c:v>
                </c:pt>
                <c:pt idx="32990">
                  <c:v>34066</c:v>
                </c:pt>
                <c:pt idx="32991">
                  <c:v>34053</c:v>
                </c:pt>
                <c:pt idx="32992">
                  <c:v>34047</c:v>
                </c:pt>
                <c:pt idx="32993">
                  <c:v>34047</c:v>
                </c:pt>
                <c:pt idx="32994">
                  <c:v>34036</c:v>
                </c:pt>
                <c:pt idx="32995">
                  <c:v>34023</c:v>
                </c:pt>
                <c:pt idx="32996">
                  <c:v>34017</c:v>
                </c:pt>
                <c:pt idx="32997">
                  <c:v>34005</c:v>
                </c:pt>
                <c:pt idx="32998">
                  <c:v>33989</c:v>
                </c:pt>
                <c:pt idx="32999">
                  <c:v>33988</c:v>
                </c:pt>
                <c:pt idx="33000">
                  <c:v>33982</c:v>
                </c:pt>
                <c:pt idx="33001">
                  <c:v>33979</c:v>
                </c:pt>
                <c:pt idx="33002">
                  <c:v>33972</c:v>
                </c:pt>
                <c:pt idx="33003">
                  <c:v>33969</c:v>
                </c:pt>
                <c:pt idx="33004">
                  <c:v>33954</c:v>
                </c:pt>
                <c:pt idx="33005">
                  <c:v>33948</c:v>
                </c:pt>
                <c:pt idx="33006">
                  <c:v>33947</c:v>
                </c:pt>
                <c:pt idx="33007">
                  <c:v>33931</c:v>
                </c:pt>
                <c:pt idx="33008">
                  <c:v>33911</c:v>
                </c:pt>
                <c:pt idx="33009">
                  <c:v>33904</c:v>
                </c:pt>
                <c:pt idx="33010">
                  <c:v>33902</c:v>
                </c:pt>
                <c:pt idx="33011">
                  <c:v>33896</c:v>
                </c:pt>
                <c:pt idx="33012">
                  <c:v>33896</c:v>
                </c:pt>
                <c:pt idx="33013">
                  <c:v>33884</c:v>
                </c:pt>
                <c:pt idx="33014">
                  <c:v>33871</c:v>
                </c:pt>
                <c:pt idx="33015">
                  <c:v>33863</c:v>
                </c:pt>
                <c:pt idx="33016">
                  <c:v>33861</c:v>
                </c:pt>
                <c:pt idx="33017">
                  <c:v>33850</c:v>
                </c:pt>
                <c:pt idx="33018">
                  <c:v>33846</c:v>
                </c:pt>
                <c:pt idx="33019">
                  <c:v>33840</c:v>
                </c:pt>
                <c:pt idx="33020">
                  <c:v>33831</c:v>
                </c:pt>
                <c:pt idx="33021">
                  <c:v>33826</c:v>
                </c:pt>
                <c:pt idx="33022">
                  <c:v>33826</c:v>
                </c:pt>
                <c:pt idx="33023">
                  <c:v>33816</c:v>
                </c:pt>
                <c:pt idx="33024">
                  <c:v>33795</c:v>
                </c:pt>
                <c:pt idx="33025">
                  <c:v>33790</c:v>
                </c:pt>
                <c:pt idx="33026">
                  <c:v>33788</c:v>
                </c:pt>
                <c:pt idx="33027">
                  <c:v>33786</c:v>
                </c:pt>
                <c:pt idx="33028">
                  <c:v>33786</c:v>
                </c:pt>
                <c:pt idx="33029">
                  <c:v>33782</c:v>
                </c:pt>
                <c:pt idx="33030">
                  <c:v>33767</c:v>
                </c:pt>
                <c:pt idx="33031">
                  <c:v>33765</c:v>
                </c:pt>
                <c:pt idx="33032">
                  <c:v>33763</c:v>
                </c:pt>
                <c:pt idx="33033">
                  <c:v>33759</c:v>
                </c:pt>
                <c:pt idx="33034">
                  <c:v>33749</c:v>
                </c:pt>
                <c:pt idx="33035">
                  <c:v>33745</c:v>
                </c:pt>
                <c:pt idx="33036">
                  <c:v>33739</c:v>
                </c:pt>
                <c:pt idx="33037">
                  <c:v>33736</c:v>
                </c:pt>
                <c:pt idx="33038">
                  <c:v>33728</c:v>
                </c:pt>
                <c:pt idx="33039">
                  <c:v>33727</c:v>
                </c:pt>
                <c:pt idx="33040">
                  <c:v>33719</c:v>
                </c:pt>
                <c:pt idx="33041">
                  <c:v>33718</c:v>
                </c:pt>
                <c:pt idx="33042">
                  <c:v>33699</c:v>
                </c:pt>
                <c:pt idx="33043">
                  <c:v>33691</c:v>
                </c:pt>
                <c:pt idx="33044">
                  <c:v>33686</c:v>
                </c:pt>
                <c:pt idx="33045">
                  <c:v>33678</c:v>
                </c:pt>
                <c:pt idx="33046">
                  <c:v>33675</c:v>
                </c:pt>
                <c:pt idx="33047">
                  <c:v>33669</c:v>
                </c:pt>
                <c:pt idx="33048">
                  <c:v>33665</c:v>
                </c:pt>
                <c:pt idx="33049">
                  <c:v>33662</c:v>
                </c:pt>
                <c:pt idx="33050">
                  <c:v>33660</c:v>
                </c:pt>
                <c:pt idx="33051">
                  <c:v>33657</c:v>
                </c:pt>
                <c:pt idx="33052">
                  <c:v>33643</c:v>
                </c:pt>
                <c:pt idx="33053">
                  <c:v>33642</c:v>
                </c:pt>
                <c:pt idx="33054">
                  <c:v>33641</c:v>
                </c:pt>
                <c:pt idx="33055">
                  <c:v>33638</c:v>
                </c:pt>
                <c:pt idx="33056">
                  <c:v>33631</c:v>
                </c:pt>
                <c:pt idx="33057">
                  <c:v>33630</c:v>
                </c:pt>
                <c:pt idx="33058">
                  <c:v>33624</c:v>
                </c:pt>
                <c:pt idx="33059">
                  <c:v>33623</c:v>
                </c:pt>
                <c:pt idx="33060">
                  <c:v>33623</c:v>
                </c:pt>
                <c:pt idx="33061">
                  <c:v>33617</c:v>
                </c:pt>
                <c:pt idx="33062">
                  <c:v>33617</c:v>
                </c:pt>
                <c:pt idx="33063">
                  <c:v>33588</c:v>
                </c:pt>
                <c:pt idx="33064">
                  <c:v>33583</c:v>
                </c:pt>
                <c:pt idx="33065">
                  <c:v>33568</c:v>
                </c:pt>
                <c:pt idx="33066">
                  <c:v>33558</c:v>
                </c:pt>
                <c:pt idx="33067">
                  <c:v>33556</c:v>
                </c:pt>
                <c:pt idx="33068">
                  <c:v>33552</c:v>
                </c:pt>
                <c:pt idx="33069">
                  <c:v>33548</c:v>
                </c:pt>
                <c:pt idx="33070">
                  <c:v>33542</c:v>
                </c:pt>
                <c:pt idx="33071">
                  <c:v>33541</c:v>
                </c:pt>
                <c:pt idx="33072">
                  <c:v>33532</c:v>
                </c:pt>
                <c:pt idx="33073">
                  <c:v>33530</c:v>
                </c:pt>
                <c:pt idx="33074">
                  <c:v>33528</c:v>
                </c:pt>
                <c:pt idx="33075">
                  <c:v>33528</c:v>
                </c:pt>
                <c:pt idx="33076">
                  <c:v>33517</c:v>
                </c:pt>
                <c:pt idx="33077">
                  <c:v>33506</c:v>
                </c:pt>
                <c:pt idx="33078">
                  <c:v>33500</c:v>
                </c:pt>
                <c:pt idx="33079">
                  <c:v>33485</c:v>
                </c:pt>
                <c:pt idx="33080">
                  <c:v>33474</c:v>
                </c:pt>
                <c:pt idx="33081">
                  <c:v>33454</c:v>
                </c:pt>
                <c:pt idx="33082">
                  <c:v>33454</c:v>
                </c:pt>
                <c:pt idx="33083">
                  <c:v>33450</c:v>
                </c:pt>
                <c:pt idx="33084">
                  <c:v>33448</c:v>
                </c:pt>
                <c:pt idx="33085">
                  <c:v>33444</c:v>
                </c:pt>
                <c:pt idx="33086">
                  <c:v>33442</c:v>
                </c:pt>
                <c:pt idx="33087">
                  <c:v>33438</c:v>
                </c:pt>
                <c:pt idx="33088">
                  <c:v>33437</c:v>
                </c:pt>
                <c:pt idx="33089">
                  <c:v>33436</c:v>
                </c:pt>
                <c:pt idx="33090">
                  <c:v>33414</c:v>
                </c:pt>
                <c:pt idx="33091">
                  <c:v>33408</c:v>
                </c:pt>
                <c:pt idx="33092">
                  <c:v>33398</c:v>
                </c:pt>
                <c:pt idx="33093">
                  <c:v>33390</c:v>
                </c:pt>
                <c:pt idx="33094">
                  <c:v>33382</c:v>
                </c:pt>
                <c:pt idx="33095">
                  <c:v>33370</c:v>
                </c:pt>
                <c:pt idx="33096">
                  <c:v>33367</c:v>
                </c:pt>
                <c:pt idx="33097">
                  <c:v>33362</c:v>
                </c:pt>
                <c:pt idx="33098">
                  <c:v>33348</c:v>
                </c:pt>
                <c:pt idx="33099">
                  <c:v>33347</c:v>
                </c:pt>
                <c:pt idx="33100">
                  <c:v>33335</c:v>
                </c:pt>
                <c:pt idx="33101">
                  <c:v>33325</c:v>
                </c:pt>
                <c:pt idx="33102">
                  <c:v>33310</c:v>
                </c:pt>
                <c:pt idx="33103">
                  <c:v>33304</c:v>
                </c:pt>
                <c:pt idx="33104">
                  <c:v>33298</c:v>
                </c:pt>
                <c:pt idx="33105">
                  <c:v>33285</c:v>
                </c:pt>
                <c:pt idx="33106">
                  <c:v>33270</c:v>
                </c:pt>
                <c:pt idx="33107">
                  <c:v>33270</c:v>
                </c:pt>
                <c:pt idx="33108">
                  <c:v>33246</c:v>
                </c:pt>
                <c:pt idx="33109">
                  <c:v>33246</c:v>
                </c:pt>
                <c:pt idx="33110">
                  <c:v>33245</c:v>
                </c:pt>
                <c:pt idx="33111">
                  <c:v>33245</c:v>
                </c:pt>
                <c:pt idx="33112">
                  <c:v>33217</c:v>
                </c:pt>
                <c:pt idx="33113">
                  <c:v>33216</c:v>
                </c:pt>
                <c:pt idx="33114">
                  <c:v>33214</c:v>
                </c:pt>
                <c:pt idx="33115">
                  <c:v>33208</c:v>
                </c:pt>
                <c:pt idx="33116">
                  <c:v>33203</c:v>
                </c:pt>
                <c:pt idx="33117">
                  <c:v>33196</c:v>
                </c:pt>
                <c:pt idx="33118">
                  <c:v>33194</c:v>
                </c:pt>
                <c:pt idx="33119">
                  <c:v>33194</c:v>
                </c:pt>
                <c:pt idx="33120">
                  <c:v>33188</c:v>
                </c:pt>
                <c:pt idx="33121">
                  <c:v>33184</c:v>
                </c:pt>
                <c:pt idx="33122">
                  <c:v>33180</c:v>
                </c:pt>
                <c:pt idx="33123">
                  <c:v>33167</c:v>
                </c:pt>
                <c:pt idx="33124">
                  <c:v>33158</c:v>
                </c:pt>
                <c:pt idx="33125">
                  <c:v>33155</c:v>
                </c:pt>
                <c:pt idx="33126">
                  <c:v>33153</c:v>
                </c:pt>
                <c:pt idx="33127">
                  <c:v>33150</c:v>
                </c:pt>
                <c:pt idx="33128">
                  <c:v>33138</c:v>
                </c:pt>
                <c:pt idx="33129">
                  <c:v>33128</c:v>
                </c:pt>
                <c:pt idx="33130">
                  <c:v>33122</c:v>
                </c:pt>
                <c:pt idx="33131">
                  <c:v>33112</c:v>
                </c:pt>
                <c:pt idx="33132">
                  <c:v>33104</c:v>
                </c:pt>
                <c:pt idx="33133">
                  <c:v>33103</c:v>
                </c:pt>
                <c:pt idx="33134">
                  <c:v>33086</c:v>
                </c:pt>
                <c:pt idx="33135">
                  <c:v>33075</c:v>
                </c:pt>
                <c:pt idx="33136">
                  <c:v>33071</c:v>
                </c:pt>
                <c:pt idx="33137">
                  <c:v>33067</c:v>
                </c:pt>
                <c:pt idx="33138">
                  <c:v>33059</c:v>
                </c:pt>
                <c:pt idx="33139">
                  <c:v>33058</c:v>
                </c:pt>
                <c:pt idx="33140">
                  <c:v>33053</c:v>
                </c:pt>
                <c:pt idx="33141">
                  <c:v>33038</c:v>
                </c:pt>
                <c:pt idx="33142">
                  <c:v>33035</c:v>
                </c:pt>
                <c:pt idx="33143">
                  <c:v>33026</c:v>
                </c:pt>
                <c:pt idx="33144">
                  <c:v>33025</c:v>
                </c:pt>
                <c:pt idx="33145">
                  <c:v>33022</c:v>
                </c:pt>
                <c:pt idx="33146">
                  <c:v>33013</c:v>
                </c:pt>
                <c:pt idx="33147">
                  <c:v>33013</c:v>
                </c:pt>
                <c:pt idx="33148">
                  <c:v>33009</c:v>
                </c:pt>
                <c:pt idx="33149">
                  <c:v>33004</c:v>
                </c:pt>
                <c:pt idx="33150">
                  <c:v>32999</c:v>
                </c:pt>
                <c:pt idx="33151">
                  <c:v>32998</c:v>
                </c:pt>
                <c:pt idx="33152">
                  <c:v>32993</c:v>
                </c:pt>
                <c:pt idx="33153">
                  <c:v>32992</c:v>
                </c:pt>
                <c:pt idx="33154">
                  <c:v>32991</c:v>
                </c:pt>
                <c:pt idx="33155">
                  <c:v>32985</c:v>
                </c:pt>
                <c:pt idx="33156">
                  <c:v>32983</c:v>
                </c:pt>
                <c:pt idx="33157">
                  <c:v>32974</c:v>
                </c:pt>
                <c:pt idx="33158">
                  <c:v>32969</c:v>
                </c:pt>
                <c:pt idx="33159">
                  <c:v>32964</c:v>
                </c:pt>
                <c:pt idx="33160">
                  <c:v>32959</c:v>
                </c:pt>
                <c:pt idx="33161">
                  <c:v>32956</c:v>
                </c:pt>
                <c:pt idx="33162">
                  <c:v>32955</c:v>
                </c:pt>
                <c:pt idx="33163">
                  <c:v>32945</c:v>
                </c:pt>
                <c:pt idx="33164">
                  <c:v>32941</c:v>
                </c:pt>
                <c:pt idx="33165">
                  <c:v>32935</c:v>
                </c:pt>
                <c:pt idx="33166">
                  <c:v>32930</c:v>
                </c:pt>
                <c:pt idx="33167">
                  <c:v>32926</c:v>
                </c:pt>
                <c:pt idx="33168">
                  <c:v>32920</c:v>
                </c:pt>
                <c:pt idx="33169">
                  <c:v>32915</c:v>
                </c:pt>
                <c:pt idx="33170">
                  <c:v>32909</c:v>
                </c:pt>
                <c:pt idx="33171">
                  <c:v>32904</c:v>
                </c:pt>
                <c:pt idx="33172">
                  <c:v>32901</c:v>
                </c:pt>
                <c:pt idx="33173">
                  <c:v>32899</c:v>
                </c:pt>
                <c:pt idx="33174">
                  <c:v>32881</c:v>
                </c:pt>
                <c:pt idx="33175">
                  <c:v>32864</c:v>
                </c:pt>
                <c:pt idx="33176">
                  <c:v>32860</c:v>
                </c:pt>
                <c:pt idx="33177">
                  <c:v>32858</c:v>
                </c:pt>
                <c:pt idx="33178">
                  <c:v>32856</c:v>
                </c:pt>
                <c:pt idx="33179">
                  <c:v>32852</c:v>
                </c:pt>
                <c:pt idx="33180">
                  <c:v>32843</c:v>
                </c:pt>
                <c:pt idx="33181">
                  <c:v>32837</c:v>
                </c:pt>
                <c:pt idx="33182">
                  <c:v>32835</c:v>
                </c:pt>
                <c:pt idx="33183">
                  <c:v>32834</c:v>
                </c:pt>
                <c:pt idx="33184">
                  <c:v>32823</c:v>
                </c:pt>
                <c:pt idx="33185">
                  <c:v>32820</c:v>
                </c:pt>
                <c:pt idx="33186">
                  <c:v>32816</c:v>
                </c:pt>
                <c:pt idx="33187">
                  <c:v>32812</c:v>
                </c:pt>
                <c:pt idx="33188">
                  <c:v>32797</c:v>
                </c:pt>
                <c:pt idx="33189">
                  <c:v>32796</c:v>
                </c:pt>
                <c:pt idx="33190">
                  <c:v>32793</c:v>
                </c:pt>
                <c:pt idx="33191">
                  <c:v>32793</c:v>
                </c:pt>
                <c:pt idx="33192">
                  <c:v>32786</c:v>
                </c:pt>
                <c:pt idx="33193">
                  <c:v>32786</c:v>
                </c:pt>
                <c:pt idx="33194">
                  <c:v>32783</c:v>
                </c:pt>
                <c:pt idx="33195">
                  <c:v>32781</c:v>
                </c:pt>
                <c:pt idx="33196">
                  <c:v>32777</c:v>
                </c:pt>
                <c:pt idx="33197">
                  <c:v>32776</c:v>
                </c:pt>
                <c:pt idx="33198">
                  <c:v>32755</c:v>
                </c:pt>
                <c:pt idx="33199">
                  <c:v>32747</c:v>
                </c:pt>
                <c:pt idx="33200">
                  <c:v>32746</c:v>
                </c:pt>
                <c:pt idx="33201">
                  <c:v>32744</c:v>
                </c:pt>
                <c:pt idx="33202">
                  <c:v>32744</c:v>
                </c:pt>
                <c:pt idx="33203">
                  <c:v>32743</c:v>
                </c:pt>
                <c:pt idx="33204">
                  <c:v>32738</c:v>
                </c:pt>
                <c:pt idx="33205">
                  <c:v>32729</c:v>
                </c:pt>
                <c:pt idx="33206">
                  <c:v>32719</c:v>
                </c:pt>
                <c:pt idx="33207">
                  <c:v>32718</c:v>
                </c:pt>
                <c:pt idx="33208">
                  <c:v>32713</c:v>
                </c:pt>
                <c:pt idx="33209">
                  <c:v>32711</c:v>
                </c:pt>
                <c:pt idx="33210">
                  <c:v>32704</c:v>
                </c:pt>
                <c:pt idx="33211">
                  <c:v>32702</c:v>
                </c:pt>
                <c:pt idx="33212">
                  <c:v>32700</c:v>
                </c:pt>
                <c:pt idx="33213">
                  <c:v>32699</c:v>
                </c:pt>
                <c:pt idx="33214">
                  <c:v>32691</c:v>
                </c:pt>
                <c:pt idx="33215">
                  <c:v>32674</c:v>
                </c:pt>
                <c:pt idx="33216">
                  <c:v>32666</c:v>
                </c:pt>
                <c:pt idx="33217">
                  <c:v>32661</c:v>
                </c:pt>
                <c:pt idx="33218">
                  <c:v>32652</c:v>
                </c:pt>
                <c:pt idx="33219">
                  <c:v>32648</c:v>
                </c:pt>
                <c:pt idx="33220">
                  <c:v>32637</c:v>
                </c:pt>
                <c:pt idx="33221">
                  <c:v>32635</c:v>
                </c:pt>
                <c:pt idx="33222">
                  <c:v>32629</c:v>
                </c:pt>
                <c:pt idx="33223">
                  <c:v>32627</c:v>
                </c:pt>
                <c:pt idx="33224">
                  <c:v>32616</c:v>
                </c:pt>
                <c:pt idx="33225">
                  <c:v>32599</c:v>
                </c:pt>
                <c:pt idx="33226">
                  <c:v>32595</c:v>
                </c:pt>
                <c:pt idx="33227">
                  <c:v>32593</c:v>
                </c:pt>
                <c:pt idx="33228">
                  <c:v>32592</c:v>
                </c:pt>
                <c:pt idx="33229">
                  <c:v>32584</c:v>
                </c:pt>
                <c:pt idx="33230">
                  <c:v>32574</c:v>
                </c:pt>
                <c:pt idx="33231">
                  <c:v>32569</c:v>
                </c:pt>
                <c:pt idx="33232">
                  <c:v>32569</c:v>
                </c:pt>
                <c:pt idx="33233">
                  <c:v>32568</c:v>
                </c:pt>
                <c:pt idx="33234">
                  <c:v>32566</c:v>
                </c:pt>
                <c:pt idx="33235">
                  <c:v>32564</c:v>
                </c:pt>
                <c:pt idx="33236">
                  <c:v>32564</c:v>
                </c:pt>
                <c:pt idx="33237">
                  <c:v>32557</c:v>
                </c:pt>
                <c:pt idx="33238">
                  <c:v>32554</c:v>
                </c:pt>
                <c:pt idx="33239">
                  <c:v>32550</c:v>
                </c:pt>
                <c:pt idx="33240">
                  <c:v>32549</c:v>
                </c:pt>
                <c:pt idx="33241">
                  <c:v>32545</c:v>
                </c:pt>
                <c:pt idx="33242">
                  <c:v>32538</c:v>
                </c:pt>
                <c:pt idx="33243">
                  <c:v>32524</c:v>
                </c:pt>
                <c:pt idx="33244">
                  <c:v>32524</c:v>
                </c:pt>
                <c:pt idx="33245">
                  <c:v>32523</c:v>
                </c:pt>
                <c:pt idx="33246">
                  <c:v>32521</c:v>
                </c:pt>
                <c:pt idx="33247">
                  <c:v>32502</c:v>
                </c:pt>
                <c:pt idx="33248">
                  <c:v>32485</c:v>
                </c:pt>
                <c:pt idx="33249">
                  <c:v>32482</c:v>
                </c:pt>
                <c:pt idx="33250">
                  <c:v>32482</c:v>
                </c:pt>
                <c:pt idx="33251">
                  <c:v>32459</c:v>
                </c:pt>
                <c:pt idx="33252">
                  <c:v>32459</c:v>
                </c:pt>
                <c:pt idx="33253">
                  <c:v>32452</c:v>
                </c:pt>
                <c:pt idx="33254">
                  <c:v>32449</c:v>
                </c:pt>
                <c:pt idx="33255">
                  <c:v>32446</c:v>
                </c:pt>
                <c:pt idx="33256">
                  <c:v>32445</c:v>
                </c:pt>
                <c:pt idx="33257">
                  <c:v>32442</c:v>
                </c:pt>
                <c:pt idx="33258">
                  <c:v>32436</c:v>
                </c:pt>
                <c:pt idx="33259">
                  <c:v>32436</c:v>
                </c:pt>
                <c:pt idx="33260">
                  <c:v>32436</c:v>
                </c:pt>
                <c:pt idx="33261">
                  <c:v>32431</c:v>
                </c:pt>
                <c:pt idx="33262">
                  <c:v>32428</c:v>
                </c:pt>
                <c:pt idx="33263">
                  <c:v>32426</c:v>
                </c:pt>
                <c:pt idx="33264">
                  <c:v>32424</c:v>
                </c:pt>
                <c:pt idx="33265">
                  <c:v>32413</c:v>
                </c:pt>
                <c:pt idx="33266">
                  <c:v>32409</c:v>
                </c:pt>
                <c:pt idx="33267">
                  <c:v>32405</c:v>
                </c:pt>
                <c:pt idx="33268">
                  <c:v>32403</c:v>
                </c:pt>
                <c:pt idx="33269">
                  <c:v>32398</c:v>
                </c:pt>
                <c:pt idx="33270">
                  <c:v>32383</c:v>
                </c:pt>
                <c:pt idx="33271">
                  <c:v>32380</c:v>
                </c:pt>
                <c:pt idx="33272">
                  <c:v>32373</c:v>
                </c:pt>
                <c:pt idx="33273">
                  <c:v>32370</c:v>
                </c:pt>
                <c:pt idx="33274">
                  <c:v>32364</c:v>
                </c:pt>
                <c:pt idx="33275">
                  <c:v>32326</c:v>
                </c:pt>
                <c:pt idx="33276">
                  <c:v>32324</c:v>
                </c:pt>
                <c:pt idx="33277">
                  <c:v>32311</c:v>
                </c:pt>
                <c:pt idx="33278">
                  <c:v>32308</c:v>
                </c:pt>
                <c:pt idx="33279">
                  <c:v>32303</c:v>
                </c:pt>
                <c:pt idx="33280">
                  <c:v>32298</c:v>
                </c:pt>
                <c:pt idx="33281">
                  <c:v>32296</c:v>
                </c:pt>
                <c:pt idx="33282">
                  <c:v>32292</c:v>
                </c:pt>
                <c:pt idx="33283">
                  <c:v>32290</c:v>
                </c:pt>
                <c:pt idx="33284">
                  <c:v>32287</c:v>
                </c:pt>
                <c:pt idx="33285">
                  <c:v>32285</c:v>
                </c:pt>
                <c:pt idx="33286">
                  <c:v>32262</c:v>
                </c:pt>
                <c:pt idx="33287">
                  <c:v>32251</c:v>
                </c:pt>
                <c:pt idx="33288">
                  <c:v>32249</c:v>
                </c:pt>
                <c:pt idx="33289">
                  <c:v>32246</c:v>
                </c:pt>
                <c:pt idx="33290">
                  <c:v>32245</c:v>
                </c:pt>
                <c:pt idx="33291">
                  <c:v>32237</c:v>
                </c:pt>
                <c:pt idx="33292">
                  <c:v>32235</c:v>
                </c:pt>
                <c:pt idx="33293">
                  <c:v>32234</c:v>
                </c:pt>
                <c:pt idx="33294">
                  <c:v>32232</c:v>
                </c:pt>
                <c:pt idx="33295">
                  <c:v>32232</c:v>
                </c:pt>
                <c:pt idx="33296">
                  <c:v>32232</c:v>
                </c:pt>
                <c:pt idx="33297">
                  <c:v>32216</c:v>
                </c:pt>
                <c:pt idx="33298">
                  <c:v>32216</c:v>
                </c:pt>
                <c:pt idx="33299">
                  <c:v>32214</c:v>
                </c:pt>
                <c:pt idx="33300">
                  <c:v>32214</c:v>
                </c:pt>
                <c:pt idx="33301">
                  <c:v>32209</c:v>
                </c:pt>
                <c:pt idx="33302">
                  <c:v>32206</c:v>
                </c:pt>
                <c:pt idx="33303">
                  <c:v>32195</c:v>
                </c:pt>
                <c:pt idx="33304">
                  <c:v>32183</c:v>
                </c:pt>
                <c:pt idx="33305">
                  <c:v>32179</c:v>
                </c:pt>
                <c:pt idx="33306">
                  <c:v>32153</c:v>
                </c:pt>
                <c:pt idx="33307">
                  <c:v>32147</c:v>
                </c:pt>
                <c:pt idx="33308">
                  <c:v>32141</c:v>
                </c:pt>
                <c:pt idx="33309">
                  <c:v>32132</c:v>
                </c:pt>
                <c:pt idx="33310">
                  <c:v>32121</c:v>
                </c:pt>
                <c:pt idx="33311">
                  <c:v>32117</c:v>
                </c:pt>
                <c:pt idx="33312">
                  <c:v>32115</c:v>
                </c:pt>
                <c:pt idx="33313">
                  <c:v>32110</c:v>
                </c:pt>
                <c:pt idx="33314">
                  <c:v>32110</c:v>
                </c:pt>
                <c:pt idx="33315">
                  <c:v>32107</c:v>
                </c:pt>
                <c:pt idx="33316">
                  <c:v>32098</c:v>
                </c:pt>
                <c:pt idx="33317">
                  <c:v>32088</c:v>
                </c:pt>
                <c:pt idx="33318">
                  <c:v>32086</c:v>
                </c:pt>
                <c:pt idx="33319">
                  <c:v>32085</c:v>
                </c:pt>
                <c:pt idx="33320">
                  <c:v>32060</c:v>
                </c:pt>
                <c:pt idx="33321">
                  <c:v>32055</c:v>
                </c:pt>
                <c:pt idx="33322">
                  <c:v>32045</c:v>
                </c:pt>
                <c:pt idx="33323">
                  <c:v>32040</c:v>
                </c:pt>
                <c:pt idx="33324">
                  <c:v>32040</c:v>
                </c:pt>
                <c:pt idx="33325">
                  <c:v>32039</c:v>
                </c:pt>
                <c:pt idx="33326">
                  <c:v>32039</c:v>
                </c:pt>
                <c:pt idx="33327">
                  <c:v>32030</c:v>
                </c:pt>
                <c:pt idx="33328">
                  <c:v>32026</c:v>
                </c:pt>
                <c:pt idx="33329">
                  <c:v>32023</c:v>
                </c:pt>
                <c:pt idx="33330">
                  <c:v>32016</c:v>
                </c:pt>
                <c:pt idx="33331">
                  <c:v>32008</c:v>
                </c:pt>
                <c:pt idx="33332">
                  <c:v>32006</c:v>
                </c:pt>
                <c:pt idx="33333">
                  <c:v>31990</c:v>
                </c:pt>
                <c:pt idx="33334">
                  <c:v>31977</c:v>
                </c:pt>
                <c:pt idx="33335">
                  <c:v>31975</c:v>
                </c:pt>
                <c:pt idx="33336">
                  <c:v>31966</c:v>
                </c:pt>
                <c:pt idx="33337">
                  <c:v>31964</c:v>
                </c:pt>
                <c:pt idx="33338">
                  <c:v>31963</c:v>
                </c:pt>
                <c:pt idx="33339">
                  <c:v>31960</c:v>
                </c:pt>
                <c:pt idx="33340">
                  <c:v>31959</c:v>
                </c:pt>
                <c:pt idx="33341">
                  <c:v>31956</c:v>
                </c:pt>
                <c:pt idx="33342">
                  <c:v>31953</c:v>
                </c:pt>
                <c:pt idx="33343">
                  <c:v>31948</c:v>
                </c:pt>
                <c:pt idx="33344">
                  <c:v>31947</c:v>
                </c:pt>
                <c:pt idx="33345">
                  <c:v>31946</c:v>
                </c:pt>
                <c:pt idx="33346">
                  <c:v>31933</c:v>
                </c:pt>
                <c:pt idx="33347">
                  <c:v>31932</c:v>
                </c:pt>
                <c:pt idx="33348">
                  <c:v>31931</c:v>
                </c:pt>
                <c:pt idx="33349">
                  <c:v>31929</c:v>
                </c:pt>
                <c:pt idx="33350">
                  <c:v>31928</c:v>
                </c:pt>
                <c:pt idx="33351">
                  <c:v>31928</c:v>
                </c:pt>
                <c:pt idx="33352">
                  <c:v>31926</c:v>
                </c:pt>
                <c:pt idx="33353">
                  <c:v>31917</c:v>
                </c:pt>
                <c:pt idx="33354">
                  <c:v>31908</c:v>
                </c:pt>
                <c:pt idx="33355">
                  <c:v>31897</c:v>
                </c:pt>
                <c:pt idx="33356">
                  <c:v>31895</c:v>
                </c:pt>
                <c:pt idx="33357">
                  <c:v>31889</c:v>
                </c:pt>
                <c:pt idx="33358">
                  <c:v>31886</c:v>
                </c:pt>
                <c:pt idx="33359">
                  <c:v>31881</c:v>
                </c:pt>
                <c:pt idx="33360">
                  <c:v>31866</c:v>
                </c:pt>
                <c:pt idx="33361">
                  <c:v>31859</c:v>
                </c:pt>
                <c:pt idx="33362">
                  <c:v>31850</c:v>
                </c:pt>
                <c:pt idx="33363">
                  <c:v>31846</c:v>
                </c:pt>
                <c:pt idx="33364">
                  <c:v>31833</c:v>
                </c:pt>
                <c:pt idx="33365">
                  <c:v>31832</c:v>
                </c:pt>
                <c:pt idx="33366">
                  <c:v>31830</c:v>
                </c:pt>
                <c:pt idx="33367">
                  <c:v>31825</c:v>
                </c:pt>
                <c:pt idx="33368">
                  <c:v>31818</c:v>
                </c:pt>
                <c:pt idx="33369">
                  <c:v>31818</c:v>
                </c:pt>
                <c:pt idx="33370">
                  <c:v>31814</c:v>
                </c:pt>
                <c:pt idx="33371">
                  <c:v>31805</c:v>
                </c:pt>
                <c:pt idx="33372">
                  <c:v>31803</c:v>
                </c:pt>
                <c:pt idx="33373">
                  <c:v>31800</c:v>
                </c:pt>
                <c:pt idx="33374">
                  <c:v>31799</c:v>
                </c:pt>
                <c:pt idx="33375">
                  <c:v>31789</c:v>
                </c:pt>
                <c:pt idx="33376">
                  <c:v>31785</c:v>
                </c:pt>
                <c:pt idx="33377">
                  <c:v>31779</c:v>
                </c:pt>
                <c:pt idx="33378">
                  <c:v>31779</c:v>
                </c:pt>
                <c:pt idx="33379">
                  <c:v>31777</c:v>
                </c:pt>
                <c:pt idx="33380">
                  <c:v>31775</c:v>
                </c:pt>
                <c:pt idx="33381">
                  <c:v>31752</c:v>
                </c:pt>
                <c:pt idx="33382">
                  <c:v>31750</c:v>
                </c:pt>
                <c:pt idx="33383">
                  <c:v>31749</c:v>
                </c:pt>
                <c:pt idx="33384">
                  <c:v>31746</c:v>
                </c:pt>
                <c:pt idx="33385">
                  <c:v>31745</c:v>
                </c:pt>
                <c:pt idx="33386">
                  <c:v>31745</c:v>
                </c:pt>
                <c:pt idx="33387">
                  <c:v>31726</c:v>
                </c:pt>
                <c:pt idx="33388">
                  <c:v>31721</c:v>
                </c:pt>
                <c:pt idx="33389">
                  <c:v>31721</c:v>
                </c:pt>
                <c:pt idx="33390">
                  <c:v>31715</c:v>
                </c:pt>
                <c:pt idx="33391">
                  <c:v>31710</c:v>
                </c:pt>
                <c:pt idx="33392">
                  <c:v>31703</c:v>
                </c:pt>
                <c:pt idx="33393">
                  <c:v>31694</c:v>
                </c:pt>
                <c:pt idx="33394">
                  <c:v>31686</c:v>
                </c:pt>
                <c:pt idx="33395">
                  <c:v>31683</c:v>
                </c:pt>
                <c:pt idx="33396">
                  <c:v>31678</c:v>
                </c:pt>
                <c:pt idx="33397">
                  <c:v>31669</c:v>
                </c:pt>
                <c:pt idx="33398">
                  <c:v>31666</c:v>
                </c:pt>
                <c:pt idx="33399">
                  <c:v>31662</c:v>
                </c:pt>
                <c:pt idx="33400">
                  <c:v>31657</c:v>
                </c:pt>
                <c:pt idx="33401">
                  <c:v>31654</c:v>
                </c:pt>
                <c:pt idx="33402">
                  <c:v>31637</c:v>
                </c:pt>
                <c:pt idx="33403">
                  <c:v>31633</c:v>
                </c:pt>
                <c:pt idx="33404">
                  <c:v>31632</c:v>
                </c:pt>
                <c:pt idx="33405">
                  <c:v>31632</c:v>
                </c:pt>
                <c:pt idx="33406">
                  <c:v>31629</c:v>
                </c:pt>
                <c:pt idx="33407">
                  <c:v>31624</c:v>
                </c:pt>
                <c:pt idx="33408">
                  <c:v>31616</c:v>
                </c:pt>
                <c:pt idx="33409">
                  <c:v>31613</c:v>
                </c:pt>
                <c:pt idx="33410">
                  <c:v>31612</c:v>
                </c:pt>
                <c:pt idx="33411">
                  <c:v>31611</c:v>
                </c:pt>
                <c:pt idx="33412">
                  <c:v>31607</c:v>
                </c:pt>
                <c:pt idx="33413">
                  <c:v>31601</c:v>
                </c:pt>
                <c:pt idx="33414">
                  <c:v>31601</c:v>
                </c:pt>
                <c:pt idx="33415">
                  <c:v>31588</c:v>
                </c:pt>
                <c:pt idx="33416">
                  <c:v>31584</c:v>
                </c:pt>
                <c:pt idx="33417">
                  <c:v>31579</c:v>
                </c:pt>
                <c:pt idx="33418">
                  <c:v>31578</c:v>
                </c:pt>
                <c:pt idx="33419">
                  <c:v>31577</c:v>
                </c:pt>
                <c:pt idx="33420">
                  <c:v>31573</c:v>
                </c:pt>
                <c:pt idx="33421">
                  <c:v>31571</c:v>
                </c:pt>
                <c:pt idx="33422">
                  <c:v>31569</c:v>
                </c:pt>
                <c:pt idx="33423">
                  <c:v>31559</c:v>
                </c:pt>
                <c:pt idx="33424">
                  <c:v>31555</c:v>
                </c:pt>
                <c:pt idx="33425">
                  <c:v>31553</c:v>
                </c:pt>
                <c:pt idx="33426">
                  <c:v>31550</c:v>
                </c:pt>
                <c:pt idx="33427">
                  <c:v>31548</c:v>
                </c:pt>
                <c:pt idx="33428">
                  <c:v>31544</c:v>
                </c:pt>
                <c:pt idx="33429">
                  <c:v>31543</c:v>
                </c:pt>
                <c:pt idx="33430">
                  <c:v>31517</c:v>
                </c:pt>
                <c:pt idx="33431">
                  <c:v>31516</c:v>
                </c:pt>
                <c:pt idx="33432">
                  <c:v>31514</c:v>
                </c:pt>
                <c:pt idx="33433">
                  <c:v>31513</c:v>
                </c:pt>
                <c:pt idx="33434">
                  <c:v>31510</c:v>
                </c:pt>
                <c:pt idx="33435">
                  <c:v>31507</c:v>
                </c:pt>
                <c:pt idx="33436">
                  <c:v>31505</c:v>
                </c:pt>
                <c:pt idx="33437">
                  <c:v>31488</c:v>
                </c:pt>
                <c:pt idx="33438">
                  <c:v>31488</c:v>
                </c:pt>
                <c:pt idx="33439">
                  <c:v>31484</c:v>
                </c:pt>
                <c:pt idx="33440">
                  <c:v>31478</c:v>
                </c:pt>
                <c:pt idx="33441">
                  <c:v>31476</c:v>
                </c:pt>
                <c:pt idx="33442">
                  <c:v>31473</c:v>
                </c:pt>
                <c:pt idx="33443">
                  <c:v>31460</c:v>
                </c:pt>
                <c:pt idx="33444">
                  <c:v>31453</c:v>
                </c:pt>
                <c:pt idx="33445">
                  <c:v>31450</c:v>
                </c:pt>
                <c:pt idx="33446">
                  <c:v>31437</c:v>
                </c:pt>
                <c:pt idx="33447">
                  <c:v>31435</c:v>
                </c:pt>
                <c:pt idx="33448">
                  <c:v>31434</c:v>
                </c:pt>
                <c:pt idx="33449">
                  <c:v>31425</c:v>
                </c:pt>
                <c:pt idx="33450">
                  <c:v>31423</c:v>
                </c:pt>
                <c:pt idx="33451">
                  <c:v>31410</c:v>
                </c:pt>
                <c:pt idx="33452">
                  <c:v>31396</c:v>
                </c:pt>
                <c:pt idx="33453">
                  <c:v>31390</c:v>
                </c:pt>
                <c:pt idx="33454">
                  <c:v>31379</c:v>
                </c:pt>
                <c:pt idx="33455">
                  <c:v>31364</c:v>
                </c:pt>
                <c:pt idx="33456">
                  <c:v>31357</c:v>
                </c:pt>
                <c:pt idx="33457">
                  <c:v>31355</c:v>
                </c:pt>
                <c:pt idx="33458">
                  <c:v>31352</c:v>
                </c:pt>
                <c:pt idx="33459">
                  <c:v>31339</c:v>
                </c:pt>
                <c:pt idx="33460">
                  <c:v>31327</c:v>
                </c:pt>
                <c:pt idx="33461">
                  <c:v>31325</c:v>
                </c:pt>
                <c:pt idx="33462">
                  <c:v>31325</c:v>
                </c:pt>
                <c:pt idx="33463">
                  <c:v>31320</c:v>
                </c:pt>
                <c:pt idx="33464">
                  <c:v>31318</c:v>
                </c:pt>
                <c:pt idx="33465">
                  <c:v>31318</c:v>
                </c:pt>
                <c:pt idx="33466">
                  <c:v>31309</c:v>
                </c:pt>
                <c:pt idx="33467">
                  <c:v>31296</c:v>
                </c:pt>
                <c:pt idx="33468">
                  <c:v>31296</c:v>
                </c:pt>
                <c:pt idx="33469">
                  <c:v>31295</c:v>
                </c:pt>
                <c:pt idx="33470">
                  <c:v>31295</c:v>
                </c:pt>
                <c:pt idx="33471">
                  <c:v>31294</c:v>
                </c:pt>
                <c:pt idx="33472">
                  <c:v>31293</c:v>
                </c:pt>
                <c:pt idx="33473">
                  <c:v>31285</c:v>
                </c:pt>
                <c:pt idx="33474">
                  <c:v>31276</c:v>
                </c:pt>
                <c:pt idx="33475">
                  <c:v>31276</c:v>
                </c:pt>
                <c:pt idx="33476">
                  <c:v>31270</c:v>
                </c:pt>
                <c:pt idx="33477">
                  <c:v>31268</c:v>
                </c:pt>
                <c:pt idx="33478">
                  <c:v>31266</c:v>
                </c:pt>
                <c:pt idx="33479">
                  <c:v>31261</c:v>
                </c:pt>
                <c:pt idx="33480">
                  <c:v>31261</c:v>
                </c:pt>
                <c:pt idx="33481">
                  <c:v>31259</c:v>
                </c:pt>
                <c:pt idx="33482">
                  <c:v>31253</c:v>
                </c:pt>
                <c:pt idx="33483">
                  <c:v>31244</c:v>
                </c:pt>
                <c:pt idx="33484">
                  <c:v>31243</c:v>
                </c:pt>
                <c:pt idx="33485">
                  <c:v>31243</c:v>
                </c:pt>
                <c:pt idx="33486">
                  <c:v>31234</c:v>
                </c:pt>
                <c:pt idx="33487">
                  <c:v>31228</c:v>
                </c:pt>
                <c:pt idx="33488">
                  <c:v>31223</c:v>
                </c:pt>
                <c:pt idx="33489">
                  <c:v>31218</c:v>
                </c:pt>
                <c:pt idx="33490">
                  <c:v>31217</c:v>
                </c:pt>
                <c:pt idx="33491">
                  <c:v>31212</c:v>
                </c:pt>
                <c:pt idx="33492">
                  <c:v>31205</c:v>
                </c:pt>
                <c:pt idx="33493">
                  <c:v>31194</c:v>
                </c:pt>
                <c:pt idx="33494">
                  <c:v>31192</c:v>
                </c:pt>
                <c:pt idx="33495">
                  <c:v>31190</c:v>
                </c:pt>
                <c:pt idx="33496">
                  <c:v>31188</c:v>
                </c:pt>
                <c:pt idx="33497">
                  <c:v>31187</c:v>
                </c:pt>
                <c:pt idx="33498">
                  <c:v>31184</c:v>
                </c:pt>
                <c:pt idx="33499">
                  <c:v>31184</c:v>
                </c:pt>
                <c:pt idx="33500">
                  <c:v>31184</c:v>
                </c:pt>
                <c:pt idx="33501">
                  <c:v>31182</c:v>
                </c:pt>
                <c:pt idx="33502">
                  <c:v>31176</c:v>
                </c:pt>
                <c:pt idx="33503">
                  <c:v>31174</c:v>
                </c:pt>
                <c:pt idx="33504">
                  <c:v>31169</c:v>
                </c:pt>
                <c:pt idx="33505">
                  <c:v>31165</c:v>
                </c:pt>
                <c:pt idx="33506">
                  <c:v>31164</c:v>
                </c:pt>
                <c:pt idx="33507">
                  <c:v>31164</c:v>
                </c:pt>
                <c:pt idx="33508">
                  <c:v>31164</c:v>
                </c:pt>
                <c:pt idx="33509">
                  <c:v>31162</c:v>
                </c:pt>
                <c:pt idx="33510">
                  <c:v>31161</c:v>
                </c:pt>
                <c:pt idx="33511">
                  <c:v>31160</c:v>
                </c:pt>
                <c:pt idx="33512">
                  <c:v>31155</c:v>
                </c:pt>
                <c:pt idx="33513">
                  <c:v>31143</c:v>
                </c:pt>
                <c:pt idx="33514">
                  <c:v>31139</c:v>
                </c:pt>
                <c:pt idx="33515">
                  <c:v>31139</c:v>
                </c:pt>
                <c:pt idx="33516">
                  <c:v>31138</c:v>
                </c:pt>
                <c:pt idx="33517">
                  <c:v>31138</c:v>
                </c:pt>
                <c:pt idx="33518">
                  <c:v>31131</c:v>
                </c:pt>
                <c:pt idx="33519">
                  <c:v>31129</c:v>
                </c:pt>
                <c:pt idx="33520">
                  <c:v>31127</c:v>
                </c:pt>
                <c:pt idx="33521">
                  <c:v>31121</c:v>
                </c:pt>
                <c:pt idx="33522">
                  <c:v>31113</c:v>
                </c:pt>
                <c:pt idx="33523">
                  <c:v>31107</c:v>
                </c:pt>
                <c:pt idx="33524">
                  <c:v>31107</c:v>
                </c:pt>
                <c:pt idx="33525">
                  <c:v>31106</c:v>
                </c:pt>
                <c:pt idx="33526">
                  <c:v>31105</c:v>
                </c:pt>
                <c:pt idx="33527">
                  <c:v>31103</c:v>
                </c:pt>
                <c:pt idx="33528">
                  <c:v>31102</c:v>
                </c:pt>
                <c:pt idx="33529">
                  <c:v>31095</c:v>
                </c:pt>
                <c:pt idx="33530">
                  <c:v>31095</c:v>
                </c:pt>
                <c:pt idx="33531">
                  <c:v>31082</c:v>
                </c:pt>
                <c:pt idx="33532">
                  <c:v>31080</c:v>
                </c:pt>
                <c:pt idx="33533">
                  <c:v>31080</c:v>
                </c:pt>
                <c:pt idx="33534">
                  <c:v>31079</c:v>
                </c:pt>
                <c:pt idx="33535">
                  <c:v>31068</c:v>
                </c:pt>
                <c:pt idx="33536">
                  <c:v>31065</c:v>
                </c:pt>
                <c:pt idx="33537">
                  <c:v>31059</c:v>
                </c:pt>
                <c:pt idx="33538">
                  <c:v>31059</c:v>
                </c:pt>
                <c:pt idx="33539">
                  <c:v>31057</c:v>
                </c:pt>
                <c:pt idx="33540">
                  <c:v>31056</c:v>
                </c:pt>
                <c:pt idx="33541">
                  <c:v>31055</c:v>
                </c:pt>
                <c:pt idx="33542">
                  <c:v>31051</c:v>
                </c:pt>
                <c:pt idx="33543">
                  <c:v>31047</c:v>
                </c:pt>
                <c:pt idx="33544">
                  <c:v>31040</c:v>
                </c:pt>
                <c:pt idx="33545">
                  <c:v>31033</c:v>
                </c:pt>
                <c:pt idx="33546">
                  <c:v>31030</c:v>
                </c:pt>
                <c:pt idx="33547">
                  <c:v>31027</c:v>
                </c:pt>
                <c:pt idx="33548">
                  <c:v>31026</c:v>
                </c:pt>
                <c:pt idx="33549">
                  <c:v>31024</c:v>
                </c:pt>
                <c:pt idx="33550">
                  <c:v>31013</c:v>
                </c:pt>
                <c:pt idx="33551">
                  <c:v>31008</c:v>
                </c:pt>
                <c:pt idx="33552">
                  <c:v>31004</c:v>
                </c:pt>
                <c:pt idx="33553">
                  <c:v>31003</c:v>
                </c:pt>
                <c:pt idx="33554">
                  <c:v>31002</c:v>
                </c:pt>
                <c:pt idx="33555">
                  <c:v>31000</c:v>
                </c:pt>
                <c:pt idx="33556">
                  <c:v>30999</c:v>
                </c:pt>
                <c:pt idx="33557">
                  <c:v>30995</c:v>
                </c:pt>
                <c:pt idx="33558">
                  <c:v>30993</c:v>
                </c:pt>
                <c:pt idx="33559">
                  <c:v>30982</c:v>
                </c:pt>
                <c:pt idx="33560">
                  <c:v>30974</c:v>
                </c:pt>
                <c:pt idx="33561">
                  <c:v>30966</c:v>
                </c:pt>
                <c:pt idx="33562">
                  <c:v>30965</c:v>
                </c:pt>
                <c:pt idx="33563">
                  <c:v>30964</c:v>
                </c:pt>
                <c:pt idx="33564">
                  <c:v>30964</c:v>
                </c:pt>
                <c:pt idx="33565">
                  <c:v>30963</c:v>
                </c:pt>
                <c:pt idx="33566">
                  <c:v>30962</c:v>
                </c:pt>
                <c:pt idx="33567">
                  <c:v>30961</c:v>
                </c:pt>
                <c:pt idx="33568">
                  <c:v>30958</c:v>
                </c:pt>
                <c:pt idx="33569">
                  <c:v>30955</c:v>
                </c:pt>
                <c:pt idx="33570">
                  <c:v>30950</c:v>
                </c:pt>
                <c:pt idx="33571">
                  <c:v>30946</c:v>
                </c:pt>
                <c:pt idx="33572">
                  <c:v>30942</c:v>
                </c:pt>
                <c:pt idx="33573">
                  <c:v>30941</c:v>
                </c:pt>
                <c:pt idx="33574">
                  <c:v>30940</c:v>
                </c:pt>
                <c:pt idx="33575">
                  <c:v>30934</c:v>
                </c:pt>
                <c:pt idx="33576">
                  <c:v>30932</c:v>
                </c:pt>
                <c:pt idx="33577">
                  <c:v>30928</c:v>
                </c:pt>
                <c:pt idx="33578">
                  <c:v>30923</c:v>
                </c:pt>
                <c:pt idx="33579">
                  <c:v>30921</c:v>
                </c:pt>
                <c:pt idx="33580">
                  <c:v>30921</c:v>
                </c:pt>
                <c:pt idx="33581">
                  <c:v>30920</c:v>
                </c:pt>
                <c:pt idx="33582">
                  <c:v>30912</c:v>
                </c:pt>
                <c:pt idx="33583">
                  <c:v>30910</c:v>
                </c:pt>
                <c:pt idx="33584">
                  <c:v>30900</c:v>
                </c:pt>
                <c:pt idx="33585">
                  <c:v>30900</c:v>
                </c:pt>
                <c:pt idx="33586">
                  <c:v>30899</c:v>
                </c:pt>
                <c:pt idx="33587">
                  <c:v>30893</c:v>
                </c:pt>
                <c:pt idx="33588">
                  <c:v>30889</c:v>
                </c:pt>
                <c:pt idx="33589">
                  <c:v>30889</c:v>
                </c:pt>
                <c:pt idx="33590">
                  <c:v>30888</c:v>
                </c:pt>
                <c:pt idx="33591">
                  <c:v>30888</c:v>
                </c:pt>
                <c:pt idx="33592">
                  <c:v>30885</c:v>
                </c:pt>
                <c:pt idx="33593">
                  <c:v>30885</c:v>
                </c:pt>
                <c:pt idx="33594">
                  <c:v>30884</c:v>
                </c:pt>
                <c:pt idx="33595">
                  <c:v>30883</c:v>
                </c:pt>
                <c:pt idx="33596">
                  <c:v>30883</c:v>
                </c:pt>
                <c:pt idx="33597">
                  <c:v>30879</c:v>
                </c:pt>
                <c:pt idx="33598">
                  <c:v>30878</c:v>
                </c:pt>
                <c:pt idx="33599">
                  <c:v>30877</c:v>
                </c:pt>
                <c:pt idx="33600">
                  <c:v>30871</c:v>
                </c:pt>
                <c:pt idx="33601">
                  <c:v>30868</c:v>
                </c:pt>
                <c:pt idx="33602">
                  <c:v>30866</c:v>
                </c:pt>
                <c:pt idx="33603">
                  <c:v>30862</c:v>
                </c:pt>
                <c:pt idx="33604">
                  <c:v>30859</c:v>
                </c:pt>
                <c:pt idx="33605">
                  <c:v>30858</c:v>
                </c:pt>
                <c:pt idx="33606">
                  <c:v>30853</c:v>
                </c:pt>
                <c:pt idx="33607">
                  <c:v>30850</c:v>
                </c:pt>
                <c:pt idx="33608">
                  <c:v>30845</c:v>
                </c:pt>
                <c:pt idx="33609">
                  <c:v>30829</c:v>
                </c:pt>
                <c:pt idx="33610">
                  <c:v>30828</c:v>
                </c:pt>
                <c:pt idx="33611">
                  <c:v>30823</c:v>
                </c:pt>
                <c:pt idx="33612">
                  <c:v>30808</c:v>
                </c:pt>
                <c:pt idx="33613">
                  <c:v>30806</c:v>
                </c:pt>
                <c:pt idx="33614">
                  <c:v>30800</c:v>
                </c:pt>
                <c:pt idx="33615">
                  <c:v>30794</c:v>
                </c:pt>
                <c:pt idx="33616">
                  <c:v>30792</c:v>
                </c:pt>
                <c:pt idx="33617">
                  <c:v>30789</c:v>
                </c:pt>
                <c:pt idx="33618">
                  <c:v>30788</c:v>
                </c:pt>
                <c:pt idx="33619">
                  <c:v>30787</c:v>
                </c:pt>
                <c:pt idx="33620">
                  <c:v>30779</c:v>
                </c:pt>
                <c:pt idx="33621">
                  <c:v>30777</c:v>
                </c:pt>
                <c:pt idx="33622">
                  <c:v>30776</c:v>
                </c:pt>
                <c:pt idx="33623">
                  <c:v>30776</c:v>
                </c:pt>
                <c:pt idx="33624">
                  <c:v>30771</c:v>
                </c:pt>
                <c:pt idx="33625">
                  <c:v>30770</c:v>
                </c:pt>
                <c:pt idx="33626">
                  <c:v>30770</c:v>
                </c:pt>
                <c:pt idx="33627">
                  <c:v>30763</c:v>
                </c:pt>
                <c:pt idx="33628">
                  <c:v>30756</c:v>
                </c:pt>
                <c:pt idx="33629">
                  <c:v>30752</c:v>
                </c:pt>
                <c:pt idx="33630">
                  <c:v>30734</c:v>
                </c:pt>
                <c:pt idx="33631">
                  <c:v>30728</c:v>
                </c:pt>
                <c:pt idx="33632">
                  <c:v>30725</c:v>
                </c:pt>
                <c:pt idx="33633">
                  <c:v>30721</c:v>
                </c:pt>
                <c:pt idx="33634">
                  <c:v>30721</c:v>
                </c:pt>
                <c:pt idx="33635">
                  <c:v>30720</c:v>
                </c:pt>
                <c:pt idx="33636">
                  <c:v>30718</c:v>
                </c:pt>
                <c:pt idx="33637">
                  <c:v>30717</c:v>
                </c:pt>
                <c:pt idx="33638">
                  <c:v>30717</c:v>
                </c:pt>
                <c:pt idx="33639">
                  <c:v>30714</c:v>
                </c:pt>
                <c:pt idx="33640">
                  <c:v>30708</c:v>
                </c:pt>
                <c:pt idx="33641">
                  <c:v>30696</c:v>
                </c:pt>
                <c:pt idx="33642">
                  <c:v>30696</c:v>
                </c:pt>
                <c:pt idx="33643">
                  <c:v>30696</c:v>
                </c:pt>
                <c:pt idx="33644">
                  <c:v>30692</c:v>
                </c:pt>
                <c:pt idx="33645">
                  <c:v>30682</c:v>
                </c:pt>
                <c:pt idx="33646">
                  <c:v>30682</c:v>
                </c:pt>
                <c:pt idx="33647">
                  <c:v>30680</c:v>
                </c:pt>
                <c:pt idx="33648">
                  <c:v>30677</c:v>
                </c:pt>
                <c:pt idx="33649">
                  <c:v>30674</c:v>
                </c:pt>
                <c:pt idx="33650">
                  <c:v>30670</c:v>
                </c:pt>
                <c:pt idx="33651">
                  <c:v>30655</c:v>
                </c:pt>
                <c:pt idx="33652">
                  <c:v>30648</c:v>
                </c:pt>
                <c:pt idx="33653">
                  <c:v>30647</c:v>
                </c:pt>
                <c:pt idx="33654">
                  <c:v>30643</c:v>
                </c:pt>
                <c:pt idx="33655">
                  <c:v>30640</c:v>
                </c:pt>
                <c:pt idx="33656">
                  <c:v>30637</c:v>
                </c:pt>
                <c:pt idx="33657">
                  <c:v>30631</c:v>
                </c:pt>
                <c:pt idx="33658">
                  <c:v>30624</c:v>
                </c:pt>
                <c:pt idx="33659">
                  <c:v>30621</c:v>
                </c:pt>
                <c:pt idx="33660">
                  <c:v>30621</c:v>
                </c:pt>
                <c:pt idx="33661">
                  <c:v>30613</c:v>
                </c:pt>
                <c:pt idx="33662">
                  <c:v>30610</c:v>
                </c:pt>
                <c:pt idx="33663">
                  <c:v>30608</c:v>
                </c:pt>
                <c:pt idx="33664">
                  <c:v>30581</c:v>
                </c:pt>
                <c:pt idx="33665">
                  <c:v>30579</c:v>
                </c:pt>
                <c:pt idx="33666">
                  <c:v>30578</c:v>
                </c:pt>
                <c:pt idx="33667">
                  <c:v>30575</c:v>
                </c:pt>
                <c:pt idx="33668">
                  <c:v>30570</c:v>
                </c:pt>
                <c:pt idx="33669">
                  <c:v>30566</c:v>
                </c:pt>
                <c:pt idx="33670">
                  <c:v>30563</c:v>
                </c:pt>
                <c:pt idx="33671">
                  <c:v>30560</c:v>
                </c:pt>
                <c:pt idx="33672">
                  <c:v>30559</c:v>
                </c:pt>
                <c:pt idx="33673">
                  <c:v>30559</c:v>
                </c:pt>
                <c:pt idx="33674">
                  <c:v>30558</c:v>
                </c:pt>
                <c:pt idx="33675">
                  <c:v>30554</c:v>
                </c:pt>
                <c:pt idx="33676">
                  <c:v>30554</c:v>
                </c:pt>
                <c:pt idx="33677">
                  <c:v>30552</c:v>
                </c:pt>
                <c:pt idx="33678">
                  <c:v>30552</c:v>
                </c:pt>
                <c:pt idx="33679">
                  <c:v>30540</c:v>
                </c:pt>
                <c:pt idx="33680">
                  <c:v>30540</c:v>
                </c:pt>
                <c:pt idx="33681">
                  <c:v>30531</c:v>
                </c:pt>
                <c:pt idx="33682">
                  <c:v>30529</c:v>
                </c:pt>
                <c:pt idx="33683">
                  <c:v>30528</c:v>
                </c:pt>
                <c:pt idx="33684">
                  <c:v>30527</c:v>
                </c:pt>
                <c:pt idx="33685">
                  <c:v>30520</c:v>
                </c:pt>
                <c:pt idx="33686">
                  <c:v>30519</c:v>
                </c:pt>
                <c:pt idx="33687">
                  <c:v>30516</c:v>
                </c:pt>
                <c:pt idx="33688">
                  <c:v>30512</c:v>
                </c:pt>
                <c:pt idx="33689">
                  <c:v>30511</c:v>
                </c:pt>
                <c:pt idx="33690">
                  <c:v>30508</c:v>
                </c:pt>
                <c:pt idx="33691">
                  <c:v>30507</c:v>
                </c:pt>
                <c:pt idx="33692">
                  <c:v>30502</c:v>
                </c:pt>
                <c:pt idx="33693">
                  <c:v>30502</c:v>
                </c:pt>
                <c:pt idx="33694">
                  <c:v>30502</c:v>
                </c:pt>
                <c:pt idx="33695">
                  <c:v>30497</c:v>
                </c:pt>
                <c:pt idx="33696">
                  <c:v>30494</c:v>
                </c:pt>
                <c:pt idx="33697">
                  <c:v>30493</c:v>
                </c:pt>
                <c:pt idx="33698">
                  <c:v>30488</c:v>
                </c:pt>
                <c:pt idx="33699">
                  <c:v>30484</c:v>
                </c:pt>
                <c:pt idx="33700">
                  <c:v>30480</c:v>
                </c:pt>
                <c:pt idx="33701">
                  <c:v>30476</c:v>
                </c:pt>
                <c:pt idx="33702">
                  <c:v>30472</c:v>
                </c:pt>
                <c:pt idx="33703">
                  <c:v>30471</c:v>
                </c:pt>
                <c:pt idx="33704">
                  <c:v>30466</c:v>
                </c:pt>
                <c:pt idx="33705">
                  <c:v>30466</c:v>
                </c:pt>
                <c:pt idx="33706">
                  <c:v>30458</c:v>
                </c:pt>
                <c:pt idx="33707">
                  <c:v>30447</c:v>
                </c:pt>
                <c:pt idx="33708">
                  <c:v>30444</c:v>
                </c:pt>
                <c:pt idx="33709">
                  <c:v>30443</c:v>
                </c:pt>
                <c:pt idx="33710">
                  <c:v>30441</c:v>
                </c:pt>
                <c:pt idx="33711">
                  <c:v>30440</c:v>
                </c:pt>
                <c:pt idx="33712">
                  <c:v>30420</c:v>
                </c:pt>
                <c:pt idx="33713">
                  <c:v>30418</c:v>
                </c:pt>
                <c:pt idx="33714">
                  <c:v>30414</c:v>
                </c:pt>
                <c:pt idx="33715">
                  <c:v>30414</c:v>
                </c:pt>
                <c:pt idx="33716">
                  <c:v>30410</c:v>
                </c:pt>
                <c:pt idx="33717">
                  <c:v>30409</c:v>
                </c:pt>
                <c:pt idx="33718">
                  <c:v>30406</c:v>
                </c:pt>
                <c:pt idx="33719">
                  <c:v>30403</c:v>
                </c:pt>
                <c:pt idx="33720">
                  <c:v>30389</c:v>
                </c:pt>
                <c:pt idx="33721">
                  <c:v>30387</c:v>
                </c:pt>
                <c:pt idx="33722">
                  <c:v>30387</c:v>
                </c:pt>
                <c:pt idx="33723">
                  <c:v>30385</c:v>
                </c:pt>
                <c:pt idx="33724">
                  <c:v>30383</c:v>
                </c:pt>
                <c:pt idx="33725">
                  <c:v>30383</c:v>
                </c:pt>
                <c:pt idx="33726">
                  <c:v>30382</c:v>
                </c:pt>
                <c:pt idx="33727">
                  <c:v>30376</c:v>
                </c:pt>
                <c:pt idx="33728">
                  <c:v>30375</c:v>
                </c:pt>
                <c:pt idx="33729">
                  <c:v>30373</c:v>
                </c:pt>
                <c:pt idx="33730">
                  <c:v>30364</c:v>
                </c:pt>
                <c:pt idx="33731">
                  <c:v>30361</c:v>
                </c:pt>
                <c:pt idx="33732">
                  <c:v>30361</c:v>
                </c:pt>
                <c:pt idx="33733">
                  <c:v>30361</c:v>
                </c:pt>
                <c:pt idx="33734">
                  <c:v>30357</c:v>
                </c:pt>
                <c:pt idx="33735">
                  <c:v>30355</c:v>
                </c:pt>
                <c:pt idx="33736">
                  <c:v>30352</c:v>
                </c:pt>
                <c:pt idx="33737">
                  <c:v>30352</c:v>
                </c:pt>
                <c:pt idx="33738">
                  <c:v>30350</c:v>
                </c:pt>
                <c:pt idx="33739">
                  <c:v>30350</c:v>
                </c:pt>
                <c:pt idx="33740">
                  <c:v>30339</c:v>
                </c:pt>
                <c:pt idx="33741">
                  <c:v>30335</c:v>
                </c:pt>
                <c:pt idx="33742">
                  <c:v>30333</c:v>
                </c:pt>
                <c:pt idx="33743">
                  <c:v>30331</c:v>
                </c:pt>
                <c:pt idx="33744">
                  <c:v>30329</c:v>
                </c:pt>
                <c:pt idx="33745">
                  <c:v>30327</c:v>
                </c:pt>
                <c:pt idx="33746">
                  <c:v>30325</c:v>
                </c:pt>
                <c:pt idx="33747">
                  <c:v>30318</c:v>
                </c:pt>
                <c:pt idx="33748">
                  <c:v>30312</c:v>
                </c:pt>
                <c:pt idx="33749">
                  <c:v>30308</c:v>
                </c:pt>
                <c:pt idx="33750">
                  <c:v>30305</c:v>
                </c:pt>
                <c:pt idx="33751">
                  <c:v>30303</c:v>
                </c:pt>
                <c:pt idx="33752">
                  <c:v>30301</c:v>
                </c:pt>
                <c:pt idx="33753">
                  <c:v>30300</c:v>
                </c:pt>
                <c:pt idx="33754">
                  <c:v>30299</c:v>
                </c:pt>
                <c:pt idx="33755">
                  <c:v>30292</c:v>
                </c:pt>
                <c:pt idx="33756">
                  <c:v>30282</c:v>
                </c:pt>
                <c:pt idx="33757">
                  <c:v>30266</c:v>
                </c:pt>
                <c:pt idx="33758">
                  <c:v>30263</c:v>
                </c:pt>
                <c:pt idx="33759">
                  <c:v>30262</c:v>
                </c:pt>
                <c:pt idx="33760">
                  <c:v>30261</c:v>
                </c:pt>
                <c:pt idx="33761">
                  <c:v>30260</c:v>
                </c:pt>
                <c:pt idx="33762">
                  <c:v>30249</c:v>
                </c:pt>
                <c:pt idx="33763">
                  <c:v>30248</c:v>
                </c:pt>
                <c:pt idx="33764">
                  <c:v>30239</c:v>
                </c:pt>
                <c:pt idx="33765">
                  <c:v>30236</c:v>
                </c:pt>
                <c:pt idx="33766">
                  <c:v>30228</c:v>
                </c:pt>
                <c:pt idx="33767">
                  <c:v>30221</c:v>
                </c:pt>
                <c:pt idx="33768">
                  <c:v>30217</c:v>
                </c:pt>
                <c:pt idx="33769">
                  <c:v>30210</c:v>
                </c:pt>
                <c:pt idx="33770">
                  <c:v>30209</c:v>
                </c:pt>
                <c:pt idx="33771">
                  <c:v>30208</c:v>
                </c:pt>
                <c:pt idx="33772">
                  <c:v>30206</c:v>
                </c:pt>
                <c:pt idx="33773">
                  <c:v>30206</c:v>
                </c:pt>
                <c:pt idx="33774">
                  <c:v>30205</c:v>
                </c:pt>
                <c:pt idx="33775">
                  <c:v>30202</c:v>
                </c:pt>
                <c:pt idx="33776">
                  <c:v>30200</c:v>
                </c:pt>
                <c:pt idx="33777">
                  <c:v>30197</c:v>
                </c:pt>
                <c:pt idx="33778">
                  <c:v>30195</c:v>
                </c:pt>
                <c:pt idx="33779">
                  <c:v>30195</c:v>
                </c:pt>
                <c:pt idx="33780">
                  <c:v>30194</c:v>
                </c:pt>
                <c:pt idx="33781">
                  <c:v>30189</c:v>
                </c:pt>
                <c:pt idx="33782">
                  <c:v>30184</c:v>
                </c:pt>
                <c:pt idx="33783">
                  <c:v>30183</c:v>
                </c:pt>
                <c:pt idx="33784">
                  <c:v>30183</c:v>
                </c:pt>
                <c:pt idx="33785">
                  <c:v>30180</c:v>
                </c:pt>
                <c:pt idx="33786">
                  <c:v>30175</c:v>
                </c:pt>
                <c:pt idx="33787">
                  <c:v>30174</c:v>
                </c:pt>
                <c:pt idx="33788">
                  <c:v>30171</c:v>
                </c:pt>
                <c:pt idx="33789">
                  <c:v>30164</c:v>
                </c:pt>
                <c:pt idx="33790">
                  <c:v>30162</c:v>
                </c:pt>
                <c:pt idx="33791">
                  <c:v>30159</c:v>
                </c:pt>
                <c:pt idx="33792">
                  <c:v>30154</c:v>
                </c:pt>
                <c:pt idx="33793">
                  <c:v>30151</c:v>
                </c:pt>
                <c:pt idx="33794">
                  <c:v>30149</c:v>
                </c:pt>
                <c:pt idx="33795">
                  <c:v>30142</c:v>
                </c:pt>
                <c:pt idx="33796">
                  <c:v>30135</c:v>
                </c:pt>
                <c:pt idx="33797">
                  <c:v>30134</c:v>
                </c:pt>
                <c:pt idx="33798">
                  <c:v>30132</c:v>
                </c:pt>
                <c:pt idx="33799">
                  <c:v>30132</c:v>
                </c:pt>
                <c:pt idx="33800">
                  <c:v>30124</c:v>
                </c:pt>
                <c:pt idx="33801">
                  <c:v>30120</c:v>
                </c:pt>
                <c:pt idx="33802">
                  <c:v>30119</c:v>
                </c:pt>
                <c:pt idx="33803">
                  <c:v>30115</c:v>
                </c:pt>
                <c:pt idx="33804">
                  <c:v>30114</c:v>
                </c:pt>
                <c:pt idx="33805">
                  <c:v>30108</c:v>
                </c:pt>
                <c:pt idx="33806">
                  <c:v>30108</c:v>
                </c:pt>
                <c:pt idx="33807">
                  <c:v>30108</c:v>
                </c:pt>
                <c:pt idx="33808">
                  <c:v>30106</c:v>
                </c:pt>
                <c:pt idx="33809">
                  <c:v>30103</c:v>
                </c:pt>
                <c:pt idx="33810">
                  <c:v>30102</c:v>
                </c:pt>
                <c:pt idx="33811">
                  <c:v>30100</c:v>
                </c:pt>
                <c:pt idx="33812">
                  <c:v>30084</c:v>
                </c:pt>
                <c:pt idx="33813">
                  <c:v>30081</c:v>
                </c:pt>
                <c:pt idx="33814">
                  <c:v>30080</c:v>
                </c:pt>
                <c:pt idx="33815">
                  <c:v>30078</c:v>
                </c:pt>
                <c:pt idx="33816">
                  <c:v>30075</c:v>
                </c:pt>
                <c:pt idx="33817">
                  <c:v>30074</c:v>
                </c:pt>
                <c:pt idx="33818">
                  <c:v>30073</c:v>
                </c:pt>
                <c:pt idx="33819">
                  <c:v>30072</c:v>
                </c:pt>
                <c:pt idx="33820">
                  <c:v>30069</c:v>
                </c:pt>
                <c:pt idx="33821">
                  <c:v>30068</c:v>
                </c:pt>
                <c:pt idx="33822">
                  <c:v>30067</c:v>
                </c:pt>
                <c:pt idx="33823">
                  <c:v>30059</c:v>
                </c:pt>
                <c:pt idx="33824">
                  <c:v>30055</c:v>
                </c:pt>
                <c:pt idx="33825">
                  <c:v>30048</c:v>
                </c:pt>
                <c:pt idx="33826">
                  <c:v>30044</c:v>
                </c:pt>
                <c:pt idx="33827">
                  <c:v>30032</c:v>
                </c:pt>
                <c:pt idx="33828">
                  <c:v>30031</c:v>
                </c:pt>
                <c:pt idx="33829">
                  <c:v>30014</c:v>
                </c:pt>
                <c:pt idx="33830">
                  <c:v>30014</c:v>
                </c:pt>
                <c:pt idx="33831">
                  <c:v>29998</c:v>
                </c:pt>
                <c:pt idx="33832">
                  <c:v>29994</c:v>
                </c:pt>
                <c:pt idx="33833">
                  <c:v>29993</c:v>
                </c:pt>
                <c:pt idx="33834">
                  <c:v>29992</c:v>
                </c:pt>
                <c:pt idx="33835">
                  <c:v>29992</c:v>
                </c:pt>
                <c:pt idx="33836">
                  <c:v>29989</c:v>
                </c:pt>
                <c:pt idx="33837">
                  <c:v>29988</c:v>
                </c:pt>
                <c:pt idx="33838">
                  <c:v>29987</c:v>
                </c:pt>
                <c:pt idx="33839">
                  <c:v>29985</c:v>
                </c:pt>
                <c:pt idx="33840">
                  <c:v>29985</c:v>
                </c:pt>
                <c:pt idx="33841">
                  <c:v>29984</c:v>
                </c:pt>
                <c:pt idx="33842">
                  <c:v>29982</c:v>
                </c:pt>
                <c:pt idx="33843">
                  <c:v>29977</c:v>
                </c:pt>
                <c:pt idx="33844">
                  <c:v>29975</c:v>
                </c:pt>
                <c:pt idx="33845">
                  <c:v>29974</c:v>
                </c:pt>
                <c:pt idx="33846">
                  <c:v>29970</c:v>
                </c:pt>
                <c:pt idx="33847">
                  <c:v>29968</c:v>
                </c:pt>
                <c:pt idx="33848">
                  <c:v>29968</c:v>
                </c:pt>
                <c:pt idx="33849">
                  <c:v>29965</c:v>
                </c:pt>
                <c:pt idx="33850">
                  <c:v>29964</c:v>
                </c:pt>
                <c:pt idx="33851">
                  <c:v>29963</c:v>
                </c:pt>
                <c:pt idx="33852">
                  <c:v>29963</c:v>
                </c:pt>
                <c:pt idx="33853">
                  <c:v>29962</c:v>
                </c:pt>
                <c:pt idx="33854">
                  <c:v>29951</c:v>
                </c:pt>
                <c:pt idx="33855">
                  <c:v>29949</c:v>
                </c:pt>
                <c:pt idx="33856">
                  <c:v>29948</c:v>
                </c:pt>
                <c:pt idx="33857">
                  <c:v>29948</c:v>
                </c:pt>
                <c:pt idx="33858">
                  <c:v>29945</c:v>
                </c:pt>
                <c:pt idx="33859">
                  <c:v>29945</c:v>
                </c:pt>
                <c:pt idx="33860">
                  <c:v>29939</c:v>
                </c:pt>
                <c:pt idx="33861">
                  <c:v>29939</c:v>
                </c:pt>
                <c:pt idx="33862">
                  <c:v>29938</c:v>
                </c:pt>
                <c:pt idx="33863">
                  <c:v>29934</c:v>
                </c:pt>
                <c:pt idx="33864">
                  <c:v>29933</c:v>
                </c:pt>
                <c:pt idx="33865">
                  <c:v>29931</c:v>
                </c:pt>
                <c:pt idx="33866">
                  <c:v>29927</c:v>
                </c:pt>
                <c:pt idx="33867">
                  <c:v>29921</c:v>
                </c:pt>
                <c:pt idx="33868">
                  <c:v>29916</c:v>
                </c:pt>
                <c:pt idx="33869">
                  <c:v>29913</c:v>
                </c:pt>
                <c:pt idx="33870">
                  <c:v>29913</c:v>
                </c:pt>
                <c:pt idx="33871">
                  <c:v>29910</c:v>
                </c:pt>
                <c:pt idx="33872">
                  <c:v>29910</c:v>
                </c:pt>
                <c:pt idx="33873">
                  <c:v>29909</c:v>
                </c:pt>
                <c:pt idx="33874">
                  <c:v>29908</c:v>
                </c:pt>
                <c:pt idx="33875">
                  <c:v>29906</c:v>
                </c:pt>
                <c:pt idx="33876">
                  <c:v>29897</c:v>
                </c:pt>
                <c:pt idx="33877">
                  <c:v>29896</c:v>
                </c:pt>
                <c:pt idx="33878">
                  <c:v>29895</c:v>
                </c:pt>
                <c:pt idx="33879">
                  <c:v>29892</c:v>
                </c:pt>
                <c:pt idx="33880">
                  <c:v>29890</c:v>
                </c:pt>
                <c:pt idx="33881">
                  <c:v>29889</c:v>
                </c:pt>
                <c:pt idx="33882">
                  <c:v>29886</c:v>
                </c:pt>
                <c:pt idx="33883">
                  <c:v>29879</c:v>
                </c:pt>
                <c:pt idx="33884">
                  <c:v>29878</c:v>
                </c:pt>
                <c:pt idx="33885">
                  <c:v>29876</c:v>
                </c:pt>
                <c:pt idx="33886">
                  <c:v>29875</c:v>
                </c:pt>
                <c:pt idx="33887">
                  <c:v>29869</c:v>
                </c:pt>
                <c:pt idx="33888">
                  <c:v>29868</c:v>
                </c:pt>
                <c:pt idx="33889">
                  <c:v>29866</c:v>
                </c:pt>
                <c:pt idx="33890">
                  <c:v>29860</c:v>
                </c:pt>
                <c:pt idx="33891">
                  <c:v>29849</c:v>
                </c:pt>
                <c:pt idx="33892">
                  <c:v>29848</c:v>
                </c:pt>
                <c:pt idx="33893">
                  <c:v>29845</c:v>
                </c:pt>
                <c:pt idx="33894">
                  <c:v>29843</c:v>
                </c:pt>
                <c:pt idx="33895">
                  <c:v>29839</c:v>
                </c:pt>
                <c:pt idx="33896">
                  <c:v>29833</c:v>
                </c:pt>
                <c:pt idx="33897">
                  <c:v>29830</c:v>
                </c:pt>
                <c:pt idx="33898">
                  <c:v>29828</c:v>
                </c:pt>
                <c:pt idx="33899">
                  <c:v>29822</c:v>
                </c:pt>
                <c:pt idx="33900">
                  <c:v>29820</c:v>
                </c:pt>
                <c:pt idx="33901">
                  <c:v>29805</c:v>
                </c:pt>
                <c:pt idx="33902">
                  <c:v>29805</c:v>
                </c:pt>
                <c:pt idx="33903">
                  <c:v>29802</c:v>
                </c:pt>
                <c:pt idx="33904">
                  <c:v>29801</c:v>
                </c:pt>
                <c:pt idx="33905">
                  <c:v>29799</c:v>
                </c:pt>
                <c:pt idx="33906">
                  <c:v>29797</c:v>
                </c:pt>
                <c:pt idx="33907">
                  <c:v>29795</c:v>
                </c:pt>
                <c:pt idx="33908">
                  <c:v>29795</c:v>
                </c:pt>
                <c:pt idx="33909">
                  <c:v>29795</c:v>
                </c:pt>
                <c:pt idx="33910">
                  <c:v>29791</c:v>
                </c:pt>
                <c:pt idx="33911">
                  <c:v>29787</c:v>
                </c:pt>
                <c:pt idx="33912">
                  <c:v>29785</c:v>
                </c:pt>
                <c:pt idx="33913">
                  <c:v>29785</c:v>
                </c:pt>
                <c:pt idx="33914">
                  <c:v>29783</c:v>
                </c:pt>
                <c:pt idx="33915">
                  <c:v>29778</c:v>
                </c:pt>
                <c:pt idx="33916">
                  <c:v>29777</c:v>
                </c:pt>
                <c:pt idx="33917">
                  <c:v>29775</c:v>
                </c:pt>
                <c:pt idx="33918">
                  <c:v>29775</c:v>
                </c:pt>
                <c:pt idx="33919">
                  <c:v>29771</c:v>
                </c:pt>
                <c:pt idx="33920">
                  <c:v>29771</c:v>
                </c:pt>
                <c:pt idx="33921">
                  <c:v>29771</c:v>
                </c:pt>
                <c:pt idx="33922">
                  <c:v>29770</c:v>
                </c:pt>
                <c:pt idx="33923">
                  <c:v>29767</c:v>
                </c:pt>
                <c:pt idx="33924">
                  <c:v>29766</c:v>
                </c:pt>
                <c:pt idx="33925">
                  <c:v>29766</c:v>
                </c:pt>
                <c:pt idx="33926">
                  <c:v>29764</c:v>
                </c:pt>
                <c:pt idx="33927">
                  <c:v>29764</c:v>
                </c:pt>
                <c:pt idx="33928">
                  <c:v>29762</c:v>
                </c:pt>
                <c:pt idx="33929">
                  <c:v>29750</c:v>
                </c:pt>
                <c:pt idx="33930">
                  <c:v>29735</c:v>
                </c:pt>
                <c:pt idx="33931">
                  <c:v>29729</c:v>
                </c:pt>
                <c:pt idx="33932">
                  <c:v>29728</c:v>
                </c:pt>
                <c:pt idx="33933">
                  <c:v>29723</c:v>
                </c:pt>
                <c:pt idx="33934">
                  <c:v>29720</c:v>
                </c:pt>
                <c:pt idx="33935">
                  <c:v>29716</c:v>
                </c:pt>
                <c:pt idx="33936">
                  <c:v>29715</c:v>
                </c:pt>
                <c:pt idx="33937">
                  <c:v>29715</c:v>
                </c:pt>
                <c:pt idx="33938">
                  <c:v>29712</c:v>
                </c:pt>
                <c:pt idx="33939">
                  <c:v>29711</c:v>
                </c:pt>
                <c:pt idx="33940">
                  <c:v>29708</c:v>
                </c:pt>
                <c:pt idx="33941">
                  <c:v>29701</c:v>
                </c:pt>
                <c:pt idx="33942">
                  <c:v>29698</c:v>
                </c:pt>
                <c:pt idx="33943">
                  <c:v>29693</c:v>
                </c:pt>
                <c:pt idx="33944">
                  <c:v>29688</c:v>
                </c:pt>
                <c:pt idx="33945">
                  <c:v>29684</c:v>
                </c:pt>
                <c:pt idx="33946">
                  <c:v>29679</c:v>
                </c:pt>
                <c:pt idx="33947">
                  <c:v>29673</c:v>
                </c:pt>
                <c:pt idx="33948">
                  <c:v>29673</c:v>
                </c:pt>
                <c:pt idx="33949">
                  <c:v>29673</c:v>
                </c:pt>
                <c:pt idx="33950">
                  <c:v>29671</c:v>
                </c:pt>
                <c:pt idx="33951">
                  <c:v>29664</c:v>
                </c:pt>
                <c:pt idx="33952">
                  <c:v>29662</c:v>
                </c:pt>
                <c:pt idx="33953">
                  <c:v>29659</c:v>
                </c:pt>
                <c:pt idx="33954">
                  <c:v>29651</c:v>
                </c:pt>
                <c:pt idx="33955">
                  <c:v>29643</c:v>
                </c:pt>
                <c:pt idx="33956">
                  <c:v>29638</c:v>
                </c:pt>
                <c:pt idx="33957">
                  <c:v>29637</c:v>
                </c:pt>
                <c:pt idx="33958">
                  <c:v>29624</c:v>
                </c:pt>
                <c:pt idx="33959">
                  <c:v>29624</c:v>
                </c:pt>
                <c:pt idx="33960">
                  <c:v>29620</c:v>
                </c:pt>
                <c:pt idx="33961">
                  <c:v>29620</c:v>
                </c:pt>
                <c:pt idx="33962">
                  <c:v>29614</c:v>
                </c:pt>
                <c:pt idx="33963">
                  <c:v>29612</c:v>
                </c:pt>
                <c:pt idx="33964">
                  <c:v>29611</c:v>
                </c:pt>
                <c:pt idx="33965">
                  <c:v>29608</c:v>
                </c:pt>
                <c:pt idx="33966">
                  <c:v>29608</c:v>
                </c:pt>
                <c:pt idx="33967">
                  <c:v>29607</c:v>
                </c:pt>
                <c:pt idx="33968">
                  <c:v>29607</c:v>
                </c:pt>
                <c:pt idx="33969">
                  <c:v>29602</c:v>
                </c:pt>
                <c:pt idx="33970">
                  <c:v>29599</c:v>
                </c:pt>
                <c:pt idx="33971">
                  <c:v>29599</c:v>
                </c:pt>
                <c:pt idx="33972">
                  <c:v>29585</c:v>
                </c:pt>
                <c:pt idx="33973">
                  <c:v>29580</c:v>
                </c:pt>
                <c:pt idx="33974">
                  <c:v>29580</c:v>
                </c:pt>
                <c:pt idx="33975">
                  <c:v>29580</c:v>
                </c:pt>
                <c:pt idx="33976">
                  <c:v>29574</c:v>
                </c:pt>
                <c:pt idx="33977">
                  <c:v>29571</c:v>
                </c:pt>
                <c:pt idx="33978">
                  <c:v>29562</c:v>
                </c:pt>
                <c:pt idx="33979">
                  <c:v>29561</c:v>
                </c:pt>
                <c:pt idx="33980">
                  <c:v>29547</c:v>
                </c:pt>
                <c:pt idx="33981">
                  <c:v>29537</c:v>
                </c:pt>
                <c:pt idx="33982">
                  <c:v>29535</c:v>
                </c:pt>
                <c:pt idx="33983">
                  <c:v>29533</c:v>
                </c:pt>
                <c:pt idx="33984">
                  <c:v>29532</c:v>
                </c:pt>
                <c:pt idx="33985">
                  <c:v>29532</c:v>
                </c:pt>
                <c:pt idx="33986">
                  <c:v>29529</c:v>
                </c:pt>
                <c:pt idx="33987">
                  <c:v>29528</c:v>
                </c:pt>
                <c:pt idx="33988">
                  <c:v>29526</c:v>
                </c:pt>
                <c:pt idx="33989">
                  <c:v>29524</c:v>
                </c:pt>
                <c:pt idx="33990">
                  <c:v>29523</c:v>
                </c:pt>
                <c:pt idx="33991">
                  <c:v>29518</c:v>
                </c:pt>
                <c:pt idx="33992">
                  <c:v>29516</c:v>
                </c:pt>
                <c:pt idx="33993">
                  <c:v>29515</c:v>
                </c:pt>
                <c:pt idx="33994">
                  <c:v>29515</c:v>
                </c:pt>
                <c:pt idx="33995">
                  <c:v>29515</c:v>
                </c:pt>
                <c:pt idx="33996">
                  <c:v>29513</c:v>
                </c:pt>
                <c:pt idx="33997">
                  <c:v>29512</c:v>
                </c:pt>
                <c:pt idx="33998">
                  <c:v>29509</c:v>
                </c:pt>
                <c:pt idx="33999">
                  <c:v>29508</c:v>
                </c:pt>
                <c:pt idx="34000">
                  <c:v>29497</c:v>
                </c:pt>
                <c:pt idx="34001">
                  <c:v>29494</c:v>
                </c:pt>
                <c:pt idx="34002">
                  <c:v>29494</c:v>
                </c:pt>
                <c:pt idx="34003">
                  <c:v>29485</c:v>
                </c:pt>
                <c:pt idx="34004">
                  <c:v>29484</c:v>
                </c:pt>
                <c:pt idx="34005">
                  <c:v>29483</c:v>
                </c:pt>
                <c:pt idx="34006">
                  <c:v>29482</c:v>
                </c:pt>
                <c:pt idx="34007">
                  <c:v>29481</c:v>
                </c:pt>
                <c:pt idx="34008">
                  <c:v>29473</c:v>
                </c:pt>
                <c:pt idx="34009">
                  <c:v>29458</c:v>
                </c:pt>
                <c:pt idx="34010">
                  <c:v>29453</c:v>
                </c:pt>
                <c:pt idx="34011">
                  <c:v>29451</c:v>
                </c:pt>
                <c:pt idx="34012">
                  <c:v>29449</c:v>
                </c:pt>
                <c:pt idx="34013">
                  <c:v>29447</c:v>
                </c:pt>
                <c:pt idx="34014">
                  <c:v>29445</c:v>
                </c:pt>
                <c:pt idx="34015">
                  <c:v>29444</c:v>
                </c:pt>
                <c:pt idx="34016">
                  <c:v>29444</c:v>
                </c:pt>
                <c:pt idx="34017">
                  <c:v>29443</c:v>
                </c:pt>
                <c:pt idx="34018">
                  <c:v>29441</c:v>
                </c:pt>
                <c:pt idx="34019">
                  <c:v>29440</c:v>
                </c:pt>
                <c:pt idx="34020">
                  <c:v>29438</c:v>
                </c:pt>
                <c:pt idx="34021">
                  <c:v>29436</c:v>
                </c:pt>
                <c:pt idx="34022">
                  <c:v>29435</c:v>
                </c:pt>
                <c:pt idx="34023">
                  <c:v>29429</c:v>
                </c:pt>
                <c:pt idx="34024">
                  <c:v>29423</c:v>
                </c:pt>
                <c:pt idx="34025">
                  <c:v>29421</c:v>
                </c:pt>
                <c:pt idx="34026">
                  <c:v>29416</c:v>
                </c:pt>
                <c:pt idx="34027">
                  <c:v>29415</c:v>
                </c:pt>
                <c:pt idx="34028">
                  <c:v>29412</c:v>
                </c:pt>
                <c:pt idx="34029">
                  <c:v>29411</c:v>
                </c:pt>
                <c:pt idx="34030">
                  <c:v>29411</c:v>
                </c:pt>
                <c:pt idx="34031">
                  <c:v>29409</c:v>
                </c:pt>
                <c:pt idx="34032">
                  <c:v>29405</c:v>
                </c:pt>
                <c:pt idx="34033">
                  <c:v>29402</c:v>
                </c:pt>
                <c:pt idx="34034">
                  <c:v>29399</c:v>
                </c:pt>
                <c:pt idx="34035">
                  <c:v>29399</c:v>
                </c:pt>
                <c:pt idx="34036">
                  <c:v>29396</c:v>
                </c:pt>
                <c:pt idx="34037">
                  <c:v>29395</c:v>
                </c:pt>
                <c:pt idx="34038">
                  <c:v>29394</c:v>
                </c:pt>
                <c:pt idx="34039">
                  <c:v>29392</c:v>
                </c:pt>
                <c:pt idx="34040">
                  <c:v>29388</c:v>
                </c:pt>
                <c:pt idx="34041">
                  <c:v>29387</c:v>
                </c:pt>
                <c:pt idx="34042">
                  <c:v>29387</c:v>
                </c:pt>
                <c:pt idx="34043">
                  <c:v>29384</c:v>
                </c:pt>
                <c:pt idx="34044">
                  <c:v>29382</c:v>
                </c:pt>
                <c:pt idx="34045">
                  <c:v>29380</c:v>
                </c:pt>
                <c:pt idx="34046">
                  <c:v>29378</c:v>
                </c:pt>
                <c:pt idx="34047">
                  <c:v>29376</c:v>
                </c:pt>
                <c:pt idx="34048">
                  <c:v>29376</c:v>
                </c:pt>
                <c:pt idx="34049">
                  <c:v>29375</c:v>
                </c:pt>
                <c:pt idx="34050">
                  <c:v>29372</c:v>
                </c:pt>
                <c:pt idx="34051">
                  <c:v>29370</c:v>
                </c:pt>
                <c:pt idx="34052">
                  <c:v>29367</c:v>
                </c:pt>
                <c:pt idx="34053">
                  <c:v>29367</c:v>
                </c:pt>
                <c:pt idx="34054">
                  <c:v>29364</c:v>
                </c:pt>
                <c:pt idx="34055">
                  <c:v>29362</c:v>
                </c:pt>
                <c:pt idx="34056">
                  <c:v>29362</c:v>
                </c:pt>
                <c:pt idx="34057">
                  <c:v>29355</c:v>
                </c:pt>
                <c:pt idx="34058">
                  <c:v>29350</c:v>
                </c:pt>
                <c:pt idx="34059">
                  <c:v>29346</c:v>
                </c:pt>
                <c:pt idx="34060">
                  <c:v>29343</c:v>
                </c:pt>
                <c:pt idx="34061">
                  <c:v>29340</c:v>
                </c:pt>
                <c:pt idx="34062">
                  <c:v>29340</c:v>
                </c:pt>
                <c:pt idx="34063">
                  <c:v>29337</c:v>
                </c:pt>
                <c:pt idx="34064">
                  <c:v>29336</c:v>
                </c:pt>
                <c:pt idx="34065">
                  <c:v>29335</c:v>
                </c:pt>
                <c:pt idx="34066">
                  <c:v>29332</c:v>
                </c:pt>
                <c:pt idx="34067">
                  <c:v>29327</c:v>
                </c:pt>
                <c:pt idx="34068">
                  <c:v>29323</c:v>
                </c:pt>
                <c:pt idx="34069">
                  <c:v>29312</c:v>
                </c:pt>
                <c:pt idx="34070">
                  <c:v>29308</c:v>
                </c:pt>
                <c:pt idx="34071">
                  <c:v>29305</c:v>
                </c:pt>
                <c:pt idx="34072">
                  <c:v>29301</c:v>
                </c:pt>
                <c:pt idx="34073">
                  <c:v>29296</c:v>
                </c:pt>
                <c:pt idx="34074">
                  <c:v>29292</c:v>
                </c:pt>
                <c:pt idx="34075">
                  <c:v>29292</c:v>
                </c:pt>
                <c:pt idx="34076">
                  <c:v>29292</c:v>
                </c:pt>
                <c:pt idx="34077">
                  <c:v>29288</c:v>
                </c:pt>
                <c:pt idx="34078">
                  <c:v>29286</c:v>
                </c:pt>
                <c:pt idx="34079">
                  <c:v>29285</c:v>
                </c:pt>
                <c:pt idx="34080">
                  <c:v>29285</c:v>
                </c:pt>
                <c:pt idx="34081">
                  <c:v>29284</c:v>
                </c:pt>
                <c:pt idx="34082">
                  <c:v>29283</c:v>
                </c:pt>
                <c:pt idx="34083">
                  <c:v>29282</c:v>
                </c:pt>
                <c:pt idx="34084">
                  <c:v>29281</c:v>
                </c:pt>
                <c:pt idx="34085">
                  <c:v>29280</c:v>
                </c:pt>
                <c:pt idx="34086">
                  <c:v>29279</c:v>
                </c:pt>
                <c:pt idx="34087">
                  <c:v>29276</c:v>
                </c:pt>
                <c:pt idx="34088">
                  <c:v>29271</c:v>
                </c:pt>
                <c:pt idx="34089">
                  <c:v>29267</c:v>
                </c:pt>
                <c:pt idx="34090">
                  <c:v>29267</c:v>
                </c:pt>
                <c:pt idx="34091">
                  <c:v>29264</c:v>
                </c:pt>
                <c:pt idx="34092">
                  <c:v>29262</c:v>
                </c:pt>
                <c:pt idx="34093">
                  <c:v>29262</c:v>
                </c:pt>
                <c:pt idx="34094">
                  <c:v>29257</c:v>
                </c:pt>
                <c:pt idx="34095">
                  <c:v>29257</c:v>
                </c:pt>
                <c:pt idx="34096">
                  <c:v>29256</c:v>
                </c:pt>
                <c:pt idx="34097">
                  <c:v>29251</c:v>
                </c:pt>
                <c:pt idx="34098">
                  <c:v>29248</c:v>
                </c:pt>
                <c:pt idx="34099">
                  <c:v>29246</c:v>
                </c:pt>
                <c:pt idx="34100">
                  <c:v>29240</c:v>
                </c:pt>
                <c:pt idx="34101">
                  <c:v>29236</c:v>
                </c:pt>
                <c:pt idx="34102">
                  <c:v>29231</c:v>
                </c:pt>
                <c:pt idx="34103">
                  <c:v>29229</c:v>
                </c:pt>
                <c:pt idx="34104">
                  <c:v>29228</c:v>
                </c:pt>
                <c:pt idx="34105">
                  <c:v>29226</c:v>
                </c:pt>
                <c:pt idx="34106">
                  <c:v>29225</c:v>
                </c:pt>
                <c:pt idx="34107">
                  <c:v>29223</c:v>
                </c:pt>
                <c:pt idx="34108">
                  <c:v>29223</c:v>
                </c:pt>
                <c:pt idx="34109">
                  <c:v>29221</c:v>
                </c:pt>
                <c:pt idx="34110">
                  <c:v>29211</c:v>
                </c:pt>
                <c:pt idx="34111">
                  <c:v>29210</c:v>
                </c:pt>
                <c:pt idx="34112">
                  <c:v>29205</c:v>
                </c:pt>
                <c:pt idx="34113">
                  <c:v>29205</c:v>
                </c:pt>
                <c:pt idx="34114">
                  <c:v>29202</c:v>
                </c:pt>
                <c:pt idx="34115">
                  <c:v>29199</c:v>
                </c:pt>
                <c:pt idx="34116">
                  <c:v>29197</c:v>
                </c:pt>
                <c:pt idx="34117">
                  <c:v>29196</c:v>
                </c:pt>
                <c:pt idx="34118">
                  <c:v>29195</c:v>
                </c:pt>
                <c:pt idx="34119">
                  <c:v>29195</c:v>
                </c:pt>
                <c:pt idx="34120">
                  <c:v>29194</c:v>
                </c:pt>
                <c:pt idx="34121">
                  <c:v>29191</c:v>
                </c:pt>
                <c:pt idx="34122">
                  <c:v>29189</c:v>
                </c:pt>
                <c:pt idx="34123">
                  <c:v>29184</c:v>
                </c:pt>
                <c:pt idx="34124">
                  <c:v>29182</c:v>
                </c:pt>
                <c:pt idx="34125">
                  <c:v>29181</c:v>
                </c:pt>
                <c:pt idx="34126">
                  <c:v>29176</c:v>
                </c:pt>
                <c:pt idx="34127">
                  <c:v>29174</c:v>
                </c:pt>
                <c:pt idx="34128">
                  <c:v>29173</c:v>
                </c:pt>
                <c:pt idx="34129">
                  <c:v>29167</c:v>
                </c:pt>
                <c:pt idx="34130">
                  <c:v>29164</c:v>
                </c:pt>
                <c:pt idx="34131">
                  <c:v>29162</c:v>
                </c:pt>
                <c:pt idx="34132">
                  <c:v>29162</c:v>
                </c:pt>
                <c:pt idx="34133">
                  <c:v>29155</c:v>
                </c:pt>
                <c:pt idx="34134">
                  <c:v>29149</c:v>
                </c:pt>
                <c:pt idx="34135">
                  <c:v>29146</c:v>
                </c:pt>
                <c:pt idx="34136">
                  <c:v>29143</c:v>
                </c:pt>
                <c:pt idx="34137">
                  <c:v>29142</c:v>
                </c:pt>
                <c:pt idx="34138">
                  <c:v>29141</c:v>
                </c:pt>
                <c:pt idx="34139">
                  <c:v>29138</c:v>
                </c:pt>
                <c:pt idx="34140">
                  <c:v>29137</c:v>
                </c:pt>
                <c:pt idx="34141">
                  <c:v>29126</c:v>
                </c:pt>
                <c:pt idx="34142">
                  <c:v>29124</c:v>
                </c:pt>
                <c:pt idx="34143">
                  <c:v>29119</c:v>
                </c:pt>
                <c:pt idx="34144">
                  <c:v>29118</c:v>
                </c:pt>
                <c:pt idx="34145">
                  <c:v>29114</c:v>
                </c:pt>
                <c:pt idx="34146">
                  <c:v>29107</c:v>
                </c:pt>
                <c:pt idx="34147">
                  <c:v>29107</c:v>
                </c:pt>
                <c:pt idx="34148">
                  <c:v>29105</c:v>
                </c:pt>
                <c:pt idx="34149">
                  <c:v>29102</c:v>
                </c:pt>
                <c:pt idx="34150">
                  <c:v>29095</c:v>
                </c:pt>
                <c:pt idx="34151">
                  <c:v>29094</c:v>
                </c:pt>
                <c:pt idx="34152">
                  <c:v>29094</c:v>
                </c:pt>
                <c:pt idx="34153">
                  <c:v>29090</c:v>
                </c:pt>
                <c:pt idx="34154">
                  <c:v>29090</c:v>
                </c:pt>
                <c:pt idx="34155">
                  <c:v>29084</c:v>
                </c:pt>
                <c:pt idx="34156">
                  <c:v>29084</c:v>
                </c:pt>
                <c:pt idx="34157">
                  <c:v>29083</c:v>
                </c:pt>
                <c:pt idx="34158">
                  <c:v>29082</c:v>
                </c:pt>
                <c:pt idx="34159">
                  <c:v>29079</c:v>
                </c:pt>
                <c:pt idx="34160">
                  <c:v>29075</c:v>
                </c:pt>
                <c:pt idx="34161">
                  <c:v>29075</c:v>
                </c:pt>
                <c:pt idx="34162">
                  <c:v>29073</c:v>
                </c:pt>
                <c:pt idx="34163">
                  <c:v>29073</c:v>
                </c:pt>
                <c:pt idx="34164">
                  <c:v>29071</c:v>
                </c:pt>
                <c:pt idx="34165">
                  <c:v>29066</c:v>
                </c:pt>
                <c:pt idx="34166">
                  <c:v>29066</c:v>
                </c:pt>
                <c:pt idx="34167">
                  <c:v>29065</c:v>
                </c:pt>
                <c:pt idx="34168">
                  <c:v>29065</c:v>
                </c:pt>
                <c:pt idx="34169">
                  <c:v>29064</c:v>
                </c:pt>
                <c:pt idx="34170">
                  <c:v>29062</c:v>
                </c:pt>
                <c:pt idx="34171">
                  <c:v>29061</c:v>
                </c:pt>
                <c:pt idx="34172">
                  <c:v>29061</c:v>
                </c:pt>
                <c:pt idx="34173">
                  <c:v>29060</c:v>
                </c:pt>
                <c:pt idx="34174">
                  <c:v>29058</c:v>
                </c:pt>
                <c:pt idx="34175">
                  <c:v>29056</c:v>
                </c:pt>
                <c:pt idx="34176">
                  <c:v>29056</c:v>
                </c:pt>
                <c:pt idx="34177">
                  <c:v>29051</c:v>
                </c:pt>
                <c:pt idx="34178">
                  <c:v>29051</c:v>
                </c:pt>
                <c:pt idx="34179">
                  <c:v>29050</c:v>
                </c:pt>
                <c:pt idx="34180">
                  <c:v>29049</c:v>
                </c:pt>
                <c:pt idx="34181">
                  <c:v>29048</c:v>
                </c:pt>
                <c:pt idx="34182">
                  <c:v>29045</c:v>
                </c:pt>
                <c:pt idx="34183">
                  <c:v>29044</c:v>
                </c:pt>
                <c:pt idx="34184">
                  <c:v>29044</c:v>
                </c:pt>
                <c:pt idx="34185">
                  <c:v>29040</c:v>
                </c:pt>
                <c:pt idx="34186">
                  <c:v>29037</c:v>
                </c:pt>
                <c:pt idx="34187">
                  <c:v>29035</c:v>
                </c:pt>
                <c:pt idx="34188">
                  <c:v>29035</c:v>
                </c:pt>
                <c:pt idx="34189">
                  <c:v>29034</c:v>
                </c:pt>
                <c:pt idx="34190">
                  <c:v>29034</c:v>
                </c:pt>
                <c:pt idx="34191">
                  <c:v>29033</c:v>
                </c:pt>
                <c:pt idx="34192">
                  <c:v>29032</c:v>
                </c:pt>
                <c:pt idx="34193">
                  <c:v>29031</c:v>
                </c:pt>
                <c:pt idx="34194">
                  <c:v>29029</c:v>
                </c:pt>
                <c:pt idx="34195">
                  <c:v>29029</c:v>
                </c:pt>
                <c:pt idx="34196">
                  <c:v>29027</c:v>
                </c:pt>
                <c:pt idx="34197">
                  <c:v>29026</c:v>
                </c:pt>
                <c:pt idx="34198">
                  <c:v>29017</c:v>
                </c:pt>
                <c:pt idx="34199">
                  <c:v>29016</c:v>
                </c:pt>
                <c:pt idx="34200">
                  <c:v>29015</c:v>
                </c:pt>
                <c:pt idx="34201">
                  <c:v>29011</c:v>
                </c:pt>
                <c:pt idx="34202">
                  <c:v>29011</c:v>
                </c:pt>
                <c:pt idx="34203">
                  <c:v>29009</c:v>
                </c:pt>
                <c:pt idx="34204">
                  <c:v>29008</c:v>
                </c:pt>
                <c:pt idx="34205">
                  <c:v>29006</c:v>
                </c:pt>
                <c:pt idx="34206">
                  <c:v>29001</c:v>
                </c:pt>
                <c:pt idx="34207">
                  <c:v>29001</c:v>
                </c:pt>
                <c:pt idx="34208">
                  <c:v>29001</c:v>
                </c:pt>
                <c:pt idx="34209">
                  <c:v>29001</c:v>
                </c:pt>
                <c:pt idx="34210">
                  <c:v>29000</c:v>
                </c:pt>
                <c:pt idx="34211">
                  <c:v>28999</c:v>
                </c:pt>
                <c:pt idx="34212">
                  <c:v>28999</c:v>
                </c:pt>
                <c:pt idx="34213">
                  <c:v>28994</c:v>
                </c:pt>
                <c:pt idx="34214">
                  <c:v>28990</c:v>
                </c:pt>
                <c:pt idx="34215">
                  <c:v>28988</c:v>
                </c:pt>
                <c:pt idx="34216">
                  <c:v>28985</c:v>
                </c:pt>
                <c:pt idx="34217">
                  <c:v>28985</c:v>
                </c:pt>
                <c:pt idx="34218">
                  <c:v>28984</c:v>
                </c:pt>
                <c:pt idx="34219">
                  <c:v>28981</c:v>
                </c:pt>
                <c:pt idx="34220">
                  <c:v>28975</c:v>
                </c:pt>
                <c:pt idx="34221">
                  <c:v>28973</c:v>
                </c:pt>
                <c:pt idx="34222">
                  <c:v>28973</c:v>
                </c:pt>
                <c:pt idx="34223">
                  <c:v>28972</c:v>
                </c:pt>
                <c:pt idx="34224">
                  <c:v>28970</c:v>
                </c:pt>
                <c:pt idx="34225">
                  <c:v>28967</c:v>
                </c:pt>
                <c:pt idx="34226">
                  <c:v>28966</c:v>
                </c:pt>
                <c:pt idx="34227">
                  <c:v>28966</c:v>
                </c:pt>
                <c:pt idx="34228">
                  <c:v>28965</c:v>
                </c:pt>
                <c:pt idx="34229">
                  <c:v>28965</c:v>
                </c:pt>
                <c:pt idx="34230">
                  <c:v>28963</c:v>
                </c:pt>
                <c:pt idx="34231">
                  <c:v>28959</c:v>
                </c:pt>
                <c:pt idx="34232">
                  <c:v>28955</c:v>
                </c:pt>
                <c:pt idx="34233">
                  <c:v>28954</c:v>
                </c:pt>
                <c:pt idx="34234">
                  <c:v>28952</c:v>
                </c:pt>
                <c:pt idx="34235">
                  <c:v>28951</c:v>
                </c:pt>
                <c:pt idx="34236">
                  <c:v>28942</c:v>
                </c:pt>
                <c:pt idx="34237">
                  <c:v>28940</c:v>
                </c:pt>
                <c:pt idx="34238">
                  <c:v>28939</c:v>
                </c:pt>
                <c:pt idx="34239">
                  <c:v>28938</c:v>
                </c:pt>
                <c:pt idx="34240">
                  <c:v>28937</c:v>
                </c:pt>
                <c:pt idx="34241">
                  <c:v>28936</c:v>
                </c:pt>
                <c:pt idx="34242">
                  <c:v>28934</c:v>
                </c:pt>
                <c:pt idx="34243">
                  <c:v>28927</c:v>
                </c:pt>
                <c:pt idx="34244">
                  <c:v>28925</c:v>
                </c:pt>
                <c:pt idx="34245">
                  <c:v>28924</c:v>
                </c:pt>
                <c:pt idx="34246">
                  <c:v>28923</c:v>
                </c:pt>
                <c:pt idx="34247">
                  <c:v>28922</c:v>
                </c:pt>
                <c:pt idx="34248">
                  <c:v>28916</c:v>
                </c:pt>
                <c:pt idx="34249">
                  <c:v>28916</c:v>
                </c:pt>
                <c:pt idx="34250">
                  <c:v>28915</c:v>
                </c:pt>
                <c:pt idx="34251">
                  <c:v>28915</c:v>
                </c:pt>
                <c:pt idx="34252">
                  <c:v>28914</c:v>
                </c:pt>
                <c:pt idx="34253">
                  <c:v>28912</c:v>
                </c:pt>
                <c:pt idx="34254">
                  <c:v>28910</c:v>
                </c:pt>
                <c:pt idx="34255">
                  <c:v>28910</c:v>
                </c:pt>
                <c:pt idx="34256">
                  <c:v>28909</c:v>
                </c:pt>
                <c:pt idx="34257">
                  <c:v>28905</c:v>
                </c:pt>
                <c:pt idx="34258">
                  <c:v>28903</c:v>
                </c:pt>
                <c:pt idx="34259">
                  <c:v>28899</c:v>
                </c:pt>
                <c:pt idx="34260">
                  <c:v>28898</c:v>
                </c:pt>
                <c:pt idx="34261">
                  <c:v>28897</c:v>
                </c:pt>
                <c:pt idx="34262">
                  <c:v>28897</c:v>
                </c:pt>
                <c:pt idx="34263">
                  <c:v>28894</c:v>
                </c:pt>
                <c:pt idx="34264">
                  <c:v>28890</c:v>
                </c:pt>
                <c:pt idx="34265">
                  <c:v>28889</c:v>
                </c:pt>
                <c:pt idx="34266">
                  <c:v>28887</c:v>
                </c:pt>
                <c:pt idx="34267">
                  <c:v>28887</c:v>
                </c:pt>
                <c:pt idx="34268">
                  <c:v>28887</c:v>
                </c:pt>
                <c:pt idx="34269">
                  <c:v>28884</c:v>
                </c:pt>
                <c:pt idx="34270">
                  <c:v>28884</c:v>
                </c:pt>
                <c:pt idx="34271">
                  <c:v>28883</c:v>
                </c:pt>
                <c:pt idx="34272">
                  <c:v>28878</c:v>
                </c:pt>
                <c:pt idx="34273">
                  <c:v>28877</c:v>
                </c:pt>
                <c:pt idx="34274">
                  <c:v>28875</c:v>
                </c:pt>
                <c:pt idx="34275">
                  <c:v>28873</c:v>
                </c:pt>
                <c:pt idx="34276">
                  <c:v>28857</c:v>
                </c:pt>
                <c:pt idx="34277">
                  <c:v>28857</c:v>
                </c:pt>
                <c:pt idx="34278">
                  <c:v>28856</c:v>
                </c:pt>
                <c:pt idx="34279">
                  <c:v>28855</c:v>
                </c:pt>
                <c:pt idx="34280">
                  <c:v>28855</c:v>
                </c:pt>
                <c:pt idx="34281">
                  <c:v>28853</c:v>
                </c:pt>
                <c:pt idx="34282">
                  <c:v>28853</c:v>
                </c:pt>
                <c:pt idx="34283">
                  <c:v>28853</c:v>
                </c:pt>
                <c:pt idx="34284">
                  <c:v>28847</c:v>
                </c:pt>
                <c:pt idx="34285">
                  <c:v>28846</c:v>
                </c:pt>
                <c:pt idx="34286">
                  <c:v>28845</c:v>
                </c:pt>
                <c:pt idx="34287">
                  <c:v>28842</c:v>
                </c:pt>
                <c:pt idx="34288">
                  <c:v>28842</c:v>
                </c:pt>
                <c:pt idx="34289">
                  <c:v>28840</c:v>
                </c:pt>
                <c:pt idx="34290">
                  <c:v>28834</c:v>
                </c:pt>
                <c:pt idx="34291">
                  <c:v>28834</c:v>
                </c:pt>
                <c:pt idx="34292">
                  <c:v>28833</c:v>
                </c:pt>
                <c:pt idx="34293">
                  <c:v>28828</c:v>
                </c:pt>
                <c:pt idx="34294">
                  <c:v>28827</c:v>
                </c:pt>
                <c:pt idx="34295">
                  <c:v>28826</c:v>
                </c:pt>
                <c:pt idx="34296">
                  <c:v>28826</c:v>
                </c:pt>
                <c:pt idx="34297">
                  <c:v>28826</c:v>
                </c:pt>
                <c:pt idx="34298">
                  <c:v>28825</c:v>
                </c:pt>
                <c:pt idx="34299">
                  <c:v>28822</c:v>
                </c:pt>
                <c:pt idx="34300">
                  <c:v>28821</c:v>
                </c:pt>
                <c:pt idx="34301">
                  <c:v>28819</c:v>
                </c:pt>
                <c:pt idx="34302">
                  <c:v>28815</c:v>
                </c:pt>
                <c:pt idx="34303">
                  <c:v>28812</c:v>
                </c:pt>
                <c:pt idx="34304">
                  <c:v>28812</c:v>
                </c:pt>
                <c:pt idx="34305">
                  <c:v>28806</c:v>
                </c:pt>
                <c:pt idx="34306">
                  <c:v>28803</c:v>
                </c:pt>
                <c:pt idx="34307">
                  <c:v>28798</c:v>
                </c:pt>
                <c:pt idx="34308">
                  <c:v>28798</c:v>
                </c:pt>
                <c:pt idx="34309">
                  <c:v>28796</c:v>
                </c:pt>
                <c:pt idx="34310">
                  <c:v>28796</c:v>
                </c:pt>
                <c:pt idx="34311">
                  <c:v>28794</c:v>
                </c:pt>
                <c:pt idx="34312">
                  <c:v>28794</c:v>
                </c:pt>
                <c:pt idx="34313">
                  <c:v>28794</c:v>
                </c:pt>
                <c:pt idx="34314">
                  <c:v>28794</c:v>
                </c:pt>
                <c:pt idx="34315">
                  <c:v>28791</c:v>
                </c:pt>
                <c:pt idx="34316">
                  <c:v>28789</c:v>
                </c:pt>
                <c:pt idx="34317">
                  <c:v>28789</c:v>
                </c:pt>
                <c:pt idx="34318">
                  <c:v>28783</c:v>
                </c:pt>
                <c:pt idx="34319">
                  <c:v>28782</c:v>
                </c:pt>
                <c:pt idx="34320">
                  <c:v>28781</c:v>
                </c:pt>
                <c:pt idx="34321">
                  <c:v>28779</c:v>
                </c:pt>
                <c:pt idx="34322">
                  <c:v>28774</c:v>
                </c:pt>
                <c:pt idx="34323">
                  <c:v>28772</c:v>
                </c:pt>
                <c:pt idx="34324">
                  <c:v>28767</c:v>
                </c:pt>
                <c:pt idx="34325">
                  <c:v>28762</c:v>
                </c:pt>
                <c:pt idx="34326">
                  <c:v>28762</c:v>
                </c:pt>
                <c:pt idx="34327">
                  <c:v>28759</c:v>
                </c:pt>
                <c:pt idx="34328">
                  <c:v>28758</c:v>
                </c:pt>
                <c:pt idx="34329">
                  <c:v>28751</c:v>
                </c:pt>
                <c:pt idx="34330">
                  <c:v>28746</c:v>
                </c:pt>
                <c:pt idx="34331">
                  <c:v>28745</c:v>
                </c:pt>
                <c:pt idx="34332">
                  <c:v>28743</c:v>
                </c:pt>
                <c:pt idx="34333">
                  <c:v>28743</c:v>
                </c:pt>
                <c:pt idx="34334">
                  <c:v>28739</c:v>
                </c:pt>
                <c:pt idx="34335">
                  <c:v>28733</c:v>
                </c:pt>
                <c:pt idx="34336">
                  <c:v>28733</c:v>
                </c:pt>
                <c:pt idx="34337">
                  <c:v>28717</c:v>
                </c:pt>
                <c:pt idx="34338">
                  <c:v>28716</c:v>
                </c:pt>
                <c:pt idx="34339">
                  <c:v>28713</c:v>
                </c:pt>
                <c:pt idx="34340">
                  <c:v>28713</c:v>
                </c:pt>
                <c:pt idx="34341">
                  <c:v>28706</c:v>
                </c:pt>
                <c:pt idx="34342">
                  <c:v>28704</c:v>
                </c:pt>
                <c:pt idx="34343">
                  <c:v>28697</c:v>
                </c:pt>
                <c:pt idx="34344">
                  <c:v>28696</c:v>
                </c:pt>
                <c:pt idx="34345">
                  <c:v>28696</c:v>
                </c:pt>
                <c:pt idx="34346">
                  <c:v>28696</c:v>
                </c:pt>
                <c:pt idx="34347">
                  <c:v>28693</c:v>
                </c:pt>
                <c:pt idx="34348">
                  <c:v>28692</c:v>
                </c:pt>
                <c:pt idx="34349">
                  <c:v>28689</c:v>
                </c:pt>
                <c:pt idx="34350">
                  <c:v>28687</c:v>
                </c:pt>
                <c:pt idx="34351">
                  <c:v>28683</c:v>
                </c:pt>
                <c:pt idx="34352">
                  <c:v>28682</c:v>
                </c:pt>
                <c:pt idx="34353">
                  <c:v>28678</c:v>
                </c:pt>
                <c:pt idx="34354">
                  <c:v>28676</c:v>
                </c:pt>
                <c:pt idx="34355">
                  <c:v>28675</c:v>
                </c:pt>
                <c:pt idx="34356">
                  <c:v>28673</c:v>
                </c:pt>
                <c:pt idx="34357">
                  <c:v>28670</c:v>
                </c:pt>
                <c:pt idx="34358">
                  <c:v>28670</c:v>
                </c:pt>
                <c:pt idx="34359">
                  <c:v>28667</c:v>
                </c:pt>
                <c:pt idx="34360">
                  <c:v>28666</c:v>
                </c:pt>
                <c:pt idx="34361">
                  <c:v>28666</c:v>
                </c:pt>
                <c:pt idx="34362">
                  <c:v>28665</c:v>
                </c:pt>
                <c:pt idx="34363">
                  <c:v>28665</c:v>
                </c:pt>
                <c:pt idx="34364">
                  <c:v>28663</c:v>
                </c:pt>
                <c:pt idx="34365">
                  <c:v>28661</c:v>
                </c:pt>
                <c:pt idx="34366">
                  <c:v>28654</c:v>
                </c:pt>
                <c:pt idx="34367">
                  <c:v>28653</c:v>
                </c:pt>
                <c:pt idx="34368">
                  <c:v>28653</c:v>
                </c:pt>
                <c:pt idx="34369">
                  <c:v>28652</c:v>
                </c:pt>
                <c:pt idx="34370">
                  <c:v>28650</c:v>
                </c:pt>
                <c:pt idx="34371">
                  <c:v>28649</c:v>
                </c:pt>
                <c:pt idx="34372">
                  <c:v>28649</c:v>
                </c:pt>
                <c:pt idx="34373">
                  <c:v>28645</c:v>
                </c:pt>
                <c:pt idx="34374">
                  <c:v>28643</c:v>
                </c:pt>
                <c:pt idx="34375">
                  <c:v>28642</c:v>
                </c:pt>
                <c:pt idx="34376">
                  <c:v>28642</c:v>
                </c:pt>
                <c:pt idx="34377">
                  <c:v>28635</c:v>
                </c:pt>
                <c:pt idx="34378">
                  <c:v>28632</c:v>
                </c:pt>
                <c:pt idx="34379">
                  <c:v>28625</c:v>
                </c:pt>
                <c:pt idx="34380">
                  <c:v>28620</c:v>
                </c:pt>
                <c:pt idx="34381">
                  <c:v>28618</c:v>
                </c:pt>
                <c:pt idx="34382">
                  <c:v>28616</c:v>
                </c:pt>
                <c:pt idx="34383">
                  <c:v>28613</c:v>
                </c:pt>
                <c:pt idx="34384">
                  <c:v>28610</c:v>
                </c:pt>
                <c:pt idx="34385">
                  <c:v>28609</c:v>
                </c:pt>
                <c:pt idx="34386">
                  <c:v>28609</c:v>
                </c:pt>
                <c:pt idx="34387">
                  <c:v>28608</c:v>
                </c:pt>
                <c:pt idx="34388">
                  <c:v>28602</c:v>
                </c:pt>
                <c:pt idx="34389">
                  <c:v>28602</c:v>
                </c:pt>
                <c:pt idx="34390">
                  <c:v>28597</c:v>
                </c:pt>
                <c:pt idx="34391">
                  <c:v>28596</c:v>
                </c:pt>
                <c:pt idx="34392">
                  <c:v>28595</c:v>
                </c:pt>
                <c:pt idx="34393">
                  <c:v>28593</c:v>
                </c:pt>
                <c:pt idx="34394">
                  <c:v>28592</c:v>
                </c:pt>
                <c:pt idx="34395">
                  <c:v>28592</c:v>
                </c:pt>
                <c:pt idx="34396">
                  <c:v>28590</c:v>
                </c:pt>
                <c:pt idx="34397">
                  <c:v>28587</c:v>
                </c:pt>
                <c:pt idx="34398">
                  <c:v>28583</c:v>
                </c:pt>
                <c:pt idx="34399">
                  <c:v>28582</c:v>
                </c:pt>
                <c:pt idx="34400">
                  <c:v>28579</c:v>
                </c:pt>
                <c:pt idx="34401">
                  <c:v>28574</c:v>
                </c:pt>
                <c:pt idx="34402">
                  <c:v>28574</c:v>
                </c:pt>
                <c:pt idx="34403">
                  <c:v>28565</c:v>
                </c:pt>
                <c:pt idx="34404">
                  <c:v>28564</c:v>
                </c:pt>
                <c:pt idx="34405">
                  <c:v>28561</c:v>
                </c:pt>
                <c:pt idx="34406">
                  <c:v>28561</c:v>
                </c:pt>
                <c:pt idx="34407">
                  <c:v>28561</c:v>
                </c:pt>
                <c:pt idx="34408">
                  <c:v>28553</c:v>
                </c:pt>
                <c:pt idx="34409">
                  <c:v>28552</c:v>
                </c:pt>
                <c:pt idx="34410">
                  <c:v>28551</c:v>
                </c:pt>
                <c:pt idx="34411">
                  <c:v>28551</c:v>
                </c:pt>
                <c:pt idx="34412">
                  <c:v>28549</c:v>
                </c:pt>
                <c:pt idx="34413">
                  <c:v>28548</c:v>
                </c:pt>
                <c:pt idx="34414">
                  <c:v>28545</c:v>
                </c:pt>
                <c:pt idx="34415">
                  <c:v>28545</c:v>
                </c:pt>
                <c:pt idx="34416">
                  <c:v>28544</c:v>
                </c:pt>
                <c:pt idx="34417">
                  <c:v>28542</c:v>
                </c:pt>
                <c:pt idx="34418">
                  <c:v>28538</c:v>
                </c:pt>
                <c:pt idx="34419">
                  <c:v>28536</c:v>
                </c:pt>
                <c:pt idx="34420">
                  <c:v>28534</c:v>
                </c:pt>
                <c:pt idx="34421">
                  <c:v>28532</c:v>
                </c:pt>
                <c:pt idx="34422">
                  <c:v>28532</c:v>
                </c:pt>
                <c:pt idx="34423">
                  <c:v>28531</c:v>
                </c:pt>
                <c:pt idx="34424">
                  <c:v>28527</c:v>
                </c:pt>
                <c:pt idx="34425">
                  <c:v>28521</c:v>
                </c:pt>
                <c:pt idx="34426">
                  <c:v>28519</c:v>
                </c:pt>
                <c:pt idx="34427">
                  <c:v>28519</c:v>
                </c:pt>
                <c:pt idx="34428">
                  <c:v>28519</c:v>
                </c:pt>
                <c:pt idx="34429">
                  <c:v>28518</c:v>
                </c:pt>
                <c:pt idx="34430">
                  <c:v>28518</c:v>
                </c:pt>
                <c:pt idx="34431">
                  <c:v>28516</c:v>
                </c:pt>
                <c:pt idx="34432">
                  <c:v>28515</c:v>
                </c:pt>
                <c:pt idx="34433">
                  <c:v>28511</c:v>
                </c:pt>
                <c:pt idx="34434">
                  <c:v>28510</c:v>
                </c:pt>
                <c:pt idx="34435">
                  <c:v>28509</c:v>
                </c:pt>
                <c:pt idx="34436">
                  <c:v>28508</c:v>
                </c:pt>
                <c:pt idx="34437">
                  <c:v>28507</c:v>
                </c:pt>
                <c:pt idx="34438">
                  <c:v>28505</c:v>
                </c:pt>
                <c:pt idx="34439">
                  <c:v>28503</c:v>
                </c:pt>
                <c:pt idx="34440">
                  <c:v>28503</c:v>
                </c:pt>
                <c:pt idx="34441">
                  <c:v>28502</c:v>
                </c:pt>
                <c:pt idx="34442">
                  <c:v>28502</c:v>
                </c:pt>
                <c:pt idx="34443">
                  <c:v>28502</c:v>
                </c:pt>
                <c:pt idx="34444">
                  <c:v>28502</c:v>
                </c:pt>
                <c:pt idx="34445">
                  <c:v>28499</c:v>
                </c:pt>
                <c:pt idx="34446">
                  <c:v>28492</c:v>
                </c:pt>
                <c:pt idx="34447">
                  <c:v>28487</c:v>
                </c:pt>
                <c:pt idx="34448">
                  <c:v>28483</c:v>
                </c:pt>
                <c:pt idx="34449">
                  <c:v>28482</c:v>
                </c:pt>
                <c:pt idx="34450">
                  <c:v>28481</c:v>
                </c:pt>
                <c:pt idx="34451">
                  <c:v>28480</c:v>
                </c:pt>
                <c:pt idx="34452">
                  <c:v>28479</c:v>
                </c:pt>
                <c:pt idx="34453">
                  <c:v>28474</c:v>
                </c:pt>
                <c:pt idx="34454">
                  <c:v>28473</c:v>
                </c:pt>
                <c:pt idx="34455">
                  <c:v>28472</c:v>
                </c:pt>
                <c:pt idx="34456">
                  <c:v>28471</c:v>
                </c:pt>
                <c:pt idx="34457">
                  <c:v>28464</c:v>
                </c:pt>
                <c:pt idx="34458">
                  <c:v>28462</c:v>
                </c:pt>
                <c:pt idx="34459">
                  <c:v>28461</c:v>
                </c:pt>
                <c:pt idx="34460">
                  <c:v>28460</c:v>
                </c:pt>
                <c:pt idx="34461">
                  <c:v>28460</c:v>
                </c:pt>
                <c:pt idx="34462">
                  <c:v>28459</c:v>
                </c:pt>
                <c:pt idx="34463">
                  <c:v>28456</c:v>
                </c:pt>
                <c:pt idx="34464">
                  <c:v>28456</c:v>
                </c:pt>
                <c:pt idx="34465">
                  <c:v>28456</c:v>
                </c:pt>
                <c:pt idx="34466">
                  <c:v>28454</c:v>
                </c:pt>
                <c:pt idx="34467">
                  <c:v>28454</c:v>
                </c:pt>
                <c:pt idx="34468">
                  <c:v>28452</c:v>
                </c:pt>
                <c:pt idx="34469">
                  <c:v>28448</c:v>
                </c:pt>
                <c:pt idx="34470">
                  <c:v>28447</c:v>
                </c:pt>
                <c:pt idx="34471">
                  <c:v>28443</c:v>
                </c:pt>
                <c:pt idx="34472">
                  <c:v>28442</c:v>
                </c:pt>
                <c:pt idx="34473">
                  <c:v>28442</c:v>
                </c:pt>
                <c:pt idx="34474">
                  <c:v>28439</c:v>
                </c:pt>
                <c:pt idx="34475">
                  <c:v>28439</c:v>
                </c:pt>
                <c:pt idx="34476">
                  <c:v>28439</c:v>
                </c:pt>
                <c:pt idx="34477">
                  <c:v>28438</c:v>
                </c:pt>
                <c:pt idx="34478">
                  <c:v>28436</c:v>
                </c:pt>
                <c:pt idx="34479">
                  <c:v>28435</c:v>
                </c:pt>
                <c:pt idx="34480">
                  <c:v>28434</c:v>
                </c:pt>
                <c:pt idx="34481">
                  <c:v>28429</c:v>
                </c:pt>
                <c:pt idx="34482">
                  <c:v>28428</c:v>
                </c:pt>
                <c:pt idx="34483">
                  <c:v>28427</c:v>
                </c:pt>
                <c:pt idx="34484">
                  <c:v>28422</c:v>
                </c:pt>
                <c:pt idx="34485">
                  <c:v>28421</c:v>
                </c:pt>
                <c:pt idx="34486">
                  <c:v>28418</c:v>
                </c:pt>
                <c:pt idx="34487">
                  <c:v>28416</c:v>
                </c:pt>
                <c:pt idx="34488">
                  <c:v>28415</c:v>
                </c:pt>
                <c:pt idx="34489">
                  <c:v>28414</c:v>
                </c:pt>
                <c:pt idx="34490">
                  <c:v>28414</c:v>
                </c:pt>
                <c:pt idx="34491">
                  <c:v>28413</c:v>
                </c:pt>
                <c:pt idx="34492">
                  <c:v>28413</c:v>
                </c:pt>
                <c:pt idx="34493">
                  <c:v>28412</c:v>
                </c:pt>
                <c:pt idx="34494">
                  <c:v>28409</c:v>
                </c:pt>
                <c:pt idx="34495">
                  <c:v>28406</c:v>
                </c:pt>
                <c:pt idx="34496">
                  <c:v>28405</c:v>
                </c:pt>
                <c:pt idx="34497">
                  <c:v>28405</c:v>
                </c:pt>
                <c:pt idx="34498">
                  <c:v>28403</c:v>
                </c:pt>
                <c:pt idx="34499">
                  <c:v>28401</c:v>
                </c:pt>
                <c:pt idx="34500">
                  <c:v>28400</c:v>
                </c:pt>
                <c:pt idx="34501">
                  <c:v>28397</c:v>
                </c:pt>
                <c:pt idx="34502">
                  <c:v>28397</c:v>
                </c:pt>
                <c:pt idx="34503">
                  <c:v>28396</c:v>
                </c:pt>
                <c:pt idx="34504">
                  <c:v>28395</c:v>
                </c:pt>
                <c:pt idx="34505">
                  <c:v>28389</c:v>
                </c:pt>
                <c:pt idx="34506">
                  <c:v>28387</c:v>
                </c:pt>
                <c:pt idx="34507">
                  <c:v>28387</c:v>
                </c:pt>
                <c:pt idx="34508">
                  <c:v>28385</c:v>
                </c:pt>
                <c:pt idx="34509">
                  <c:v>28384</c:v>
                </c:pt>
                <c:pt idx="34510">
                  <c:v>28383</c:v>
                </c:pt>
                <c:pt idx="34511">
                  <c:v>28382</c:v>
                </c:pt>
                <c:pt idx="34512">
                  <c:v>28382</c:v>
                </c:pt>
                <c:pt idx="34513">
                  <c:v>28382</c:v>
                </c:pt>
                <c:pt idx="34514">
                  <c:v>28381</c:v>
                </c:pt>
                <c:pt idx="34515">
                  <c:v>28381</c:v>
                </c:pt>
                <c:pt idx="34516">
                  <c:v>28381</c:v>
                </c:pt>
                <c:pt idx="34517">
                  <c:v>28378</c:v>
                </c:pt>
                <c:pt idx="34518">
                  <c:v>28378</c:v>
                </c:pt>
                <c:pt idx="34519">
                  <c:v>28376</c:v>
                </c:pt>
                <c:pt idx="34520">
                  <c:v>28376</c:v>
                </c:pt>
                <c:pt idx="34521">
                  <c:v>28375</c:v>
                </c:pt>
                <c:pt idx="34522">
                  <c:v>28374</c:v>
                </c:pt>
                <c:pt idx="34523">
                  <c:v>28373</c:v>
                </c:pt>
                <c:pt idx="34524">
                  <c:v>28368</c:v>
                </c:pt>
                <c:pt idx="34525">
                  <c:v>28366</c:v>
                </c:pt>
                <c:pt idx="34526">
                  <c:v>28365</c:v>
                </c:pt>
                <c:pt idx="34527">
                  <c:v>28365</c:v>
                </c:pt>
                <c:pt idx="34528">
                  <c:v>28364</c:v>
                </c:pt>
                <c:pt idx="34529">
                  <c:v>28363</c:v>
                </c:pt>
                <c:pt idx="34530">
                  <c:v>28362</c:v>
                </c:pt>
                <c:pt idx="34531">
                  <c:v>28361</c:v>
                </c:pt>
                <c:pt idx="34532">
                  <c:v>28356</c:v>
                </c:pt>
                <c:pt idx="34533">
                  <c:v>28355</c:v>
                </c:pt>
                <c:pt idx="34534">
                  <c:v>28352</c:v>
                </c:pt>
                <c:pt idx="34535">
                  <c:v>28351</c:v>
                </c:pt>
                <c:pt idx="34536">
                  <c:v>28350</c:v>
                </c:pt>
                <c:pt idx="34537">
                  <c:v>28350</c:v>
                </c:pt>
                <c:pt idx="34538">
                  <c:v>28349</c:v>
                </c:pt>
                <c:pt idx="34539">
                  <c:v>28349</c:v>
                </c:pt>
                <c:pt idx="34540">
                  <c:v>28347</c:v>
                </c:pt>
                <c:pt idx="34541">
                  <c:v>28347</c:v>
                </c:pt>
                <c:pt idx="34542">
                  <c:v>28346</c:v>
                </c:pt>
                <c:pt idx="34543">
                  <c:v>28346</c:v>
                </c:pt>
                <c:pt idx="34544">
                  <c:v>28343</c:v>
                </c:pt>
                <c:pt idx="34545">
                  <c:v>28341</c:v>
                </c:pt>
                <c:pt idx="34546">
                  <c:v>28340</c:v>
                </c:pt>
                <c:pt idx="34547">
                  <c:v>28339</c:v>
                </c:pt>
                <c:pt idx="34548">
                  <c:v>28338</c:v>
                </c:pt>
                <c:pt idx="34549">
                  <c:v>28336</c:v>
                </c:pt>
                <c:pt idx="34550">
                  <c:v>28335</c:v>
                </c:pt>
                <c:pt idx="34551">
                  <c:v>28334</c:v>
                </c:pt>
                <c:pt idx="34552">
                  <c:v>28334</c:v>
                </c:pt>
                <c:pt idx="34553">
                  <c:v>28332</c:v>
                </c:pt>
                <c:pt idx="34554">
                  <c:v>28331</c:v>
                </c:pt>
                <c:pt idx="34555">
                  <c:v>28330</c:v>
                </c:pt>
                <c:pt idx="34556">
                  <c:v>28330</c:v>
                </c:pt>
                <c:pt idx="34557">
                  <c:v>28328</c:v>
                </c:pt>
                <c:pt idx="34558">
                  <c:v>28327</c:v>
                </c:pt>
                <c:pt idx="34559">
                  <c:v>28325</c:v>
                </c:pt>
                <c:pt idx="34560">
                  <c:v>28319</c:v>
                </c:pt>
                <c:pt idx="34561">
                  <c:v>28319</c:v>
                </c:pt>
                <c:pt idx="34562">
                  <c:v>28318</c:v>
                </c:pt>
                <c:pt idx="34563">
                  <c:v>28315</c:v>
                </c:pt>
                <c:pt idx="34564">
                  <c:v>28314</c:v>
                </c:pt>
                <c:pt idx="34565">
                  <c:v>28309</c:v>
                </c:pt>
                <c:pt idx="34566">
                  <c:v>28309</c:v>
                </c:pt>
                <c:pt idx="34567">
                  <c:v>28308</c:v>
                </c:pt>
                <c:pt idx="34568">
                  <c:v>28308</c:v>
                </c:pt>
                <c:pt idx="34569">
                  <c:v>28304</c:v>
                </c:pt>
                <c:pt idx="34570">
                  <c:v>28304</c:v>
                </c:pt>
                <c:pt idx="34571">
                  <c:v>28302</c:v>
                </c:pt>
                <c:pt idx="34572">
                  <c:v>28302</c:v>
                </c:pt>
                <c:pt idx="34573">
                  <c:v>28301</c:v>
                </c:pt>
                <c:pt idx="34574">
                  <c:v>28300</c:v>
                </c:pt>
                <c:pt idx="34575">
                  <c:v>28299</c:v>
                </c:pt>
                <c:pt idx="34576">
                  <c:v>28298</c:v>
                </c:pt>
                <c:pt idx="34577">
                  <c:v>28292</c:v>
                </c:pt>
                <c:pt idx="34578">
                  <c:v>28286</c:v>
                </c:pt>
                <c:pt idx="34579">
                  <c:v>28285</c:v>
                </c:pt>
                <c:pt idx="34580">
                  <c:v>28282</c:v>
                </c:pt>
                <c:pt idx="34581">
                  <c:v>28282</c:v>
                </c:pt>
                <c:pt idx="34582">
                  <c:v>28278</c:v>
                </c:pt>
                <c:pt idx="34583">
                  <c:v>28278</c:v>
                </c:pt>
                <c:pt idx="34584">
                  <c:v>28276</c:v>
                </c:pt>
                <c:pt idx="34585">
                  <c:v>28276</c:v>
                </c:pt>
                <c:pt idx="34586">
                  <c:v>28275</c:v>
                </c:pt>
                <c:pt idx="34587">
                  <c:v>28270</c:v>
                </c:pt>
                <c:pt idx="34588">
                  <c:v>28270</c:v>
                </c:pt>
                <c:pt idx="34589">
                  <c:v>28269</c:v>
                </c:pt>
                <c:pt idx="34590">
                  <c:v>28264</c:v>
                </c:pt>
                <c:pt idx="34591">
                  <c:v>28261</c:v>
                </c:pt>
                <c:pt idx="34592">
                  <c:v>28261</c:v>
                </c:pt>
                <c:pt idx="34593">
                  <c:v>28260</c:v>
                </c:pt>
                <c:pt idx="34594">
                  <c:v>28258</c:v>
                </c:pt>
                <c:pt idx="34595">
                  <c:v>28257</c:v>
                </c:pt>
                <c:pt idx="34596">
                  <c:v>28256</c:v>
                </c:pt>
                <c:pt idx="34597">
                  <c:v>28252</c:v>
                </c:pt>
                <c:pt idx="34598">
                  <c:v>28251</c:v>
                </c:pt>
                <c:pt idx="34599">
                  <c:v>28250</c:v>
                </c:pt>
                <c:pt idx="34600">
                  <c:v>28250</c:v>
                </c:pt>
                <c:pt idx="34601">
                  <c:v>28245</c:v>
                </c:pt>
                <c:pt idx="34602">
                  <c:v>28244</c:v>
                </c:pt>
                <c:pt idx="34603">
                  <c:v>28240</c:v>
                </c:pt>
                <c:pt idx="34604">
                  <c:v>28237</c:v>
                </c:pt>
                <c:pt idx="34605">
                  <c:v>28237</c:v>
                </c:pt>
                <c:pt idx="34606">
                  <c:v>28230</c:v>
                </c:pt>
                <c:pt idx="34607">
                  <c:v>28228</c:v>
                </c:pt>
                <c:pt idx="34608">
                  <c:v>28228</c:v>
                </c:pt>
                <c:pt idx="34609">
                  <c:v>28226</c:v>
                </c:pt>
                <c:pt idx="34610">
                  <c:v>28220</c:v>
                </c:pt>
                <c:pt idx="34611">
                  <c:v>28220</c:v>
                </c:pt>
                <c:pt idx="34612">
                  <c:v>28220</c:v>
                </c:pt>
                <c:pt idx="34613">
                  <c:v>28219</c:v>
                </c:pt>
                <c:pt idx="34614">
                  <c:v>28219</c:v>
                </c:pt>
                <c:pt idx="34615">
                  <c:v>28216</c:v>
                </c:pt>
                <c:pt idx="34616">
                  <c:v>28214</c:v>
                </c:pt>
                <c:pt idx="34617">
                  <c:v>28214</c:v>
                </c:pt>
                <c:pt idx="34618">
                  <c:v>28213</c:v>
                </c:pt>
                <c:pt idx="34619">
                  <c:v>28213</c:v>
                </c:pt>
                <c:pt idx="34620">
                  <c:v>28212</c:v>
                </c:pt>
                <c:pt idx="34621">
                  <c:v>28212</c:v>
                </c:pt>
                <c:pt idx="34622">
                  <c:v>28209</c:v>
                </c:pt>
                <c:pt idx="34623">
                  <c:v>28208</c:v>
                </c:pt>
                <c:pt idx="34624">
                  <c:v>28203</c:v>
                </c:pt>
                <c:pt idx="34625">
                  <c:v>28203</c:v>
                </c:pt>
                <c:pt idx="34626">
                  <c:v>28200</c:v>
                </c:pt>
                <c:pt idx="34627">
                  <c:v>28198</c:v>
                </c:pt>
                <c:pt idx="34628">
                  <c:v>28196</c:v>
                </c:pt>
                <c:pt idx="34629">
                  <c:v>28195</c:v>
                </c:pt>
                <c:pt idx="34630">
                  <c:v>28193</c:v>
                </c:pt>
                <c:pt idx="34631">
                  <c:v>28191</c:v>
                </c:pt>
                <c:pt idx="34632">
                  <c:v>28188</c:v>
                </c:pt>
                <c:pt idx="34633">
                  <c:v>28184</c:v>
                </c:pt>
                <c:pt idx="34634">
                  <c:v>28182</c:v>
                </c:pt>
                <c:pt idx="34635">
                  <c:v>28181</c:v>
                </c:pt>
                <c:pt idx="34636">
                  <c:v>28179</c:v>
                </c:pt>
                <c:pt idx="34637">
                  <c:v>28179</c:v>
                </c:pt>
                <c:pt idx="34638">
                  <c:v>28178</c:v>
                </c:pt>
                <c:pt idx="34639">
                  <c:v>28177</c:v>
                </c:pt>
                <c:pt idx="34640">
                  <c:v>28175</c:v>
                </c:pt>
                <c:pt idx="34641">
                  <c:v>28175</c:v>
                </c:pt>
                <c:pt idx="34642">
                  <c:v>28175</c:v>
                </c:pt>
                <c:pt idx="34643">
                  <c:v>28175</c:v>
                </c:pt>
                <c:pt idx="34644">
                  <c:v>28173</c:v>
                </c:pt>
                <c:pt idx="34645">
                  <c:v>28173</c:v>
                </c:pt>
                <c:pt idx="34646">
                  <c:v>28172</c:v>
                </c:pt>
                <c:pt idx="34647">
                  <c:v>28172</c:v>
                </c:pt>
                <c:pt idx="34648">
                  <c:v>28172</c:v>
                </c:pt>
                <c:pt idx="34649">
                  <c:v>28172</c:v>
                </c:pt>
                <c:pt idx="34650">
                  <c:v>28170</c:v>
                </c:pt>
                <c:pt idx="34651">
                  <c:v>28169</c:v>
                </c:pt>
                <c:pt idx="34652">
                  <c:v>28169</c:v>
                </c:pt>
                <c:pt idx="34653">
                  <c:v>28168</c:v>
                </c:pt>
                <c:pt idx="34654">
                  <c:v>28168</c:v>
                </c:pt>
                <c:pt idx="34655">
                  <c:v>28167</c:v>
                </c:pt>
                <c:pt idx="34656">
                  <c:v>28165</c:v>
                </c:pt>
                <c:pt idx="34657">
                  <c:v>28163</c:v>
                </c:pt>
                <c:pt idx="34658">
                  <c:v>28160</c:v>
                </c:pt>
                <c:pt idx="34659">
                  <c:v>28159</c:v>
                </c:pt>
                <c:pt idx="34660">
                  <c:v>28158</c:v>
                </c:pt>
                <c:pt idx="34661">
                  <c:v>28157</c:v>
                </c:pt>
                <c:pt idx="34662">
                  <c:v>28155</c:v>
                </c:pt>
                <c:pt idx="34663">
                  <c:v>28155</c:v>
                </c:pt>
                <c:pt idx="34664">
                  <c:v>28154</c:v>
                </c:pt>
                <c:pt idx="34665">
                  <c:v>28150</c:v>
                </c:pt>
                <c:pt idx="34666">
                  <c:v>28145</c:v>
                </c:pt>
                <c:pt idx="34667">
                  <c:v>28144</c:v>
                </c:pt>
                <c:pt idx="34668">
                  <c:v>28141</c:v>
                </c:pt>
                <c:pt idx="34669">
                  <c:v>28140</c:v>
                </c:pt>
                <c:pt idx="34670">
                  <c:v>28139</c:v>
                </c:pt>
                <c:pt idx="34671">
                  <c:v>28139</c:v>
                </c:pt>
                <c:pt idx="34672">
                  <c:v>28139</c:v>
                </c:pt>
                <c:pt idx="34673">
                  <c:v>28137</c:v>
                </c:pt>
                <c:pt idx="34674">
                  <c:v>28132</c:v>
                </c:pt>
                <c:pt idx="34675">
                  <c:v>28132</c:v>
                </c:pt>
                <c:pt idx="34676">
                  <c:v>28129</c:v>
                </c:pt>
                <c:pt idx="34677">
                  <c:v>28128</c:v>
                </c:pt>
                <c:pt idx="34678">
                  <c:v>28125</c:v>
                </c:pt>
                <c:pt idx="34679">
                  <c:v>28124</c:v>
                </c:pt>
                <c:pt idx="34680">
                  <c:v>28123</c:v>
                </c:pt>
                <c:pt idx="34681">
                  <c:v>28115</c:v>
                </c:pt>
                <c:pt idx="34682">
                  <c:v>28115</c:v>
                </c:pt>
                <c:pt idx="34683">
                  <c:v>28115</c:v>
                </c:pt>
                <c:pt idx="34684">
                  <c:v>28112</c:v>
                </c:pt>
                <c:pt idx="34685">
                  <c:v>28111</c:v>
                </c:pt>
                <c:pt idx="34686">
                  <c:v>28108</c:v>
                </c:pt>
                <c:pt idx="34687">
                  <c:v>28107</c:v>
                </c:pt>
                <c:pt idx="34688">
                  <c:v>28106</c:v>
                </c:pt>
                <c:pt idx="34689">
                  <c:v>28103</c:v>
                </c:pt>
                <c:pt idx="34690">
                  <c:v>28101</c:v>
                </c:pt>
                <c:pt idx="34691">
                  <c:v>28097</c:v>
                </c:pt>
                <c:pt idx="34692">
                  <c:v>28097</c:v>
                </c:pt>
                <c:pt idx="34693">
                  <c:v>28094</c:v>
                </c:pt>
                <c:pt idx="34694">
                  <c:v>28094</c:v>
                </c:pt>
                <c:pt idx="34695">
                  <c:v>28094</c:v>
                </c:pt>
                <c:pt idx="34696">
                  <c:v>28094</c:v>
                </c:pt>
                <c:pt idx="34697">
                  <c:v>28093</c:v>
                </c:pt>
                <c:pt idx="34698">
                  <c:v>28092</c:v>
                </c:pt>
                <c:pt idx="34699">
                  <c:v>28090</c:v>
                </c:pt>
                <c:pt idx="34700">
                  <c:v>28086</c:v>
                </c:pt>
                <c:pt idx="34701">
                  <c:v>28086</c:v>
                </c:pt>
                <c:pt idx="34702">
                  <c:v>28085</c:v>
                </c:pt>
                <c:pt idx="34703">
                  <c:v>28083</c:v>
                </c:pt>
                <c:pt idx="34704">
                  <c:v>28081</c:v>
                </c:pt>
                <c:pt idx="34705">
                  <c:v>28080</c:v>
                </c:pt>
                <c:pt idx="34706">
                  <c:v>28076</c:v>
                </c:pt>
                <c:pt idx="34707">
                  <c:v>28075</c:v>
                </c:pt>
                <c:pt idx="34708">
                  <c:v>28073</c:v>
                </c:pt>
                <c:pt idx="34709">
                  <c:v>28073</c:v>
                </c:pt>
                <c:pt idx="34710">
                  <c:v>28071</c:v>
                </c:pt>
                <c:pt idx="34711">
                  <c:v>28069</c:v>
                </c:pt>
                <c:pt idx="34712">
                  <c:v>28067</c:v>
                </c:pt>
                <c:pt idx="34713">
                  <c:v>28066</c:v>
                </c:pt>
                <c:pt idx="34714">
                  <c:v>28065</c:v>
                </c:pt>
                <c:pt idx="34715">
                  <c:v>28065</c:v>
                </c:pt>
                <c:pt idx="34716">
                  <c:v>28064</c:v>
                </c:pt>
                <c:pt idx="34717">
                  <c:v>28063</c:v>
                </c:pt>
                <c:pt idx="34718">
                  <c:v>28061</c:v>
                </c:pt>
                <c:pt idx="34719">
                  <c:v>28058</c:v>
                </c:pt>
                <c:pt idx="34720">
                  <c:v>28055</c:v>
                </c:pt>
                <c:pt idx="34721">
                  <c:v>28053</c:v>
                </c:pt>
                <c:pt idx="34722">
                  <c:v>28052</c:v>
                </c:pt>
                <c:pt idx="34723">
                  <c:v>28050</c:v>
                </c:pt>
                <c:pt idx="34724">
                  <c:v>28049</c:v>
                </c:pt>
                <c:pt idx="34725">
                  <c:v>28049</c:v>
                </c:pt>
                <c:pt idx="34726">
                  <c:v>28048</c:v>
                </c:pt>
                <c:pt idx="34727">
                  <c:v>28044</c:v>
                </c:pt>
                <c:pt idx="34728">
                  <c:v>28042</c:v>
                </c:pt>
                <c:pt idx="34729">
                  <c:v>28039</c:v>
                </c:pt>
                <c:pt idx="34730">
                  <c:v>28038</c:v>
                </c:pt>
                <c:pt idx="34731">
                  <c:v>28038</c:v>
                </c:pt>
                <c:pt idx="34732">
                  <c:v>28037</c:v>
                </c:pt>
                <c:pt idx="34733">
                  <c:v>28037</c:v>
                </c:pt>
                <c:pt idx="34734">
                  <c:v>28033</c:v>
                </c:pt>
                <c:pt idx="34735">
                  <c:v>28032</c:v>
                </c:pt>
                <c:pt idx="34736">
                  <c:v>28032</c:v>
                </c:pt>
                <c:pt idx="34737">
                  <c:v>28031</c:v>
                </c:pt>
                <c:pt idx="34738">
                  <c:v>28028</c:v>
                </c:pt>
                <c:pt idx="34739">
                  <c:v>28022</c:v>
                </c:pt>
                <c:pt idx="34740">
                  <c:v>28022</c:v>
                </c:pt>
                <c:pt idx="34741">
                  <c:v>28021</c:v>
                </c:pt>
                <c:pt idx="34742">
                  <c:v>28018</c:v>
                </c:pt>
                <c:pt idx="34743">
                  <c:v>28017</c:v>
                </c:pt>
                <c:pt idx="34744">
                  <c:v>28014</c:v>
                </c:pt>
                <c:pt idx="34745">
                  <c:v>28013</c:v>
                </c:pt>
                <c:pt idx="34746">
                  <c:v>28013</c:v>
                </c:pt>
                <c:pt idx="34747">
                  <c:v>28011</c:v>
                </c:pt>
                <c:pt idx="34748">
                  <c:v>28011</c:v>
                </c:pt>
                <c:pt idx="34749">
                  <c:v>28010</c:v>
                </c:pt>
                <c:pt idx="34750">
                  <c:v>28004</c:v>
                </c:pt>
                <c:pt idx="34751">
                  <c:v>27998</c:v>
                </c:pt>
                <c:pt idx="34752">
                  <c:v>27998</c:v>
                </c:pt>
                <c:pt idx="34753">
                  <c:v>27997</c:v>
                </c:pt>
                <c:pt idx="34754">
                  <c:v>27993</c:v>
                </c:pt>
                <c:pt idx="34755">
                  <c:v>27993</c:v>
                </c:pt>
                <c:pt idx="34756">
                  <c:v>27993</c:v>
                </c:pt>
                <c:pt idx="34757">
                  <c:v>27992</c:v>
                </c:pt>
                <c:pt idx="34758">
                  <c:v>27991</c:v>
                </c:pt>
                <c:pt idx="34759">
                  <c:v>27989</c:v>
                </c:pt>
                <c:pt idx="34760">
                  <c:v>27987</c:v>
                </c:pt>
                <c:pt idx="34761">
                  <c:v>27987</c:v>
                </c:pt>
                <c:pt idx="34762">
                  <c:v>27986</c:v>
                </c:pt>
                <c:pt idx="34763">
                  <c:v>27985</c:v>
                </c:pt>
                <c:pt idx="34764">
                  <c:v>27982</c:v>
                </c:pt>
                <c:pt idx="34765">
                  <c:v>27982</c:v>
                </c:pt>
                <c:pt idx="34766">
                  <c:v>27982</c:v>
                </c:pt>
                <c:pt idx="34767">
                  <c:v>27982</c:v>
                </c:pt>
                <c:pt idx="34768">
                  <c:v>27981</c:v>
                </c:pt>
                <c:pt idx="34769">
                  <c:v>27978</c:v>
                </c:pt>
                <c:pt idx="34770">
                  <c:v>27976</c:v>
                </c:pt>
                <c:pt idx="34771">
                  <c:v>27975</c:v>
                </c:pt>
                <c:pt idx="34772">
                  <c:v>27969</c:v>
                </c:pt>
                <c:pt idx="34773">
                  <c:v>27968</c:v>
                </c:pt>
                <c:pt idx="34774">
                  <c:v>27966</c:v>
                </c:pt>
                <c:pt idx="34775">
                  <c:v>27966</c:v>
                </c:pt>
                <c:pt idx="34776">
                  <c:v>27959</c:v>
                </c:pt>
                <c:pt idx="34777">
                  <c:v>27959</c:v>
                </c:pt>
                <c:pt idx="34778">
                  <c:v>27957</c:v>
                </c:pt>
                <c:pt idx="34779">
                  <c:v>27955</c:v>
                </c:pt>
                <c:pt idx="34780">
                  <c:v>27953</c:v>
                </c:pt>
                <c:pt idx="34781">
                  <c:v>27953</c:v>
                </c:pt>
                <c:pt idx="34782">
                  <c:v>27946</c:v>
                </c:pt>
                <c:pt idx="34783">
                  <c:v>27945</c:v>
                </c:pt>
                <c:pt idx="34784">
                  <c:v>27945</c:v>
                </c:pt>
                <c:pt idx="34785">
                  <c:v>27944</c:v>
                </c:pt>
                <c:pt idx="34786">
                  <c:v>27941</c:v>
                </c:pt>
                <c:pt idx="34787">
                  <c:v>27940</c:v>
                </c:pt>
                <c:pt idx="34788">
                  <c:v>27934</c:v>
                </c:pt>
                <c:pt idx="34789">
                  <c:v>27930</c:v>
                </c:pt>
                <c:pt idx="34790">
                  <c:v>27930</c:v>
                </c:pt>
                <c:pt idx="34791">
                  <c:v>27929</c:v>
                </c:pt>
                <c:pt idx="34792">
                  <c:v>27928</c:v>
                </c:pt>
                <c:pt idx="34793">
                  <c:v>27928</c:v>
                </c:pt>
                <c:pt idx="34794">
                  <c:v>27926</c:v>
                </c:pt>
                <c:pt idx="34795">
                  <c:v>27926</c:v>
                </c:pt>
                <c:pt idx="34796">
                  <c:v>27920</c:v>
                </c:pt>
                <c:pt idx="34797">
                  <c:v>27919</c:v>
                </c:pt>
                <c:pt idx="34798">
                  <c:v>27918</c:v>
                </c:pt>
                <c:pt idx="34799">
                  <c:v>27917</c:v>
                </c:pt>
                <c:pt idx="34800">
                  <c:v>27916</c:v>
                </c:pt>
                <c:pt idx="34801">
                  <c:v>27916</c:v>
                </c:pt>
                <c:pt idx="34802">
                  <c:v>27916</c:v>
                </c:pt>
                <c:pt idx="34803">
                  <c:v>27914</c:v>
                </c:pt>
                <c:pt idx="34804">
                  <c:v>27911</c:v>
                </c:pt>
                <c:pt idx="34805">
                  <c:v>27910</c:v>
                </c:pt>
                <c:pt idx="34806">
                  <c:v>27910</c:v>
                </c:pt>
                <c:pt idx="34807">
                  <c:v>27909</c:v>
                </c:pt>
                <c:pt idx="34808">
                  <c:v>27906</c:v>
                </c:pt>
                <c:pt idx="34809">
                  <c:v>27904</c:v>
                </c:pt>
                <c:pt idx="34810">
                  <c:v>27901</c:v>
                </c:pt>
                <c:pt idx="34811">
                  <c:v>27900</c:v>
                </c:pt>
                <c:pt idx="34812">
                  <c:v>27897</c:v>
                </c:pt>
                <c:pt idx="34813">
                  <c:v>27894</c:v>
                </c:pt>
                <c:pt idx="34814">
                  <c:v>27894</c:v>
                </c:pt>
                <c:pt idx="34815">
                  <c:v>27892</c:v>
                </c:pt>
                <c:pt idx="34816">
                  <c:v>27889</c:v>
                </c:pt>
                <c:pt idx="34817">
                  <c:v>27887</c:v>
                </c:pt>
                <c:pt idx="34818">
                  <c:v>27886</c:v>
                </c:pt>
                <c:pt idx="34819">
                  <c:v>27884</c:v>
                </c:pt>
                <c:pt idx="34820">
                  <c:v>27883</c:v>
                </c:pt>
                <c:pt idx="34821">
                  <c:v>27882</c:v>
                </c:pt>
                <c:pt idx="34822">
                  <c:v>27879</c:v>
                </c:pt>
                <c:pt idx="34823">
                  <c:v>27879</c:v>
                </c:pt>
                <c:pt idx="34824">
                  <c:v>27877</c:v>
                </c:pt>
                <c:pt idx="34825">
                  <c:v>27877</c:v>
                </c:pt>
                <c:pt idx="34826">
                  <c:v>27875</c:v>
                </c:pt>
                <c:pt idx="34827">
                  <c:v>27875</c:v>
                </c:pt>
                <c:pt idx="34828">
                  <c:v>27874</c:v>
                </c:pt>
                <c:pt idx="34829">
                  <c:v>27874</c:v>
                </c:pt>
                <c:pt idx="34830">
                  <c:v>27874</c:v>
                </c:pt>
                <c:pt idx="34831">
                  <c:v>27868</c:v>
                </c:pt>
                <c:pt idx="34832">
                  <c:v>27866</c:v>
                </c:pt>
                <c:pt idx="34833">
                  <c:v>27863</c:v>
                </c:pt>
                <c:pt idx="34834">
                  <c:v>27863</c:v>
                </c:pt>
                <c:pt idx="34835">
                  <c:v>27862</c:v>
                </c:pt>
                <c:pt idx="34836">
                  <c:v>27860</c:v>
                </c:pt>
                <c:pt idx="34837">
                  <c:v>27858</c:v>
                </c:pt>
                <c:pt idx="34838">
                  <c:v>27855</c:v>
                </c:pt>
                <c:pt idx="34839">
                  <c:v>27854</c:v>
                </c:pt>
                <c:pt idx="34840">
                  <c:v>27854</c:v>
                </c:pt>
                <c:pt idx="34841">
                  <c:v>27854</c:v>
                </c:pt>
                <c:pt idx="34842">
                  <c:v>27851</c:v>
                </c:pt>
                <c:pt idx="34843">
                  <c:v>27851</c:v>
                </c:pt>
                <c:pt idx="34844">
                  <c:v>27848</c:v>
                </c:pt>
                <c:pt idx="34845">
                  <c:v>27846</c:v>
                </c:pt>
                <c:pt idx="34846">
                  <c:v>27845</c:v>
                </c:pt>
                <c:pt idx="34847">
                  <c:v>27844</c:v>
                </c:pt>
                <c:pt idx="34848">
                  <c:v>27844</c:v>
                </c:pt>
                <c:pt idx="34849">
                  <c:v>27843</c:v>
                </c:pt>
                <c:pt idx="34850">
                  <c:v>27839</c:v>
                </c:pt>
                <c:pt idx="34851">
                  <c:v>27839</c:v>
                </c:pt>
                <c:pt idx="34852">
                  <c:v>27837</c:v>
                </c:pt>
                <c:pt idx="34853">
                  <c:v>27835</c:v>
                </c:pt>
                <c:pt idx="34854">
                  <c:v>27835</c:v>
                </c:pt>
                <c:pt idx="34855">
                  <c:v>27830</c:v>
                </c:pt>
                <c:pt idx="34856">
                  <c:v>27821</c:v>
                </c:pt>
                <c:pt idx="34857">
                  <c:v>27819</c:v>
                </c:pt>
                <c:pt idx="34858">
                  <c:v>27818</c:v>
                </c:pt>
                <c:pt idx="34859">
                  <c:v>27816</c:v>
                </c:pt>
                <c:pt idx="34860">
                  <c:v>27813</c:v>
                </c:pt>
                <c:pt idx="34861">
                  <c:v>27813</c:v>
                </c:pt>
                <c:pt idx="34862">
                  <c:v>27813</c:v>
                </c:pt>
                <c:pt idx="34863">
                  <c:v>27812</c:v>
                </c:pt>
                <c:pt idx="34864">
                  <c:v>27806</c:v>
                </c:pt>
                <c:pt idx="34865">
                  <c:v>27803</c:v>
                </c:pt>
                <c:pt idx="34866">
                  <c:v>27803</c:v>
                </c:pt>
                <c:pt idx="34867">
                  <c:v>27803</c:v>
                </c:pt>
                <c:pt idx="34868">
                  <c:v>27802</c:v>
                </c:pt>
                <c:pt idx="34869">
                  <c:v>27799</c:v>
                </c:pt>
                <c:pt idx="34870">
                  <c:v>27798</c:v>
                </c:pt>
                <c:pt idx="34871">
                  <c:v>27798</c:v>
                </c:pt>
                <c:pt idx="34872">
                  <c:v>27795</c:v>
                </c:pt>
                <c:pt idx="34873">
                  <c:v>27795</c:v>
                </c:pt>
                <c:pt idx="34874">
                  <c:v>27795</c:v>
                </c:pt>
                <c:pt idx="34875">
                  <c:v>27793</c:v>
                </c:pt>
                <c:pt idx="34876">
                  <c:v>27793</c:v>
                </c:pt>
                <c:pt idx="34877">
                  <c:v>27793</c:v>
                </c:pt>
                <c:pt idx="34878">
                  <c:v>27792</c:v>
                </c:pt>
                <c:pt idx="34879">
                  <c:v>27791</c:v>
                </c:pt>
                <c:pt idx="34880">
                  <c:v>27789</c:v>
                </c:pt>
                <c:pt idx="34881">
                  <c:v>27789</c:v>
                </c:pt>
                <c:pt idx="34882">
                  <c:v>27788</c:v>
                </c:pt>
                <c:pt idx="34883">
                  <c:v>27788</c:v>
                </c:pt>
                <c:pt idx="34884">
                  <c:v>27787</c:v>
                </c:pt>
                <c:pt idx="34885">
                  <c:v>27786</c:v>
                </c:pt>
                <c:pt idx="34886">
                  <c:v>27784</c:v>
                </c:pt>
                <c:pt idx="34887">
                  <c:v>27783</c:v>
                </c:pt>
                <c:pt idx="34888">
                  <c:v>27782</c:v>
                </c:pt>
                <c:pt idx="34889">
                  <c:v>27781</c:v>
                </c:pt>
                <c:pt idx="34890">
                  <c:v>27781</c:v>
                </c:pt>
                <c:pt idx="34891">
                  <c:v>27778</c:v>
                </c:pt>
                <c:pt idx="34892">
                  <c:v>27777</c:v>
                </c:pt>
                <c:pt idx="34893">
                  <c:v>27775</c:v>
                </c:pt>
                <c:pt idx="34894">
                  <c:v>27775</c:v>
                </c:pt>
                <c:pt idx="34895">
                  <c:v>27775</c:v>
                </c:pt>
                <c:pt idx="34896">
                  <c:v>27774</c:v>
                </c:pt>
                <c:pt idx="34897">
                  <c:v>27774</c:v>
                </c:pt>
                <c:pt idx="34898">
                  <c:v>27772</c:v>
                </c:pt>
                <c:pt idx="34899">
                  <c:v>27771</c:v>
                </c:pt>
                <c:pt idx="34900">
                  <c:v>27771</c:v>
                </c:pt>
                <c:pt idx="34901">
                  <c:v>27771</c:v>
                </c:pt>
                <c:pt idx="34902">
                  <c:v>27769</c:v>
                </c:pt>
                <c:pt idx="34903">
                  <c:v>27769</c:v>
                </c:pt>
                <c:pt idx="34904">
                  <c:v>27769</c:v>
                </c:pt>
                <c:pt idx="34905">
                  <c:v>27767</c:v>
                </c:pt>
                <c:pt idx="34906">
                  <c:v>27765</c:v>
                </c:pt>
                <c:pt idx="34907">
                  <c:v>27763</c:v>
                </c:pt>
                <c:pt idx="34908">
                  <c:v>27763</c:v>
                </c:pt>
                <c:pt idx="34909">
                  <c:v>27763</c:v>
                </c:pt>
                <c:pt idx="34910">
                  <c:v>27763</c:v>
                </c:pt>
                <c:pt idx="34911">
                  <c:v>27762</c:v>
                </c:pt>
                <c:pt idx="34912">
                  <c:v>27762</c:v>
                </c:pt>
                <c:pt idx="34913">
                  <c:v>27761</c:v>
                </c:pt>
                <c:pt idx="34914">
                  <c:v>27759</c:v>
                </c:pt>
                <c:pt idx="34915">
                  <c:v>27757</c:v>
                </c:pt>
                <c:pt idx="34916">
                  <c:v>27755</c:v>
                </c:pt>
                <c:pt idx="34917">
                  <c:v>27755</c:v>
                </c:pt>
                <c:pt idx="34918">
                  <c:v>27754</c:v>
                </c:pt>
                <c:pt idx="34919">
                  <c:v>27753</c:v>
                </c:pt>
                <c:pt idx="34920">
                  <c:v>27752</c:v>
                </c:pt>
                <c:pt idx="34921">
                  <c:v>27751</c:v>
                </c:pt>
                <c:pt idx="34922">
                  <c:v>27750</c:v>
                </c:pt>
                <c:pt idx="34923">
                  <c:v>27748</c:v>
                </c:pt>
                <c:pt idx="34924">
                  <c:v>27746</c:v>
                </c:pt>
                <c:pt idx="34925">
                  <c:v>27743</c:v>
                </c:pt>
                <c:pt idx="34926">
                  <c:v>27741</c:v>
                </c:pt>
                <c:pt idx="34927">
                  <c:v>27741</c:v>
                </c:pt>
                <c:pt idx="34928">
                  <c:v>27737</c:v>
                </c:pt>
                <c:pt idx="34929">
                  <c:v>27735</c:v>
                </c:pt>
                <c:pt idx="34930">
                  <c:v>27735</c:v>
                </c:pt>
                <c:pt idx="34931">
                  <c:v>27735</c:v>
                </c:pt>
                <c:pt idx="34932">
                  <c:v>27734</c:v>
                </c:pt>
                <c:pt idx="34933">
                  <c:v>27732</c:v>
                </c:pt>
                <c:pt idx="34934">
                  <c:v>27730</c:v>
                </c:pt>
                <c:pt idx="34935">
                  <c:v>27728</c:v>
                </c:pt>
                <c:pt idx="34936">
                  <c:v>27726</c:v>
                </c:pt>
                <c:pt idx="34937">
                  <c:v>27726</c:v>
                </c:pt>
                <c:pt idx="34938">
                  <c:v>27726</c:v>
                </c:pt>
                <c:pt idx="34939">
                  <c:v>27726</c:v>
                </c:pt>
                <c:pt idx="34940">
                  <c:v>27723</c:v>
                </c:pt>
                <c:pt idx="34941">
                  <c:v>27723</c:v>
                </c:pt>
                <c:pt idx="34942">
                  <c:v>27721</c:v>
                </c:pt>
                <c:pt idx="34943">
                  <c:v>27721</c:v>
                </c:pt>
                <c:pt idx="34944">
                  <c:v>27721</c:v>
                </c:pt>
                <c:pt idx="34945">
                  <c:v>27719</c:v>
                </c:pt>
                <c:pt idx="34946">
                  <c:v>27719</c:v>
                </c:pt>
                <c:pt idx="34947">
                  <c:v>27716</c:v>
                </c:pt>
                <c:pt idx="34948">
                  <c:v>27713</c:v>
                </c:pt>
                <c:pt idx="34949">
                  <c:v>27712</c:v>
                </c:pt>
                <c:pt idx="34950">
                  <c:v>27710</c:v>
                </c:pt>
                <c:pt idx="34951">
                  <c:v>27709</c:v>
                </c:pt>
                <c:pt idx="34952">
                  <c:v>27708</c:v>
                </c:pt>
                <c:pt idx="34953">
                  <c:v>27706</c:v>
                </c:pt>
                <c:pt idx="34954">
                  <c:v>27706</c:v>
                </c:pt>
                <c:pt idx="34955">
                  <c:v>27705</c:v>
                </c:pt>
                <c:pt idx="34956">
                  <c:v>27704</c:v>
                </c:pt>
                <c:pt idx="34957">
                  <c:v>27703</c:v>
                </c:pt>
                <c:pt idx="34958">
                  <c:v>27703</c:v>
                </c:pt>
                <c:pt idx="34959">
                  <c:v>27703</c:v>
                </c:pt>
                <c:pt idx="34960">
                  <c:v>27703</c:v>
                </c:pt>
                <c:pt idx="34961">
                  <c:v>27701</c:v>
                </c:pt>
                <c:pt idx="34962">
                  <c:v>27699</c:v>
                </c:pt>
                <c:pt idx="34963">
                  <c:v>27695</c:v>
                </c:pt>
                <c:pt idx="34964">
                  <c:v>27694</c:v>
                </c:pt>
                <c:pt idx="34965">
                  <c:v>27694</c:v>
                </c:pt>
                <c:pt idx="34966">
                  <c:v>27693</c:v>
                </c:pt>
                <c:pt idx="34967">
                  <c:v>27693</c:v>
                </c:pt>
                <c:pt idx="34968">
                  <c:v>27693</c:v>
                </c:pt>
                <c:pt idx="34969">
                  <c:v>27692</c:v>
                </c:pt>
                <c:pt idx="34970">
                  <c:v>27690</c:v>
                </c:pt>
                <c:pt idx="34971">
                  <c:v>27688</c:v>
                </c:pt>
                <c:pt idx="34972">
                  <c:v>27688</c:v>
                </c:pt>
                <c:pt idx="34973">
                  <c:v>27688</c:v>
                </c:pt>
                <c:pt idx="34974">
                  <c:v>27687</c:v>
                </c:pt>
                <c:pt idx="34975">
                  <c:v>27684</c:v>
                </c:pt>
                <c:pt idx="34976">
                  <c:v>27684</c:v>
                </c:pt>
                <c:pt idx="34977">
                  <c:v>27682</c:v>
                </c:pt>
                <c:pt idx="34978">
                  <c:v>27680</c:v>
                </c:pt>
                <c:pt idx="34979">
                  <c:v>27679</c:v>
                </c:pt>
                <c:pt idx="34980">
                  <c:v>27678</c:v>
                </c:pt>
                <c:pt idx="34981">
                  <c:v>27676</c:v>
                </c:pt>
                <c:pt idx="34982">
                  <c:v>27675</c:v>
                </c:pt>
                <c:pt idx="34983">
                  <c:v>27672</c:v>
                </c:pt>
                <c:pt idx="34984">
                  <c:v>27671</c:v>
                </c:pt>
                <c:pt idx="34985">
                  <c:v>27671</c:v>
                </c:pt>
                <c:pt idx="34986">
                  <c:v>27670</c:v>
                </c:pt>
                <c:pt idx="34987">
                  <c:v>27668</c:v>
                </c:pt>
                <c:pt idx="34988">
                  <c:v>27666</c:v>
                </c:pt>
                <c:pt idx="34989">
                  <c:v>27666</c:v>
                </c:pt>
                <c:pt idx="34990">
                  <c:v>27666</c:v>
                </c:pt>
                <c:pt idx="34991">
                  <c:v>27665</c:v>
                </c:pt>
                <c:pt idx="34992">
                  <c:v>27664</c:v>
                </c:pt>
                <c:pt idx="34993">
                  <c:v>27662</c:v>
                </c:pt>
                <c:pt idx="34994">
                  <c:v>27661</c:v>
                </c:pt>
                <c:pt idx="34995">
                  <c:v>27659</c:v>
                </c:pt>
                <c:pt idx="34996">
                  <c:v>27657</c:v>
                </c:pt>
                <c:pt idx="34997">
                  <c:v>27656</c:v>
                </c:pt>
                <c:pt idx="34998">
                  <c:v>27656</c:v>
                </c:pt>
                <c:pt idx="34999">
                  <c:v>27656</c:v>
                </c:pt>
                <c:pt idx="35000">
                  <c:v>27653</c:v>
                </c:pt>
                <c:pt idx="35001">
                  <c:v>27649</c:v>
                </c:pt>
                <c:pt idx="35002">
                  <c:v>27647</c:v>
                </c:pt>
                <c:pt idx="35003">
                  <c:v>27647</c:v>
                </c:pt>
                <c:pt idx="35004">
                  <c:v>27647</c:v>
                </c:pt>
                <c:pt idx="35005">
                  <c:v>27645</c:v>
                </c:pt>
                <c:pt idx="35006">
                  <c:v>27642</c:v>
                </c:pt>
                <c:pt idx="35007">
                  <c:v>27642</c:v>
                </c:pt>
                <c:pt idx="35008">
                  <c:v>27641</c:v>
                </c:pt>
                <c:pt idx="35009">
                  <c:v>27637</c:v>
                </c:pt>
                <c:pt idx="35010">
                  <c:v>27637</c:v>
                </c:pt>
                <c:pt idx="35011">
                  <c:v>27637</c:v>
                </c:pt>
                <c:pt idx="35012">
                  <c:v>27635</c:v>
                </c:pt>
                <c:pt idx="35013">
                  <c:v>27634</c:v>
                </c:pt>
                <c:pt idx="35014">
                  <c:v>27625</c:v>
                </c:pt>
                <c:pt idx="35015">
                  <c:v>27624</c:v>
                </c:pt>
                <c:pt idx="35016">
                  <c:v>27622</c:v>
                </c:pt>
                <c:pt idx="35017">
                  <c:v>27622</c:v>
                </c:pt>
                <c:pt idx="35018">
                  <c:v>27621</c:v>
                </c:pt>
                <c:pt idx="35019">
                  <c:v>27617</c:v>
                </c:pt>
                <c:pt idx="35020">
                  <c:v>27617</c:v>
                </c:pt>
                <c:pt idx="35021">
                  <c:v>27614</c:v>
                </c:pt>
                <c:pt idx="35022">
                  <c:v>27613</c:v>
                </c:pt>
                <c:pt idx="35023">
                  <c:v>27611</c:v>
                </c:pt>
                <c:pt idx="35024">
                  <c:v>27610</c:v>
                </c:pt>
                <c:pt idx="35025">
                  <c:v>27610</c:v>
                </c:pt>
                <c:pt idx="35026">
                  <c:v>27607</c:v>
                </c:pt>
                <c:pt idx="35027">
                  <c:v>27607</c:v>
                </c:pt>
                <c:pt idx="35028">
                  <c:v>27605</c:v>
                </c:pt>
                <c:pt idx="35029">
                  <c:v>27604</c:v>
                </c:pt>
                <c:pt idx="35030">
                  <c:v>27604</c:v>
                </c:pt>
                <c:pt idx="35031">
                  <c:v>27602</c:v>
                </c:pt>
                <c:pt idx="35032">
                  <c:v>27601</c:v>
                </c:pt>
                <c:pt idx="35033">
                  <c:v>27601</c:v>
                </c:pt>
                <c:pt idx="35034">
                  <c:v>27598</c:v>
                </c:pt>
                <c:pt idx="35035">
                  <c:v>27597</c:v>
                </c:pt>
                <c:pt idx="35036">
                  <c:v>27596</c:v>
                </c:pt>
                <c:pt idx="35037">
                  <c:v>27594</c:v>
                </c:pt>
                <c:pt idx="35038">
                  <c:v>27594</c:v>
                </c:pt>
                <c:pt idx="35039">
                  <c:v>27593</c:v>
                </c:pt>
                <c:pt idx="35040">
                  <c:v>27588</c:v>
                </c:pt>
                <c:pt idx="35041">
                  <c:v>27587</c:v>
                </c:pt>
                <c:pt idx="35042">
                  <c:v>27586</c:v>
                </c:pt>
                <c:pt idx="35043">
                  <c:v>27586</c:v>
                </c:pt>
                <c:pt idx="35044">
                  <c:v>27585</c:v>
                </c:pt>
                <c:pt idx="35045">
                  <c:v>27585</c:v>
                </c:pt>
                <c:pt idx="35046">
                  <c:v>27585</c:v>
                </c:pt>
                <c:pt idx="35047">
                  <c:v>27584</c:v>
                </c:pt>
                <c:pt idx="35048">
                  <c:v>27583</c:v>
                </c:pt>
                <c:pt idx="35049">
                  <c:v>27582</c:v>
                </c:pt>
                <c:pt idx="35050">
                  <c:v>27580</c:v>
                </c:pt>
                <c:pt idx="35051">
                  <c:v>27579</c:v>
                </c:pt>
                <c:pt idx="35052">
                  <c:v>27577</c:v>
                </c:pt>
                <c:pt idx="35053">
                  <c:v>27575</c:v>
                </c:pt>
                <c:pt idx="35054">
                  <c:v>27570</c:v>
                </c:pt>
                <c:pt idx="35055">
                  <c:v>27569</c:v>
                </c:pt>
                <c:pt idx="35056">
                  <c:v>27568</c:v>
                </c:pt>
                <c:pt idx="35057">
                  <c:v>27567</c:v>
                </c:pt>
                <c:pt idx="35058">
                  <c:v>27565</c:v>
                </c:pt>
                <c:pt idx="35059">
                  <c:v>27564</c:v>
                </c:pt>
                <c:pt idx="35060">
                  <c:v>27564</c:v>
                </c:pt>
                <c:pt idx="35061">
                  <c:v>27563</c:v>
                </c:pt>
                <c:pt idx="35062">
                  <c:v>27562</c:v>
                </c:pt>
                <c:pt idx="35063">
                  <c:v>27561</c:v>
                </c:pt>
                <c:pt idx="35064">
                  <c:v>27561</c:v>
                </c:pt>
                <c:pt idx="35065">
                  <c:v>27561</c:v>
                </c:pt>
                <c:pt idx="35066">
                  <c:v>27560</c:v>
                </c:pt>
                <c:pt idx="35067">
                  <c:v>27560</c:v>
                </c:pt>
                <c:pt idx="35068">
                  <c:v>27559</c:v>
                </c:pt>
                <c:pt idx="35069">
                  <c:v>27554</c:v>
                </c:pt>
                <c:pt idx="35070">
                  <c:v>27551</c:v>
                </c:pt>
                <c:pt idx="35071">
                  <c:v>27551</c:v>
                </c:pt>
                <c:pt idx="35072">
                  <c:v>27550</c:v>
                </c:pt>
                <c:pt idx="35073">
                  <c:v>27550</c:v>
                </c:pt>
                <c:pt idx="35074">
                  <c:v>27549</c:v>
                </c:pt>
                <c:pt idx="35075">
                  <c:v>27549</c:v>
                </c:pt>
                <c:pt idx="35076">
                  <c:v>27549</c:v>
                </c:pt>
                <c:pt idx="35077">
                  <c:v>27549</c:v>
                </c:pt>
                <c:pt idx="35078">
                  <c:v>27549</c:v>
                </c:pt>
                <c:pt idx="35079">
                  <c:v>27549</c:v>
                </c:pt>
                <c:pt idx="35080">
                  <c:v>27545</c:v>
                </c:pt>
                <c:pt idx="35081">
                  <c:v>27542</c:v>
                </c:pt>
                <c:pt idx="35082">
                  <c:v>27541</c:v>
                </c:pt>
                <c:pt idx="35083">
                  <c:v>27540</c:v>
                </c:pt>
                <c:pt idx="35084">
                  <c:v>27537</c:v>
                </c:pt>
                <c:pt idx="35085">
                  <c:v>27537</c:v>
                </c:pt>
                <c:pt idx="35086">
                  <c:v>27536</c:v>
                </c:pt>
                <c:pt idx="35087">
                  <c:v>27533</c:v>
                </c:pt>
                <c:pt idx="35088">
                  <c:v>27533</c:v>
                </c:pt>
                <c:pt idx="35089">
                  <c:v>27530</c:v>
                </c:pt>
                <c:pt idx="35090">
                  <c:v>27528</c:v>
                </c:pt>
                <c:pt idx="35091">
                  <c:v>27525</c:v>
                </c:pt>
                <c:pt idx="35092">
                  <c:v>27522</c:v>
                </c:pt>
                <c:pt idx="35093">
                  <c:v>27521</c:v>
                </c:pt>
                <c:pt idx="35094">
                  <c:v>27521</c:v>
                </c:pt>
                <c:pt idx="35095">
                  <c:v>27517</c:v>
                </c:pt>
                <c:pt idx="35096">
                  <c:v>27517</c:v>
                </c:pt>
                <c:pt idx="35097">
                  <c:v>27515</c:v>
                </c:pt>
                <c:pt idx="35098">
                  <c:v>27514</c:v>
                </c:pt>
                <c:pt idx="35099">
                  <c:v>27514</c:v>
                </c:pt>
                <c:pt idx="35100">
                  <c:v>27514</c:v>
                </c:pt>
                <c:pt idx="35101">
                  <c:v>27514</c:v>
                </c:pt>
                <c:pt idx="35102">
                  <c:v>27513</c:v>
                </c:pt>
                <c:pt idx="35103">
                  <c:v>27511</c:v>
                </c:pt>
                <c:pt idx="35104">
                  <c:v>27509</c:v>
                </c:pt>
                <c:pt idx="35105">
                  <c:v>27507</c:v>
                </c:pt>
                <c:pt idx="35106">
                  <c:v>27506</c:v>
                </c:pt>
                <c:pt idx="35107">
                  <c:v>27505</c:v>
                </c:pt>
                <c:pt idx="35108">
                  <c:v>27502</c:v>
                </c:pt>
                <c:pt idx="35109">
                  <c:v>27499</c:v>
                </c:pt>
                <c:pt idx="35110">
                  <c:v>27498</c:v>
                </c:pt>
                <c:pt idx="35111">
                  <c:v>27497</c:v>
                </c:pt>
                <c:pt idx="35112">
                  <c:v>27497</c:v>
                </c:pt>
                <c:pt idx="35113">
                  <c:v>27494</c:v>
                </c:pt>
                <c:pt idx="35114">
                  <c:v>27492</c:v>
                </c:pt>
                <c:pt idx="35115">
                  <c:v>27489</c:v>
                </c:pt>
                <c:pt idx="35116">
                  <c:v>27489</c:v>
                </c:pt>
                <c:pt idx="35117">
                  <c:v>27486</c:v>
                </c:pt>
                <c:pt idx="35118">
                  <c:v>27484</c:v>
                </c:pt>
                <c:pt idx="35119">
                  <c:v>27484</c:v>
                </c:pt>
                <c:pt idx="35120">
                  <c:v>27483</c:v>
                </c:pt>
                <c:pt idx="35121">
                  <c:v>27480</c:v>
                </c:pt>
                <c:pt idx="35122">
                  <c:v>27480</c:v>
                </c:pt>
                <c:pt idx="35123">
                  <c:v>27479</c:v>
                </c:pt>
                <c:pt idx="35124">
                  <c:v>27479</c:v>
                </c:pt>
                <c:pt idx="35125">
                  <c:v>27478</c:v>
                </c:pt>
                <c:pt idx="35126">
                  <c:v>27478</c:v>
                </c:pt>
                <c:pt idx="35127">
                  <c:v>27478</c:v>
                </c:pt>
                <c:pt idx="35128">
                  <c:v>27478</c:v>
                </c:pt>
                <c:pt idx="35129">
                  <c:v>27477</c:v>
                </c:pt>
                <c:pt idx="35130">
                  <c:v>27475</c:v>
                </c:pt>
                <c:pt idx="35131">
                  <c:v>27474</c:v>
                </c:pt>
                <c:pt idx="35132">
                  <c:v>27474</c:v>
                </c:pt>
                <c:pt idx="35133">
                  <c:v>27472</c:v>
                </c:pt>
                <c:pt idx="35134">
                  <c:v>27471</c:v>
                </c:pt>
                <c:pt idx="35135">
                  <c:v>27469</c:v>
                </c:pt>
                <c:pt idx="35136">
                  <c:v>27467</c:v>
                </c:pt>
                <c:pt idx="35137">
                  <c:v>27465</c:v>
                </c:pt>
                <c:pt idx="35138">
                  <c:v>27464</c:v>
                </c:pt>
                <c:pt idx="35139">
                  <c:v>27464</c:v>
                </c:pt>
                <c:pt idx="35140">
                  <c:v>27461</c:v>
                </c:pt>
                <c:pt idx="35141">
                  <c:v>27460</c:v>
                </c:pt>
                <c:pt idx="35142">
                  <c:v>27459</c:v>
                </c:pt>
                <c:pt idx="35143">
                  <c:v>27457</c:v>
                </c:pt>
                <c:pt idx="35144">
                  <c:v>27456</c:v>
                </c:pt>
                <c:pt idx="35145">
                  <c:v>27455</c:v>
                </c:pt>
                <c:pt idx="35146">
                  <c:v>27455</c:v>
                </c:pt>
                <c:pt idx="35147">
                  <c:v>27455</c:v>
                </c:pt>
                <c:pt idx="35148">
                  <c:v>27453</c:v>
                </c:pt>
                <c:pt idx="35149">
                  <c:v>27448</c:v>
                </c:pt>
                <c:pt idx="35150">
                  <c:v>27446</c:v>
                </c:pt>
                <c:pt idx="35151">
                  <c:v>27444</c:v>
                </c:pt>
                <c:pt idx="35152">
                  <c:v>27441</c:v>
                </c:pt>
                <c:pt idx="35153">
                  <c:v>27441</c:v>
                </c:pt>
                <c:pt idx="35154">
                  <c:v>27440</c:v>
                </c:pt>
                <c:pt idx="35155">
                  <c:v>27440</c:v>
                </c:pt>
                <c:pt idx="35156">
                  <c:v>27439</c:v>
                </c:pt>
                <c:pt idx="35157">
                  <c:v>27437</c:v>
                </c:pt>
                <c:pt idx="35158">
                  <c:v>27436</c:v>
                </c:pt>
                <c:pt idx="35159">
                  <c:v>27433</c:v>
                </c:pt>
                <c:pt idx="35160">
                  <c:v>27433</c:v>
                </c:pt>
                <c:pt idx="35161">
                  <c:v>27432</c:v>
                </c:pt>
                <c:pt idx="35162">
                  <c:v>27432</c:v>
                </c:pt>
                <c:pt idx="35163">
                  <c:v>27431</c:v>
                </c:pt>
                <c:pt idx="35164">
                  <c:v>27431</c:v>
                </c:pt>
                <c:pt idx="35165">
                  <c:v>27429</c:v>
                </c:pt>
                <c:pt idx="35166">
                  <c:v>27428</c:v>
                </c:pt>
                <c:pt idx="35167">
                  <c:v>27427</c:v>
                </c:pt>
                <c:pt idx="35168">
                  <c:v>27426</c:v>
                </c:pt>
                <c:pt idx="35169">
                  <c:v>27425</c:v>
                </c:pt>
                <c:pt idx="35170">
                  <c:v>27421</c:v>
                </c:pt>
                <c:pt idx="35171">
                  <c:v>27420</c:v>
                </c:pt>
                <c:pt idx="35172">
                  <c:v>27416</c:v>
                </c:pt>
                <c:pt idx="35173">
                  <c:v>27416</c:v>
                </c:pt>
                <c:pt idx="35174">
                  <c:v>27416</c:v>
                </c:pt>
                <c:pt idx="35175">
                  <c:v>27412</c:v>
                </c:pt>
                <c:pt idx="35176">
                  <c:v>27412</c:v>
                </c:pt>
                <c:pt idx="35177">
                  <c:v>27412</c:v>
                </c:pt>
                <c:pt idx="35178">
                  <c:v>27410</c:v>
                </c:pt>
                <c:pt idx="35179">
                  <c:v>27409</c:v>
                </c:pt>
                <c:pt idx="35180">
                  <c:v>27408</c:v>
                </c:pt>
                <c:pt idx="35181">
                  <c:v>27407</c:v>
                </c:pt>
                <c:pt idx="35182">
                  <c:v>27406</c:v>
                </c:pt>
                <c:pt idx="35183">
                  <c:v>27405</c:v>
                </c:pt>
                <c:pt idx="35184">
                  <c:v>27405</c:v>
                </c:pt>
                <c:pt idx="35185">
                  <c:v>27403</c:v>
                </c:pt>
                <c:pt idx="35186">
                  <c:v>27402</c:v>
                </c:pt>
                <c:pt idx="35187">
                  <c:v>27402</c:v>
                </c:pt>
                <c:pt idx="35188">
                  <c:v>27401</c:v>
                </c:pt>
                <c:pt idx="35189">
                  <c:v>27399</c:v>
                </c:pt>
                <c:pt idx="35190">
                  <c:v>27398</c:v>
                </c:pt>
                <c:pt idx="35191">
                  <c:v>27397</c:v>
                </c:pt>
                <c:pt idx="35192">
                  <c:v>27396</c:v>
                </c:pt>
                <c:pt idx="35193">
                  <c:v>27394</c:v>
                </c:pt>
                <c:pt idx="35194">
                  <c:v>27394</c:v>
                </c:pt>
                <c:pt idx="35195">
                  <c:v>27393</c:v>
                </c:pt>
                <c:pt idx="35196">
                  <c:v>27391</c:v>
                </c:pt>
                <c:pt idx="35197">
                  <c:v>27389</c:v>
                </c:pt>
                <c:pt idx="35198">
                  <c:v>27389</c:v>
                </c:pt>
                <c:pt idx="35199">
                  <c:v>27388</c:v>
                </c:pt>
                <c:pt idx="35200">
                  <c:v>27388</c:v>
                </c:pt>
                <c:pt idx="35201">
                  <c:v>27387</c:v>
                </c:pt>
                <c:pt idx="35202">
                  <c:v>27387</c:v>
                </c:pt>
                <c:pt idx="35203">
                  <c:v>27386</c:v>
                </c:pt>
                <c:pt idx="35204">
                  <c:v>27386</c:v>
                </c:pt>
                <c:pt idx="35205">
                  <c:v>27386</c:v>
                </c:pt>
                <c:pt idx="35206">
                  <c:v>27380</c:v>
                </c:pt>
                <c:pt idx="35207">
                  <c:v>27380</c:v>
                </c:pt>
                <c:pt idx="35208">
                  <c:v>27380</c:v>
                </c:pt>
                <c:pt idx="35209">
                  <c:v>27379</c:v>
                </c:pt>
                <c:pt idx="35210">
                  <c:v>27378</c:v>
                </c:pt>
                <c:pt idx="35211">
                  <c:v>27376</c:v>
                </c:pt>
                <c:pt idx="35212">
                  <c:v>27375</c:v>
                </c:pt>
                <c:pt idx="35213">
                  <c:v>27375</c:v>
                </c:pt>
                <c:pt idx="35214">
                  <c:v>27373</c:v>
                </c:pt>
                <c:pt idx="35215">
                  <c:v>27370</c:v>
                </c:pt>
                <c:pt idx="35216">
                  <c:v>27370</c:v>
                </c:pt>
                <c:pt idx="35217">
                  <c:v>27368</c:v>
                </c:pt>
                <c:pt idx="35218">
                  <c:v>27367</c:v>
                </c:pt>
                <c:pt idx="35219">
                  <c:v>27364</c:v>
                </c:pt>
                <c:pt idx="35220">
                  <c:v>27364</c:v>
                </c:pt>
                <c:pt idx="35221">
                  <c:v>27363</c:v>
                </c:pt>
                <c:pt idx="35222">
                  <c:v>27362</c:v>
                </c:pt>
                <c:pt idx="35223">
                  <c:v>27361</c:v>
                </c:pt>
                <c:pt idx="35224">
                  <c:v>27360</c:v>
                </c:pt>
                <c:pt idx="35225">
                  <c:v>27360</c:v>
                </c:pt>
                <c:pt idx="35226">
                  <c:v>27359</c:v>
                </c:pt>
                <c:pt idx="35227">
                  <c:v>27359</c:v>
                </c:pt>
                <c:pt idx="35228">
                  <c:v>27358</c:v>
                </c:pt>
                <c:pt idx="35229">
                  <c:v>27358</c:v>
                </c:pt>
                <c:pt idx="35230">
                  <c:v>27358</c:v>
                </c:pt>
                <c:pt idx="35231">
                  <c:v>27357</c:v>
                </c:pt>
                <c:pt idx="35232">
                  <c:v>27356</c:v>
                </c:pt>
                <c:pt idx="35233">
                  <c:v>27356</c:v>
                </c:pt>
                <c:pt idx="35234">
                  <c:v>27354</c:v>
                </c:pt>
                <c:pt idx="35235">
                  <c:v>27352</c:v>
                </c:pt>
                <c:pt idx="35236">
                  <c:v>27351</c:v>
                </c:pt>
                <c:pt idx="35237">
                  <c:v>27351</c:v>
                </c:pt>
                <c:pt idx="35238">
                  <c:v>27350</c:v>
                </c:pt>
                <c:pt idx="35239">
                  <c:v>27349</c:v>
                </c:pt>
                <c:pt idx="35240">
                  <c:v>27349</c:v>
                </c:pt>
                <c:pt idx="35241">
                  <c:v>27348</c:v>
                </c:pt>
                <c:pt idx="35242">
                  <c:v>27348</c:v>
                </c:pt>
                <c:pt idx="35243">
                  <c:v>27348</c:v>
                </c:pt>
                <c:pt idx="35244">
                  <c:v>27347</c:v>
                </c:pt>
                <c:pt idx="35245">
                  <c:v>27343</c:v>
                </c:pt>
                <c:pt idx="35246">
                  <c:v>27340</c:v>
                </c:pt>
                <c:pt idx="35247">
                  <c:v>27340</c:v>
                </c:pt>
                <c:pt idx="35248">
                  <c:v>27339</c:v>
                </c:pt>
                <c:pt idx="35249">
                  <c:v>27339</c:v>
                </c:pt>
                <c:pt idx="35250">
                  <c:v>27337</c:v>
                </c:pt>
                <c:pt idx="35251">
                  <c:v>27337</c:v>
                </c:pt>
                <c:pt idx="35252">
                  <c:v>27337</c:v>
                </c:pt>
                <c:pt idx="35253">
                  <c:v>27336</c:v>
                </c:pt>
                <c:pt idx="35254">
                  <c:v>27335</c:v>
                </c:pt>
                <c:pt idx="35255">
                  <c:v>27335</c:v>
                </c:pt>
                <c:pt idx="35256">
                  <c:v>27335</c:v>
                </c:pt>
                <c:pt idx="35257">
                  <c:v>27334</c:v>
                </c:pt>
                <c:pt idx="35258">
                  <c:v>27332</c:v>
                </c:pt>
                <c:pt idx="35259">
                  <c:v>27332</c:v>
                </c:pt>
                <c:pt idx="35260">
                  <c:v>27332</c:v>
                </c:pt>
                <c:pt idx="35261">
                  <c:v>27330</c:v>
                </c:pt>
                <c:pt idx="35262">
                  <c:v>27328</c:v>
                </c:pt>
                <c:pt idx="35263">
                  <c:v>27327</c:v>
                </c:pt>
                <c:pt idx="35264">
                  <c:v>27327</c:v>
                </c:pt>
                <c:pt idx="35265">
                  <c:v>27327</c:v>
                </c:pt>
                <c:pt idx="35266">
                  <c:v>27326</c:v>
                </c:pt>
                <c:pt idx="35267">
                  <c:v>27326</c:v>
                </c:pt>
                <c:pt idx="35268">
                  <c:v>27325</c:v>
                </c:pt>
                <c:pt idx="35269">
                  <c:v>27323</c:v>
                </c:pt>
                <c:pt idx="35270">
                  <c:v>27320</c:v>
                </c:pt>
                <c:pt idx="35271">
                  <c:v>27320</c:v>
                </c:pt>
                <c:pt idx="35272">
                  <c:v>27320</c:v>
                </c:pt>
                <c:pt idx="35273">
                  <c:v>27317</c:v>
                </c:pt>
                <c:pt idx="35274">
                  <c:v>27315</c:v>
                </c:pt>
                <c:pt idx="35275">
                  <c:v>27314</c:v>
                </c:pt>
                <c:pt idx="35276">
                  <c:v>27314</c:v>
                </c:pt>
                <c:pt idx="35277">
                  <c:v>27313</c:v>
                </c:pt>
                <c:pt idx="35278">
                  <c:v>27312</c:v>
                </c:pt>
                <c:pt idx="35279">
                  <c:v>27310</c:v>
                </c:pt>
                <c:pt idx="35280">
                  <c:v>27310</c:v>
                </c:pt>
                <c:pt idx="35281">
                  <c:v>27309</c:v>
                </c:pt>
                <c:pt idx="35282">
                  <c:v>27308</c:v>
                </c:pt>
                <c:pt idx="35283">
                  <c:v>27307</c:v>
                </c:pt>
                <c:pt idx="35284">
                  <c:v>27307</c:v>
                </c:pt>
                <c:pt idx="35285">
                  <c:v>27306</c:v>
                </c:pt>
                <c:pt idx="35286">
                  <c:v>27306</c:v>
                </c:pt>
                <c:pt idx="35287">
                  <c:v>27304</c:v>
                </c:pt>
                <c:pt idx="35288">
                  <c:v>27302</c:v>
                </c:pt>
                <c:pt idx="35289">
                  <c:v>27302</c:v>
                </c:pt>
                <c:pt idx="35290">
                  <c:v>27301</c:v>
                </c:pt>
                <c:pt idx="35291">
                  <c:v>27300</c:v>
                </c:pt>
                <c:pt idx="35292">
                  <c:v>27300</c:v>
                </c:pt>
                <c:pt idx="35293">
                  <c:v>27297</c:v>
                </c:pt>
                <c:pt idx="35294">
                  <c:v>27297</c:v>
                </c:pt>
                <c:pt idx="35295">
                  <c:v>27297</c:v>
                </c:pt>
                <c:pt idx="35296">
                  <c:v>27296</c:v>
                </c:pt>
                <c:pt idx="35297">
                  <c:v>27295</c:v>
                </c:pt>
                <c:pt idx="35298">
                  <c:v>27294</c:v>
                </c:pt>
                <c:pt idx="35299">
                  <c:v>27293</c:v>
                </c:pt>
                <c:pt idx="35300">
                  <c:v>27292</c:v>
                </c:pt>
                <c:pt idx="35301">
                  <c:v>27290</c:v>
                </c:pt>
                <c:pt idx="35302">
                  <c:v>27290</c:v>
                </c:pt>
                <c:pt idx="35303">
                  <c:v>27289</c:v>
                </c:pt>
                <c:pt idx="35304">
                  <c:v>27289</c:v>
                </c:pt>
                <c:pt idx="35305">
                  <c:v>27287</c:v>
                </c:pt>
                <c:pt idx="35306">
                  <c:v>27287</c:v>
                </c:pt>
                <c:pt idx="35307">
                  <c:v>27287</c:v>
                </c:pt>
                <c:pt idx="35308">
                  <c:v>27287</c:v>
                </c:pt>
                <c:pt idx="35309">
                  <c:v>27287</c:v>
                </c:pt>
                <c:pt idx="35310">
                  <c:v>27286</c:v>
                </c:pt>
                <c:pt idx="35311">
                  <c:v>27285</c:v>
                </c:pt>
                <c:pt idx="35312">
                  <c:v>27284</c:v>
                </c:pt>
                <c:pt idx="35313">
                  <c:v>27284</c:v>
                </c:pt>
                <c:pt idx="35314">
                  <c:v>27282</c:v>
                </c:pt>
                <c:pt idx="35315">
                  <c:v>27282</c:v>
                </c:pt>
                <c:pt idx="35316">
                  <c:v>27282</c:v>
                </c:pt>
                <c:pt idx="35317">
                  <c:v>27281</c:v>
                </c:pt>
                <c:pt idx="35318">
                  <c:v>27281</c:v>
                </c:pt>
                <c:pt idx="35319">
                  <c:v>27279</c:v>
                </c:pt>
                <c:pt idx="35320">
                  <c:v>27278</c:v>
                </c:pt>
                <c:pt idx="35321">
                  <c:v>27277</c:v>
                </c:pt>
                <c:pt idx="35322">
                  <c:v>27276</c:v>
                </c:pt>
                <c:pt idx="35323">
                  <c:v>27276</c:v>
                </c:pt>
                <c:pt idx="35324">
                  <c:v>27274</c:v>
                </c:pt>
                <c:pt idx="35325">
                  <c:v>27271</c:v>
                </c:pt>
                <c:pt idx="35326">
                  <c:v>27270</c:v>
                </c:pt>
                <c:pt idx="35327">
                  <c:v>27269</c:v>
                </c:pt>
                <c:pt idx="35328">
                  <c:v>27269</c:v>
                </c:pt>
                <c:pt idx="35329">
                  <c:v>27269</c:v>
                </c:pt>
                <c:pt idx="35330">
                  <c:v>27268</c:v>
                </c:pt>
                <c:pt idx="35331">
                  <c:v>27268</c:v>
                </c:pt>
                <c:pt idx="35332">
                  <c:v>27265</c:v>
                </c:pt>
                <c:pt idx="35333">
                  <c:v>27265</c:v>
                </c:pt>
                <c:pt idx="35334">
                  <c:v>27265</c:v>
                </c:pt>
                <c:pt idx="35335">
                  <c:v>27264</c:v>
                </c:pt>
                <c:pt idx="35336">
                  <c:v>27262</c:v>
                </c:pt>
                <c:pt idx="35337">
                  <c:v>27262</c:v>
                </c:pt>
                <c:pt idx="35338">
                  <c:v>27262</c:v>
                </c:pt>
                <c:pt idx="35339">
                  <c:v>27261</c:v>
                </c:pt>
                <c:pt idx="35340">
                  <c:v>27258</c:v>
                </c:pt>
                <c:pt idx="35341">
                  <c:v>27258</c:v>
                </c:pt>
                <c:pt idx="35342">
                  <c:v>27257</c:v>
                </c:pt>
                <c:pt idx="35343">
                  <c:v>27256</c:v>
                </c:pt>
                <c:pt idx="35344">
                  <c:v>27251</c:v>
                </c:pt>
                <c:pt idx="35345">
                  <c:v>27251</c:v>
                </c:pt>
                <c:pt idx="35346">
                  <c:v>27251</c:v>
                </c:pt>
                <c:pt idx="35347">
                  <c:v>27251</c:v>
                </c:pt>
                <c:pt idx="35348">
                  <c:v>27250</c:v>
                </c:pt>
                <c:pt idx="35349">
                  <c:v>27248</c:v>
                </c:pt>
                <c:pt idx="35350">
                  <c:v>27247</c:v>
                </c:pt>
                <c:pt idx="35351">
                  <c:v>27247</c:v>
                </c:pt>
                <c:pt idx="35352">
                  <c:v>27244</c:v>
                </c:pt>
                <c:pt idx="35353">
                  <c:v>27243</c:v>
                </c:pt>
                <c:pt idx="35354">
                  <c:v>27242</c:v>
                </c:pt>
                <c:pt idx="35355">
                  <c:v>27239</c:v>
                </c:pt>
                <c:pt idx="35356">
                  <c:v>27239</c:v>
                </c:pt>
                <c:pt idx="35357">
                  <c:v>27234</c:v>
                </c:pt>
                <c:pt idx="35358">
                  <c:v>27234</c:v>
                </c:pt>
                <c:pt idx="35359">
                  <c:v>27233</c:v>
                </c:pt>
                <c:pt idx="35360">
                  <c:v>27231</c:v>
                </c:pt>
                <c:pt idx="35361">
                  <c:v>27230</c:v>
                </c:pt>
                <c:pt idx="35362">
                  <c:v>27228</c:v>
                </c:pt>
                <c:pt idx="35363">
                  <c:v>27227</c:v>
                </c:pt>
                <c:pt idx="35364">
                  <c:v>27227</c:v>
                </c:pt>
                <c:pt idx="35365">
                  <c:v>27226</c:v>
                </c:pt>
                <c:pt idx="35366">
                  <c:v>27225</c:v>
                </c:pt>
                <c:pt idx="35367">
                  <c:v>27224</c:v>
                </c:pt>
                <c:pt idx="35368">
                  <c:v>27222</c:v>
                </c:pt>
                <c:pt idx="35369">
                  <c:v>27222</c:v>
                </c:pt>
                <c:pt idx="35370">
                  <c:v>27221</c:v>
                </c:pt>
                <c:pt idx="35371">
                  <c:v>27221</c:v>
                </c:pt>
                <c:pt idx="35372">
                  <c:v>27220</c:v>
                </c:pt>
                <c:pt idx="35373">
                  <c:v>27220</c:v>
                </c:pt>
                <c:pt idx="35374">
                  <c:v>27219</c:v>
                </c:pt>
                <c:pt idx="35375">
                  <c:v>27217</c:v>
                </c:pt>
                <c:pt idx="35376">
                  <c:v>27215</c:v>
                </c:pt>
                <c:pt idx="35377">
                  <c:v>27212</c:v>
                </c:pt>
                <c:pt idx="35378">
                  <c:v>27210</c:v>
                </c:pt>
                <c:pt idx="35379">
                  <c:v>27210</c:v>
                </c:pt>
                <c:pt idx="35380">
                  <c:v>27209</c:v>
                </c:pt>
                <c:pt idx="35381">
                  <c:v>27209</c:v>
                </c:pt>
                <c:pt idx="35382">
                  <c:v>27207</c:v>
                </c:pt>
                <c:pt idx="35383">
                  <c:v>27207</c:v>
                </c:pt>
                <c:pt idx="35384">
                  <c:v>27206</c:v>
                </c:pt>
                <c:pt idx="35385">
                  <c:v>27204</c:v>
                </c:pt>
                <c:pt idx="35386">
                  <c:v>27204</c:v>
                </c:pt>
                <c:pt idx="35387">
                  <c:v>27203</c:v>
                </c:pt>
                <c:pt idx="35388">
                  <c:v>27202</c:v>
                </c:pt>
                <c:pt idx="35389">
                  <c:v>27202</c:v>
                </c:pt>
                <c:pt idx="35390">
                  <c:v>27200</c:v>
                </c:pt>
                <c:pt idx="35391">
                  <c:v>27200</c:v>
                </c:pt>
                <c:pt idx="35392">
                  <c:v>27200</c:v>
                </c:pt>
                <c:pt idx="35393">
                  <c:v>27199</c:v>
                </c:pt>
                <c:pt idx="35394">
                  <c:v>27198</c:v>
                </c:pt>
                <c:pt idx="35395">
                  <c:v>27196</c:v>
                </c:pt>
                <c:pt idx="35396">
                  <c:v>27194</c:v>
                </c:pt>
                <c:pt idx="35397">
                  <c:v>27193</c:v>
                </c:pt>
                <c:pt idx="35398">
                  <c:v>27192</c:v>
                </c:pt>
                <c:pt idx="35399">
                  <c:v>27191</c:v>
                </c:pt>
                <c:pt idx="35400">
                  <c:v>27191</c:v>
                </c:pt>
                <c:pt idx="35401">
                  <c:v>27191</c:v>
                </c:pt>
                <c:pt idx="35402">
                  <c:v>27190</c:v>
                </c:pt>
                <c:pt idx="35403">
                  <c:v>27187</c:v>
                </c:pt>
                <c:pt idx="35404">
                  <c:v>27187</c:v>
                </c:pt>
                <c:pt idx="35405">
                  <c:v>27185</c:v>
                </c:pt>
                <c:pt idx="35406">
                  <c:v>27185</c:v>
                </c:pt>
                <c:pt idx="35407">
                  <c:v>27185</c:v>
                </c:pt>
                <c:pt idx="35408">
                  <c:v>27185</c:v>
                </c:pt>
                <c:pt idx="35409">
                  <c:v>27184</c:v>
                </c:pt>
                <c:pt idx="35410">
                  <c:v>27184</c:v>
                </c:pt>
                <c:pt idx="35411">
                  <c:v>27182</c:v>
                </c:pt>
                <c:pt idx="35412">
                  <c:v>27182</c:v>
                </c:pt>
                <c:pt idx="35413">
                  <c:v>27179</c:v>
                </c:pt>
                <c:pt idx="35414">
                  <c:v>27177</c:v>
                </c:pt>
                <c:pt idx="35415">
                  <c:v>27176</c:v>
                </c:pt>
                <c:pt idx="35416">
                  <c:v>27176</c:v>
                </c:pt>
                <c:pt idx="35417">
                  <c:v>27174</c:v>
                </c:pt>
                <c:pt idx="35418">
                  <c:v>27174</c:v>
                </c:pt>
                <c:pt idx="35419">
                  <c:v>27173</c:v>
                </c:pt>
                <c:pt idx="35420">
                  <c:v>27171</c:v>
                </c:pt>
                <c:pt idx="35421">
                  <c:v>27168</c:v>
                </c:pt>
                <c:pt idx="35422">
                  <c:v>27168</c:v>
                </c:pt>
                <c:pt idx="35423">
                  <c:v>27167</c:v>
                </c:pt>
                <c:pt idx="35424">
                  <c:v>27167</c:v>
                </c:pt>
                <c:pt idx="35425">
                  <c:v>27166</c:v>
                </c:pt>
                <c:pt idx="35426">
                  <c:v>27165</c:v>
                </c:pt>
                <c:pt idx="35427">
                  <c:v>27164</c:v>
                </c:pt>
                <c:pt idx="35428">
                  <c:v>27164</c:v>
                </c:pt>
                <c:pt idx="35429">
                  <c:v>27160</c:v>
                </c:pt>
                <c:pt idx="35430">
                  <c:v>27160</c:v>
                </c:pt>
                <c:pt idx="35431">
                  <c:v>27159</c:v>
                </c:pt>
                <c:pt idx="35432">
                  <c:v>27157</c:v>
                </c:pt>
                <c:pt idx="35433">
                  <c:v>27156</c:v>
                </c:pt>
                <c:pt idx="35434">
                  <c:v>27155</c:v>
                </c:pt>
                <c:pt idx="35435">
                  <c:v>27153</c:v>
                </c:pt>
                <c:pt idx="35436">
                  <c:v>27148</c:v>
                </c:pt>
                <c:pt idx="35437">
                  <c:v>27148</c:v>
                </c:pt>
                <c:pt idx="35438">
                  <c:v>27147</c:v>
                </c:pt>
                <c:pt idx="35439">
                  <c:v>27147</c:v>
                </c:pt>
                <c:pt idx="35440">
                  <c:v>27146</c:v>
                </c:pt>
                <c:pt idx="35441">
                  <c:v>27146</c:v>
                </c:pt>
                <c:pt idx="35442">
                  <c:v>27146</c:v>
                </c:pt>
                <c:pt idx="35443">
                  <c:v>27144</c:v>
                </c:pt>
                <c:pt idx="35444">
                  <c:v>27142</c:v>
                </c:pt>
                <c:pt idx="35445">
                  <c:v>27138</c:v>
                </c:pt>
                <c:pt idx="35446">
                  <c:v>27136</c:v>
                </c:pt>
                <c:pt idx="35447">
                  <c:v>27136</c:v>
                </c:pt>
                <c:pt idx="35448">
                  <c:v>27135</c:v>
                </c:pt>
                <c:pt idx="35449">
                  <c:v>27134</c:v>
                </c:pt>
                <c:pt idx="35450">
                  <c:v>27134</c:v>
                </c:pt>
                <c:pt idx="35451">
                  <c:v>27133</c:v>
                </c:pt>
                <c:pt idx="35452">
                  <c:v>27133</c:v>
                </c:pt>
                <c:pt idx="35453">
                  <c:v>27133</c:v>
                </c:pt>
                <c:pt idx="35454">
                  <c:v>27133</c:v>
                </c:pt>
                <c:pt idx="35455">
                  <c:v>27132</c:v>
                </c:pt>
                <c:pt idx="35456">
                  <c:v>27131</c:v>
                </c:pt>
                <c:pt idx="35457">
                  <c:v>27131</c:v>
                </c:pt>
                <c:pt idx="35458">
                  <c:v>27130</c:v>
                </c:pt>
                <c:pt idx="35459">
                  <c:v>27130</c:v>
                </c:pt>
                <c:pt idx="35460">
                  <c:v>27130</c:v>
                </c:pt>
                <c:pt idx="35461">
                  <c:v>27129</c:v>
                </c:pt>
                <c:pt idx="35462">
                  <c:v>27129</c:v>
                </c:pt>
                <c:pt idx="35463">
                  <c:v>27127</c:v>
                </c:pt>
                <c:pt idx="35464">
                  <c:v>27124</c:v>
                </c:pt>
                <c:pt idx="35465">
                  <c:v>27124</c:v>
                </c:pt>
                <c:pt idx="35466">
                  <c:v>27124</c:v>
                </c:pt>
                <c:pt idx="35467">
                  <c:v>27123</c:v>
                </c:pt>
                <c:pt idx="35468">
                  <c:v>27116</c:v>
                </c:pt>
                <c:pt idx="35469">
                  <c:v>27115</c:v>
                </c:pt>
                <c:pt idx="35470">
                  <c:v>27114</c:v>
                </c:pt>
                <c:pt idx="35471">
                  <c:v>27112</c:v>
                </c:pt>
                <c:pt idx="35472">
                  <c:v>27108</c:v>
                </c:pt>
                <c:pt idx="35473">
                  <c:v>27107</c:v>
                </c:pt>
                <c:pt idx="35474">
                  <c:v>27107</c:v>
                </c:pt>
                <c:pt idx="35475">
                  <c:v>27107</c:v>
                </c:pt>
                <c:pt idx="35476">
                  <c:v>27106</c:v>
                </c:pt>
                <c:pt idx="35477">
                  <c:v>27106</c:v>
                </c:pt>
                <c:pt idx="35478">
                  <c:v>27105</c:v>
                </c:pt>
                <c:pt idx="35479">
                  <c:v>27103</c:v>
                </c:pt>
                <c:pt idx="35480">
                  <c:v>27102</c:v>
                </c:pt>
                <c:pt idx="35481">
                  <c:v>27101</c:v>
                </c:pt>
                <c:pt idx="35482">
                  <c:v>27099</c:v>
                </c:pt>
                <c:pt idx="35483">
                  <c:v>27099</c:v>
                </c:pt>
                <c:pt idx="35484">
                  <c:v>27099</c:v>
                </c:pt>
                <c:pt idx="35485">
                  <c:v>27099</c:v>
                </c:pt>
                <c:pt idx="35486">
                  <c:v>27093</c:v>
                </c:pt>
                <c:pt idx="35487">
                  <c:v>27090</c:v>
                </c:pt>
                <c:pt idx="35488">
                  <c:v>27089</c:v>
                </c:pt>
                <c:pt idx="35489">
                  <c:v>27087</c:v>
                </c:pt>
                <c:pt idx="35490">
                  <c:v>27087</c:v>
                </c:pt>
                <c:pt idx="35491">
                  <c:v>27087</c:v>
                </c:pt>
                <c:pt idx="35492">
                  <c:v>27086</c:v>
                </c:pt>
                <c:pt idx="35493">
                  <c:v>27085</c:v>
                </c:pt>
                <c:pt idx="35494">
                  <c:v>27084</c:v>
                </c:pt>
                <c:pt idx="35495">
                  <c:v>27084</c:v>
                </c:pt>
                <c:pt idx="35496">
                  <c:v>27084</c:v>
                </c:pt>
                <c:pt idx="35497">
                  <c:v>27083</c:v>
                </c:pt>
                <c:pt idx="35498">
                  <c:v>27082</c:v>
                </c:pt>
                <c:pt idx="35499">
                  <c:v>27082</c:v>
                </c:pt>
                <c:pt idx="35500">
                  <c:v>27081</c:v>
                </c:pt>
                <c:pt idx="35501">
                  <c:v>27079</c:v>
                </c:pt>
                <c:pt idx="35502">
                  <c:v>27077</c:v>
                </c:pt>
                <c:pt idx="35503">
                  <c:v>27075</c:v>
                </c:pt>
                <c:pt idx="35504">
                  <c:v>27075</c:v>
                </c:pt>
                <c:pt idx="35505">
                  <c:v>27074</c:v>
                </c:pt>
                <c:pt idx="35506">
                  <c:v>27071</c:v>
                </c:pt>
                <c:pt idx="35507">
                  <c:v>27071</c:v>
                </c:pt>
                <c:pt idx="35508">
                  <c:v>27070</c:v>
                </c:pt>
                <c:pt idx="35509">
                  <c:v>27068</c:v>
                </c:pt>
                <c:pt idx="35510">
                  <c:v>27068</c:v>
                </c:pt>
                <c:pt idx="35511">
                  <c:v>27067</c:v>
                </c:pt>
                <c:pt idx="35512">
                  <c:v>27067</c:v>
                </c:pt>
                <c:pt idx="35513">
                  <c:v>27065</c:v>
                </c:pt>
                <c:pt idx="35514">
                  <c:v>27063</c:v>
                </c:pt>
                <c:pt idx="35515">
                  <c:v>27062</c:v>
                </c:pt>
                <c:pt idx="35516">
                  <c:v>27062</c:v>
                </c:pt>
                <c:pt idx="35517">
                  <c:v>27061</c:v>
                </c:pt>
                <c:pt idx="35518">
                  <c:v>27060</c:v>
                </c:pt>
                <c:pt idx="35519">
                  <c:v>27059</c:v>
                </c:pt>
                <c:pt idx="35520">
                  <c:v>27055</c:v>
                </c:pt>
                <c:pt idx="35521">
                  <c:v>27054</c:v>
                </c:pt>
                <c:pt idx="35522">
                  <c:v>27053</c:v>
                </c:pt>
                <c:pt idx="35523">
                  <c:v>27053</c:v>
                </c:pt>
                <c:pt idx="35524">
                  <c:v>27053</c:v>
                </c:pt>
                <c:pt idx="35525">
                  <c:v>27052</c:v>
                </c:pt>
                <c:pt idx="35526">
                  <c:v>27050</c:v>
                </c:pt>
                <c:pt idx="35527">
                  <c:v>27049</c:v>
                </c:pt>
                <c:pt idx="35528">
                  <c:v>27048</c:v>
                </c:pt>
                <c:pt idx="35529">
                  <c:v>27047</c:v>
                </c:pt>
                <c:pt idx="35530">
                  <c:v>27045</c:v>
                </c:pt>
                <c:pt idx="35531">
                  <c:v>27043</c:v>
                </c:pt>
                <c:pt idx="35532">
                  <c:v>27043</c:v>
                </c:pt>
                <c:pt idx="35533">
                  <c:v>27042</c:v>
                </c:pt>
                <c:pt idx="35534">
                  <c:v>27041</c:v>
                </c:pt>
                <c:pt idx="35535">
                  <c:v>27039</c:v>
                </c:pt>
                <c:pt idx="35536">
                  <c:v>27038</c:v>
                </c:pt>
                <c:pt idx="35537">
                  <c:v>27036</c:v>
                </c:pt>
                <c:pt idx="35538">
                  <c:v>27034</c:v>
                </c:pt>
                <c:pt idx="35539">
                  <c:v>27034</c:v>
                </c:pt>
                <c:pt idx="35540">
                  <c:v>27033</c:v>
                </c:pt>
                <c:pt idx="35541">
                  <c:v>27032</c:v>
                </c:pt>
                <c:pt idx="35542">
                  <c:v>27032</c:v>
                </c:pt>
                <c:pt idx="35543">
                  <c:v>27028</c:v>
                </c:pt>
                <c:pt idx="35544">
                  <c:v>27027</c:v>
                </c:pt>
                <c:pt idx="35545">
                  <c:v>27027</c:v>
                </c:pt>
                <c:pt idx="35546">
                  <c:v>27026</c:v>
                </c:pt>
                <c:pt idx="35547">
                  <c:v>27026</c:v>
                </c:pt>
                <c:pt idx="35548">
                  <c:v>27025</c:v>
                </c:pt>
                <c:pt idx="35549">
                  <c:v>27024</c:v>
                </c:pt>
                <c:pt idx="35550">
                  <c:v>27024</c:v>
                </c:pt>
                <c:pt idx="35551">
                  <c:v>27023</c:v>
                </c:pt>
                <c:pt idx="35552">
                  <c:v>27022</c:v>
                </c:pt>
                <c:pt idx="35553">
                  <c:v>27022</c:v>
                </c:pt>
                <c:pt idx="35554">
                  <c:v>27022</c:v>
                </c:pt>
                <c:pt idx="35555">
                  <c:v>27019</c:v>
                </c:pt>
                <c:pt idx="35556">
                  <c:v>27015</c:v>
                </c:pt>
                <c:pt idx="35557">
                  <c:v>27015</c:v>
                </c:pt>
                <c:pt idx="35558">
                  <c:v>27013</c:v>
                </c:pt>
                <c:pt idx="35559">
                  <c:v>27013</c:v>
                </c:pt>
                <c:pt idx="35560">
                  <c:v>27013</c:v>
                </c:pt>
                <c:pt idx="35561">
                  <c:v>27012</c:v>
                </c:pt>
                <c:pt idx="35562">
                  <c:v>27012</c:v>
                </c:pt>
                <c:pt idx="35563">
                  <c:v>27012</c:v>
                </c:pt>
                <c:pt idx="35564">
                  <c:v>27011</c:v>
                </c:pt>
                <c:pt idx="35565">
                  <c:v>27009</c:v>
                </c:pt>
                <c:pt idx="35566">
                  <c:v>27008</c:v>
                </c:pt>
                <c:pt idx="35567">
                  <c:v>27008</c:v>
                </c:pt>
                <c:pt idx="35568">
                  <c:v>27007</c:v>
                </c:pt>
                <c:pt idx="35569">
                  <c:v>27007</c:v>
                </c:pt>
                <c:pt idx="35570">
                  <c:v>27006</c:v>
                </c:pt>
                <c:pt idx="35571">
                  <c:v>27004</c:v>
                </c:pt>
                <c:pt idx="35572">
                  <c:v>27003</c:v>
                </c:pt>
                <c:pt idx="35573">
                  <c:v>27001</c:v>
                </c:pt>
                <c:pt idx="35574">
                  <c:v>27001</c:v>
                </c:pt>
                <c:pt idx="35575">
                  <c:v>27000</c:v>
                </c:pt>
                <c:pt idx="35576">
                  <c:v>27000</c:v>
                </c:pt>
                <c:pt idx="35577">
                  <c:v>26999</c:v>
                </c:pt>
                <c:pt idx="35578">
                  <c:v>26998</c:v>
                </c:pt>
                <c:pt idx="35579">
                  <c:v>26994</c:v>
                </c:pt>
                <c:pt idx="35580">
                  <c:v>26994</c:v>
                </c:pt>
                <c:pt idx="35581">
                  <c:v>26994</c:v>
                </c:pt>
                <c:pt idx="35582">
                  <c:v>26994</c:v>
                </c:pt>
                <c:pt idx="35583">
                  <c:v>26992</c:v>
                </c:pt>
                <c:pt idx="35584">
                  <c:v>26991</c:v>
                </c:pt>
                <c:pt idx="35585">
                  <c:v>26991</c:v>
                </c:pt>
                <c:pt idx="35586">
                  <c:v>26991</c:v>
                </c:pt>
                <c:pt idx="35587">
                  <c:v>26990</c:v>
                </c:pt>
                <c:pt idx="35588">
                  <c:v>26988</c:v>
                </c:pt>
                <c:pt idx="35589">
                  <c:v>26988</c:v>
                </c:pt>
                <c:pt idx="35590">
                  <c:v>26985</c:v>
                </c:pt>
                <c:pt idx="35591">
                  <c:v>26983</c:v>
                </c:pt>
                <c:pt idx="35592">
                  <c:v>26982</c:v>
                </c:pt>
                <c:pt idx="35593">
                  <c:v>26982</c:v>
                </c:pt>
                <c:pt idx="35594">
                  <c:v>26981</c:v>
                </c:pt>
                <c:pt idx="35595">
                  <c:v>26980</c:v>
                </c:pt>
                <c:pt idx="35596">
                  <c:v>26980</c:v>
                </c:pt>
                <c:pt idx="35597">
                  <c:v>26980</c:v>
                </c:pt>
                <c:pt idx="35598">
                  <c:v>26980</c:v>
                </c:pt>
                <c:pt idx="35599">
                  <c:v>26979</c:v>
                </c:pt>
                <c:pt idx="35600">
                  <c:v>26979</c:v>
                </c:pt>
                <c:pt idx="35601">
                  <c:v>26978</c:v>
                </c:pt>
                <c:pt idx="35602">
                  <c:v>26978</c:v>
                </c:pt>
                <c:pt idx="35603">
                  <c:v>26977</c:v>
                </c:pt>
                <c:pt idx="35604">
                  <c:v>26977</c:v>
                </c:pt>
                <c:pt idx="35605">
                  <c:v>26976</c:v>
                </c:pt>
                <c:pt idx="35606">
                  <c:v>26975</c:v>
                </c:pt>
                <c:pt idx="35607">
                  <c:v>26973</c:v>
                </c:pt>
                <c:pt idx="35608">
                  <c:v>26973</c:v>
                </c:pt>
                <c:pt idx="35609">
                  <c:v>26973</c:v>
                </c:pt>
                <c:pt idx="35610">
                  <c:v>26973</c:v>
                </c:pt>
                <c:pt idx="35611">
                  <c:v>26973</c:v>
                </c:pt>
                <c:pt idx="35612">
                  <c:v>26972</c:v>
                </c:pt>
                <c:pt idx="35613">
                  <c:v>26972</c:v>
                </c:pt>
                <c:pt idx="35614">
                  <c:v>26968</c:v>
                </c:pt>
                <c:pt idx="35615">
                  <c:v>26968</c:v>
                </c:pt>
                <c:pt idx="35616">
                  <c:v>26966</c:v>
                </c:pt>
                <c:pt idx="35617">
                  <c:v>26966</c:v>
                </c:pt>
                <c:pt idx="35618">
                  <c:v>26965</c:v>
                </c:pt>
                <c:pt idx="35619">
                  <c:v>26965</c:v>
                </c:pt>
                <c:pt idx="35620">
                  <c:v>26963</c:v>
                </c:pt>
                <c:pt idx="35621">
                  <c:v>26961</c:v>
                </c:pt>
                <c:pt idx="35622">
                  <c:v>26961</c:v>
                </c:pt>
                <c:pt idx="35623">
                  <c:v>26958</c:v>
                </c:pt>
                <c:pt idx="35624">
                  <c:v>26957</c:v>
                </c:pt>
                <c:pt idx="35625">
                  <c:v>26957</c:v>
                </c:pt>
                <c:pt idx="35626">
                  <c:v>26956</c:v>
                </c:pt>
                <c:pt idx="35627">
                  <c:v>26956</c:v>
                </c:pt>
                <c:pt idx="35628">
                  <c:v>26955</c:v>
                </c:pt>
                <c:pt idx="35629">
                  <c:v>26954</c:v>
                </c:pt>
                <c:pt idx="35630">
                  <c:v>26953</c:v>
                </c:pt>
                <c:pt idx="35631">
                  <c:v>26952</c:v>
                </c:pt>
                <c:pt idx="35632">
                  <c:v>26952</c:v>
                </c:pt>
                <c:pt idx="35633">
                  <c:v>26952</c:v>
                </c:pt>
                <c:pt idx="35634">
                  <c:v>26952</c:v>
                </c:pt>
                <c:pt idx="35635">
                  <c:v>26952</c:v>
                </c:pt>
                <c:pt idx="35636">
                  <c:v>26950</c:v>
                </c:pt>
                <c:pt idx="35637">
                  <c:v>26950</c:v>
                </c:pt>
                <c:pt idx="35638">
                  <c:v>26950</c:v>
                </c:pt>
                <c:pt idx="35639">
                  <c:v>26949</c:v>
                </c:pt>
                <c:pt idx="35640">
                  <c:v>26949</c:v>
                </c:pt>
                <c:pt idx="35641">
                  <c:v>26947</c:v>
                </c:pt>
                <c:pt idx="35642">
                  <c:v>26946</c:v>
                </c:pt>
                <c:pt idx="35643">
                  <c:v>26945</c:v>
                </c:pt>
                <c:pt idx="35644">
                  <c:v>26945</c:v>
                </c:pt>
                <c:pt idx="35645">
                  <c:v>26944</c:v>
                </c:pt>
                <c:pt idx="35646">
                  <c:v>26940</c:v>
                </c:pt>
                <c:pt idx="35647">
                  <c:v>26939</c:v>
                </c:pt>
                <c:pt idx="35648">
                  <c:v>26938</c:v>
                </c:pt>
                <c:pt idx="35649">
                  <c:v>26937</c:v>
                </c:pt>
                <c:pt idx="35650">
                  <c:v>26937</c:v>
                </c:pt>
                <c:pt idx="35651">
                  <c:v>26937</c:v>
                </c:pt>
                <c:pt idx="35652">
                  <c:v>26936</c:v>
                </c:pt>
                <c:pt idx="35653">
                  <c:v>26936</c:v>
                </c:pt>
                <c:pt idx="35654">
                  <c:v>26935</c:v>
                </c:pt>
                <c:pt idx="35655">
                  <c:v>26934</c:v>
                </c:pt>
                <c:pt idx="35656">
                  <c:v>26933</c:v>
                </c:pt>
                <c:pt idx="35657">
                  <c:v>26932</c:v>
                </c:pt>
                <c:pt idx="35658">
                  <c:v>26932</c:v>
                </c:pt>
                <c:pt idx="35659">
                  <c:v>26929</c:v>
                </c:pt>
                <c:pt idx="35660">
                  <c:v>26929</c:v>
                </c:pt>
                <c:pt idx="35661">
                  <c:v>26928</c:v>
                </c:pt>
                <c:pt idx="35662">
                  <c:v>26926</c:v>
                </c:pt>
                <c:pt idx="35663">
                  <c:v>26925</c:v>
                </c:pt>
                <c:pt idx="35664">
                  <c:v>26925</c:v>
                </c:pt>
                <c:pt idx="35665">
                  <c:v>26925</c:v>
                </c:pt>
                <c:pt idx="35666">
                  <c:v>26925</c:v>
                </c:pt>
                <c:pt idx="35667">
                  <c:v>26924</c:v>
                </c:pt>
                <c:pt idx="35668">
                  <c:v>26924</c:v>
                </c:pt>
                <c:pt idx="35669">
                  <c:v>26923</c:v>
                </c:pt>
                <c:pt idx="35670">
                  <c:v>26923</c:v>
                </c:pt>
                <c:pt idx="35671">
                  <c:v>26922</c:v>
                </c:pt>
                <c:pt idx="35672">
                  <c:v>26922</c:v>
                </c:pt>
                <c:pt idx="35673">
                  <c:v>26921</c:v>
                </c:pt>
                <c:pt idx="35674">
                  <c:v>26920</c:v>
                </c:pt>
                <c:pt idx="35675">
                  <c:v>26919</c:v>
                </c:pt>
                <c:pt idx="35676">
                  <c:v>26918</c:v>
                </c:pt>
                <c:pt idx="35677">
                  <c:v>26917</c:v>
                </c:pt>
                <c:pt idx="35678">
                  <c:v>26916</c:v>
                </c:pt>
                <c:pt idx="35679">
                  <c:v>26916</c:v>
                </c:pt>
                <c:pt idx="35680">
                  <c:v>26915</c:v>
                </c:pt>
                <c:pt idx="35681">
                  <c:v>26915</c:v>
                </c:pt>
                <c:pt idx="35682">
                  <c:v>26914</c:v>
                </c:pt>
                <c:pt idx="35683">
                  <c:v>26913</c:v>
                </c:pt>
                <c:pt idx="35684">
                  <c:v>26913</c:v>
                </c:pt>
                <c:pt idx="35685">
                  <c:v>26910</c:v>
                </c:pt>
                <c:pt idx="35686">
                  <c:v>26909</c:v>
                </c:pt>
                <c:pt idx="35687">
                  <c:v>26908</c:v>
                </c:pt>
                <c:pt idx="35688">
                  <c:v>26907</c:v>
                </c:pt>
                <c:pt idx="35689">
                  <c:v>26907</c:v>
                </c:pt>
                <c:pt idx="35690">
                  <c:v>26907</c:v>
                </c:pt>
                <c:pt idx="35691">
                  <c:v>26906</c:v>
                </c:pt>
                <c:pt idx="35692">
                  <c:v>26906</c:v>
                </c:pt>
                <c:pt idx="35693">
                  <c:v>26904</c:v>
                </c:pt>
                <c:pt idx="35694">
                  <c:v>26904</c:v>
                </c:pt>
                <c:pt idx="35695">
                  <c:v>26903</c:v>
                </c:pt>
                <c:pt idx="35696">
                  <c:v>26902</c:v>
                </c:pt>
                <c:pt idx="35697">
                  <c:v>26902</c:v>
                </c:pt>
                <c:pt idx="35698">
                  <c:v>26901</c:v>
                </c:pt>
                <c:pt idx="35699">
                  <c:v>26899</c:v>
                </c:pt>
                <c:pt idx="35700">
                  <c:v>26898</c:v>
                </c:pt>
                <c:pt idx="35701">
                  <c:v>26898</c:v>
                </c:pt>
                <c:pt idx="35702">
                  <c:v>26894</c:v>
                </c:pt>
                <c:pt idx="35703">
                  <c:v>26894</c:v>
                </c:pt>
                <c:pt idx="35704">
                  <c:v>26894</c:v>
                </c:pt>
                <c:pt idx="35705">
                  <c:v>26893</c:v>
                </c:pt>
                <c:pt idx="35706">
                  <c:v>26893</c:v>
                </c:pt>
                <c:pt idx="35707">
                  <c:v>26892</c:v>
                </c:pt>
                <c:pt idx="35708">
                  <c:v>26891</c:v>
                </c:pt>
                <c:pt idx="35709">
                  <c:v>26891</c:v>
                </c:pt>
                <c:pt idx="35710">
                  <c:v>26889</c:v>
                </c:pt>
                <c:pt idx="35711">
                  <c:v>26888</c:v>
                </c:pt>
                <c:pt idx="35712">
                  <c:v>26887</c:v>
                </c:pt>
                <c:pt idx="35713">
                  <c:v>26884</c:v>
                </c:pt>
                <c:pt idx="35714">
                  <c:v>26883</c:v>
                </c:pt>
                <c:pt idx="35715">
                  <c:v>26881</c:v>
                </c:pt>
                <c:pt idx="35716">
                  <c:v>26880</c:v>
                </c:pt>
                <c:pt idx="35717">
                  <c:v>26880</c:v>
                </c:pt>
                <c:pt idx="35718">
                  <c:v>26879</c:v>
                </c:pt>
                <c:pt idx="35719">
                  <c:v>26879</c:v>
                </c:pt>
                <c:pt idx="35720">
                  <c:v>26878</c:v>
                </c:pt>
                <c:pt idx="35721">
                  <c:v>26878</c:v>
                </c:pt>
                <c:pt idx="35722">
                  <c:v>26878</c:v>
                </c:pt>
                <c:pt idx="35723">
                  <c:v>26877</c:v>
                </c:pt>
                <c:pt idx="35724">
                  <c:v>26876</c:v>
                </c:pt>
                <c:pt idx="35725">
                  <c:v>26874</c:v>
                </c:pt>
                <c:pt idx="35726">
                  <c:v>26874</c:v>
                </c:pt>
                <c:pt idx="35727">
                  <c:v>26873</c:v>
                </c:pt>
                <c:pt idx="35728">
                  <c:v>26872</c:v>
                </c:pt>
                <c:pt idx="35729">
                  <c:v>26871</c:v>
                </c:pt>
                <c:pt idx="35730">
                  <c:v>26871</c:v>
                </c:pt>
                <c:pt idx="35731">
                  <c:v>26871</c:v>
                </c:pt>
                <c:pt idx="35732">
                  <c:v>26871</c:v>
                </c:pt>
                <c:pt idx="35733">
                  <c:v>26871</c:v>
                </c:pt>
                <c:pt idx="35734">
                  <c:v>26870</c:v>
                </c:pt>
                <c:pt idx="35735">
                  <c:v>26870</c:v>
                </c:pt>
                <c:pt idx="35736">
                  <c:v>26869</c:v>
                </c:pt>
                <c:pt idx="35737">
                  <c:v>26869</c:v>
                </c:pt>
                <c:pt idx="35738">
                  <c:v>26869</c:v>
                </c:pt>
                <c:pt idx="35739">
                  <c:v>26865</c:v>
                </c:pt>
                <c:pt idx="35740">
                  <c:v>26864</c:v>
                </c:pt>
                <c:pt idx="35741">
                  <c:v>26864</c:v>
                </c:pt>
                <c:pt idx="35742">
                  <c:v>26863</c:v>
                </c:pt>
                <c:pt idx="35743">
                  <c:v>26863</c:v>
                </c:pt>
                <c:pt idx="35744">
                  <c:v>26861</c:v>
                </c:pt>
                <c:pt idx="35745">
                  <c:v>26859</c:v>
                </c:pt>
                <c:pt idx="35746">
                  <c:v>26858</c:v>
                </c:pt>
                <c:pt idx="35747">
                  <c:v>26856</c:v>
                </c:pt>
                <c:pt idx="35748">
                  <c:v>26855</c:v>
                </c:pt>
                <c:pt idx="35749">
                  <c:v>26855</c:v>
                </c:pt>
                <c:pt idx="35750">
                  <c:v>26854</c:v>
                </c:pt>
                <c:pt idx="35751">
                  <c:v>26854</c:v>
                </c:pt>
                <c:pt idx="35752">
                  <c:v>26852</c:v>
                </c:pt>
                <c:pt idx="35753">
                  <c:v>26850</c:v>
                </c:pt>
                <c:pt idx="35754">
                  <c:v>26850</c:v>
                </c:pt>
                <c:pt idx="35755">
                  <c:v>26848</c:v>
                </c:pt>
                <c:pt idx="35756">
                  <c:v>26848</c:v>
                </c:pt>
                <c:pt idx="35757">
                  <c:v>26847</c:v>
                </c:pt>
                <c:pt idx="35758">
                  <c:v>26847</c:v>
                </c:pt>
                <c:pt idx="35759">
                  <c:v>26847</c:v>
                </c:pt>
                <c:pt idx="35760">
                  <c:v>26846</c:v>
                </c:pt>
                <c:pt idx="35761">
                  <c:v>26845</c:v>
                </c:pt>
                <c:pt idx="35762">
                  <c:v>26845</c:v>
                </c:pt>
                <c:pt idx="35763">
                  <c:v>26844</c:v>
                </c:pt>
                <c:pt idx="35764">
                  <c:v>26843</c:v>
                </c:pt>
                <c:pt idx="35765">
                  <c:v>26843</c:v>
                </c:pt>
                <c:pt idx="35766">
                  <c:v>26843</c:v>
                </c:pt>
                <c:pt idx="35767">
                  <c:v>26843</c:v>
                </c:pt>
                <c:pt idx="35768">
                  <c:v>26840</c:v>
                </c:pt>
                <c:pt idx="35769">
                  <c:v>26839</c:v>
                </c:pt>
                <c:pt idx="35770">
                  <c:v>26837</c:v>
                </c:pt>
                <c:pt idx="35771">
                  <c:v>26835</c:v>
                </c:pt>
                <c:pt idx="35772">
                  <c:v>26834</c:v>
                </c:pt>
                <c:pt idx="35773">
                  <c:v>26834</c:v>
                </c:pt>
                <c:pt idx="35774">
                  <c:v>26833</c:v>
                </c:pt>
                <c:pt idx="35775">
                  <c:v>26830</c:v>
                </c:pt>
                <c:pt idx="35776">
                  <c:v>26829</c:v>
                </c:pt>
                <c:pt idx="35777">
                  <c:v>26829</c:v>
                </c:pt>
                <c:pt idx="35778">
                  <c:v>26829</c:v>
                </c:pt>
                <c:pt idx="35779">
                  <c:v>26828</c:v>
                </c:pt>
                <c:pt idx="35780">
                  <c:v>26828</c:v>
                </c:pt>
                <c:pt idx="35781">
                  <c:v>26827</c:v>
                </c:pt>
                <c:pt idx="35782">
                  <c:v>26826</c:v>
                </c:pt>
                <c:pt idx="35783">
                  <c:v>26825</c:v>
                </c:pt>
                <c:pt idx="35784">
                  <c:v>26824</c:v>
                </c:pt>
                <c:pt idx="35785">
                  <c:v>26822</c:v>
                </c:pt>
                <c:pt idx="35786">
                  <c:v>26821</c:v>
                </c:pt>
                <c:pt idx="35787">
                  <c:v>26821</c:v>
                </c:pt>
                <c:pt idx="35788">
                  <c:v>26821</c:v>
                </c:pt>
                <c:pt idx="35789">
                  <c:v>26819</c:v>
                </c:pt>
                <c:pt idx="35790">
                  <c:v>26819</c:v>
                </c:pt>
                <c:pt idx="35791">
                  <c:v>26818</c:v>
                </c:pt>
                <c:pt idx="35792">
                  <c:v>26816</c:v>
                </c:pt>
                <c:pt idx="35793">
                  <c:v>26816</c:v>
                </c:pt>
                <c:pt idx="35794">
                  <c:v>26816</c:v>
                </c:pt>
                <c:pt idx="35795">
                  <c:v>26816</c:v>
                </c:pt>
                <c:pt idx="35796">
                  <c:v>26813</c:v>
                </c:pt>
                <c:pt idx="35797">
                  <c:v>26813</c:v>
                </c:pt>
                <c:pt idx="35798">
                  <c:v>26811</c:v>
                </c:pt>
                <c:pt idx="35799">
                  <c:v>26810</c:v>
                </c:pt>
                <c:pt idx="35800">
                  <c:v>26809</c:v>
                </c:pt>
                <c:pt idx="35801">
                  <c:v>26809</c:v>
                </c:pt>
                <c:pt idx="35802">
                  <c:v>26806</c:v>
                </c:pt>
                <c:pt idx="35803">
                  <c:v>26806</c:v>
                </c:pt>
                <c:pt idx="35804">
                  <c:v>26805</c:v>
                </c:pt>
                <c:pt idx="35805">
                  <c:v>26804</c:v>
                </c:pt>
                <c:pt idx="35806">
                  <c:v>26804</c:v>
                </c:pt>
                <c:pt idx="35807">
                  <c:v>26803</c:v>
                </c:pt>
                <c:pt idx="35808">
                  <c:v>26802</c:v>
                </c:pt>
                <c:pt idx="35809">
                  <c:v>26801</c:v>
                </c:pt>
                <c:pt idx="35810">
                  <c:v>26800</c:v>
                </c:pt>
                <c:pt idx="35811">
                  <c:v>26797</c:v>
                </c:pt>
                <c:pt idx="35812">
                  <c:v>26797</c:v>
                </c:pt>
                <c:pt idx="35813">
                  <c:v>26797</c:v>
                </c:pt>
                <c:pt idx="35814">
                  <c:v>26796</c:v>
                </c:pt>
                <c:pt idx="35815">
                  <c:v>26796</c:v>
                </c:pt>
                <c:pt idx="35816">
                  <c:v>26795</c:v>
                </c:pt>
                <c:pt idx="35817">
                  <c:v>26794</c:v>
                </c:pt>
                <c:pt idx="35818">
                  <c:v>26793</c:v>
                </c:pt>
                <c:pt idx="35819">
                  <c:v>26792</c:v>
                </c:pt>
                <c:pt idx="35820">
                  <c:v>26792</c:v>
                </c:pt>
                <c:pt idx="35821">
                  <c:v>26790</c:v>
                </c:pt>
                <c:pt idx="35822">
                  <c:v>26789</c:v>
                </c:pt>
                <c:pt idx="35823">
                  <c:v>26789</c:v>
                </c:pt>
                <c:pt idx="35824">
                  <c:v>26789</c:v>
                </c:pt>
                <c:pt idx="35825">
                  <c:v>26788</c:v>
                </c:pt>
                <c:pt idx="35826">
                  <c:v>26788</c:v>
                </c:pt>
                <c:pt idx="35827">
                  <c:v>26787</c:v>
                </c:pt>
                <c:pt idx="35828">
                  <c:v>26787</c:v>
                </c:pt>
                <c:pt idx="35829">
                  <c:v>26786</c:v>
                </c:pt>
                <c:pt idx="35830">
                  <c:v>26785</c:v>
                </c:pt>
                <c:pt idx="35831">
                  <c:v>26785</c:v>
                </c:pt>
                <c:pt idx="35832">
                  <c:v>26784</c:v>
                </c:pt>
                <c:pt idx="35833">
                  <c:v>26781</c:v>
                </c:pt>
                <c:pt idx="35834">
                  <c:v>26778</c:v>
                </c:pt>
                <c:pt idx="35835">
                  <c:v>26778</c:v>
                </c:pt>
                <c:pt idx="35836">
                  <c:v>26777</c:v>
                </c:pt>
                <c:pt idx="35837">
                  <c:v>26776</c:v>
                </c:pt>
                <c:pt idx="35838">
                  <c:v>26776</c:v>
                </c:pt>
                <c:pt idx="35839">
                  <c:v>26774</c:v>
                </c:pt>
                <c:pt idx="35840">
                  <c:v>26774</c:v>
                </c:pt>
                <c:pt idx="35841">
                  <c:v>26772</c:v>
                </c:pt>
                <c:pt idx="35842">
                  <c:v>26771</c:v>
                </c:pt>
                <c:pt idx="35843">
                  <c:v>26771</c:v>
                </c:pt>
                <c:pt idx="35844">
                  <c:v>26770</c:v>
                </c:pt>
                <c:pt idx="35845">
                  <c:v>26770</c:v>
                </c:pt>
                <c:pt idx="35846">
                  <c:v>26769</c:v>
                </c:pt>
                <c:pt idx="35847">
                  <c:v>26768</c:v>
                </c:pt>
                <c:pt idx="35848">
                  <c:v>26767</c:v>
                </c:pt>
                <c:pt idx="35849">
                  <c:v>26765</c:v>
                </c:pt>
                <c:pt idx="35850">
                  <c:v>26764</c:v>
                </c:pt>
                <c:pt idx="35851">
                  <c:v>26763</c:v>
                </c:pt>
                <c:pt idx="35852">
                  <c:v>26759</c:v>
                </c:pt>
                <c:pt idx="35853">
                  <c:v>26758</c:v>
                </c:pt>
                <c:pt idx="35854">
                  <c:v>26757</c:v>
                </c:pt>
                <c:pt idx="35855">
                  <c:v>26757</c:v>
                </c:pt>
                <c:pt idx="35856">
                  <c:v>26757</c:v>
                </c:pt>
                <c:pt idx="35857">
                  <c:v>26756</c:v>
                </c:pt>
                <c:pt idx="35858">
                  <c:v>26756</c:v>
                </c:pt>
                <c:pt idx="35859">
                  <c:v>26755</c:v>
                </c:pt>
                <c:pt idx="35860">
                  <c:v>26755</c:v>
                </c:pt>
                <c:pt idx="35861">
                  <c:v>26754</c:v>
                </c:pt>
                <c:pt idx="35862">
                  <c:v>26754</c:v>
                </c:pt>
                <c:pt idx="35863">
                  <c:v>26750</c:v>
                </c:pt>
                <c:pt idx="35864">
                  <c:v>26748</c:v>
                </c:pt>
                <c:pt idx="35865">
                  <c:v>26747</c:v>
                </c:pt>
                <c:pt idx="35866">
                  <c:v>26745</c:v>
                </c:pt>
                <c:pt idx="35867">
                  <c:v>26745</c:v>
                </c:pt>
                <c:pt idx="35868">
                  <c:v>26744</c:v>
                </c:pt>
                <c:pt idx="35869">
                  <c:v>26743</c:v>
                </c:pt>
                <c:pt idx="35870">
                  <c:v>26741</c:v>
                </c:pt>
                <c:pt idx="35871">
                  <c:v>26740</c:v>
                </c:pt>
                <c:pt idx="35872">
                  <c:v>26740</c:v>
                </c:pt>
                <c:pt idx="35873">
                  <c:v>26739</c:v>
                </c:pt>
                <c:pt idx="35874">
                  <c:v>26738</c:v>
                </c:pt>
                <c:pt idx="35875">
                  <c:v>26736</c:v>
                </c:pt>
                <c:pt idx="35876">
                  <c:v>26732</c:v>
                </c:pt>
                <c:pt idx="35877">
                  <c:v>26731</c:v>
                </c:pt>
                <c:pt idx="35878">
                  <c:v>26731</c:v>
                </c:pt>
                <c:pt idx="35879">
                  <c:v>26731</c:v>
                </c:pt>
                <c:pt idx="35880">
                  <c:v>26730</c:v>
                </c:pt>
                <c:pt idx="35881">
                  <c:v>26730</c:v>
                </c:pt>
                <c:pt idx="35882">
                  <c:v>26730</c:v>
                </c:pt>
                <c:pt idx="35883">
                  <c:v>26730</c:v>
                </c:pt>
                <c:pt idx="35884">
                  <c:v>26728</c:v>
                </c:pt>
                <c:pt idx="35885">
                  <c:v>26728</c:v>
                </c:pt>
                <c:pt idx="35886">
                  <c:v>26727</c:v>
                </c:pt>
                <c:pt idx="35887">
                  <c:v>26727</c:v>
                </c:pt>
                <c:pt idx="35888">
                  <c:v>26726</c:v>
                </c:pt>
                <c:pt idx="35889">
                  <c:v>26726</c:v>
                </c:pt>
                <c:pt idx="35890">
                  <c:v>26725</c:v>
                </c:pt>
                <c:pt idx="35891">
                  <c:v>26725</c:v>
                </c:pt>
                <c:pt idx="35892">
                  <c:v>26725</c:v>
                </c:pt>
                <c:pt idx="35893">
                  <c:v>26725</c:v>
                </c:pt>
                <c:pt idx="35894">
                  <c:v>26724</c:v>
                </c:pt>
                <c:pt idx="35895">
                  <c:v>26724</c:v>
                </c:pt>
                <c:pt idx="35896">
                  <c:v>26724</c:v>
                </c:pt>
                <c:pt idx="35897">
                  <c:v>26724</c:v>
                </c:pt>
                <c:pt idx="35898">
                  <c:v>26721</c:v>
                </c:pt>
                <c:pt idx="35899">
                  <c:v>26721</c:v>
                </c:pt>
                <c:pt idx="35900">
                  <c:v>26721</c:v>
                </c:pt>
                <c:pt idx="35901">
                  <c:v>26719</c:v>
                </c:pt>
                <c:pt idx="35902">
                  <c:v>26715</c:v>
                </c:pt>
                <c:pt idx="35903">
                  <c:v>26715</c:v>
                </c:pt>
                <c:pt idx="35904">
                  <c:v>26715</c:v>
                </c:pt>
                <c:pt idx="35905">
                  <c:v>26715</c:v>
                </c:pt>
                <c:pt idx="35906">
                  <c:v>26713</c:v>
                </c:pt>
                <c:pt idx="35907">
                  <c:v>26711</c:v>
                </c:pt>
                <c:pt idx="35908">
                  <c:v>26710</c:v>
                </c:pt>
                <c:pt idx="35909">
                  <c:v>26709</c:v>
                </c:pt>
                <c:pt idx="35910">
                  <c:v>26709</c:v>
                </c:pt>
                <c:pt idx="35911">
                  <c:v>26708</c:v>
                </c:pt>
                <c:pt idx="35912">
                  <c:v>26708</c:v>
                </c:pt>
                <c:pt idx="35913">
                  <c:v>26707</c:v>
                </c:pt>
                <c:pt idx="35914">
                  <c:v>26705</c:v>
                </c:pt>
                <c:pt idx="35915">
                  <c:v>26703</c:v>
                </c:pt>
                <c:pt idx="35916">
                  <c:v>26703</c:v>
                </c:pt>
                <c:pt idx="35917">
                  <c:v>26703</c:v>
                </c:pt>
                <c:pt idx="35918">
                  <c:v>26702</c:v>
                </c:pt>
                <c:pt idx="35919">
                  <c:v>26701</c:v>
                </c:pt>
                <c:pt idx="35920">
                  <c:v>26700</c:v>
                </c:pt>
                <c:pt idx="35921">
                  <c:v>26699</c:v>
                </c:pt>
                <c:pt idx="35922">
                  <c:v>26698</c:v>
                </c:pt>
                <c:pt idx="35923">
                  <c:v>26697</c:v>
                </c:pt>
                <c:pt idx="35924">
                  <c:v>26696</c:v>
                </c:pt>
                <c:pt idx="35925">
                  <c:v>26694</c:v>
                </c:pt>
                <c:pt idx="35926">
                  <c:v>26692</c:v>
                </c:pt>
                <c:pt idx="35927">
                  <c:v>26692</c:v>
                </c:pt>
                <c:pt idx="35928">
                  <c:v>26690</c:v>
                </c:pt>
                <c:pt idx="35929">
                  <c:v>26686</c:v>
                </c:pt>
                <c:pt idx="35930">
                  <c:v>26685</c:v>
                </c:pt>
                <c:pt idx="35931">
                  <c:v>26685</c:v>
                </c:pt>
                <c:pt idx="35932">
                  <c:v>26685</c:v>
                </c:pt>
                <c:pt idx="35933">
                  <c:v>26682</c:v>
                </c:pt>
                <c:pt idx="35934">
                  <c:v>26679</c:v>
                </c:pt>
                <c:pt idx="35935">
                  <c:v>26679</c:v>
                </c:pt>
                <c:pt idx="35936">
                  <c:v>26676</c:v>
                </c:pt>
                <c:pt idx="35937">
                  <c:v>26675</c:v>
                </c:pt>
                <c:pt idx="35938">
                  <c:v>26672</c:v>
                </c:pt>
                <c:pt idx="35939">
                  <c:v>26672</c:v>
                </c:pt>
                <c:pt idx="35940">
                  <c:v>26670</c:v>
                </c:pt>
                <c:pt idx="35941">
                  <c:v>26669</c:v>
                </c:pt>
                <c:pt idx="35942">
                  <c:v>26668</c:v>
                </c:pt>
                <c:pt idx="35943">
                  <c:v>26668</c:v>
                </c:pt>
                <c:pt idx="35944">
                  <c:v>26666</c:v>
                </c:pt>
                <c:pt idx="35945">
                  <c:v>26666</c:v>
                </c:pt>
                <c:pt idx="35946">
                  <c:v>26665</c:v>
                </c:pt>
                <c:pt idx="35947">
                  <c:v>26665</c:v>
                </c:pt>
                <c:pt idx="35948">
                  <c:v>26665</c:v>
                </c:pt>
                <c:pt idx="35949">
                  <c:v>26665</c:v>
                </c:pt>
                <c:pt idx="35950">
                  <c:v>26664</c:v>
                </c:pt>
                <c:pt idx="35951">
                  <c:v>26663</c:v>
                </c:pt>
                <c:pt idx="35952">
                  <c:v>26661</c:v>
                </c:pt>
                <c:pt idx="35953">
                  <c:v>26661</c:v>
                </c:pt>
                <c:pt idx="35954">
                  <c:v>26661</c:v>
                </c:pt>
                <c:pt idx="35955">
                  <c:v>26659</c:v>
                </c:pt>
                <c:pt idx="35956">
                  <c:v>26659</c:v>
                </c:pt>
                <c:pt idx="35957">
                  <c:v>26658</c:v>
                </c:pt>
                <c:pt idx="35958">
                  <c:v>26658</c:v>
                </c:pt>
                <c:pt idx="35959">
                  <c:v>26657</c:v>
                </c:pt>
                <c:pt idx="35960">
                  <c:v>26656</c:v>
                </c:pt>
                <c:pt idx="35961">
                  <c:v>26656</c:v>
                </c:pt>
                <c:pt idx="35962">
                  <c:v>26656</c:v>
                </c:pt>
                <c:pt idx="35963">
                  <c:v>26656</c:v>
                </c:pt>
                <c:pt idx="35964">
                  <c:v>26655</c:v>
                </c:pt>
                <c:pt idx="35965">
                  <c:v>26654</c:v>
                </c:pt>
                <c:pt idx="35966">
                  <c:v>26653</c:v>
                </c:pt>
                <c:pt idx="35967">
                  <c:v>26653</c:v>
                </c:pt>
                <c:pt idx="35968">
                  <c:v>26652</c:v>
                </c:pt>
                <c:pt idx="35969">
                  <c:v>26651</c:v>
                </c:pt>
                <c:pt idx="35970">
                  <c:v>26651</c:v>
                </c:pt>
                <c:pt idx="35971">
                  <c:v>26651</c:v>
                </c:pt>
                <c:pt idx="35972">
                  <c:v>26650</c:v>
                </c:pt>
                <c:pt idx="35973">
                  <c:v>26650</c:v>
                </c:pt>
                <c:pt idx="35974">
                  <c:v>26649</c:v>
                </c:pt>
                <c:pt idx="35975">
                  <c:v>26649</c:v>
                </c:pt>
                <c:pt idx="35976">
                  <c:v>26648</c:v>
                </c:pt>
                <c:pt idx="35977">
                  <c:v>26646</c:v>
                </c:pt>
                <c:pt idx="35978">
                  <c:v>26645</c:v>
                </c:pt>
                <c:pt idx="35979">
                  <c:v>26645</c:v>
                </c:pt>
                <c:pt idx="35980">
                  <c:v>26645</c:v>
                </c:pt>
                <c:pt idx="35981">
                  <c:v>26645</c:v>
                </c:pt>
                <c:pt idx="35982">
                  <c:v>26644</c:v>
                </c:pt>
                <c:pt idx="35983">
                  <c:v>26643</c:v>
                </c:pt>
                <c:pt idx="35984">
                  <c:v>26641</c:v>
                </c:pt>
                <c:pt idx="35985">
                  <c:v>26641</c:v>
                </c:pt>
                <c:pt idx="35986">
                  <c:v>26640</c:v>
                </c:pt>
                <c:pt idx="35987">
                  <c:v>26638</c:v>
                </c:pt>
                <c:pt idx="35988">
                  <c:v>26638</c:v>
                </c:pt>
                <c:pt idx="35989">
                  <c:v>26636</c:v>
                </c:pt>
                <c:pt idx="35990">
                  <c:v>26635</c:v>
                </c:pt>
                <c:pt idx="35991">
                  <c:v>26634</c:v>
                </c:pt>
                <c:pt idx="35992">
                  <c:v>26634</c:v>
                </c:pt>
                <c:pt idx="35993">
                  <c:v>26631</c:v>
                </c:pt>
                <c:pt idx="35994">
                  <c:v>26631</c:v>
                </c:pt>
                <c:pt idx="35995">
                  <c:v>26631</c:v>
                </c:pt>
                <c:pt idx="35996">
                  <c:v>26630</c:v>
                </c:pt>
                <c:pt idx="35997">
                  <c:v>26627</c:v>
                </c:pt>
                <c:pt idx="35998">
                  <c:v>26625</c:v>
                </c:pt>
                <c:pt idx="35999">
                  <c:v>26625</c:v>
                </c:pt>
                <c:pt idx="36000">
                  <c:v>26624</c:v>
                </c:pt>
                <c:pt idx="36001">
                  <c:v>26624</c:v>
                </c:pt>
                <c:pt idx="36002">
                  <c:v>26623</c:v>
                </c:pt>
                <c:pt idx="36003">
                  <c:v>26621</c:v>
                </c:pt>
                <c:pt idx="36004">
                  <c:v>26620</c:v>
                </c:pt>
                <c:pt idx="36005">
                  <c:v>26620</c:v>
                </c:pt>
                <c:pt idx="36006">
                  <c:v>26620</c:v>
                </c:pt>
                <c:pt idx="36007">
                  <c:v>26619</c:v>
                </c:pt>
                <c:pt idx="36008">
                  <c:v>26619</c:v>
                </c:pt>
                <c:pt idx="36009">
                  <c:v>26619</c:v>
                </c:pt>
                <c:pt idx="36010">
                  <c:v>26619</c:v>
                </c:pt>
                <c:pt idx="36011">
                  <c:v>26618</c:v>
                </c:pt>
                <c:pt idx="36012">
                  <c:v>26617</c:v>
                </c:pt>
                <c:pt idx="36013">
                  <c:v>26616</c:v>
                </c:pt>
                <c:pt idx="36014">
                  <c:v>26616</c:v>
                </c:pt>
                <c:pt idx="36015">
                  <c:v>26615</c:v>
                </c:pt>
                <c:pt idx="36016">
                  <c:v>26612</c:v>
                </c:pt>
                <c:pt idx="36017">
                  <c:v>26611</c:v>
                </c:pt>
                <c:pt idx="36018">
                  <c:v>26611</c:v>
                </c:pt>
                <c:pt idx="36019">
                  <c:v>26610</c:v>
                </c:pt>
                <c:pt idx="36020">
                  <c:v>26608</c:v>
                </c:pt>
                <c:pt idx="36021">
                  <c:v>26607</c:v>
                </c:pt>
                <c:pt idx="36022">
                  <c:v>26607</c:v>
                </c:pt>
                <c:pt idx="36023">
                  <c:v>26607</c:v>
                </c:pt>
                <c:pt idx="36024">
                  <c:v>26606</c:v>
                </c:pt>
                <c:pt idx="36025">
                  <c:v>26606</c:v>
                </c:pt>
                <c:pt idx="36026">
                  <c:v>26606</c:v>
                </c:pt>
                <c:pt idx="36027">
                  <c:v>26605</c:v>
                </c:pt>
                <c:pt idx="36028">
                  <c:v>26604</c:v>
                </c:pt>
                <c:pt idx="36029">
                  <c:v>26602</c:v>
                </c:pt>
                <c:pt idx="36030">
                  <c:v>26602</c:v>
                </c:pt>
                <c:pt idx="36031">
                  <c:v>26601</c:v>
                </c:pt>
                <c:pt idx="36032">
                  <c:v>26601</c:v>
                </c:pt>
                <c:pt idx="36033">
                  <c:v>26600</c:v>
                </c:pt>
                <c:pt idx="36034">
                  <c:v>26600</c:v>
                </c:pt>
                <c:pt idx="36035">
                  <c:v>26600</c:v>
                </c:pt>
                <c:pt idx="36036">
                  <c:v>26598</c:v>
                </c:pt>
                <c:pt idx="36037">
                  <c:v>26597</c:v>
                </c:pt>
                <c:pt idx="36038">
                  <c:v>26597</c:v>
                </c:pt>
                <c:pt idx="36039">
                  <c:v>26596</c:v>
                </c:pt>
                <c:pt idx="36040">
                  <c:v>26595</c:v>
                </c:pt>
                <c:pt idx="36041">
                  <c:v>26595</c:v>
                </c:pt>
                <c:pt idx="36042">
                  <c:v>26594</c:v>
                </c:pt>
                <c:pt idx="36043">
                  <c:v>26594</c:v>
                </c:pt>
                <c:pt idx="36044">
                  <c:v>26593</c:v>
                </c:pt>
                <c:pt idx="36045">
                  <c:v>26592</c:v>
                </c:pt>
                <c:pt idx="36046">
                  <c:v>26591</c:v>
                </c:pt>
                <c:pt idx="36047">
                  <c:v>26591</c:v>
                </c:pt>
                <c:pt idx="36048">
                  <c:v>26590</c:v>
                </c:pt>
                <c:pt idx="36049">
                  <c:v>26590</c:v>
                </c:pt>
                <c:pt idx="36050">
                  <c:v>26590</c:v>
                </c:pt>
                <c:pt idx="36051">
                  <c:v>26589</c:v>
                </c:pt>
                <c:pt idx="36052">
                  <c:v>26588</c:v>
                </c:pt>
                <c:pt idx="36053">
                  <c:v>26588</c:v>
                </c:pt>
                <c:pt idx="36054">
                  <c:v>26583</c:v>
                </c:pt>
                <c:pt idx="36055">
                  <c:v>26583</c:v>
                </c:pt>
                <c:pt idx="36056">
                  <c:v>26582</c:v>
                </c:pt>
                <c:pt idx="36057">
                  <c:v>26582</c:v>
                </c:pt>
                <c:pt idx="36058">
                  <c:v>26582</c:v>
                </c:pt>
                <c:pt idx="36059">
                  <c:v>26582</c:v>
                </c:pt>
                <c:pt idx="36060">
                  <c:v>26581</c:v>
                </c:pt>
                <c:pt idx="36061">
                  <c:v>26580</c:v>
                </c:pt>
                <c:pt idx="36062">
                  <c:v>26578</c:v>
                </c:pt>
                <c:pt idx="36063">
                  <c:v>26578</c:v>
                </c:pt>
                <c:pt idx="36064">
                  <c:v>26573</c:v>
                </c:pt>
                <c:pt idx="36065">
                  <c:v>26572</c:v>
                </c:pt>
                <c:pt idx="36066">
                  <c:v>26572</c:v>
                </c:pt>
                <c:pt idx="36067">
                  <c:v>26571</c:v>
                </c:pt>
                <c:pt idx="36068">
                  <c:v>26571</c:v>
                </c:pt>
                <c:pt idx="36069">
                  <c:v>26570</c:v>
                </c:pt>
                <c:pt idx="36070">
                  <c:v>26569</c:v>
                </c:pt>
                <c:pt idx="36071">
                  <c:v>26567</c:v>
                </c:pt>
                <c:pt idx="36072">
                  <c:v>26567</c:v>
                </c:pt>
                <c:pt idx="36073">
                  <c:v>26565</c:v>
                </c:pt>
                <c:pt idx="36074">
                  <c:v>26564</c:v>
                </c:pt>
                <c:pt idx="36075">
                  <c:v>26564</c:v>
                </c:pt>
                <c:pt idx="36076">
                  <c:v>26563</c:v>
                </c:pt>
                <c:pt idx="36077">
                  <c:v>26562</c:v>
                </c:pt>
                <c:pt idx="36078">
                  <c:v>26561</c:v>
                </c:pt>
                <c:pt idx="36079">
                  <c:v>26560</c:v>
                </c:pt>
                <c:pt idx="36080">
                  <c:v>26559</c:v>
                </c:pt>
                <c:pt idx="36081">
                  <c:v>26559</c:v>
                </c:pt>
                <c:pt idx="36082">
                  <c:v>26559</c:v>
                </c:pt>
                <c:pt idx="36083">
                  <c:v>26558</c:v>
                </c:pt>
                <c:pt idx="36084">
                  <c:v>26557</c:v>
                </c:pt>
                <c:pt idx="36085">
                  <c:v>26555</c:v>
                </c:pt>
                <c:pt idx="36086">
                  <c:v>26554</c:v>
                </c:pt>
                <c:pt idx="36087">
                  <c:v>26553</c:v>
                </c:pt>
                <c:pt idx="36088">
                  <c:v>26551</c:v>
                </c:pt>
                <c:pt idx="36089">
                  <c:v>26550</c:v>
                </c:pt>
                <c:pt idx="36090">
                  <c:v>26550</c:v>
                </c:pt>
                <c:pt idx="36091">
                  <c:v>26547</c:v>
                </c:pt>
                <c:pt idx="36092">
                  <c:v>26547</c:v>
                </c:pt>
                <c:pt idx="36093">
                  <c:v>26545</c:v>
                </c:pt>
                <c:pt idx="36094">
                  <c:v>26544</c:v>
                </c:pt>
                <c:pt idx="36095">
                  <c:v>26544</c:v>
                </c:pt>
                <c:pt idx="36096">
                  <c:v>26541</c:v>
                </c:pt>
                <c:pt idx="36097">
                  <c:v>26540</c:v>
                </c:pt>
                <c:pt idx="36098">
                  <c:v>26540</c:v>
                </c:pt>
                <c:pt idx="36099">
                  <c:v>26538</c:v>
                </c:pt>
                <c:pt idx="36100">
                  <c:v>26537</c:v>
                </c:pt>
                <c:pt idx="36101">
                  <c:v>26535</c:v>
                </c:pt>
                <c:pt idx="36102">
                  <c:v>26535</c:v>
                </c:pt>
                <c:pt idx="36103">
                  <c:v>26533</c:v>
                </c:pt>
                <c:pt idx="36104">
                  <c:v>26532</c:v>
                </c:pt>
                <c:pt idx="36105">
                  <c:v>26532</c:v>
                </c:pt>
                <c:pt idx="36106">
                  <c:v>26531</c:v>
                </c:pt>
                <c:pt idx="36107">
                  <c:v>26531</c:v>
                </c:pt>
                <c:pt idx="36108">
                  <c:v>26530</c:v>
                </c:pt>
                <c:pt idx="36109">
                  <c:v>26530</c:v>
                </c:pt>
                <c:pt idx="36110">
                  <c:v>26529</c:v>
                </c:pt>
                <c:pt idx="36111">
                  <c:v>26529</c:v>
                </c:pt>
                <c:pt idx="36112">
                  <c:v>26528</c:v>
                </c:pt>
                <c:pt idx="36113">
                  <c:v>26528</c:v>
                </c:pt>
                <c:pt idx="36114">
                  <c:v>26528</c:v>
                </c:pt>
                <c:pt idx="36115">
                  <c:v>26527</c:v>
                </c:pt>
                <c:pt idx="36116">
                  <c:v>26527</c:v>
                </c:pt>
                <c:pt idx="36117">
                  <c:v>26526</c:v>
                </c:pt>
                <c:pt idx="36118">
                  <c:v>26522</c:v>
                </c:pt>
                <c:pt idx="36119">
                  <c:v>26522</c:v>
                </c:pt>
                <c:pt idx="36120">
                  <c:v>26522</c:v>
                </c:pt>
                <c:pt idx="36121">
                  <c:v>26521</c:v>
                </c:pt>
                <c:pt idx="36122">
                  <c:v>26521</c:v>
                </c:pt>
                <c:pt idx="36123">
                  <c:v>26521</c:v>
                </c:pt>
                <c:pt idx="36124">
                  <c:v>26520</c:v>
                </c:pt>
                <c:pt idx="36125">
                  <c:v>26520</c:v>
                </c:pt>
                <c:pt idx="36126">
                  <c:v>26518</c:v>
                </c:pt>
                <c:pt idx="36127">
                  <c:v>26518</c:v>
                </c:pt>
                <c:pt idx="36128">
                  <c:v>26517</c:v>
                </c:pt>
                <c:pt idx="36129">
                  <c:v>26516</c:v>
                </c:pt>
                <c:pt idx="36130">
                  <c:v>26516</c:v>
                </c:pt>
                <c:pt idx="36131">
                  <c:v>26515</c:v>
                </c:pt>
                <c:pt idx="36132">
                  <c:v>26513</c:v>
                </c:pt>
                <c:pt idx="36133">
                  <c:v>26512</c:v>
                </c:pt>
                <c:pt idx="36134">
                  <c:v>26511</c:v>
                </c:pt>
                <c:pt idx="36135">
                  <c:v>26511</c:v>
                </c:pt>
                <c:pt idx="36136">
                  <c:v>26510</c:v>
                </c:pt>
                <c:pt idx="36137">
                  <c:v>26509</c:v>
                </c:pt>
                <c:pt idx="36138">
                  <c:v>26509</c:v>
                </c:pt>
                <c:pt idx="36139">
                  <c:v>26508</c:v>
                </c:pt>
                <c:pt idx="36140">
                  <c:v>26507</c:v>
                </c:pt>
                <c:pt idx="36141">
                  <c:v>26505</c:v>
                </c:pt>
                <c:pt idx="36142">
                  <c:v>26504</c:v>
                </c:pt>
                <c:pt idx="36143">
                  <c:v>26504</c:v>
                </c:pt>
                <c:pt idx="36144">
                  <c:v>26499</c:v>
                </c:pt>
                <c:pt idx="36145">
                  <c:v>26498</c:v>
                </c:pt>
                <c:pt idx="36146">
                  <c:v>26497</c:v>
                </c:pt>
                <c:pt idx="36147">
                  <c:v>26497</c:v>
                </c:pt>
                <c:pt idx="36148">
                  <c:v>26494</c:v>
                </c:pt>
                <c:pt idx="36149">
                  <c:v>26493</c:v>
                </c:pt>
                <c:pt idx="36150">
                  <c:v>26492</c:v>
                </c:pt>
                <c:pt idx="36151">
                  <c:v>26492</c:v>
                </c:pt>
                <c:pt idx="36152">
                  <c:v>26492</c:v>
                </c:pt>
                <c:pt idx="36153">
                  <c:v>26488</c:v>
                </c:pt>
                <c:pt idx="36154">
                  <c:v>26487</c:v>
                </c:pt>
                <c:pt idx="36155">
                  <c:v>26487</c:v>
                </c:pt>
                <c:pt idx="36156">
                  <c:v>26486</c:v>
                </c:pt>
                <c:pt idx="36157">
                  <c:v>26486</c:v>
                </c:pt>
                <c:pt idx="36158">
                  <c:v>26486</c:v>
                </c:pt>
                <c:pt idx="36159">
                  <c:v>26486</c:v>
                </c:pt>
                <c:pt idx="36160">
                  <c:v>26485</c:v>
                </c:pt>
                <c:pt idx="36161">
                  <c:v>26485</c:v>
                </c:pt>
                <c:pt idx="36162">
                  <c:v>26485</c:v>
                </c:pt>
                <c:pt idx="36163">
                  <c:v>26485</c:v>
                </c:pt>
                <c:pt idx="36164">
                  <c:v>26484</c:v>
                </c:pt>
                <c:pt idx="36165">
                  <c:v>26483</c:v>
                </c:pt>
                <c:pt idx="36166">
                  <c:v>26483</c:v>
                </c:pt>
                <c:pt idx="36167">
                  <c:v>26483</c:v>
                </c:pt>
                <c:pt idx="36168">
                  <c:v>26483</c:v>
                </c:pt>
                <c:pt idx="36169">
                  <c:v>26481</c:v>
                </c:pt>
                <c:pt idx="36170">
                  <c:v>26481</c:v>
                </c:pt>
                <c:pt idx="36171">
                  <c:v>26480</c:v>
                </c:pt>
                <c:pt idx="36172">
                  <c:v>26479</c:v>
                </c:pt>
                <c:pt idx="36173">
                  <c:v>26478</c:v>
                </c:pt>
                <c:pt idx="36174">
                  <c:v>26478</c:v>
                </c:pt>
                <c:pt idx="36175">
                  <c:v>26478</c:v>
                </c:pt>
                <c:pt idx="36176">
                  <c:v>26478</c:v>
                </c:pt>
                <c:pt idx="36177">
                  <c:v>26478</c:v>
                </c:pt>
                <c:pt idx="36178">
                  <c:v>26478</c:v>
                </c:pt>
                <c:pt idx="36179">
                  <c:v>26477</c:v>
                </c:pt>
                <c:pt idx="36180">
                  <c:v>26477</c:v>
                </c:pt>
                <c:pt idx="36181">
                  <c:v>26477</c:v>
                </c:pt>
                <c:pt idx="36182">
                  <c:v>26476</c:v>
                </c:pt>
                <c:pt idx="36183">
                  <c:v>26475</c:v>
                </c:pt>
                <c:pt idx="36184">
                  <c:v>26475</c:v>
                </c:pt>
                <c:pt idx="36185">
                  <c:v>26474</c:v>
                </c:pt>
                <c:pt idx="36186">
                  <c:v>26474</c:v>
                </c:pt>
                <c:pt idx="36187">
                  <c:v>26473</c:v>
                </c:pt>
                <c:pt idx="36188">
                  <c:v>26472</c:v>
                </c:pt>
                <c:pt idx="36189">
                  <c:v>26472</c:v>
                </c:pt>
                <c:pt idx="36190">
                  <c:v>26470</c:v>
                </c:pt>
                <c:pt idx="36191">
                  <c:v>26470</c:v>
                </c:pt>
                <c:pt idx="36192">
                  <c:v>26469</c:v>
                </c:pt>
                <c:pt idx="36193">
                  <c:v>26468</c:v>
                </c:pt>
                <c:pt idx="36194">
                  <c:v>26467</c:v>
                </c:pt>
                <c:pt idx="36195">
                  <c:v>26467</c:v>
                </c:pt>
                <c:pt idx="36196">
                  <c:v>26466</c:v>
                </c:pt>
                <c:pt idx="36197">
                  <c:v>26464</c:v>
                </c:pt>
                <c:pt idx="36198">
                  <c:v>26463</c:v>
                </c:pt>
                <c:pt idx="36199">
                  <c:v>26462</c:v>
                </c:pt>
                <c:pt idx="36200">
                  <c:v>26461</c:v>
                </c:pt>
                <c:pt idx="36201">
                  <c:v>26460</c:v>
                </c:pt>
                <c:pt idx="36202">
                  <c:v>26460</c:v>
                </c:pt>
                <c:pt idx="36203">
                  <c:v>26460</c:v>
                </c:pt>
                <c:pt idx="36204">
                  <c:v>26456</c:v>
                </c:pt>
                <c:pt idx="36205">
                  <c:v>26455</c:v>
                </c:pt>
                <c:pt idx="36206">
                  <c:v>26454</c:v>
                </c:pt>
                <c:pt idx="36207">
                  <c:v>26454</c:v>
                </c:pt>
                <c:pt idx="36208">
                  <c:v>26454</c:v>
                </c:pt>
                <c:pt idx="36209">
                  <c:v>26453</c:v>
                </c:pt>
                <c:pt idx="36210">
                  <c:v>26452</c:v>
                </c:pt>
                <c:pt idx="36211">
                  <c:v>26452</c:v>
                </c:pt>
                <c:pt idx="36212">
                  <c:v>26451</c:v>
                </c:pt>
                <c:pt idx="36213">
                  <c:v>26451</c:v>
                </c:pt>
                <c:pt idx="36214">
                  <c:v>26450</c:v>
                </c:pt>
                <c:pt idx="36215">
                  <c:v>26450</c:v>
                </c:pt>
                <c:pt idx="36216">
                  <c:v>26449</c:v>
                </c:pt>
                <c:pt idx="36217">
                  <c:v>26449</c:v>
                </c:pt>
                <c:pt idx="36218">
                  <c:v>26448</c:v>
                </c:pt>
                <c:pt idx="36219">
                  <c:v>26448</c:v>
                </c:pt>
                <c:pt idx="36220">
                  <c:v>26447</c:v>
                </c:pt>
                <c:pt idx="36221">
                  <c:v>26446</c:v>
                </c:pt>
                <c:pt idx="36222">
                  <c:v>26444</c:v>
                </c:pt>
                <c:pt idx="36223">
                  <c:v>26443</c:v>
                </c:pt>
                <c:pt idx="36224">
                  <c:v>26443</c:v>
                </c:pt>
                <c:pt idx="36225">
                  <c:v>26443</c:v>
                </c:pt>
                <c:pt idx="36226">
                  <c:v>26442</c:v>
                </c:pt>
                <c:pt idx="36227">
                  <c:v>26442</c:v>
                </c:pt>
                <c:pt idx="36228">
                  <c:v>26441</c:v>
                </c:pt>
                <c:pt idx="36229">
                  <c:v>26440</c:v>
                </c:pt>
                <c:pt idx="36230">
                  <c:v>26439</c:v>
                </c:pt>
                <c:pt idx="36231">
                  <c:v>26438</c:v>
                </c:pt>
                <c:pt idx="36232">
                  <c:v>26437</c:v>
                </c:pt>
                <c:pt idx="36233">
                  <c:v>26437</c:v>
                </c:pt>
                <c:pt idx="36234">
                  <c:v>26437</c:v>
                </c:pt>
                <c:pt idx="36235">
                  <c:v>26437</c:v>
                </c:pt>
                <c:pt idx="36236">
                  <c:v>26436</c:v>
                </c:pt>
                <c:pt idx="36237">
                  <c:v>26434</c:v>
                </c:pt>
                <c:pt idx="36238">
                  <c:v>26433</c:v>
                </c:pt>
                <c:pt idx="36239">
                  <c:v>26431</c:v>
                </c:pt>
                <c:pt idx="36240">
                  <c:v>26431</c:v>
                </c:pt>
                <c:pt idx="36241">
                  <c:v>26431</c:v>
                </c:pt>
                <c:pt idx="36242">
                  <c:v>26431</c:v>
                </c:pt>
                <c:pt idx="36243">
                  <c:v>26430</c:v>
                </c:pt>
                <c:pt idx="36244">
                  <c:v>26428</c:v>
                </c:pt>
                <c:pt idx="36245">
                  <c:v>26428</c:v>
                </c:pt>
                <c:pt idx="36246">
                  <c:v>26427</c:v>
                </c:pt>
                <c:pt idx="36247">
                  <c:v>26427</c:v>
                </c:pt>
                <c:pt idx="36248">
                  <c:v>26427</c:v>
                </c:pt>
                <c:pt idx="36249">
                  <c:v>26426</c:v>
                </c:pt>
                <c:pt idx="36250">
                  <c:v>26426</c:v>
                </c:pt>
                <c:pt idx="36251">
                  <c:v>26425</c:v>
                </c:pt>
                <c:pt idx="36252">
                  <c:v>26424</c:v>
                </c:pt>
                <c:pt idx="36253">
                  <c:v>26423</c:v>
                </c:pt>
                <c:pt idx="36254">
                  <c:v>26422</c:v>
                </c:pt>
                <c:pt idx="36255">
                  <c:v>26421</c:v>
                </c:pt>
                <c:pt idx="36256">
                  <c:v>26421</c:v>
                </c:pt>
                <c:pt idx="36257">
                  <c:v>26420</c:v>
                </c:pt>
                <c:pt idx="36258">
                  <c:v>26419</c:v>
                </c:pt>
                <c:pt idx="36259">
                  <c:v>26419</c:v>
                </c:pt>
                <c:pt idx="36260">
                  <c:v>26418</c:v>
                </c:pt>
                <c:pt idx="36261">
                  <c:v>26418</c:v>
                </c:pt>
                <c:pt idx="36262">
                  <c:v>26417</c:v>
                </c:pt>
                <c:pt idx="36263">
                  <c:v>26416</c:v>
                </c:pt>
                <c:pt idx="36264">
                  <c:v>26416</c:v>
                </c:pt>
                <c:pt idx="36265">
                  <c:v>26416</c:v>
                </c:pt>
                <c:pt idx="36266">
                  <c:v>26416</c:v>
                </c:pt>
                <c:pt idx="36267">
                  <c:v>26413</c:v>
                </c:pt>
                <c:pt idx="36268">
                  <c:v>26412</c:v>
                </c:pt>
                <c:pt idx="36269">
                  <c:v>26412</c:v>
                </c:pt>
                <c:pt idx="36270">
                  <c:v>26411</c:v>
                </c:pt>
                <c:pt idx="36271">
                  <c:v>26410</c:v>
                </c:pt>
                <c:pt idx="36272">
                  <c:v>26409</c:v>
                </c:pt>
                <c:pt idx="36273">
                  <c:v>26408</c:v>
                </c:pt>
                <c:pt idx="36274">
                  <c:v>26407</c:v>
                </c:pt>
                <c:pt idx="36275">
                  <c:v>26406</c:v>
                </c:pt>
                <c:pt idx="36276">
                  <c:v>26405</c:v>
                </c:pt>
                <c:pt idx="36277">
                  <c:v>26405</c:v>
                </c:pt>
                <c:pt idx="36278">
                  <c:v>26405</c:v>
                </c:pt>
                <c:pt idx="36279">
                  <c:v>26404</c:v>
                </c:pt>
                <c:pt idx="36280">
                  <c:v>26404</c:v>
                </c:pt>
                <c:pt idx="36281">
                  <c:v>26403</c:v>
                </c:pt>
                <c:pt idx="36282">
                  <c:v>26402</c:v>
                </c:pt>
                <c:pt idx="36283">
                  <c:v>26401</c:v>
                </c:pt>
                <c:pt idx="36284">
                  <c:v>26401</c:v>
                </c:pt>
                <c:pt idx="36285">
                  <c:v>26401</c:v>
                </c:pt>
                <c:pt idx="36286">
                  <c:v>26399</c:v>
                </c:pt>
                <c:pt idx="36287">
                  <c:v>26398</c:v>
                </c:pt>
                <c:pt idx="36288">
                  <c:v>26398</c:v>
                </c:pt>
                <c:pt idx="36289">
                  <c:v>26398</c:v>
                </c:pt>
                <c:pt idx="36290">
                  <c:v>26397</c:v>
                </c:pt>
                <c:pt idx="36291">
                  <c:v>26396</c:v>
                </c:pt>
                <c:pt idx="36292">
                  <c:v>26396</c:v>
                </c:pt>
                <c:pt idx="36293">
                  <c:v>26395</c:v>
                </c:pt>
                <c:pt idx="36294">
                  <c:v>26395</c:v>
                </c:pt>
                <c:pt idx="36295">
                  <c:v>26394</c:v>
                </c:pt>
                <c:pt idx="36296">
                  <c:v>26393</c:v>
                </c:pt>
                <c:pt idx="36297">
                  <c:v>26391</c:v>
                </c:pt>
                <c:pt idx="36298">
                  <c:v>26391</c:v>
                </c:pt>
                <c:pt idx="36299">
                  <c:v>26389</c:v>
                </c:pt>
                <c:pt idx="36300">
                  <c:v>26388</c:v>
                </c:pt>
                <c:pt idx="36301">
                  <c:v>26387</c:v>
                </c:pt>
                <c:pt idx="36302">
                  <c:v>26386</c:v>
                </c:pt>
                <c:pt idx="36303">
                  <c:v>26386</c:v>
                </c:pt>
                <c:pt idx="36304">
                  <c:v>26386</c:v>
                </c:pt>
                <c:pt idx="36305">
                  <c:v>26385</c:v>
                </c:pt>
                <c:pt idx="36306">
                  <c:v>26385</c:v>
                </c:pt>
                <c:pt idx="36307">
                  <c:v>26385</c:v>
                </c:pt>
                <c:pt idx="36308">
                  <c:v>26383</c:v>
                </c:pt>
                <c:pt idx="36309">
                  <c:v>26381</c:v>
                </c:pt>
                <c:pt idx="36310">
                  <c:v>26380</c:v>
                </c:pt>
                <c:pt idx="36311">
                  <c:v>26380</c:v>
                </c:pt>
                <c:pt idx="36312">
                  <c:v>26380</c:v>
                </c:pt>
                <c:pt idx="36313">
                  <c:v>26379</c:v>
                </c:pt>
                <c:pt idx="36314">
                  <c:v>26379</c:v>
                </c:pt>
                <c:pt idx="36315">
                  <c:v>26379</c:v>
                </c:pt>
                <c:pt idx="36316">
                  <c:v>26378</c:v>
                </c:pt>
                <c:pt idx="36317">
                  <c:v>26377</c:v>
                </c:pt>
                <c:pt idx="36318">
                  <c:v>26377</c:v>
                </c:pt>
                <c:pt idx="36319">
                  <c:v>26377</c:v>
                </c:pt>
                <c:pt idx="36320">
                  <c:v>26375</c:v>
                </c:pt>
                <c:pt idx="36321">
                  <c:v>26375</c:v>
                </c:pt>
                <c:pt idx="36322">
                  <c:v>26375</c:v>
                </c:pt>
                <c:pt idx="36323">
                  <c:v>26375</c:v>
                </c:pt>
                <c:pt idx="36324">
                  <c:v>26374</c:v>
                </c:pt>
                <c:pt idx="36325">
                  <c:v>26374</c:v>
                </c:pt>
                <c:pt idx="36326">
                  <c:v>26373</c:v>
                </c:pt>
                <c:pt idx="36327">
                  <c:v>26373</c:v>
                </c:pt>
                <c:pt idx="36328">
                  <c:v>26372</c:v>
                </c:pt>
                <c:pt idx="36329">
                  <c:v>26371</c:v>
                </c:pt>
                <c:pt idx="36330">
                  <c:v>26371</c:v>
                </c:pt>
                <c:pt idx="36331">
                  <c:v>26370</c:v>
                </c:pt>
                <c:pt idx="36332">
                  <c:v>26369</c:v>
                </c:pt>
                <c:pt idx="36333">
                  <c:v>26365</c:v>
                </c:pt>
                <c:pt idx="36334">
                  <c:v>26365</c:v>
                </c:pt>
                <c:pt idx="36335">
                  <c:v>26364</c:v>
                </c:pt>
                <c:pt idx="36336">
                  <c:v>26364</c:v>
                </c:pt>
                <c:pt idx="36337">
                  <c:v>26363</c:v>
                </c:pt>
                <c:pt idx="36338">
                  <c:v>26363</c:v>
                </c:pt>
                <c:pt idx="36339">
                  <c:v>26363</c:v>
                </c:pt>
                <c:pt idx="36340">
                  <c:v>26362</c:v>
                </c:pt>
                <c:pt idx="36341">
                  <c:v>26360</c:v>
                </c:pt>
                <c:pt idx="36342">
                  <c:v>26358</c:v>
                </c:pt>
                <c:pt idx="36343">
                  <c:v>26357</c:v>
                </c:pt>
                <c:pt idx="36344">
                  <c:v>26355</c:v>
                </c:pt>
                <c:pt idx="36345">
                  <c:v>26355</c:v>
                </c:pt>
                <c:pt idx="36346">
                  <c:v>26354</c:v>
                </c:pt>
                <c:pt idx="36347">
                  <c:v>26354</c:v>
                </c:pt>
                <c:pt idx="36348">
                  <c:v>26353</c:v>
                </c:pt>
                <c:pt idx="36349">
                  <c:v>26351</c:v>
                </c:pt>
                <c:pt idx="36350">
                  <c:v>26350</c:v>
                </c:pt>
                <c:pt idx="36351">
                  <c:v>26349</c:v>
                </c:pt>
                <c:pt idx="36352">
                  <c:v>26348</c:v>
                </c:pt>
                <c:pt idx="36353">
                  <c:v>26348</c:v>
                </c:pt>
                <c:pt idx="36354">
                  <c:v>26346</c:v>
                </c:pt>
                <c:pt idx="36355">
                  <c:v>26345</c:v>
                </c:pt>
                <c:pt idx="36356">
                  <c:v>26343</c:v>
                </c:pt>
                <c:pt idx="36357">
                  <c:v>26343</c:v>
                </c:pt>
                <c:pt idx="36358">
                  <c:v>26342</c:v>
                </c:pt>
                <c:pt idx="36359">
                  <c:v>26341</c:v>
                </c:pt>
                <c:pt idx="36360">
                  <c:v>26341</c:v>
                </c:pt>
                <c:pt idx="36361">
                  <c:v>26341</c:v>
                </c:pt>
                <c:pt idx="36362">
                  <c:v>26340</c:v>
                </c:pt>
                <c:pt idx="36363">
                  <c:v>26339</c:v>
                </c:pt>
                <c:pt idx="36364">
                  <c:v>26339</c:v>
                </c:pt>
                <c:pt idx="36365">
                  <c:v>26338</c:v>
                </c:pt>
                <c:pt idx="36366">
                  <c:v>26337</c:v>
                </c:pt>
                <c:pt idx="36367">
                  <c:v>26335</c:v>
                </c:pt>
                <c:pt idx="36368">
                  <c:v>26335</c:v>
                </c:pt>
                <c:pt idx="36369">
                  <c:v>26333</c:v>
                </c:pt>
                <c:pt idx="36370">
                  <c:v>26331</c:v>
                </c:pt>
                <c:pt idx="36371">
                  <c:v>26330</c:v>
                </c:pt>
                <c:pt idx="36372">
                  <c:v>26330</c:v>
                </c:pt>
                <c:pt idx="36373">
                  <c:v>26329</c:v>
                </c:pt>
                <c:pt idx="36374">
                  <c:v>26328</c:v>
                </c:pt>
                <c:pt idx="36375">
                  <c:v>26328</c:v>
                </c:pt>
                <c:pt idx="36376">
                  <c:v>26326</c:v>
                </c:pt>
                <c:pt idx="36377">
                  <c:v>26326</c:v>
                </c:pt>
                <c:pt idx="36378">
                  <c:v>26325</c:v>
                </c:pt>
                <c:pt idx="36379">
                  <c:v>26325</c:v>
                </c:pt>
                <c:pt idx="36380">
                  <c:v>26325</c:v>
                </c:pt>
                <c:pt idx="36381">
                  <c:v>26325</c:v>
                </c:pt>
                <c:pt idx="36382">
                  <c:v>26321</c:v>
                </c:pt>
                <c:pt idx="36383">
                  <c:v>26320</c:v>
                </c:pt>
                <c:pt idx="36384">
                  <c:v>26318</c:v>
                </c:pt>
                <c:pt idx="36385">
                  <c:v>26318</c:v>
                </c:pt>
                <c:pt idx="36386">
                  <c:v>26318</c:v>
                </c:pt>
                <c:pt idx="36387">
                  <c:v>26316</c:v>
                </c:pt>
                <c:pt idx="36388">
                  <c:v>26316</c:v>
                </c:pt>
                <c:pt idx="36389">
                  <c:v>26315</c:v>
                </c:pt>
                <c:pt idx="36390">
                  <c:v>26315</c:v>
                </c:pt>
                <c:pt idx="36391">
                  <c:v>26315</c:v>
                </c:pt>
                <c:pt idx="36392">
                  <c:v>26312</c:v>
                </c:pt>
                <c:pt idx="36393">
                  <c:v>26311</c:v>
                </c:pt>
                <c:pt idx="36394">
                  <c:v>26311</c:v>
                </c:pt>
                <c:pt idx="36395">
                  <c:v>26311</c:v>
                </c:pt>
                <c:pt idx="36396">
                  <c:v>26309</c:v>
                </c:pt>
                <c:pt idx="36397">
                  <c:v>26308</c:v>
                </c:pt>
                <c:pt idx="36398">
                  <c:v>26308</c:v>
                </c:pt>
                <c:pt idx="36399">
                  <c:v>26308</c:v>
                </c:pt>
                <c:pt idx="36400">
                  <c:v>26307</c:v>
                </c:pt>
                <c:pt idx="36401">
                  <c:v>26307</c:v>
                </c:pt>
                <c:pt idx="36402">
                  <c:v>26307</c:v>
                </c:pt>
                <c:pt idx="36403">
                  <c:v>26307</c:v>
                </c:pt>
                <c:pt idx="36404">
                  <c:v>26304</c:v>
                </c:pt>
                <c:pt idx="36405">
                  <c:v>26304</c:v>
                </c:pt>
                <c:pt idx="36406">
                  <c:v>26303</c:v>
                </c:pt>
                <c:pt idx="36407">
                  <c:v>26303</c:v>
                </c:pt>
                <c:pt idx="36408">
                  <c:v>26302</c:v>
                </c:pt>
                <c:pt idx="36409">
                  <c:v>26301</c:v>
                </c:pt>
                <c:pt idx="36410">
                  <c:v>26300</c:v>
                </c:pt>
                <c:pt idx="36411">
                  <c:v>26299</c:v>
                </c:pt>
                <c:pt idx="36412">
                  <c:v>26299</c:v>
                </c:pt>
                <c:pt idx="36413">
                  <c:v>26298</c:v>
                </c:pt>
                <c:pt idx="36414">
                  <c:v>26297</c:v>
                </c:pt>
                <c:pt idx="36415">
                  <c:v>26296</c:v>
                </c:pt>
                <c:pt idx="36416">
                  <c:v>26296</c:v>
                </c:pt>
                <c:pt idx="36417">
                  <c:v>26295</c:v>
                </c:pt>
                <c:pt idx="36418">
                  <c:v>26294</c:v>
                </c:pt>
                <c:pt idx="36419">
                  <c:v>26293</c:v>
                </c:pt>
                <c:pt idx="36420">
                  <c:v>26291</c:v>
                </c:pt>
                <c:pt idx="36421">
                  <c:v>26289</c:v>
                </c:pt>
                <c:pt idx="36422">
                  <c:v>26288</c:v>
                </c:pt>
                <c:pt idx="36423">
                  <c:v>26288</c:v>
                </c:pt>
                <c:pt idx="36424">
                  <c:v>26288</c:v>
                </c:pt>
                <c:pt idx="36425">
                  <c:v>26287</c:v>
                </c:pt>
                <c:pt idx="36426">
                  <c:v>26287</c:v>
                </c:pt>
                <c:pt idx="36427">
                  <c:v>26286</c:v>
                </c:pt>
                <c:pt idx="36428">
                  <c:v>26285</c:v>
                </c:pt>
                <c:pt idx="36429">
                  <c:v>26284</c:v>
                </c:pt>
                <c:pt idx="36430">
                  <c:v>26283</c:v>
                </c:pt>
                <c:pt idx="36431">
                  <c:v>26282</c:v>
                </c:pt>
                <c:pt idx="36432">
                  <c:v>26280</c:v>
                </c:pt>
                <c:pt idx="36433">
                  <c:v>26279</c:v>
                </c:pt>
                <c:pt idx="36434">
                  <c:v>26279</c:v>
                </c:pt>
                <c:pt idx="36435">
                  <c:v>26278</c:v>
                </c:pt>
                <c:pt idx="36436">
                  <c:v>26278</c:v>
                </c:pt>
                <c:pt idx="36437">
                  <c:v>26278</c:v>
                </c:pt>
                <c:pt idx="36438">
                  <c:v>26277</c:v>
                </c:pt>
                <c:pt idx="36439">
                  <c:v>26276</c:v>
                </c:pt>
                <c:pt idx="36440">
                  <c:v>26276</c:v>
                </c:pt>
                <c:pt idx="36441">
                  <c:v>26275</c:v>
                </c:pt>
                <c:pt idx="36442">
                  <c:v>26274</c:v>
                </c:pt>
                <c:pt idx="36443">
                  <c:v>26270</c:v>
                </c:pt>
                <c:pt idx="36444">
                  <c:v>26268</c:v>
                </c:pt>
                <c:pt idx="36445">
                  <c:v>26267</c:v>
                </c:pt>
                <c:pt idx="36446">
                  <c:v>26267</c:v>
                </c:pt>
                <c:pt idx="36447">
                  <c:v>26266</c:v>
                </c:pt>
                <c:pt idx="36448">
                  <c:v>26264</c:v>
                </c:pt>
                <c:pt idx="36449">
                  <c:v>26264</c:v>
                </c:pt>
                <c:pt idx="36450">
                  <c:v>26264</c:v>
                </c:pt>
                <c:pt idx="36451">
                  <c:v>26264</c:v>
                </c:pt>
                <c:pt idx="36452">
                  <c:v>26263</c:v>
                </c:pt>
                <c:pt idx="36453">
                  <c:v>26262</c:v>
                </c:pt>
                <c:pt idx="36454">
                  <c:v>26262</c:v>
                </c:pt>
                <c:pt idx="36455">
                  <c:v>26260</c:v>
                </c:pt>
                <c:pt idx="36456">
                  <c:v>26258</c:v>
                </c:pt>
                <c:pt idx="36457">
                  <c:v>26257</c:v>
                </c:pt>
                <c:pt idx="36458">
                  <c:v>26257</c:v>
                </c:pt>
                <c:pt idx="36459">
                  <c:v>26256</c:v>
                </c:pt>
                <c:pt idx="36460">
                  <c:v>26255</c:v>
                </c:pt>
                <c:pt idx="36461">
                  <c:v>26255</c:v>
                </c:pt>
                <c:pt idx="36462">
                  <c:v>26255</c:v>
                </c:pt>
                <c:pt idx="36463">
                  <c:v>26254</c:v>
                </c:pt>
                <c:pt idx="36464">
                  <c:v>26254</c:v>
                </c:pt>
                <c:pt idx="36465">
                  <c:v>26254</c:v>
                </c:pt>
                <c:pt idx="36466">
                  <c:v>26252</c:v>
                </c:pt>
                <c:pt idx="36467">
                  <c:v>26251</c:v>
                </c:pt>
                <c:pt idx="36468">
                  <c:v>26250</c:v>
                </c:pt>
                <c:pt idx="36469">
                  <c:v>26249</c:v>
                </c:pt>
                <c:pt idx="36470">
                  <c:v>26249</c:v>
                </c:pt>
                <c:pt idx="36471">
                  <c:v>26249</c:v>
                </c:pt>
                <c:pt idx="36472">
                  <c:v>26243</c:v>
                </c:pt>
                <c:pt idx="36473">
                  <c:v>26243</c:v>
                </c:pt>
                <c:pt idx="36474">
                  <c:v>26243</c:v>
                </c:pt>
                <c:pt idx="36475">
                  <c:v>26242</c:v>
                </c:pt>
                <c:pt idx="36476">
                  <c:v>26239</c:v>
                </c:pt>
                <c:pt idx="36477">
                  <c:v>26239</c:v>
                </c:pt>
                <c:pt idx="36478">
                  <c:v>26238</c:v>
                </c:pt>
                <c:pt idx="36479">
                  <c:v>26238</c:v>
                </c:pt>
                <c:pt idx="36480">
                  <c:v>26237</c:v>
                </c:pt>
                <c:pt idx="36481">
                  <c:v>26237</c:v>
                </c:pt>
                <c:pt idx="36482">
                  <c:v>26236</c:v>
                </c:pt>
                <c:pt idx="36483">
                  <c:v>26235</c:v>
                </c:pt>
                <c:pt idx="36484">
                  <c:v>26235</c:v>
                </c:pt>
                <c:pt idx="36485">
                  <c:v>26234</c:v>
                </c:pt>
                <c:pt idx="36486">
                  <c:v>26233</c:v>
                </c:pt>
                <c:pt idx="36487">
                  <c:v>26232</c:v>
                </c:pt>
                <c:pt idx="36488">
                  <c:v>26230</c:v>
                </c:pt>
                <c:pt idx="36489">
                  <c:v>26229</c:v>
                </c:pt>
                <c:pt idx="36490">
                  <c:v>26228</c:v>
                </c:pt>
                <c:pt idx="36491">
                  <c:v>26228</c:v>
                </c:pt>
                <c:pt idx="36492">
                  <c:v>26227</c:v>
                </c:pt>
                <c:pt idx="36493">
                  <c:v>26226</c:v>
                </c:pt>
                <c:pt idx="36494">
                  <c:v>26226</c:v>
                </c:pt>
                <c:pt idx="36495">
                  <c:v>26224</c:v>
                </c:pt>
                <c:pt idx="36496">
                  <c:v>26224</c:v>
                </c:pt>
                <c:pt idx="36497">
                  <c:v>26223</c:v>
                </c:pt>
                <c:pt idx="36498">
                  <c:v>26223</c:v>
                </c:pt>
                <c:pt idx="36499">
                  <c:v>26222</c:v>
                </c:pt>
                <c:pt idx="36500">
                  <c:v>26222</c:v>
                </c:pt>
                <c:pt idx="36501">
                  <c:v>26219</c:v>
                </c:pt>
                <c:pt idx="36502">
                  <c:v>26219</c:v>
                </c:pt>
                <c:pt idx="36503">
                  <c:v>26218</c:v>
                </c:pt>
                <c:pt idx="36504">
                  <c:v>26218</c:v>
                </c:pt>
                <c:pt idx="36505">
                  <c:v>26218</c:v>
                </c:pt>
                <c:pt idx="36506">
                  <c:v>26217</c:v>
                </c:pt>
                <c:pt idx="36507">
                  <c:v>26217</c:v>
                </c:pt>
                <c:pt idx="36508">
                  <c:v>26217</c:v>
                </c:pt>
                <c:pt idx="36509">
                  <c:v>26217</c:v>
                </c:pt>
                <c:pt idx="36510">
                  <c:v>26216</c:v>
                </c:pt>
                <c:pt idx="36511">
                  <c:v>26216</c:v>
                </c:pt>
                <c:pt idx="36512">
                  <c:v>26216</c:v>
                </c:pt>
                <c:pt idx="36513">
                  <c:v>26216</c:v>
                </c:pt>
                <c:pt idx="36514">
                  <c:v>26215</c:v>
                </c:pt>
                <c:pt idx="36515">
                  <c:v>26215</c:v>
                </c:pt>
                <c:pt idx="36516">
                  <c:v>26214</c:v>
                </c:pt>
                <c:pt idx="36517">
                  <c:v>26214</c:v>
                </c:pt>
                <c:pt idx="36518">
                  <c:v>26213</c:v>
                </c:pt>
                <c:pt idx="36519">
                  <c:v>26210</c:v>
                </c:pt>
                <c:pt idx="36520">
                  <c:v>26209</c:v>
                </c:pt>
                <c:pt idx="36521">
                  <c:v>26208</c:v>
                </c:pt>
                <c:pt idx="36522">
                  <c:v>26208</c:v>
                </c:pt>
                <c:pt idx="36523">
                  <c:v>26206</c:v>
                </c:pt>
                <c:pt idx="36524">
                  <c:v>26206</c:v>
                </c:pt>
                <c:pt idx="36525">
                  <c:v>26204</c:v>
                </c:pt>
                <c:pt idx="36526">
                  <c:v>26204</c:v>
                </c:pt>
                <c:pt idx="36527">
                  <c:v>26202</c:v>
                </c:pt>
                <c:pt idx="36528">
                  <c:v>26201</c:v>
                </c:pt>
                <c:pt idx="36529">
                  <c:v>26199</c:v>
                </c:pt>
                <c:pt idx="36530">
                  <c:v>26198</c:v>
                </c:pt>
                <c:pt idx="36531">
                  <c:v>26197</c:v>
                </c:pt>
                <c:pt idx="36532">
                  <c:v>26196</c:v>
                </c:pt>
                <c:pt idx="36533">
                  <c:v>26196</c:v>
                </c:pt>
                <c:pt idx="36534">
                  <c:v>26195</c:v>
                </c:pt>
                <c:pt idx="36535">
                  <c:v>26195</c:v>
                </c:pt>
                <c:pt idx="36536">
                  <c:v>26195</c:v>
                </c:pt>
                <c:pt idx="36537">
                  <c:v>26194</c:v>
                </c:pt>
                <c:pt idx="36538">
                  <c:v>26194</c:v>
                </c:pt>
                <c:pt idx="36539">
                  <c:v>26193</c:v>
                </c:pt>
                <c:pt idx="36540">
                  <c:v>26191</c:v>
                </c:pt>
                <c:pt idx="36541">
                  <c:v>26191</c:v>
                </c:pt>
                <c:pt idx="36542">
                  <c:v>26190</c:v>
                </c:pt>
                <c:pt idx="36543">
                  <c:v>26190</c:v>
                </c:pt>
                <c:pt idx="36544">
                  <c:v>26189</c:v>
                </c:pt>
                <c:pt idx="36545">
                  <c:v>26189</c:v>
                </c:pt>
                <c:pt idx="36546">
                  <c:v>26189</c:v>
                </c:pt>
                <c:pt idx="36547">
                  <c:v>26188</c:v>
                </c:pt>
                <c:pt idx="36548">
                  <c:v>26186</c:v>
                </c:pt>
                <c:pt idx="36549">
                  <c:v>26186</c:v>
                </c:pt>
                <c:pt idx="36550">
                  <c:v>26185</c:v>
                </c:pt>
                <c:pt idx="36551">
                  <c:v>26185</c:v>
                </c:pt>
                <c:pt idx="36552">
                  <c:v>26185</c:v>
                </c:pt>
                <c:pt idx="36553">
                  <c:v>26185</c:v>
                </c:pt>
                <c:pt idx="36554">
                  <c:v>26184</c:v>
                </c:pt>
                <c:pt idx="36555">
                  <c:v>26184</c:v>
                </c:pt>
                <c:pt idx="36556">
                  <c:v>26184</c:v>
                </c:pt>
                <c:pt idx="36557">
                  <c:v>26182</c:v>
                </c:pt>
                <c:pt idx="36558">
                  <c:v>26182</c:v>
                </c:pt>
                <c:pt idx="36559">
                  <c:v>26181</c:v>
                </c:pt>
                <c:pt idx="36560">
                  <c:v>26181</c:v>
                </c:pt>
                <c:pt idx="36561">
                  <c:v>26180</c:v>
                </c:pt>
                <c:pt idx="36562">
                  <c:v>26179</c:v>
                </c:pt>
                <c:pt idx="36563">
                  <c:v>26178</c:v>
                </c:pt>
                <c:pt idx="36564">
                  <c:v>26177</c:v>
                </c:pt>
                <c:pt idx="36565">
                  <c:v>26176</c:v>
                </c:pt>
                <c:pt idx="36566">
                  <c:v>26175</c:v>
                </c:pt>
                <c:pt idx="36567">
                  <c:v>26174</c:v>
                </c:pt>
                <c:pt idx="36568">
                  <c:v>26173</c:v>
                </c:pt>
                <c:pt idx="36569">
                  <c:v>26173</c:v>
                </c:pt>
                <c:pt idx="36570">
                  <c:v>26172</c:v>
                </c:pt>
                <c:pt idx="36571">
                  <c:v>26172</c:v>
                </c:pt>
                <c:pt idx="36572">
                  <c:v>26171</c:v>
                </c:pt>
                <c:pt idx="36573">
                  <c:v>26171</c:v>
                </c:pt>
                <c:pt idx="36574">
                  <c:v>26170</c:v>
                </c:pt>
                <c:pt idx="36575">
                  <c:v>26170</c:v>
                </c:pt>
                <c:pt idx="36576">
                  <c:v>26167</c:v>
                </c:pt>
                <c:pt idx="36577">
                  <c:v>26165</c:v>
                </c:pt>
                <c:pt idx="36578">
                  <c:v>26165</c:v>
                </c:pt>
                <c:pt idx="36579">
                  <c:v>26164</c:v>
                </c:pt>
                <c:pt idx="36580">
                  <c:v>26164</c:v>
                </c:pt>
                <c:pt idx="36581">
                  <c:v>26164</c:v>
                </c:pt>
                <c:pt idx="36582">
                  <c:v>26162</c:v>
                </c:pt>
                <c:pt idx="36583">
                  <c:v>26162</c:v>
                </c:pt>
                <c:pt idx="36584">
                  <c:v>26160</c:v>
                </c:pt>
                <c:pt idx="36585">
                  <c:v>26159</c:v>
                </c:pt>
                <c:pt idx="36586">
                  <c:v>26159</c:v>
                </c:pt>
                <c:pt idx="36587">
                  <c:v>26157</c:v>
                </c:pt>
                <c:pt idx="36588">
                  <c:v>26156</c:v>
                </c:pt>
                <c:pt idx="36589">
                  <c:v>26156</c:v>
                </c:pt>
                <c:pt idx="36590">
                  <c:v>26156</c:v>
                </c:pt>
                <c:pt idx="36591">
                  <c:v>26156</c:v>
                </c:pt>
                <c:pt idx="36592">
                  <c:v>26155</c:v>
                </c:pt>
                <c:pt idx="36593">
                  <c:v>26155</c:v>
                </c:pt>
                <c:pt idx="36594">
                  <c:v>26153</c:v>
                </c:pt>
                <c:pt idx="36595">
                  <c:v>26151</c:v>
                </c:pt>
                <c:pt idx="36596">
                  <c:v>26151</c:v>
                </c:pt>
                <c:pt idx="36597">
                  <c:v>26149</c:v>
                </c:pt>
                <c:pt idx="36598">
                  <c:v>26149</c:v>
                </c:pt>
                <c:pt idx="36599">
                  <c:v>26148</c:v>
                </c:pt>
                <c:pt idx="36600">
                  <c:v>26147</c:v>
                </c:pt>
                <c:pt idx="36601">
                  <c:v>26146</c:v>
                </c:pt>
                <c:pt idx="36602">
                  <c:v>26145</c:v>
                </c:pt>
                <c:pt idx="36603">
                  <c:v>26144</c:v>
                </c:pt>
                <c:pt idx="36604">
                  <c:v>26144</c:v>
                </c:pt>
                <c:pt idx="36605">
                  <c:v>26143</c:v>
                </c:pt>
                <c:pt idx="36606">
                  <c:v>26142</c:v>
                </c:pt>
                <c:pt idx="36607">
                  <c:v>26142</c:v>
                </c:pt>
                <c:pt idx="36608">
                  <c:v>26142</c:v>
                </c:pt>
                <c:pt idx="36609">
                  <c:v>26142</c:v>
                </c:pt>
                <c:pt idx="36610">
                  <c:v>26140</c:v>
                </c:pt>
                <c:pt idx="36611">
                  <c:v>26140</c:v>
                </c:pt>
                <c:pt idx="36612">
                  <c:v>26140</c:v>
                </c:pt>
                <c:pt idx="36613">
                  <c:v>26139</c:v>
                </c:pt>
                <c:pt idx="36614">
                  <c:v>26139</c:v>
                </c:pt>
                <c:pt idx="36615">
                  <c:v>26137</c:v>
                </c:pt>
                <c:pt idx="36616">
                  <c:v>26136</c:v>
                </c:pt>
                <c:pt idx="36617">
                  <c:v>26134</c:v>
                </c:pt>
                <c:pt idx="36618">
                  <c:v>26133</c:v>
                </c:pt>
                <c:pt idx="36619">
                  <c:v>26132</c:v>
                </c:pt>
                <c:pt idx="36620">
                  <c:v>26131</c:v>
                </c:pt>
                <c:pt idx="36621">
                  <c:v>26130</c:v>
                </c:pt>
                <c:pt idx="36622">
                  <c:v>26130</c:v>
                </c:pt>
                <c:pt idx="36623">
                  <c:v>26129</c:v>
                </c:pt>
                <c:pt idx="36624">
                  <c:v>26128</c:v>
                </c:pt>
                <c:pt idx="36625">
                  <c:v>26126</c:v>
                </c:pt>
                <c:pt idx="36626">
                  <c:v>26125</c:v>
                </c:pt>
                <c:pt idx="36627">
                  <c:v>26123</c:v>
                </c:pt>
                <c:pt idx="36628">
                  <c:v>26123</c:v>
                </c:pt>
                <c:pt idx="36629">
                  <c:v>26123</c:v>
                </c:pt>
                <c:pt idx="36630">
                  <c:v>26123</c:v>
                </c:pt>
                <c:pt idx="36631">
                  <c:v>26123</c:v>
                </c:pt>
                <c:pt idx="36632">
                  <c:v>26122</c:v>
                </c:pt>
                <c:pt idx="36633">
                  <c:v>26122</c:v>
                </c:pt>
                <c:pt idx="36634">
                  <c:v>26122</c:v>
                </c:pt>
                <c:pt idx="36635">
                  <c:v>26122</c:v>
                </c:pt>
                <c:pt idx="36636">
                  <c:v>26120</c:v>
                </c:pt>
                <c:pt idx="36637">
                  <c:v>26118</c:v>
                </c:pt>
                <c:pt idx="36638">
                  <c:v>26115</c:v>
                </c:pt>
                <c:pt idx="36639">
                  <c:v>26115</c:v>
                </c:pt>
                <c:pt idx="36640">
                  <c:v>26115</c:v>
                </c:pt>
                <c:pt idx="36641">
                  <c:v>26115</c:v>
                </c:pt>
                <c:pt idx="36642">
                  <c:v>26114</c:v>
                </c:pt>
                <c:pt idx="36643">
                  <c:v>26113</c:v>
                </c:pt>
                <c:pt idx="36644">
                  <c:v>26113</c:v>
                </c:pt>
                <c:pt idx="36645">
                  <c:v>26111</c:v>
                </c:pt>
                <c:pt idx="36646">
                  <c:v>26111</c:v>
                </c:pt>
                <c:pt idx="36647">
                  <c:v>26110</c:v>
                </c:pt>
                <c:pt idx="36648">
                  <c:v>26110</c:v>
                </c:pt>
                <c:pt idx="36649">
                  <c:v>26108</c:v>
                </c:pt>
                <c:pt idx="36650">
                  <c:v>26107</c:v>
                </c:pt>
                <c:pt idx="36651">
                  <c:v>26106</c:v>
                </c:pt>
                <c:pt idx="36652">
                  <c:v>26106</c:v>
                </c:pt>
                <c:pt idx="36653">
                  <c:v>26104</c:v>
                </c:pt>
                <c:pt idx="36654">
                  <c:v>26103</c:v>
                </c:pt>
                <c:pt idx="36655">
                  <c:v>26103</c:v>
                </c:pt>
                <c:pt idx="36656">
                  <c:v>26103</c:v>
                </c:pt>
                <c:pt idx="36657">
                  <c:v>26102</c:v>
                </c:pt>
                <c:pt idx="36658">
                  <c:v>26102</c:v>
                </c:pt>
                <c:pt idx="36659">
                  <c:v>26102</c:v>
                </c:pt>
                <c:pt idx="36660">
                  <c:v>26100</c:v>
                </c:pt>
                <c:pt idx="36661">
                  <c:v>26099</c:v>
                </c:pt>
                <c:pt idx="36662">
                  <c:v>26099</c:v>
                </c:pt>
                <c:pt idx="36663">
                  <c:v>26099</c:v>
                </c:pt>
                <c:pt idx="36664">
                  <c:v>26097</c:v>
                </c:pt>
                <c:pt idx="36665">
                  <c:v>26096</c:v>
                </c:pt>
                <c:pt idx="36666">
                  <c:v>26095</c:v>
                </c:pt>
                <c:pt idx="36667">
                  <c:v>26095</c:v>
                </c:pt>
                <c:pt idx="36668">
                  <c:v>26094</c:v>
                </c:pt>
                <c:pt idx="36669">
                  <c:v>26094</c:v>
                </c:pt>
                <c:pt idx="36670">
                  <c:v>26093</c:v>
                </c:pt>
                <c:pt idx="36671">
                  <c:v>26093</c:v>
                </c:pt>
                <c:pt idx="36672">
                  <c:v>26093</c:v>
                </c:pt>
                <c:pt idx="36673">
                  <c:v>26093</c:v>
                </c:pt>
                <c:pt idx="36674">
                  <c:v>26092</c:v>
                </c:pt>
                <c:pt idx="36675">
                  <c:v>26091</c:v>
                </c:pt>
                <c:pt idx="36676">
                  <c:v>26091</c:v>
                </c:pt>
                <c:pt idx="36677">
                  <c:v>26090</c:v>
                </c:pt>
                <c:pt idx="36678">
                  <c:v>26089</c:v>
                </c:pt>
                <c:pt idx="36679">
                  <c:v>26089</c:v>
                </c:pt>
                <c:pt idx="36680">
                  <c:v>26088</c:v>
                </c:pt>
                <c:pt idx="36681">
                  <c:v>26088</c:v>
                </c:pt>
                <c:pt idx="36682">
                  <c:v>26088</c:v>
                </c:pt>
                <c:pt idx="36683">
                  <c:v>26088</c:v>
                </c:pt>
                <c:pt idx="36684">
                  <c:v>26088</c:v>
                </c:pt>
                <c:pt idx="36685">
                  <c:v>26087</c:v>
                </c:pt>
                <c:pt idx="36686">
                  <c:v>26087</c:v>
                </c:pt>
                <c:pt idx="36687">
                  <c:v>26085</c:v>
                </c:pt>
                <c:pt idx="36688">
                  <c:v>26085</c:v>
                </c:pt>
                <c:pt idx="36689">
                  <c:v>26084</c:v>
                </c:pt>
                <c:pt idx="36690">
                  <c:v>26081</c:v>
                </c:pt>
                <c:pt idx="36691">
                  <c:v>26080</c:v>
                </c:pt>
                <c:pt idx="36692">
                  <c:v>26079</c:v>
                </c:pt>
                <c:pt idx="36693">
                  <c:v>26078</c:v>
                </c:pt>
                <c:pt idx="36694">
                  <c:v>26078</c:v>
                </c:pt>
                <c:pt idx="36695">
                  <c:v>26078</c:v>
                </c:pt>
                <c:pt idx="36696">
                  <c:v>26078</c:v>
                </c:pt>
                <c:pt idx="36697">
                  <c:v>26077</c:v>
                </c:pt>
                <c:pt idx="36698">
                  <c:v>26076</c:v>
                </c:pt>
                <c:pt idx="36699">
                  <c:v>26076</c:v>
                </c:pt>
                <c:pt idx="36700">
                  <c:v>26075</c:v>
                </c:pt>
                <c:pt idx="36701">
                  <c:v>26074</c:v>
                </c:pt>
                <c:pt idx="36702">
                  <c:v>26074</c:v>
                </c:pt>
                <c:pt idx="36703">
                  <c:v>26073</c:v>
                </c:pt>
                <c:pt idx="36704">
                  <c:v>26073</c:v>
                </c:pt>
                <c:pt idx="36705">
                  <c:v>26072</c:v>
                </c:pt>
                <c:pt idx="36706">
                  <c:v>26071</c:v>
                </c:pt>
                <c:pt idx="36707">
                  <c:v>26071</c:v>
                </c:pt>
                <c:pt idx="36708">
                  <c:v>26069</c:v>
                </c:pt>
                <c:pt idx="36709">
                  <c:v>26069</c:v>
                </c:pt>
                <c:pt idx="36710">
                  <c:v>26068</c:v>
                </c:pt>
                <c:pt idx="36711">
                  <c:v>26068</c:v>
                </c:pt>
                <c:pt idx="36712">
                  <c:v>26067</c:v>
                </c:pt>
                <c:pt idx="36713">
                  <c:v>26066</c:v>
                </c:pt>
                <c:pt idx="36714">
                  <c:v>26065</c:v>
                </c:pt>
                <c:pt idx="36715">
                  <c:v>26065</c:v>
                </c:pt>
                <c:pt idx="36716">
                  <c:v>26065</c:v>
                </c:pt>
                <c:pt idx="36717">
                  <c:v>26064</c:v>
                </c:pt>
                <c:pt idx="36718">
                  <c:v>26064</c:v>
                </c:pt>
                <c:pt idx="36719">
                  <c:v>26064</c:v>
                </c:pt>
                <c:pt idx="36720">
                  <c:v>26063</c:v>
                </c:pt>
                <c:pt idx="36721">
                  <c:v>26058</c:v>
                </c:pt>
                <c:pt idx="36722">
                  <c:v>26057</c:v>
                </c:pt>
                <c:pt idx="36723">
                  <c:v>26056</c:v>
                </c:pt>
                <c:pt idx="36724">
                  <c:v>26055</c:v>
                </c:pt>
                <c:pt idx="36725">
                  <c:v>26054</c:v>
                </c:pt>
                <c:pt idx="36726">
                  <c:v>26051</c:v>
                </c:pt>
                <c:pt idx="36727">
                  <c:v>26051</c:v>
                </c:pt>
                <c:pt idx="36728">
                  <c:v>26050</c:v>
                </c:pt>
                <c:pt idx="36729">
                  <c:v>26049</c:v>
                </c:pt>
                <c:pt idx="36730">
                  <c:v>26048</c:v>
                </c:pt>
                <c:pt idx="36731">
                  <c:v>26048</c:v>
                </c:pt>
                <c:pt idx="36732">
                  <c:v>26048</c:v>
                </c:pt>
                <c:pt idx="36733">
                  <c:v>26047</c:v>
                </c:pt>
                <c:pt idx="36734">
                  <c:v>26046</c:v>
                </c:pt>
                <c:pt idx="36735">
                  <c:v>26046</c:v>
                </c:pt>
                <c:pt idx="36736">
                  <c:v>26046</c:v>
                </c:pt>
                <c:pt idx="36737">
                  <c:v>26045</c:v>
                </c:pt>
                <c:pt idx="36738">
                  <c:v>26044</c:v>
                </c:pt>
                <c:pt idx="36739">
                  <c:v>26043</c:v>
                </c:pt>
                <c:pt idx="36740">
                  <c:v>26043</c:v>
                </c:pt>
                <c:pt idx="36741">
                  <c:v>26042</c:v>
                </c:pt>
                <c:pt idx="36742">
                  <c:v>26042</c:v>
                </c:pt>
                <c:pt idx="36743">
                  <c:v>26040</c:v>
                </c:pt>
                <c:pt idx="36744">
                  <c:v>26039</c:v>
                </c:pt>
                <c:pt idx="36745">
                  <c:v>26038</c:v>
                </c:pt>
                <c:pt idx="36746">
                  <c:v>26038</c:v>
                </c:pt>
                <c:pt idx="36747">
                  <c:v>26037</c:v>
                </c:pt>
                <c:pt idx="36748">
                  <c:v>26036</c:v>
                </c:pt>
                <c:pt idx="36749">
                  <c:v>26036</c:v>
                </c:pt>
                <c:pt idx="36750">
                  <c:v>26036</c:v>
                </c:pt>
                <c:pt idx="36751">
                  <c:v>26035</c:v>
                </c:pt>
                <c:pt idx="36752">
                  <c:v>26035</c:v>
                </c:pt>
                <c:pt idx="36753">
                  <c:v>26035</c:v>
                </c:pt>
                <c:pt idx="36754">
                  <c:v>26033</c:v>
                </c:pt>
                <c:pt idx="36755">
                  <c:v>26033</c:v>
                </c:pt>
                <c:pt idx="36756">
                  <c:v>26033</c:v>
                </c:pt>
                <c:pt idx="36757">
                  <c:v>26033</c:v>
                </c:pt>
                <c:pt idx="36758">
                  <c:v>26032</c:v>
                </c:pt>
                <c:pt idx="36759">
                  <c:v>26031</c:v>
                </c:pt>
                <c:pt idx="36760">
                  <c:v>26031</c:v>
                </c:pt>
                <c:pt idx="36761">
                  <c:v>26030</c:v>
                </c:pt>
                <c:pt idx="36762">
                  <c:v>26028</c:v>
                </c:pt>
                <c:pt idx="36763">
                  <c:v>26028</c:v>
                </c:pt>
                <c:pt idx="36764">
                  <c:v>26028</c:v>
                </c:pt>
                <c:pt idx="36765">
                  <c:v>26026</c:v>
                </c:pt>
                <c:pt idx="36766">
                  <c:v>26026</c:v>
                </c:pt>
                <c:pt idx="36767">
                  <c:v>26023</c:v>
                </c:pt>
                <c:pt idx="36768">
                  <c:v>26022</c:v>
                </c:pt>
                <c:pt idx="36769">
                  <c:v>26022</c:v>
                </c:pt>
                <c:pt idx="36770">
                  <c:v>26021</c:v>
                </c:pt>
                <c:pt idx="36771">
                  <c:v>26021</c:v>
                </c:pt>
                <c:pt idx="36772">
                  <c:v>26020</c:v>
                </c:pt>
                <c:pt idx="36773">
                  <c:v>26017</c:v>
                </c:pt>
                <c:pt idx="36774">
                  <c:v>26016</c:v>
                </c:pt>
                <c:pt idx="36775">
                  <c:v>26016</c:v>
                </c:pt>
                <c:pt idx="36776">
                  <c:v>26015</c:v>
                </c:pt>
                <c:pt idx="36777">
                  <c:v>26015</c:v>
                </c:pt>
                <c:pt idx="36778">
                  <c:v>26014</c:v>
                </c:pt>
                <c:pt idx="36779">
                  <c:v>26013</c:v>
                </c:pt>
                <c:pt idx="36780">
                  <c:v>26012</c:v>
                </c:pt>
                <c:pt idx="36781">
                  <c:v>26011</c:v>
                </c:pt>
                <c:pt idx="36782">
                  <c:v>26011</c:v>
                </c:pt>
                <c:pt idx="36783">
                  <c:v>26011</c:v>
                </c:pt>
                <c:pt idx="36784">
                  <c:v>26010</c:v>
                </c:pt>
                <c:pt idx="36785">
                  <c:v>26010</c:v>
                </c:pt>
                <c:pt idx="36786">
                  <c:v>26009</c:v>
                </c:pt>
                <c:pt idx="36787">
                  <c:v>26008</c:v>
                </c:pt>
                <c:pt idx="36788">
                  <c:v>26006</c:v>
                </c:pt>
                <c:pt idx="36789">
                  <c:v>26005</c:v>
                </c:pt>
                <c:pt idx="36790">
                  <c:v>26004</c:v>
                </c:pt>
                <c:pt idx="36791">
                  <c:v>26004</c:v>
                </c:pt>
                <c:pt idx="36792">
                  <c:v>26004</c:v>
                </c:pt>
                <c:pt idx="36793">
                  <c:v>26003</c:v>
                </c:pt>
                <c:pt idx="36794">
                  <c:v>26003</c:v>
                </c:pt>
                <c:pt idx="36795">
                  <c:v>26000</c:v>
                </c:pt>
                <c:pt idx="36796">
                  <c:v>25999</c:v>
                </c:pt>
                <c:pt idx="36797">
                  <c:v>25998</c:v>
                </c:pt>
                <c:pt idx="36798">
                  <c:v>25998</c:v>
                </c:pt>
                <c:pt idx="36799">
                  <c:v>25998</c:v>
                </c:pt>
                <c:pt idx="36800">
                  <c:v>25998</c:v>
                </c:pt>
                <c:pt idx="36801">
                  <c:v>25998</c:v>
                </c:pt>
                <c:pt idx="36802">
                  <c:v>25998</c:v>
                </c:pt>
                <c:pt idx="36803">
                  <c:v>25998</c:v>
                </c:pt>
                <c:pt idx="36804">
                  <c:v>25998</c:v>
                </c:pt>
                <c:pt idx="36805">
                  <c:v>25997</c:v>
                </c:pt>
                <c:pt idx="36806">
                  <c:v>25996</c:v>
                </c:pt>
                <c:pt idx="36807">
                  <c:v>25994</c:v>
                </c:pt>
                <c:pt idx="36808">
                  <c:v>25993</c:v>
                </c:pt>
                <c:pt idx="36809">
                  <c:v>25993</c:v>
                </c:pt>
                <c:pt idx="36810">
                  <c:v>25992</c:v>
                </c:pt>
                <c:pt idx="36811">
                  <c:v>25992</c:v>
                </c:pt>
                <c:pt idx="36812">
                  <c:v>25990</c:v>
                </c:pt>
                <c:pt idx="36813">
                  <c:v>25989</c:v>
                </c:pt>
                <c:pt idx="36814">
                  <c:v>25989</c:v>
                </c:pt>
                <c:pt idx="36815">
                  <c:v>25988</c:v>
                </c:pt>
                <c:pt idx="36816">
                  <c:v>25986</c:v>
                </c:pt>
                <c:pt idx="36817">
                  <c:v>25985</c:v>
                </c:pt>
                <c:pt idx="36818">
                  <c:v>25985</c:v>
                </c:pt>
                <c:pt idx="36819">
                  <c:v>25985</c:v>
                </c:pt>
                <c:pt idx="36820">
                  <c:v>25984</c:v>
                </c:pt>
                <c:pt idx="36821">
                  <c:v>25983</c:v>
                </c:pt>
                <c:pt idx="36822">
                  <c:v>25983</c:v>
                </c:pt>
                <c:pt idx="36823">
                  <c:v>25981</c:v>
                </c:pt>
                <c:pt idx="36824">
                  <c:v>25980</c:v>
                </c:pt>
                <c:pt idx="36825">
                  <c:v>25978</c:v>
                </c:pt>
                <c:pt idx="36826">
                  <c:v>25978</c:v>
                </c:pt>
                <c:pt idx="36827">
                  <c:v>25975</c:v>
                </c:pt>
                <c:pt idx="36828">
                  <c:v>25975</c:v>
                </c:pt>
                <c:pt idx="36829">
                  <c:v>25975</c:v>
                </c:pt>
                <c:pt idx="36830">
                  <c:v>25973</c:v>
                </c:pt>
                <c:pt idx="36831">
                  <c:v>25973</c:v>
                </c:pt>
                <c:pt idx="36832">
                  <c:v>25973</c:v>
                </c:pt>
                <c:pt idx="36833">
                  <c:v>25973</c:v>
                </c:pt>
                <c:pt idx="36834">
                  <c:v>25972</c:v>
                </c:pt>
                <c:pt idx="36835">
                  <c:v>25972</c:v>
                </c:pt>
                <c:pt idx="36836">
                  <c:v>25972</c:v>
                </c:pt>
                <c:pt idx="36837">
                  <c:v>25972</c:v>
                </c:pt>
                <c:pt idx="36838">
                  <c:v>25972</c:v>
                </c:pt>
                <c:pt idx="36839">
                  <c:v>25971</c:v>
                </c:pt>
                <c:pt idx="36840">
                  <c:v>25969</c:v>
                </c:pt>
                <c:pt idx="36841">
                  <c:v>25969</c:v>
                </c:pt>
                <c:pt idx="36842">
                  <c:v>25969</c:v>
                </c:pt>
                <c:pt idx="36843">
                  <c:v>25968</c:v>
                </c:pt>
                <c:pt idx="36844">
                  <c:v>25968</c:v>
                </c:pt>
                <c:pt idx="36845">
                  <c:v>25967</c:v>
                </c:pt>
                <c:pt idx="36846">
                  <c:v>25967</c:v>
                </c:pt>
                <c:pt idx="36847">
                  <c:v>25966</c:v>
                </c:pt>
                <c:pt idx="36848">
                  <c:v>25966</c:v>
                </c:pt>
                <c:pt idx="36849">
                  <c:v>25965</c:v>
                </c:pt>
                <c:pt idx="36850">
                  <c:v>25965</c:v>
                </c:pt>
                <c:pt idx="36851">
                  <c:v>25964</c:v>
                </c:pt>
                <c:pt idx="36852">
                  <c:v>25964</c:v>
                </c:pt>
                <c:pt idx="36853">
                  <c:v>25963</c:v>
                </c:pt>
                <c:pt idx="36854">
                  <c:v>25963</c:v>
                </c:pt>
                <c:pt idx="36855">
                  <c:v>25962</c:v>
                </c:pt>
                <c:pt idx="36856">
                  <c:v>25961</c:v>
                </c:pt>
                <c:pt idx="36857">
                  <c:v>25961</c:v>
                </c:pt>
                <c:pt idx="36858">
                  <c:v>25960</c:v>
                </c:pt>
                <c:pt idx="36859">
                  <c:v>25960</c:v>
                </c:pt>
                <c:pt idx="36860">
                  <c:v>25958</c:v>
                </c:pt>
                <c:pt idx="36861">
                  <c:v>25955</c:v>
                </c:pt>
                <c:pt idx="36862">
                  <c:v>25955</c:v>
                </c:pt>
                <c:pt idx="36863">
                  <c:v>25955</c:v>
                </c:pt>
                <c:pt idx="36864">
                  <c:v>25955</c:v>
                </c:pt>
                <c:pt idx="36865">
                  <c:v>25955</c:v>
                </c:pt>
                <c:pt idx="36866">
                  <c:v>25953</c:v>
                </c:pt>
                <c:pt idx="36867">
                  <c:v>25950</c:v>
                </c:pt>
                <c:pt idx="36868">
                  <c:v>25950</c:v>
                </c:pt>
                <c:pt idx="36869">
                  <c:v>25950</c:v>
                </c:pt>
                <c:pt idx="36870">
                  <c:v>25948</c:v>
                </c:pt>
                <c:pt idx="36871">
                  <c:v>25948</c:v>
                </c:pt>
                <c:pt idx="36872">
                  <c:v>25947</c:v>
                </c:pt>
                <c:pt idx="36873">
                  <c:v>25947</c:v>
                </c:pt>
                <c:pt idx="36874">
                  <c:v>25945</c:v>
                </c:pt>
                <c:pt idx="36875">
                  <c:v>25945</c:v>
                </c:pt>
                <c:pt idx="36876">
                  <c:v>25944</c:v>
                </c:pt>
                <c:pt idx="36877">
                  <c:v>25944</c:v>
                </c:pt>
                <c:pt idx="36878">
                  <c:v>25943</c:v>
                </c:pt>
                <c:pt idx="36879">
                  <c:v>25942</c:v>
                </c:pt>
                <c:pt idx="36880">
                  <c:v>25942</c:v>
                </c:pt>
                <c:pt idx="36881">
                  <c:v>25941</c:v>
                </c:pt>
                <c:pt idx="36882">
                  <c:v>25941</c:v>
                </c:pt>
                <c:pt idx="36883">
                  <c:v>25941</c:v>
                </c:pt>
                <c:pt idx="36884">
                  <c:v>25939</c:v>
                </c:pt>
                <c:pt idx="36885">
                  <c:v>25937</c:v>
                </c:pt>
                <c:pt idx="36886">
                  <c:v>25936</c:v>
                </c:pt>
                <c:pt idx="36887">
                  <c:v>25935</c:v>
                </c:pt>
                <c:pt idx="36888">
                  <c:v>25935</c:v>
                </c:pt>
                <c:pt idx="36889">
                  <c:v>25934</c:v>
                </c:pt>
                <c:pt idx="36890">
                  <c:v>25934</c:v>
                </c:pt>
                <c:pt idx="36891">
                  <c:v>25933</c:v>
                </c:pt>
                <c:pt idx="36892">
                  <c:v>25932</c:v>
                </c:pt>
                <c:pt idx="36893">
                  <c:v>25932</c:v>
                </c:pt>
                <c:pt idx="36894">
                  <c:v>25932</c:v>
                </c:pt>
                <c:pt idx="36895">
                  <c:v>25932</c:v>
                </c:pt>
                <c:pt idx="36896">
                  <c:v>25931</c:v>
                </c:pt>
                <c:pt idx="36897">
                  <c:v>25931</c:v>
                </c:pt>
                <c:pt idx="36898">
                  <c:v>25930</c:v>
                </c:pt>
                <c:pt idx="36899">
                  <c:v>25927</c:v>
                </c:pt>
                <c:pt idx="36900">
                  <c:v>25927</c:v>
                </c:pt>
                <c:pt idx="36901">
                  <c:v>25927</c:v>
                </c:pt>
                <c:pt idx="36902">
                  <c:v>25927</c:v>
                </c:pt>
                <c:pt idx="36903">
                  <c:v>25926</c:v>
                </c:pt>
                <c:pt idx="36904">
                  <c:v>25926</c:v>
                </c:pt>
                <c:pt idx="36905">
                  <c:v>25925</c:v>
                </c:pt>
                <c:pt idx="36906">
                  <c:v>25924</c:v>
                </c:pt>
                <c:pt idx="36907">
                  <c:v>25924</c:v>
                </c:pt>
                <c:pt idx="36908">
                  <c:v>25924</c:v>
                </c:pt>
                <c:pt idx="36909">
                  <c:v>25924</c:v>
                </c:pt>
                <c:pt idx="36910">
                  <c:v>25924</c:v>
                </c:pt>
                <c:pt idx="36911">
                  <c:v>25922</c:v>
                </c:pt>
                <c:pt idx="36912">
                  <c:v>25922</c:v>
                </c:pt>
                <c:pt idx="36913">
                  <c:v>25922</c:v>
                </c:pt>
                <c:pt idx="36914">
                  <c:v>25921</c:v>
                </c:pt>
                <c:pt idx="36915">
                  <c:v>25921</c:v>
                </c:pt>
                <c:pt idx="36916">
                  <c:v>25921</c:v>
                </c:pt>
                <c:pt idx="36917">
                  <c:v>25920</c:v>
                </c:pt>
                <c:pt idx="36918">
                  <c:v>25919</c:v>
                </c:pt>
                <c:pt idx="36919">
                  <c:v>25919</c:v>
                </c:pt>
                <c:pt idx="36920">
                  <c:v>25919</c:v>
                </c:pt>
                <c:pt idx="36921">
                  <c:v>25919</c:v>
                </c:pt>
                <c:pt idx="36922">
                  <c:v>25918</c:v>
                </c:pt>
                <c:pt idx="36923">
                  <c:v>25918</c:v>
                </c:pt>
                <c:pt idx="36924">
                  <c:v>25917</c:v>
                </c:pt>
                <c:pt idx="36925">
                  <c:v>25916</c:v>
                </c:pt>
                <c:pt idx="36926">
                  <c:v>25916</c:v>
                </c:pt>
                <c:pt idx="36927">
                  <c:v>25916</c:v>
                </c:pt>
                <c:pt idx="36928">
                  <c:v>25916</c:v>
                </c:pt>
                <c:pt idx="36929">
                  <c:v>25916</c:v>
                </c:pt>
                <c:pt idx="36930">
                  <c:v>25915</c:v>
                </c:pt>
                <c:pt idx="36931">
                  <c:v>25915</c:v>
                </c:pt>
                <c:pt idx="36932">
                  <c:v>25914</c:v>
                </c:pt>
                <c:pt idx="36933">
                  <c:v>25914</c:v>
                </c:pt>
                <c:pt idx="36934">
                  <c:v>25914</c:v>
                </c:pt>
                <c:pt idx="36935">
                  <c:v>25913</c:v>
                </c:pt>
                <c:pt idx="36936">
                  <c:v>25912</c:v>
                </c:pt>
                <c:pt idx="36937">
                  <c:v>25911</c:v>
                </c:pt>
                <c:pt idx="36938">
                  <c:v>25909</c:v>
                </c:pt>
                <c:pt idx="36939">
                  <c:v>25909</c:v>
                </c:pt>
                <c:pt idx="36940">
                  <c:v>25908</c:v>
                </c:pt>
                <c:pt idx="36941">
                  <c:v>25908</c:v>
                </c:pt>
                <c:pt idx="36942">
                  <c:v>25908</c:v>
                </c:pt>
                <c:pt idx="36943">
                  <c:v>25907</c:v>
                </c:pt>
                <c:pt idx="36944">
                  <c:v>25907</c:v>
                </c:pt>
                <c:pt idx="36945">
                  <c:v>25907</c:v>
                </c:pt>
                <c:pt idx="36946">
                  <c:v>25905</c:v>
                </c:pt>
                <c:pt idx="36947">
                  <c:v>25903</c:v>
                </c:pt>
                <c:pt idx="36948">
                  <c:v>25903</c:v>
                </c:pt>
                <c:pt idx="36949">
                  <c:v>25902</c:v>
                </c:pt>
                <c:pt idx="36950">
                  <c:v>25902</c:v>
                </c:pt>
                <c:pt idx="36951">
                  <c:v>25902</c:v>
                </c:pt>
                <c:pt idx="36952">
                  <c:v>25902</c:v>
                </c:pt>
                <c:pt idx="36953">
                  <c:v>25901</c:v>
                </c:pt>
                <c:pt idx="36954">
                  <c:v>25901</c:v>
                </c:pt>
                <c:pt idx="36955">
                  <c:v>25900</c:v>
                </c:pt>
                <c:pt idx="36956">
                  <c:v>25899</c:v>
                </c:pt>
                <c:pt idx="36957">
                  <c:v>25897</c:v>
                </c:pt>
                <c:pt idx="36958">
                  <c:v>25897</c:v>
                </c:pt>
                <c:pt idx="36959">
                  <c:v>25895</c:v>
                </c:pt>
                <c:pt idx="36960">
                  <c:v>25894</c:v>
                </c:pt>
                <c:pt idx="36961">
                  <c:v>25894</c:v>
                </c:pt>
                <c:pt idx="36962">
                  <c:v>25893</c:v>
                </c:pt>
                <c:pt idx="36963">
                  <c:v>25893</c:v>
                </c:pt>
                <c:pt idx="36964">
                  <c:v>25892</c:v>
                </c:pt>
                <c:pt idx="36965">
                  <c:v>25892</c:v>
                </c:pt>
                <c:pt idx="36966">
                  <c:v>25891</c:v>
                </c:pt>
                <c:pt idx="36967">
                  <c:v>25891</c:v>
                </c:pt>
                <c:pt idx="36968">
                  <c:v>25890</c:v>
                </c:pt>
                <c:pt idx="36969">
                  <c:v>25889</c:v>
                </c:pt>
                <c:pt idx="36970">
                  <c:v>25889</c:v>
                </c:pt>
                <c:pt idx="36971">
                  <c:v>25888</c:v>
                </c:pt>
                <c:pt idx="36972">
                  <c:v>25888</c:v>
                </c:pt>
                <c:pt idx="36973">
                  <c:v>25888</c:v>
                </c:pt>
                <c:pt idx="36974">
                  <c:v>25888</c:v>
                </c:pt>
                <c:pt idx="36975">
                  <c:v>25885</c:v>
                </c:pt>
                <c:pt idx="36976">
                  <c:v>25885</c:v>
                </c:pt>
                <c:pt idx="36977">
                  <c:v>25885</c:v>
                </c:pt>
                <c:pt idx="36978">
                  <c:v>25884</c:v>
                </c:pt>
                <c:pt idx="36979">
                  <c:v>25884</c:v>
                </c:pt>
                <c:pt idx="36980">
                  <c:v>25883</c:v>
                </c:pt>
                <c:pt idx="36981">
                  <c:v>25883</c:v>
                </c:pt>
                <c:pt idx="36982">
                  <c:v>25882</c:v>
                </c:pt>
                <c:pt idx="36983">
                  <c:v>25882</c:v>
                </c:pt>
                <c:pt idx="36984">
                  <c:v>25881</c:v>
                </c:pt>
                <c:pt idx="36985">
                  <c:v>25879</c:v>
                </c:pt>
                <c:pt idx="36986">
                  <c:v>25878</c:v>
                </c:pt>
                <c:pt idx="36987">
                  <c:v>25878</c:v>
                </c:pt>
                <c:pt idx="36988">
                  <c:v>25877</c:v>
                </c:pt>
                <c:pt idx="36989">
                  <c:v>25875</c:v>
                </c:pt>
                <c:pt idx="36990">
                  <c:v>25874</c:v>
                </c:pt>
                <c:pt idx="36991">
                  <c:v>25874</c:v>
                </c:pt>
                <c:pt idx="36992">
                  <c:v>25873</c:v>
                </c:pt>
                <c:pt idx="36993">
                  <c:v>25872</c:v>
                </c:pt>
                <c:pt idx="36994">
                  <c:v>25871</c:v>
                </c:pt>
                <c:pt idx="36995">
                  <c:v>25870</c:v>
                </c:pt>
                <c:pt idx="36996">
                  <c:v>25869</c:v>
                </c:pt>
                <c:pt idx="36997">
                  <c:v>25868</c:v>
                </c:pt>
                <c:pt idx="36998">
                  <c:v>25868</c:v>
                </c:pt>
                <c:pt idx="36999">
                  <c:v>25867</c:v>
                </c:pt>
                <c:pt idx="37000">
                  <c:v>25865</c:v>
                </c:pt>
                <c:pt idx="37001">
                  <c:v>25864</c:v>
                </c:pt>
                <c:pt idx="37002">
                  <c:v>25862</c:v>
                </c:pt>
                <c:pt idx="37003">
                  <c:v>25861</c:v>
                </c:pt>
                <c:pt idx="37004">
                  <c:v>25860</c:v>
                </c:pt>
                <c:pt idx="37005">
                  <c:v>25859</c:v>
                </c:pt>
                <c:pt idx="37006">
                  <c:v>25859</c:v>
                </c:pt>
                <c:pt idx="37007">
                  <c:v>25858</c:v>
                </c:pt>
                <c:pt idx="37008">
                  <c:v>25858</c:v>
                </c:pt>
                <c:pt idx="37009">
                  <c:v>25858</c:v>
                </c:pt>
                <c:pt idx="37010">
                  <c:v>25857</c:v>
                </c:pt>
                <c:pt idx="37011">
                  <c:v>25857</c:v>
                </c:pt>
                <c:pt idx="37012">
                  <c:v>25857</c:v>
                </c:pt>
                <c:pt idx="37013">
                  <c:v>25856</c:v>
                </c:pt>
                <c:pt idx="37014">
                  <c:v>25856</c:v>
                </c:pt>
                <c:pt idx="37015">
                  <c:v>25856</c:v>
                </c:pt>
                <c:pt idx="37016">
                  <c:v>25855</c:v>
                </c:pt>
                <c:pt idx="37017">
                  <c:v>25855</c:v>
                </c:pt>
                <c:pt idx="37018">
                  <c:v>25855</c:v>
                </c:pt>
                <c:pt idx="37019">
                  <c:v>25854</c:v>
                </c:pt>
                <c:pt idx="37020">
                  <c:v>25852</c:v>
                </c:pt>
                <c:pt idx="37021">
                  <c:v>25850</c:v>
                </c:pt>
                <c:pt idx="37022">
                  <c:v>25850</c:v>
                </c:pt>
                <c:pt idx="37023">
                  <c:v>25850</c:v>
                </c:pt>
                <c:pt idx="37024">
                  <c:v>25848</c:v>
                </c:pt>
                <c:pt idx="37025">
                  <c:v>25847</c:v>
                </c:pt>
                <c:pt idx="37026">
                  <c:v>25847</c:v>
                </c:pt>
                <c:pt idx="37027">
                  <c:v>25847</c:v>
                </c:pt>
                <c:pt idx="37028">
                  <c:v>25845</c:v>
                </c:pt>
                <c:pt idx="37029">
                  <c:v>25844</c:v>
                </c:pt>
                <c:pt idx="37030">
                  <c:v>25844</c:v>
                </c:pt>
                <c:pt idx="37031">
                  <c:v>25844</c:v>
                </c:pt>
                <c:pt idx="37032">
                  <c:v>25843</c:v>
                </c:pt>
                <c:pt idx="37033">
                  <c:v>25843</c:v>
                </c:pt>
                <c:pt idx="37034">
                  <c:v>25842</c:v>
                </c:pt>
                <c:pt idx="37035">
                  <c:v>25842</c:v>
                </c:pt>
                <c:pt idx="37036">
                  <c:v>25841</c:v>
                </c:pt>
                <c:pt idx="37037">
                  <c:v>25841</c:v>
                </c:pt>
                <c:pt idx="37038">
                  <c:v>25841</c:v>
                </c:pt>
                <c:pt idx="37039">
                  <c:v>25839</c:v>
                </c:pt>
                <c:pt idx="37040">
                  <c:v>25836</c:v>
                </c:pt>
                <c:pt idx="37041">
                  <c:v>25836</c:v>
                </c:pt>
                <c:pt idx="37042">
                  <c:v>25835</c:v>
                </c:pt>
                <c:pt idx="37043">
                  <c:v>25835</c:v>
                </c:pt>
                <c:pt idx="37044">
                  <c:v>25835</c:v>
                </c:pt>
                <c:pt idx="37045">
                  <c:v>25834</c:v>
                </c:pt>
                <c:pt idx="37046">
                  <c:v>25834</c:v>
                </c:pt>
                <c:pt idx="37047">
                  <c:v>25833</c:v>
                </c:pt>
                <c:pt idx="37048">
                  <c:v>25832</c:v>
                </c:pt>
                <c:pt idx="37049">
                  <c:v>25831</c:v>
                </c:pt>
                <c:pt idx="37050">
                  <c:v>25830</c:v>
                </c:pt>
                <c:pt idx="37051">
                  <c:v>25830</c:v>
                </c:pt>
                <c:pt idx="37052">
                  <c:v>25830</c:v>
                </c:pt>
                <c:pt idx="37053">
                  <c:v>25829</c:v>
                </c:pt>
                <c:pt idx="37054">
                  <c:v>25829</c:v>
                </c:pt>
                <c:pt idx="37055">
                  <c:v>25828</c:v>
                </c:pt>
                <c:pt idx="37056">
                  <c:v>25827</c:v>
                </c:pt>
                <c:pt idx="37057">
                  <c:v>25827</c:v>
                </c:pt>
                <c:pt idx="37058">
                  <c:v>25825</c:v>
                </c:pt>
                <c:pt idx="37059">
                  <c:v>25824</c:v>
                </c:pt>
                <c:pt idx="37060">
                  <c:v>25824</c:v>
                </c:pt>
                <c:pt idx="37061">
                  <c:v>25823</c:v>
                </c:pt>
                <c:pt idx="37062">
                  <c:v>25823</c:v>
                </c:pt>
                <c:pt idx="37063">
                  <c:v>25822</c:v>
                </c:pt>
                <c:pt idx="37064">
                  <c:v>25821</c:v>
                </c:pt>
                <c:pt idx="37065">
                  <c:v>25821</c:v>
                </c:pt>
                <c:pt idx="37066">
                  <c:v>25821</c:v>
                </c:pt>
                <c:pt idx="37067">
                  <c:v>25820</c:v>
                </c:pt>
                <c:pt idx="37068">
                  <c:v>25820</c:v>
                </c:pt>
                <c:pt idx="37069">
                  <c:v>25819</c:v>
                </c:pt>
                <c:pt idx="37070">
                  <c:v>25819</c:v>
                </c:pt>
                <c:pt idx="37071">
                  <c:v>25818</c:v>
                </c:pt>
                <c:pt idx="37072">
                  <c:v>25817</c:v>
                </c:pt>
                <c:pt idx="37073">
                  <c:v>25817</c:v>
                </c:pt>
                <c:pt idx="37074">
                  <c:v>25817</c:v>
                </c:pt>
                <c:pt idx="37075">
                  <c:v>25815</c:v>
                </c:pt>
                <c:pt idx="37076">
                  <c:v>25814</c:v>
                </c:pt>
                <c:pt idx="37077">
                  <c:v>25812</c:v>
                </c:pt>
                <c:pt idx="37078">
                  <c:v>25811</c:v>
                </c:pt>
                <c:pt idx="37079">
                  <c:v>25810</c:v>
                </c:pt>
                <c:pt idx="37080">
                  <c:v>25810</c:v>
                </c:pt>
                <c:pt idx="37081">
                  <c:v>25809</c:v>
                </c:pt>
                <c:pt idx="37082">
                  <c:v>25808</c:v>
                </c:pt>
                <c:pt idx="37083">
                  <c:v>25808</c:v>
                </c:pt>
                <c:pt idx="37084">
                  <c:v>25806</c:v>
                </c:pt>
                <c:pt idx="37085">
                  <c:v>25804</c:v>
                </c:pt>
                <c:pt idx="37086">
                  <c:v>25804</c:v>
                </c:pt>
                <c:pt idx="37087">
                  <c:v>25804</c:v>
                </c:pt>
                <c:pt idx="37088">
                  <c:v>25803</c:v>
                </c:pt>
                <c:pt idx="37089">
                  <c:v>25801</c:v>
                </c:pt>
                <c:pt idx="37090">
                  <c:v>25800</c:v>
                </c:pt>
                <c:pt idx="37091">
                  <c:v>25800</c:v>
                </c:pt>
                <c:pt idx="37092">
                  <c:v>25799</c:v>
                </c:pt>
                <c:pt idx="37093">
                  <c:v>25799</c:v>
                </c:pt>
                <c:pt idx="37094">
                  <c:v>25799</c:v>
                </c:pt>
                <c:pt idx="37095">
                  <c:v>25799</c:v>
                </c:pt>
                <c:pt idx="37096">
                  <c:v>25798</c:v>
                </c:pt>
                <c:pt idx="37097">
                  <c:v>25797</c:v>
                </c:pt>
                <c:pt idx="37098">
                  <c:v>25797</c:v>
                </c:pt>
                <c:pt idx="37099">
                  <c:v>25796</c:v>
                </c:pt>
                <c:pt idx="37100">
                  <c:v>25796</c:v>
                </c:pt>
                <c:pt idx="37101">
                  <c:v>25796</c:v>
                </c:pt>
                <c:pt idx="37102">
                  <c:v>25794</c:v>
                </c:pt>
                <c:pt idx="37103">
                  <c:v>25794</c:v>
                </c:pt>
                <c:pt idx="37104">
                  <c:v>25794</c:v>
                </c:pt>
                <c:pt idx="37105">
                  <c:v>25794</c:v>
                </c:pt>
                <c:pt idx="37106">
                  <c:v>25793</c:v>
                </c:pt>
                <c:pt idx="37107">
                  <c:v>25792</c:v>
                </c:pt>
                <c:pt idx="37108">
                  <c:v>25792</c:v>
                </c:pt>
                <c:pt idx="37109">
                  <c:v>25792</c:v>
                </c:pt>
                <c:pt idx="37110">
                  <c:v>25791</c:v>
                </c:pt>
                <c:pt idx="37111">
                  <c:v>25790</c:v>
                </c:pt>
                <c:pt idx="37112">
                  <c:v>25789</c:v>
                </c:pt>
                <c:pt idx="37113">
                  <c:v>25787</c:v>
                </c:pt>
                <c:pt idx="37114">
                  <c:v>25787</c:v>
                </c:pt>
                <c:pt idx="37115">
                  <c:v>25787</c:v>
                </c:pt>
                <c:pt idx="37116">
                  <c:v>25787</c:v>
                </c:pt>
                <c:pt idx="37117">
                  <c:v>25786</c:v>
                </c:pt>
                <c:pt idx="37118">
                  <c:v>25785</c:v>
                </c:pt>
                <c:pt idx="37119">
                  <c:v>25782</c:v>
                </c:pt>
                <c:pt idx="37120">
                  <c:v>25782</c:v>
                </c:pt>
                <c:pt idx="37121">
                  <c:v>25782</c:v>
                </c:pt>
                <c:pt idx="37122">
                  <c:v>25782</c:v>
                </c:pt>
                <c:pt idx="37123">
                  <c:v>25781</c:v>
                </c:pt>
                <c:pt idx="37124">
                  <c:v>25781</c:v>
                </c:pt>
                <c:pt idx="37125">
                  <c:v>25780</c:v>
                </c:pt>
                <c:pt idx="37126">
                  <c:v>25780</c:v>
                </c:pt>
                <c:pt idx="37127">
                  <c:v>25779</c:v>
                </c:pt>
                <c:pt idx="37128">
                  <c:v>25779</c:v>
                </c:pt>
                <c:pt idx="37129">
                  <c:v>25777</c:v>
                </c:pt>
                <c:pt idx="37130">
                  <c:v>25776</c:v>
                </c:pt>
                <c:pt idx="37131">
                  <c:v>25776</c:v>
                </c:pt>
                <c:pt idx="37132">
                  <c:v>25776</c:v>
                </c:pt>
                <c:pt idx="37133">
                  <c:v>25776</c:v>
                </c:pt>
                <c:pt idx="37134">
                  <c:v>25775</c:v>
                </c:pt>
                <c:pt idx="37135">
                  <c:v>25774</c:v>
                </c:pt>
                <c:pt idx="37136">
                  <c:v>25774</c:v>
                </c:pt>
                <c:pt idx="37137">
                  <c:v>25774</c:v>
                </c:pt>
                <c:pt idx="37138">
                  <c:v>25774</c:v>
                </c:pt>
                <c:pt idx="37139">
                  <c:v>25774</c:v>
                </c:pt>
                <c:pt idx="37140">
                  <c:v>25774</c:v>
                </c:pt>
                <c:pt idx="37141">
                  <c:v>25774</c:v>
                </c:pt>
                <c:pt idx="37142">
                  <c:v>25773</c:v>
                </c:pt>
                <c:pt idx="37143">
                  <c:v>25772</c:v>
                </c:pt>
                <c:pt idx="37144">
                  <c:v>25771</c:v>
                </c:pt>
                <c:pt idx="37145">
                  <c:v>25770</c:v>
                </c:pt>
                <c:pt idx="37146">
                  <c:v>25768</c:v>
                </c:pt>
                <c:pt idx="37147">
                  <c:v>25768</c:v>
                </c:pt>
                <c:pt idx="37148">
                  <c:v>25768</c:v>
                </c:pt>
                <c:pt idx="37149">
                  <c:v>25767</c:v>
                </c:pt>
                <c:pt idx="37150">
                  <c:v>25767</c:v>
                </c:pt>
                <c:pt idx="37151">
                  <c:v>25766</c:v>
                </c:pt>
                <c:pt idx="37152">
                  <c:v>25766</c:v>
                </c:pt>
                <c:pt idx="37153">
                  <c:v>25765</c:v>
                </c:pt>
                <c:pt idx="37154">
                  <c:v>25765</c:v>
                </c:pt>
                <c:pt idx="37155">
                  <c:v>25765</c:v>
                </c:pt>
                <c:pt idx="37156">
                  <c:v>25764</c:v>
                </c:pt>
                <c:pt idx="37157">
                  <c:v>25764</c:v>
                </c:pt>
                <c:pt idx="37158">
                  <c:v>25764</c:v>
                </c:pt>
                <c:pt idx="37159">
                  <c:v>25763</c:v>
                </c:pt>
                <c:pt idx="37160">
                  <c:v>25763</c:v>
                </c:pt>
                <c:pt idx="37161">
                  <c:v>25762</c:v>
                </c:pt>
                <c:pt idx="37162">
                  <c:v>25762</c:v>
                </c:pt>
                <c:pt idx="37163">
                  <c:v>25761</c:v>
                </c:pt>
                <c:pt idx="37164">
                  <c:v>25760</c:v>
                </c:pt>
                <c:pt idx="37165">
                  <c:v>25759</c:v>
                </c:pt>
                <c:pt idx="37166">
                  <c:v>25759</c:v>
                </c:pt>
                <c:pt idx="37167">
                  <c:v>25758</c:v>
                </c:pt>
                <c:pt idx="37168">
                  <c:v>25758</c:v>
                </c:pt>
                <c:pt idx="37169">
                  <c:v>25758</c:v>
                </c:pt>
                <c:pt idx="37170">
                  <c:v>25757</c:v>
                </c:pt>
                <c:pt idx="37171">
                  <c:v>25756</c:v>
                </c:pt>
                <c:pt idx="37172">
                  <c:v>25756</c:v>
                </c:pt>
                <c:pt idx="37173">
                  <c:v>25755</c:v>
                </c:pt>
                <c:pt idx="37174">
                  <c:v>25755</c:v>
                </c:pt>
                <c:pt idx="37175">
                  <c:v>25754</c:v>
                </c:pt>
                <c:pt idx="37176">
                  <c:v>25754</c:v>
                </c:pt>
                <c:pt idx="37177">
                  <c:v>25754</c:v>
                </c:pt>
                <c:pt idx="37178">
                  <c:v>25754</c:v>
                </c:pt>
                <c:pt idx="37179">
                  <c:v>25754</c:v>
                </c:pt>
                <c:pt idx="37180">
                  <c:v>25753</c:v>
                </c:pt>
                <c:pt idx="37181">
                  <c:v>25753</c:v>
                </c:pt>
                <c:pt idx="37182">
                  <c:v>25752</c:v>
                </c:pt>
                <c:pt idx="37183">
                  <c:v>25751</c:v>
                </c:pt>
                <c:pt idx="37184">
                  <c:v>25750</c:v>
                </c:pt>
                <c:pt idx="37185">
                  <c:v>25749</c:v>
                </c:pt>
                <c:pt idx="37186">
                  <c:v>25749</c:v>
                </c:pt>
                <c:pt idx="37187">
                  <c:v>25749</c:v>
                </c:pt>
                <c:pt idx="37188">
                  <c:v>25748</c:v>
                </c:pt>
                <c:pt idx="37189">
                  <c:v>25748</c:v>
                </c:pt>
                <c:pt idx="37190">
                  <c:v>25747</c:v>
                </c:pt>
                <c:pt idx="37191">
                  <c:v>25747</c:v>
                </c:pt>
                <c:pt idx="37192">
                  <c:v>25745</c:v>
                </c:pt>
                <c:pt idx="37193">
                  <c:v>25745</c:v>
                </c:pt>
                <c:pt idx="37194">
                  <c:v>25744</c:v>
                </c:pt>
                <c:pt idx="37195">
                  <c:v>25744</c:v>
                </c:pt>
                <c:pt idx="37196">
                  <c:v>25743</c:v>
                </c:pt>
                <c:pt idx="37197">
                  <c:v>25741</c:v>
                </c:pt>
                <c:pt idx="37198">
                  <c:v>25741</c:v>
                </c:pt>
                <c:pt idx="37199">
                  <c:v>25740</c:v>
                </c:pt>
                <c:pt idx="37200">
                  <c:v>25740</c:v>
                </c:pt>
                <c:pt idx="37201">
                  <c:v>25739</c:v>
                </c:pt>
                <c:pt idx="37202">
                  <c:v>25739</c:v>
                </c:pt>
                <c:pt idx="37203">
                  <c:v>25739</c:v>
                </c:pt>
                <c:pt idx="37204">
                  <c:v>25737</c:v>
                </c:pt>
                <c:pt idx="37205">
                  <c:v>25737</c:v>
                </c:pt>
                <c:pt idx="37206">
                  <c:v>25737</c:v>
                </c:pt>
                <c:pt idx="37207">
                  <c:v>25736</c:v>
                </c:pt>
                <c:pt idx="37208">
                  <c:v>25736</c:v>
                </c:pt>
                <c:pt idx="37209">
                  <c:v>25735</c:v>
                </c:pt>
                <c:pt idx="37210">
                  <c:v>25735</c:v>
                </c:pt>
                <c:pt idx="37211">
                  <c:v>25734</c:v>
                </c:pt>
                <c:pt idx="37212">
                  <c:v>25734</c:v>
                </c:pt>
                <c:pt idx="37213">
                  <c:v>25734</c:v>
                </c:pt>
                <c:pt idx="37214">
                  <c:v>25734</c:v>
                </c:pt>
                <c:pt idx="37215">
                  <c:v>25733</c:v>
                </c:pt>
                <c:pt idx="37216">
                  <c:v>25733</c:v>
                </c:pt>
                <c:pt idx="37217">
                  <c:v>25733</c:v>
                </c:pt>
                <c:pt idx="37218">
                  <c:v>25732</c:v>
                </c:pt>
                <c:pt idx="37219">
                  <c:v>25732</c:v>
                </c:pt>
                <c:pt idx="37220">
                  <c:v>25732</c:v>
                </c:pt>
                <c:pt idx="37221">
                  <c:v>25730</c:v>
                </c:pt>
                <c:pt idx="37222">
                  <c:v>25730</c:v>
                </c:pt>
                <c:pt idx="37223">
                  <c:v>25729</c:v>
                </c:pt>
                <c:pt idx="37224">
                  <c:v>25729</c:v>
                </c:pt>
                <c:pt idx="37225">
                  <c:v>25729</c:v>
                </c:pt>
                <c:pt idx="37226">
                  <c:v>25728</c:v>
                </c:pt>
                <c:pt idx="37227">
                  <c:v>25728</c:v>
                </c:pt>
                <c:pt idx="37228">
                  <c:v>25728</c:v>
                </c:pt>
                <c:pt idx="37229">
                  <c:v>25728</c:v>
                </c:pt>
                <c:pt idx="37230">
                  <c:v>25728</c:v>
                </c:pt>
                <c:pt idx="37231">
                  <c:v>25726</c:v>
                </c:pt>
                <c:pt idx="37232">
                  <c:v>25725</c:v>
                </c:pt>
                <c:pt idx="37233">
                  <c:v>25725</c:v>
                </c:pt>
                <c:pt idx="37234">
                  <c:v>25723</c:v>
                </c:pt>
                <c:pt idx="37235">
                  <c:v>25723</c:v>
                </c:pt>
                <c:pt idx="37236">
                  <c:v>25723</c:v>
                </c:pt>
                <c:pt idx="37237">
                  <c:v>25723</c:v>
                </c:pt>
                <c:pt idx="37238">
                  <c:v>25723</c:v>
                </c:pt>
                <c:pt idx="37239">
                  <c:v>25719</c:v>
                </c:pt>
                <c:pt idx="37240">
                  <c:v>25717</c:v>
                </c:pt>
                <c:pt idx="37241">
                  <c:v>25716</c:v>
                </c:pt>
                <c:pt idx="37242">
                  <c:v>25716</c:v>
                </c:pt>
                <c:pt idx="37243">
                  <c:v>25715</c:v>
                </c:pt>
                <c:pt idx="37244">
                  <c:v>25715</c:v>
                </c:pt>
                <c:pt idx="37245">
                  <c:v>25713</c:v>
                </c:pt>
                <c:pt idx="37246">
                  <c:v>25713</c:v>
                </c:pt>
                <c:pt idx="37247">
                  <c:v>25713</c:v>
                </c:pt>
                <c:pt idx="37248">
                  <c:v>25713</c:v>
                </c:pt>
                <c:pt idx="37249">
                  <c:v>25713</c:v>
                </c:pt>
                <c:pt idx="37250">
                  <c:v>25712</c:v>
                </c:pt>
                <c:pt idx="37251">
                  <c:v>25711</c:v>
                </c:pt>
                <c:pt idx="37252">
                  <c:v>25710</c:v>
                </c:pt>
                <c:pt idx="37253">
                  <c:v>25708</c:v>
                </c:pt>
                <c:pt idx="37254">
                  <c:v>25708</c:v>
                </c:pt>
                <c:pt idx="37255">
                  <c:v>25708</c:v>
                </c:pt>
                <c:pt idx="37256">
                  <c:v>25707</c:v>
                </c:pt>
                <c:pt idx="37257">
                  <c:v>25707</c:v>
                </c:pt>
                <c:pt idx="37258">
                  <c:v>25705</c:v>
                </c:pt>
                <c:pt idx="37259">
                  <c:v>25705</c:v>
                </c:pt>
                <c:pt idx="37260">
                  <c:v>25705</c:v>
                </c:pt>
                <c:pt idx="37261">
                  <c:v>25704</c:v>
                </c:pt>
                <c:pt idx="37262">
                  <c:v>25704</c:v>
                </c:pt>
                <c:pt idx="37263">
                  <c:v>25704</c:v>
                </c:pt>
                <c:pt idx="37264">
                  <c:v>25703</c:v>
                </c:pt>
                <c:pt idx="37265">
                  <c:v>25703</c:v>
                </c:pt>
                <c:pt idx="37266">
                  <c:v>25703</c:v>
                </c:pt>
                <c:pt idx="37267">
                  <c:v>25701</c:v>
                </c:pt>
                <c:pt idx="37268">
                  <c:v>25701</c:v>
                </c:pt>
                <c:pt idx="37269">
                  <c:v>25700</c:v>
                </c:pt>
                <c:pt idx="37270">
                  <c:v>25700</c:v>
                </c:pt>
                <c:pt idx="37271">
                  <c:v>25699</c:v>
                </c:pt>
                <c:pt idx="37272">
                  <c:v>25699</c:v>
                </c:pt>
                <c:pt idx="37273">
                  <c:v>25699</c:v>
                </c:pt>
                <c:pt idx="37274">
                  <c:v>25698</c:v>
                </c:pt>
                <c:pt idx="37275">
                  <c:v>25697</c:v>
                </c:pt>
                <c:pt idx="37276">
                  <c:v>25697</c:v>
                </c:pt>
                <c:pt idx="37277">
                  <c:v>25696</c:v>
                </c:pt>
                <c:pt idx="37278">
                  <c:v>25696</c:v>
                </c:pt>
                <c:pt idx="37279">
                  <c:v>25695</c:v>
                </c:pt>
                <c:pt idx="37280">
                  <c:v>25694</c:v>
                </c:pt>
                <c:pt idx="37281">
                  <c:v>25693</c:v>
                </c:pt>
                <c:pt idx="37282">
                  <c:v>25693</c:v>
                </c:pt>
                <c:pt idx="37283">
                  <c:v>25693</c:v>
                </c:pt>
                <c:pt idx="37284">
                  <c:v>25692</c:v>
                </c:pt>
                <c:pt idx="37285">
                  <c:v>25691</c:v>
                </c:pt>
                <c:pt idx="37286">
                  <c:v>25690</c:v>
                </c:pt>
                <c:pt idx="37287">
                  <c:v>25690</c:v>
                </c:pt>
                <c:pt idx="37288">
                  <c:v>25689</c:v>
                </c:pt>
                <c:pt idx="37289">
                  <c:v>25689</c:v>
                </c:pt>
                <c:pt idx="37290">
                  <c:v>25689</c:v>
                </c:pt>
                <c:pt idx="37291">
                  <c:v>25688</c:v>
                </c:pt>
                <c:pt idx="37292">
                  <c:v>25687</c:v>
                </c:pt>
                <c:pt idx="37293">
                  <c:v>25686</c:v>
                </c:pt>
                <c:pt idx="37294">
                  <c:v>25686</c:v>
                </c:pt>
                <c:pt idx="37295">
                  <c:v>25686</c:v>
                </c:pt>
                <c:pt idx="37296">
                  <c:v>25685</c:v>
                </c:pt>
                <c:pt idx="37297">
                  <c:v>25684</c:v>
                </c:pt>
                <c:pt idx="37298">
                  <c:v>25684</c:v>
                </c:pt>
                <c:pt idx="37299">
                  <c:v>25683</c:v>
                </c:pt>
                <c:pt idx="37300">
                  <c:v>25683</c:v>
                </c:pt>
                <c:pt idx="37301">
                  <c:v>25682</c:v>
                </c:pt>
                <c:pt idx="37302">
                  <c:v>25682</c:v>
                </c:pt>
                <c:pt idx="37303">
                  <c:v>25682</c:v>
                </c:pt>
                <c:pt idx="37304">
                  <c:v>25681</c:v>
                </c:pt>
                <c:pt idx="37305">
                  <c:v>25680</c:v>
                </c:pt>
                <c:pt idx="37306">
                  <c:v>25679</c:v>
                </c:pt>
                <c:pt idx="37307">
                  <c:v>25679</c:v>
                </c:pt>
                <c:pt idx="37308">
                  <c:v>25678</c:v>
                </c:pt>
                <c:pt idx="37309">
                  <c:v>25677</c:v>
                </c:pt>
                <c:pt idx="37310">
                  <c:v>25677</c:v>
                </c:pt>
                <c:pt idx="37311">
                  <c:v>25677</c:v>
                </c:pt>
                <c:pt idx="37312">
                  <c:v>25674</c:v>
                </c:pt>
                <c:pt idx="37313">
                  <c:v>25674</c:v>
                </c:pt>
                <c:pt idx="37314">
                  <c:v>25674</c:v>
                </c:pt>
                <c:pt idx="37315">
                  <c:v>25672</c:v>
                </c:pt>
                <c:pt idx="37316">
                  <c:v>25672</c:v>
                </c:pt>
                <c:pt idx="37317">
                  <c:v>25672</c:v>
                </c:pt>
                <c:pt idx="37318">
                  <c:v>25672</c:v>
                </c:pt>
                <c:pt idx="37319">
                  <c:v>25671</c:v>
                </c:pt>
                <c:pt idx="37320">
                  <c:v>25671</c:v>
                </c:pt>
                <c:pt idx="37321">
                  <c:v>25671</c:v>
                </c:pt>
                <c:pt idx="37322">
                  <c:v>25671</c:v>
                </c:pt>
                <c:pt idx="37323">
                  <c:v>25671</c:v>
                </c:pt>
                <c:pt idx="37324">
                  <c:v>25670</c:v>
                </c:pt>
                <c:pt idx="37325">
                  <c:v>25669</c:v>
                </c:pt>
                <c:pt idx="37326">
                  <c:v>25668</c:v>
                </c:pt>
                <c:pt idx="37327">
                  <c:v>25668</c:v>
                </c:pt>
                <c:pt idx="37328">
                  <c:v>25667</c:v>
                </c:pt>
                <c:pt idx="37329">
                  <c:v>25667</c:v>
                </c:pt>
                <c:pt idx="37330">
                  <c:v>25667</c:v>
                </c:pt>
                <c:pt idx="37331">
                  <c:v>25667</c:v>
                </c:pt>
                <c:pt idx="37332">
                  <c:v>25666</c:v>
                </c:pt>
                <c:pt idx="37333">
                  <c:v>25664</c:v>
                </c:pt>
                <c:pt idx="37334">
                  <c:v>25664</c:v>
                </c:pt>
                <c:pt idx="37335">
                  <c:v>25663</c:v>
                </c:pt>
                <c:pt idx="37336">
                  <c:v>25662</c:v>
                </c:pt>
                <c:pt idx="37337">
                  <c:v>25662</c:v>
                </c:pt>
                <c:pt idx="37338">
                  <c:v>25661</c:v>
                </c:pt>
                <c:pt idx="37339">
                  <c:v>25659</c:v>
                </c:pt>
                <c:pt idx="37340">
                  <c:v>25659</c:v>
                </c:pt>
                <c:pt idx="37341">
                  <c:v>25659</c:v>
                </c:pt>
                <c:pt idx="37342">
                  <c:v>25657</c:v>
                </c:pt>
                <c:pt idx="37343">
                  <c:v>25656</c:v>
                </c:pt>
                <c:pt idx="37344">
                  <c:v>25656</c:v>
                </c:pt>
                <c:pt idx="37345">
                  <c:v>25655</c:v>
                </c:pt>
                <c:pt idx="37346">
                  <c:v>25655</c:v>
                </c:pt>
                <c:pt idx="37347">
                  <c:v>25655</c:v>
                </c:pt>
                <c:pt idx="37348">
                  <c:v>25654</c:v>
                </c:pt>
                <c:pt idx="37349">
                  <c:v>25654</c:v>
                </c:pt>
                <c:pt idx="37350">
                  <c:v>25653</c:v>
                </c:pt>
                <c:pt idx="37351">
                  <c:v>25653</c:v>
                </c:pt>
                <c:pt idx="37352">
                  <c:v>25652</c:v>
                </c:pt>
                <c:pt idx="37353">
                  <c:v>25650</c:v>
                </c:pt>
                <c:pt idx="37354">
                  <c:v>25650</c:v>
                </c:pt>
                <c:pt idx="37355">
                  <c:v>25650</c:v>
                </c:pt>
                <c:pt idx="37356">
                  <c:v>25649</c:v>
                </c:pt>
                <c:pt idx="37357">
                  <c:v>25647</c:v>
                </c:pt>
                <c:pt idx="37358">
                  <c:v>25647</c:v>
                </c:pt>
                <c:pt idx="37359">
                  <c:v>25647</c:v>
                </c:pt>
                <c:pt idx="37360">
                  <c:v>25647</c:v>
                </c:pt>
                <c:pt idx="37361">
                  <c:v>25647</c:v>
                </c:pt>
                <c:pt idx="37362">
                  <c:v>25647</c:v>
                </c:pt>
                <c:pt idx="37363">
                  <c:v>25647</c:v>
                </c:pt>
                <c:pt idx="37364">
                  <c:v>25644</c:v>
                </c:pt>
                <c:pt idx="37365">
                  <c:v>25642</c:v>
                </c:pt>
                <c:pt idx="37366">
                  <c:v>25641</c:v>
                </c:pt>
                <c:pt idx="37367">
                  <c:v>25641</c:v>
                </c:pt>
                <c:pt idx="37368">
                  <c:v>25639</c:v>
                </c:pt>
                <c:pt idx="37369">
                  <c:v>25639</c:v>
                </c:pt>
                <c:pt idx="37370">
                  <c:v>25639</c:v>
                </c:pt>
                <c:pt idx="37371">
                  <c:v>25639</c:v>
                </c:pt>
                <c:pt idx="37372">
                  <c:v>25639</c:v>
                </c:pt>
                <c:pt idx="37373">
                  <c:v>25638</c:v>
                </c:pt>
                <c:pt idx="37374">
                  <c:v>25638</c:v>
                </c:pt>
                <c:pt idx="37375">
                  <c:v>25637</c:v>
                </c:pt>
                <c:pt idx="37376">
                  <c:v>25637</c:v>
                </c:pt>
                <c:pt idx="37377">
                  <c:v>25636</c:v>
                </c:pt>
                <c:pt idx="37378">
                  <c:v>25636</c:v>
                </c:pt>
                <c:pt idx="37379">
                  <c:v>25635</c:v>
                </c:pt>
                <c:pt idx="37380">
                  <c:v>25635</c:v>
                </c:pt>
                <c:pt idx="37381">
                  <c:v>25635</c:v>
                </c:pt>
                <c:pt idx="37382">
                  <c:v>25635</c:v>
                </c:pt>
                <c:pt idx="37383">
                  <c:v>25634</c:v>
                </c:pt>
                <c:pt idx="37384">
                  <c:v>25633</c:v>
                </c:pt>
                <c:pt idx="37385">
                  <c:v>25632</c:v>
                </c:pt>
                <c:pt idx="37386">
                  <c:v>25632</c:v>
                </c:pt>
                <c:pt idx="37387">
                  <c:v>25632</c:v>
                </c:pt>
                <c:pt idx="37388">
                  <c:v>25632</c:v>
                </c:pt>
                <c:pt idx="37389">
                  <c:v>25632</c:v>
                </c:pt>
                <c:pt idx="37390">
                  <c:v>25631</c:v>
                </c:pt>
                <c:pt idx="37391">
                  <c:v>25631</c:v>
                </c:pt>
                <c:pt idx="37392">
                  <c:v>25631</c:v>
                </c:pt>
                <c:pt idx="37393">
                  <c:v>25630</c:v>
                </c:pt>
                <c:pt idx="37394">
                  <c:v>25629</c:v>
                </c:pt>
                <c:pt idx="37395">
                  <c:v>25629</c:v>
                </c:pt>
                <c:pt idx="37396">
                  <c:v>25628</c:v>
                </c:pt>
                <c:pt idx="37397">
                  <c:v>25624</c:v>
                </c:pt>
                <c:pt idx="37398">
                  <c:v>25624</c:v>
                </c:pt>
                <c:pt idx="37399">
                  <c:v>25623</c:v>
                </c:pt>
                <c:pt idx="37400">
                  <c:v>25621</c:v>
                </c:pt>
                <c:pt idx="37401">
                  <c:v>25620</c:v>
                </c:pt>
                <c:pt idx="37402">
                  <c:v>25619</c:v>
                </c:pt>
                <c:pt idx="37403">
                  <c:v>25619</c:v>
                </c:pt>
                <c:pt idx="37404">
                  <c:v>25619</c:v>
                </c:pt>
                <c:pt idx="37405">
                  <c:v>25617</c:v>
                </c:pt>
                <c:pt idx="37406">
                  <c:v>25617</c:v>
                </c:pt>
                <c:pt idx="37407">
                  <c:v>25616</c:v>
                </c:pt>
                <c:pt idx="37408">
                  <c:v>25614</c:v>
                </c:pt>
                <c:pt idx="37409">
                  <c:v>25614</c:v>
                </c:pt>
                <c:pt idx="37410">
                  <c:v>25614</c:v>
                </c:pt>
                <c:pt idx="37411">
                  <c:v>25613</c:v>
                </c:pt>
                <c:pt idx="37412">
                  <c:v>25611</c:v>
                </c:pt>
                <c:pt idx="37413">
                  <c:v>25611</c:v>
                </c:pt>
                <c:pt idx="37414">
                  <c:v>25611</c:v>
                </c:pt>
                <c:pt idx="37415">
                  <c:v>25610</c:v>
                </c:pt>
                <c:pt idx="37416">
                  <c:v>25610</c:v>
                </c:pt>
                <c:pt idx="37417">
                  <c:v>25609</c:v>
                </c:pt>
                <c:pt idx="37418">
                  <c:v>25609</c:v>
                </c:pt>
                <c:pt idx="37419">
                  <c:v>25605</c:v>
                </c:pt>
                <c:pt idx="37420">
                  <c:v>25604</c:v>
                </c:pt>
                <c:pt idx="37421">
                  <c:v>25604</c:v>
                </c:pt>
                <c:pt idx="37422">
                  <c:v>25604</c:v>
                </c:pt>
                <c:pt idx="37423">
                  <c:v>25604</c:v>
                </c:pt>
                <c:pt idx="37424">
                  <c:v>25604</c:v>
                </c:pt>
                <c:pt idx="37425">
                  <c:v>25603</c:v>
                </c:pt>
                <c:pt idx="37426">
                  <c:v>25600</c:v>
                </c:pt>
                <c:pt idx="37427">
                  <c:v>25599</c:v>
                </c:pt>
                <c:pt idx="37428">
                  <c:v>25597</c:v>
                </c:pt>
                <c:pt idx="37429">
                  <c:v>25597</c:v>
                </c:pt>
                <c:pt idx="37430">
                  <c:v>25597</c:v>
                </c:pt>
                <c:pt idx="37431">
                  <c:v>25596</c:v>
                </c:pt>
                <c:pt idx="37432">
                  <c:v>25595</c:v>
                </c:pt>
                <c:pt idx="37433">
                  <c:v>25594</c:v>
                </c:pt>
                <c:pt idx="37434">
                  <c:v>25594</c:v>
                </c:pt>
                <c:pt idx="37435">
                  <c:v>25593</c:v>
                </c:pt>
                <c:pt idx="37436">
                  <c:v>25593</c:v>
                </c:pt>
                <c:pt idx="37437">
                  <c:v>25592</c:v>
                </c:pt>
                <c:pt idx="37438">
                  <c:v>25591</c:v>
                </c:pt>
                <c:pt idx="37439">
                  <c:v>25591</c:v>
                </c:pt>
                <c:pt idx="37440">
                  <c:v>25590</c:v>
                </c:pt>
                <c:pt idx="37441">
                  <c:v>25590</c:v>
                </c:pt>
                <c:pt idx="37442">
                  <c:v>25589</c:v>
                </c:pt>
                <c:pt idx="37443">
                  <c:v>25588</c:v>
                </c:pt>
                <c:pt idx="37444">
                  <c:v>25588</c:v>
                </c:pt>
                <c:pt idx="37445">
                  <c:v>25587</c:v>
                </c:pt>
                <c:pt idx="37446">
                  <c:v>25586</c:v>
                </c:pt>
                <c:pt idx="37447">
                  <c:v>25586</c:v>
                </c:pt>
                <c:pt idx="37448">
                  <c:v>25585</c:v>
                </c:pt>
                <c:pt idx="37449">
                  <c:v>25584</c:v>
                </c:pt>
                <c:pt idx="37450">
                  <c:v>25584</c:v>
                </c:pt>
                <c:pt idx="37451">
                  <c:v>25584</c:v>
                </c:pt>
                <c:pt idx="37452">
                  <c:v>25583</c:v>
                </c:pt>
                <c:pt idx="37453">
                  <c:v>25583</c:v>
                </c:pt>
                <c:pt idx="37454">
                  <c:v>25582</c:v>
                </c:pt>
                <c:pt idx="37455">
                  <c:v>25581</c:v>
                </c:pt>
                <c:pt idx="37456">
                  <c:v>25581</c:v>
                </c:pt>
                <c:pt idx="37457">
                  <c:v>25580</c:v>
                </c:pt>
                <c:pt idx="37458">
                  <c:v>25580</c:v>
                </c:pt>
                <c:pt idx="37459">
                  <c:v>25580</c:v>
                </c:pt>
                <c:pt idx="37460">
                  <c:v>25579</c:v>
                </c:pt>
                <c:pt idx="37461">
                  <c:v>25578</c:v>
                </c:pt>
                <c:pt idx="37462">
                  <c:v>25578</c:v>
                </c:pt>
                <c:pt idx="37463">
                  <c:v>25577</c:v>
                </c:pt>
                <c:pt idx="37464">
                  <c:v>25577</c:v>
                </c:pt>
                <c:pt idx="37465">
                  <c:v>25577</c:v>
                </c:pt>
                <c:pt idx="37466">
                  <c:v>25576</c:v>
                </c:pt>
                <c:pt idx="37467">
                  <c:v>25575</c:v>
                </c:pt>
                <c:pt idx="37468">
                  <c:v>25575</c:v>
                </c:pt>
                <c:pt idx="37469">
                  <c:v>25575</c:v>
                </c:pt>
                <c:pt idx="37470">
                  <c:v>25574</c:v>
                </c:pt>
                <c:pt idx="37471">
                  <c:v>25574</c:v>
                </c:pt>
                <c:pt idx="37472">
                  <c:v>25573</c:v>
                </c:pt>
                <c:pt idx="37473">
                  <c:v>25571</c:v>
                </c:pt>
                <c:pt idx="37474">
                  <c:v>25570</c:v>
                </c:pt>
                <c:pt idx="37475">
                  <c:v>25570</c:v>
                </c:pt>
                <c:pt idx="37476">
                  <c:v>25568</c:v>
                </c:pt>
                <c:pt idx="37477">
                  <c:v>25568</c:v>
                </c:pt>
                <c:pt idx="37478">
                  <c:v>25567</c:v>
                </c:pt>
                <c:pt idx="37479">
                  <c:v>25567</c:v>
                </c:pt>
                <c:pt idx="37480">
                  <c:v>25565</c:v>
                </c:pt>
                <c:pt idx="37481">
                  <c:v>25564</c:v>
                </c:pt>
                <c:pt idx="37482">
                  <c:v>25564</c:v>
                </c:pt>
                <c:pt idx="37483">
                  <c:v>25564</c:v>
                </c:pt>
                <c:pt idx="37484">
                  <c:v>25564</c:v>
                </c:pt>
                <c:pt idx="37485">
                  <c:v>25564</c:v>
                </c:pt>
                <c:pt idx="37486">
                  <c:v>25563</c:v>
                </c:pt>
                <c:pt idx="37487">
                  <c:v>25563</c:v>
                </c:pt>
                <c:pt idx="37488">
                  <c:v>25563</c:v>
                </c:pt>
                <c:pt idx="37489">
                  <c:v>25563</c:v>
                </c:pt>
                <c:pt idx="37490">
                  <c:v>25563</c:v>
                </c:pt>
                <c:pt idx="37491">
                  <c:v>25563</c:v>
                </c:pt>
                <c:pt idx="37492">
                  <c:v>25562</c:v>
                </c:pt>
                <c:pt idx="37493">
                  <c:v>25561</c:v>
                </c:pt>
                <c:pt idx="37494">
                  <c:v>25561</c:v>
                </c:pt>
                <c:pt idx="37495">
                  <c:v>25561</c:v>
                </c:pt>
                <c:pt idx="37496">
                  <c:v>25559</c:v>
                </c:pt>
                <c:pt idx="37497">
                  <c:v>25559</c:v>
                </c:pt>
                <c:pt idx="37498">
                  <c:v>25559</c:v>
                </c:pt>
                <c:pt idx="37499">
                  <c:v>25559</c:v>
                </c:pt>
                <c:pt idx="37500">
                  <c:v>25558</c:v>
                </c:pt>
                <c:pt idx="37501">
                  <c:v>25558</c:v>
                </c:pt>
                <c:pt idx="37502">
                  <c:v>25556</c:v>
                </c:pt>
                <c:pt idx="37503">
                  <c:v>25556</c:v>
                </c:pt>
                <c:pt idx="37504">
                  <c:v>25555</c:v>
                </c:pt>
                <c:pt idx="37505">
                  <c:v>25555</c:v>
                </c:pt>
                <c:pt idx="37506">
                  <c:v>25555</c:v>
                </c:pt>
                <c:pt idx="37507">
                  <c:v>25554</c:v>
                </c:pt>
                <c:pt idx="37508">
                  <c:v>25554</c:v>
                </c:pt>
                <c:pt idx="37509">
                  <c:v>25554</c:v>
                </c:pt>
                <c:pt idx="37510">
                  <c:v>25553</c:v>
                </c:pt>
                <c:pt idx="37511">
                  <c:v>25553</c:v>
                </c:pt>
                <c:pt idx="37512">
                  <c:v>25553</c:v>
                </c:pt>
                <c:pt idx="37513">
                  <c:v>25552</c:v>
                </c:pt>
                <c:pt idx="37514">
                  <c:v>25552</c:v>
                </c:pt>
                <c:pt idx="37515">
                  <c:v>25551</c:v>
                </c:pt>
                <c:pt idx="37516">
                  <c:v>25551</c:v>
                </c:pt>
                <c:pt idx="37517">
                  <c:v>25551</c:v>
                </c:pt>
                <c:pt idx="37518">
                  <c:v>25551</c:v>
                </c:pt>
                <c:pt idx="37519">
                  <c:v>25550</c:v>
                </c:pt>
                <c:pt idx="37520">
                  <c:v>25550</c:v>
                </c:pt>
                <c:pt idx="37521">
                  <c:v>25550</c:v>
                </c:pt>
                <c:pt idx="37522">
                  <c:v>25549</c:v>
                </c:pt>
                <c:pt idx="37523">
                  <c:v>25549</c:v>
                </c:pt>
                <c:pt idx="37524">
                  <c:v>25549</c:v>
                </c:pt>
                <c:pt idx="37525">
                  <c:v>25548</c:v>
                </c:pt>
                <c:pt idx="37526">
                  <c:v>25547</c:v>
                </c:pt>
                <c:pt idx="37527">
                  <c:v>25546</c:v>
                </c:pt>
                <c:pt idx="37528">
                  <c:v>25545</c:v>
                </c:pt>
                <c:pt idx="37529">
                  <c:v>25543</c:v>
                </c:pt>
                <c:pt idx="37530">
                  <c:v>25543</c:v>
                </c:pt>
                <c:pt idx="37531">
                  <c:v>25543</c:v>
                </c:pt>
                <c:pt idx="37532">
                  <c:v>25543</c:v>
                </c:pt>
                <c:pt idx="37533">
                  <c:v>25542</c:v>
                </c:pt>
                <c:pt idx="37534">
                  <c:v>25541</c:v>
                </c:pt>
                <c:pt idx="37535">
                  <c:v>25540</c:v>
                </c:pt>
                <c:pt idx="37536">
                  <c:v>25540</c:v>
                </c:pt>
                <c:pt idx="37537">
                  <c:v>25539</c:v>
                </c:pt>
                <c:pt idx="37538">
                  <c:v>25536</c:v>
                </c:pt>
                <c:pt idx="37539">
                  <c:v>25536</c:v>
                </c:pt>
                <c:pt idx="37540">
                  <c:v>25536</c:v>
                </c:pt>
                <c:pt idx="37541">
                  <c:v>25535</c:v>
                </c:pt>
                <c:pt idx="37542">
                  <c:v>25535</c:v>
                </c:pt>
                <c:pt idx="37543">
                  <c:v>25534</c:v>
                </c:pt>
                <c:pt idx="37544">
                  <c:v>25534</c:v>
                </c:pt>
                <c:pt idx="37545">
                  <c:v>25533</c:v>
                </c:pt>
                <c:pt idx="37546">
                  <c:v>25533</c:v>
                </c:pt>
                <c:pt idx="37547">
                  <c:v>25533</c:v>
                </c:pt>
                <c:pt idx="37548">
                  <c:v>25532</c:v>
                </c:pt>
                <c:pt idx="37549">
                  <c:v>25532</c:v>
                </c:pt>
                <c:pt idx="37550">
                  <c:v>25532</c:v>
                </c:pt>
                <c:pt idx="37551">
                  <c:v>25532</c:v>
                </c:pt>
                <c:pt idx="37552">
                  <c:v>25531</c:v>
                </c:pt>
                <c:pt idx="37553">
                  <c:v>25531</c:v>
                </c:pt>
                <c:pt idx="37554">
                  <c:v>25530</c:v>
                </c:pt>
                <c:pt idx="37555">
                  <c:v>25529</c:v>
                </c:pt>
                <c:pt idx="37556">
                  <c:v>25529</c:v>
                </c:pt>
                <c:pt idx="37557">
                  <c:v>25529</c:v>
                </c:pt>
                <c:pt idx="37558">
                  <c:v>25527</c:v>
                </c:pt>
                <c:pt idx="37559">
                  <c:v>25527</c:v>
                </c:pt>
                <c:pt idx="37560">
                  <c:v>25525</c:v>
                </c:pt>
                <c:pt idx="37561">
                  <c:v>25524</c:v>
                </c:pt>
                <c:pt idx="37562">
                  <c:v>25524</c:v>
                </c:pt>
                <c:pt idx="37563">
                  <c:v>25523</c:v>
                </c:pt>
                <c:pt idx="37564">
                  <c:v>25522</c:v>
                </c:pt>
                <c:pt idx="37565">
                  <c:v>25522</c:v>
                </c:pt>
                <c:pt idx="37566">
                  <c:v>25522</c:v>
                </c:pt>
                <c:pt idx="37567">
                  <c:v>25521</c:v>
                </c:pt>
                <c:pt idx="37568">
                  <c:v>25521</c:v>
                </c:pt>
                <c:pt idx="37569">
                  <c:v>25520</c:v>
                </c:pt>
                <c:pt idx="37570">
                  <c:v>25519</c:v>
                </c:pt>
                <c:pt idx="37571">
                  <c:v>25519</c:v>
                </c:pt>
                <c:pt idx="37572">
                  <c:v>25518</c:v>
                </c:pt>
                <c:pt idx="37573">
                  <c:v>25518</c:v>
                </c:pt>
                <c:pt idx="37574">
                  <c:v>25517</c:v>
                </c:pt>
                <c:pt idx="37575">
                  <c:v>25516</c:v>
                </c:pt>
                <c:pt idx="37576">
                  <c:v>25516</c:v>
                </c:pt>
                <c:pt idx="37577">
                  <c:v>25515</c:v>
                </c:pt>
                <c:pt idx="37578">
                  <c:v>25514</c:v>
                </c:pt>
                <c:pt idx="37579">
                  <c:v>25513</c:v>
                </c:pt>
                <c:pt idx="37580">
                  <c:v>25513</c:v>
                </c:pt>
                <c:pt idx="37581">
                  <c:v>25512</c:v>
                </c:pt>
                <c:pt idx="37582">
                  <c:v>25512</c:v>
                </c:pt>
                <c:pt idx="37583">
                  <c:v>25512</c:v>
                </c:pt>
                <c:pt idx="37584">
                  <c:v>25512</c:v>
                </c:pt>
                <c:pt idx="37585">
                  <c:v>25512</c:v>
                </c:pt>
                <c:pt idx="37586">
                  <c:v>25511</c:v>
                </c:pt>
                <c:pt idx="37587">
                  <c:v>25511</c:v>
                </c:pt>
                <c:pt idx="37588">
                  <c:v>25511</c:v>
                </c:pt>
                <c:pt idx="37589">
                  <c:v>25509</c:v>
                </c:pt>
                <c:pt idx="37590">
                  <c:v>25509</c:v>
                </c:pt>
                <c:pt idx="37591">
                  <c:v>25508</c:v>
                </c:pt>
                <c:pt idx="37592">
                  <c:v>25507</c:v>
                </c:pt>
                <c:pt idx="37593">
                  <c:v>25507</c:v>
                </c:pt>
                <c:pt idx="37594">
                  <c:v>25507</c:v>
                </c:pt>
                <c:pt idx="37595">
                  <c:v>25506</c:v>
                </c:pt>
                <c:pt idx="37596">
                  <c:v>25505</c:v>
                </c:pt>
                <c:pt idx="37597">
                  <c:v>25504</c:v>
                </c:pt>
                <c:pt idx="37598">
                  <c:v>25504</c:v>
                </c:pt>
                <c:pt idx="37599">
                  <c:v>25504</c:v>
                </c:pt>
                <c:pt idx="37600">
                  <c:v>25503</c:v>
                </c:pt>
                <c:pt idx="37601">
                  <c:v>25503</c:v>
                </c:pt>
                <c:pt idx="37602">
                  <c:v>25503</c:v>
                </c:pt>
                <c:pt idx="37603">
                  <c:v>25502</c:v>
                </c:pt>
                <c:pt idx="37604">
                  <c:v>25502</c:v>
                </c:pt>
                <c:pt idx="37605">
                  <c:v>25502</c:v>
                </c:pt>
                <c:pt idx="37606">
                  <c:v>25501</c:v>
                </c:pt>
                <c:pt idx="37607">
                  <c:v>25501</c:v>
                </c:pt>
                <c:pt idx="37608">
                  <c:v>25501</c:v>
                </c:pt>
                <c:pt idx="37609">
                  <c:v>25500</c:v>
                </c:pt>
                <c:pt idx="37610">
                  <c:v>25499</c:v>
                </c:pt>
                <c:pt idx="37611">
                  <c:v>25499</c:v>
                </c:pt>
                <c:pt idx="37612">
                  <c:v>25499</c:v>
                </c:pt>
                <c:pt idx="37613">
                  <c:v>25497</c:v>
                </c:pt>
                <c:pt idx="37614">
                  <c:v>25497</c:v>
                </c:pt>
                <c:pt idx="37615">
                  <c:v>25497</c:v>
                </c:pt>
                <c:pt idx="37616">
                  <c:v>25497</c:v>
                </c:pt>
                <c:pt idx="37617">
                  <c:v>25496</c:v>
                </c:pt>
                <c:pt idx="37618">
                  <c:v>25495</c:v>
                </c:pt>
                <c:pt idx="37619">
                  <c:v>25495</c:v>
                </c:pt>
                <c:pt idx="37620">
                  <c:v>25495</c:v>
                </c:pt>
                <c:pt idx="37621">
                  <c:v>25493</c:v>
                </c:pt>
                <c:pt idx="37622">
                  <c:v>25493</c:v>
                </c:pt>
                <c:pt idx="37623">
                  <c:v>25492</c:v>
                </c:pt>
                <c:pt idx="37624">
                  <c:v>25490</c:v>
                </c:pt>
                <c:pt idx="37625">
                  <c:v>25490</c:v>
                </c:pt>
                <c:pt idx="37626">
                  <c:v>25490</c:v>
                </c:pt>
                <c:pt idx="37627">
                  <c:v>25489</c:v>
                </c:pt>
                <c:pt idx="37628">
                  <c:v>25489</c:v>
                </c:pt>
                <c:pt idx="37629">
                  <c:v>25489</c:v>
                </c:pt>
                <c:pt idx="37630">
                  <c:v>25489</c:v>
                </c:pt>
                <c:pt idx="37631">
                  <c:v>25488</c:v>
                </c:pt>
                <c:pt idx="37632">
                  <c:v>25487</c:v>
                </c:pt>
                <c:pt idx="37633">
                  <c:v>25487</c:v>
                </c:pt>
                <c:pt idx="37634">
                  <c:v>25487</c:v>
                </c:pt>
                <c:pt idx="37635">
                  <c:v>25486</c:v>
                </c:pt>
                <c:pt idx="37636">
                  <c:v>25486</c:v>
                </c:pt>
                <c:pt idx="37637">
                  <c:v>25485</c:v>
                </c:pt>
                <c:pt idx="37638">
                  <c:v>25484</c:v>
                </c:pt>
                <c:pt idx="37639">
                  <c:v>25483</c:v>
                </c:pt>
                <c:pt idx="37640">
                  <c:v>25482</c:v>
                </c:pt>
                <c:pt idx="37641">
                  <c:v>25482</c:v>
                </c:pt>
                <c:pt idx="37642">
                  <c:v>25481</c:v>
                </c:pt>
                <c:pt idx="37643">
                  <c:v>25479</c:v>
                </c:pt>
                <c:pt idx="37644">
                  <c:v>25479</c:v>
                </c:pt>
                <c:pt idx="37645">
                  <c:v>25477</c:v>
                </c:pt>
                <c:pt idx="37646">
                  <c:v>25476</c:v>
                </c:pt>
                <c:pt idx="37647">
                  <c:v>25475</c:v>
                </c:pt>
                <c:pt idx="37648">
                  <c:v>25474</c:v>
                </c:pt>
                <c:pt idx="37649">
                  <c:v>25474</c:v>
                </c:pt>
                <c:pt idx="37650">
                  <c:v>25474</c:v>
                </c:pt>
                <c:pt idx="37651">
                  <c:v>25474</c:v>
                </c:pt>
                <c:pt idx="37652">
                  <c:v>25473</c:v>
                </c:pt>
                <c:pt idx="37653">
                  <c:v>25473</c:v>
                </c:pt>
                <c:pt idx="37654">
                  <c:v>25471</c:v>
                </c:pt>
                <c:pt idx="37655">
                  <c:v>25471</c:v>
                </c:pt>
                <c:pt idx="37656">
                  <c:v>25471</c:v>
                </c:pt>
                <c:pt idx="37657">
                  <c:v>25471</c:v>
                </c:pt>
                <c:pt idx="37658">
                  <c:v>25469</c:v>
                </c:pt>
                <c:pt idx="37659">
                  <c:v>25469</c:v>
                </c:pt>
                <c:pt idx="37660">
                  <c:v>25469</c:v>
                </c:pt>
                <c:pt idx="37661">
                  <c:v>25468</c:v>
                </c:pt>
                <c:pt idx="37662">
                  <c:v>25468</c:v>
                </c:pt>
                <c:pt idx="37663">
                  <c:v>25468</c:v>
                </c:pt>
                <c:pt idx="37664">
                  <c:v>25468</c:v>
                </c:pt>
                <c:pt idx="37665">
                  <c:v>25468</c:v>
                </c:pt>
                <c:pt idx="37666">
                  <c:v>25467</c:v>
                </c:pt>
                <c:pt idx="37667">
                  <c:v>25466</c:v>
                </c:pt>
                <c:pt idx="37668">
                  <c:v>25465</c:v>
                </c:pt>
                <c:pt idx="37669">
                  <c:v>25465</c:v>
                </c:pt>
                <c:pt idx="37670">
                  <c:v>25463</c:v>
                </c:pt>
                <c:pt idx="37671">
                  <c:v>25463</c:v>
                </c:pt>
                <c:pt idx="37672">
                  <c:v>25463</c:v>
                </c:pt>
                <c:pt idx="37673">
                  <c:v>25460</c:v>
                </c:pt>
                <c:pt idx="37674">
                  <c:v>25460</c:v>
                </c:pt>
                <c:pt idx="37675">
                  <c:v>25460</c:v>
                </c:pt>
                <c:pt idx="37676">
                  <c:v>25459</c:v>
                </c:pt>
                <c:pt idx="37677">
                  <c:v>25457</c:v>
                </c:pt>
                <c:pt idx="37678">
                  <c:v>25456</c:v>
                </c:pt>
                <c:pt idx="37679">
                  <c:v>25455</c:v>
                </c:pt>
                <c:pt idx="37680">
                  <c:v>25454</c:v>
                </c:pt>
                <c:pt idx="37681">
                  <c:v>25453</c:v>
                </c:pt>
                <c:pt idx="37682">
                  <c:v>25453</c:v>
                </c:pt>
                <c:pt idx="37683">
                  <c:v>25452</c:v>
                </c:pt>
                <c:pt idx="37684">
                  <c:v>25452</c:v>
                </c:pt>
                <c:pt idx="37685">
                  <c:v>25450</c:v>
                </c:pt>
                <c:pt idx="37686">
                  <c:v>25450</c:v>
                </c:pt>
                <c:pt idx="37687">
                  <c:v>25448</c:v>
                </c:pt>
                <c:pt idx="37688">
                  <c:v>25448</c:v>
                </c:pt>
                <c:pt idx="37689">
                  <c:v>25448</c:v>
                </c:pt>
                <c:pt idx="37690">
                  <c:v>25447</c:v>
                </c:pt>
                <c:pt idx="37691">
                  <c:v>25446</c:v>
                </c:pt>
                <c:pt idx="37692">
                  <c:v>25446</c:v>
                </c:pt>
                <c:pt idx="37693">
                  <c:v>25444</c:v>
                </c:pt>
                <c:pt idx="37694">
                  <c:v>25444</c:v>
                </c:pt>
                <c:pt idx="37695">
                  <c:v>25443</c:v>
                </c:pt>
                <c:pt idx="37696">
                  <c:v>25443</c:v>
                </c:pt>
                <c:pt idx="37697">
                  <c:v>25443</c:v>
                </c:pt>
                <c:pt idx="37698">
                  <c:v>25443</c:v>
                </c:pt>
                <c:pt idx="37699">
                  <c:v>25443</c:v>
                </c:pt>
                <c:pt idx="37700">
                  <c:v>25443</c:v>
                </c:pt>
                <c:pt idx="37701">
                  <c:v>25441</c:v>
                </c:pt>
                <c:pt idx="37702">
                  <c:v>25440</c:v>
                </c:pt>
                <c:pt idx="37703">
                  <c:v>25440</c:v>
                </c:pt>
                <c:pt idx="37704">
                  <c:v>25439</c:v>
                </c:pt>
                <c:pt idx="37705">
                  <c:v>25439</c:v>
                </c:pt>
                <c:pt idx="37706">
                  <c:v>25439</c:v>
                </c:pt>
                <c:pt idx="37707">
                  <c:v>25438</c:v>
                </c:pt>
                <c:pt idx="37708">
                  <c:v>25437</c:v>
                </c:pt>
                <c:pt idx="37709">
                  <c:v>25436</c:v>
                </c:pt>
                <c:pt idx="37710">
                  <c:v>25435</c:v>
                </c:pt>
                <c:pt idx="37711">
                  <c:v>25433</c:v>
                </c:pt>
                <c:pt idx="37712">
                  <c:v>25432</c:v>
                </c:pt>
                <c:pt idx="37713">
                  <c:v>25432</c:v>
                </c:pt>
                <c:pt idx="37714">
                  <c:v>25432</c:v>
                </c:pt>
                <c:pt idx="37715">
                  <c:v>25432</c:v>
                </c:pt>
                <c:pt idx="37716">
                  <c:v>25432</c:v>
                </c:pt>
                <c:pt idx="37717">
                  <c:v>25432</c:v>
                </c:pt>
                <c:pt idx="37718">
                  <c:v>25431</c:v>
                </c:pt>
                <c:pt idx="37719">
                  <c:v>25430</c:v>
                </c:pt>
                <c:pt idx="37720">
                  <c:v>25428</c:v>
                </c:pt>
                <c:pt idx="37721">
                  <c:v>25428</c:v>
                </c:pt>
                <c:pt idx="37722">
                  <c:v>25425</c:v>
                </c:pt>
                <c:pt idx="37723">
                  <c:v>25425</c:v>
                </c:pt>
                <c:pt idx="37724">
                  <c:v>25424</c:v>
                </c:pt>
                <c:pt idx="37725">
                  <c:v>25423</c:v>
                </c:pt>
                <c:pt idx="37726">
                  <c:v>25423</c:v>
                </c:pt>
                <c:pt idx="37727">
                  <c:v>25422</c:v>
                </c:pt>
                <c:pt idx="37728">
                  <c:v>25422</c:v>
                </c:pt>
                <c:pt idx="37729">
                  <c:v>25418</c:v>
                </c:pt>
                <c:pt idx="37730">
                  <c:v>25418</c:v>
                </c:pt>
                <c:pt idx="37731">
                  <c:v>25418</c:v>
                </c:pt>
                <c:pt idx="37732">
                  <c:v>25416</c:v>
                </c:pt>
                <c:pt idx="37733">
                  <c:v>25410</c:v>
                </c:pt>
                <c:pt idx="37734">
                  <c:v>25410</c:v>
                </c:pt>
                <c:pt idx="37735">
                  <c:v>25409</c:v>
                </c:pt>
                <c:pt idx="37736">
                  <c:v>25409</c:v>
                </c:pt>
                <c:pt idx="37737">
                  <c:v>25408</c:v>
                </c:pt>
                <c:pt idx="37738">
                  <c:v>25407</c:v>
                </c:pt>
                <c:pt idx="37739">
                  <c:v>25407</c:v>
                </c:pt>
                <c:pt idx="37740">
                  <c:v>25406</c:v>
                </c:pt>
                <c:pt idx="37741">
                  <c:v>25406</c:v>
                </c:pt>
                <c:pt idx="37742">
                  <c:v>25406</c:v>
                </c:pt>
                <c:pt idx="37743">
                  <c:v>25405</c:v>
                </c:pt>
                <c:pt idx="37744">
                  <c:v>25405</c:v>
                </c:pt>
                <c:pt idx="37745">
                  <c:v>25405</c:v>
                </c:pt>
                <c:pt idx="37746">
                  <c:v>25405</c:v>
                </c:pt>
                <c:pt idx="37747">
                  <c:v>25404</c:v>
                </c:pt>
                <c:pt idx="37748">
                  <c:v>25404</c:v>
                </c:pt>
                <c:pt idx="37749">
                  <c:v>25403</c:v>
                </c:pt>
                <c:pt idx="37750">
                  <c:v>25402</c:v>
                </c:pt>
                <c:pt idx="37751">
                  <c:v>25402</c:v>
                </c:pt>
                <c:pt idx="37752">
                  <c:v>25402</c:v>
                </c:pt>
                <c:pt idx="37753">
                  <c:v>25401</c:v>
                </c:pt>
                <c:pt idx="37754">
                  <c:v>25400</c:v>
                </c:pt>
                <c:pt idx="37755">
                  <c:v>25400</c:v>
                </c:pt>
                <c:pt idx="37756">
                  <c:v>25400</c:v>
                </c:pt>
                <c:pt idx="37757">
                  <c:v>25397</c:v>
                </c:pt>
                <c:pt idx="37758">
                  <c:v>25397</c:v>
                </c:pt>
                <c:pt idx="37759">
                  <c:v>25397</c:v>
                </c:pt>
                <c:pt idx="37760">
                  <c:v>25397</c:v>
                </c:pt>
                <c:pt idx="37761">
                  <c:v>25397</c:v>
                </c:pt>
                <c:pt idx="37762">
                  <c:v>25396</c:v>
                </c:pt>
                <c:pt idx="37763">
                  <c:v>25395</c:v>
                </c:pt>
                <c:pt idx="37764">
                  <c:v>25395</c:v>
                </c:pt>
                <c:pt idx="37765">
                  <c:v>25395</c:v>
                </c:pt>
                <c:pt idx="37766">
                  <c:v>25395</c:v>
                </c:pt>
                <c:pt idx="37767">
                  <c:v>25394</c:v>
                </c:pt>
                <c:pt idx="37768">
                  <c:v>25394</c:v>
                </c:pt>
                <c:pt idx="37769">
                  <c:v>25393</c:v>
                </c:pt>
                <c:pt idx="37770">
                  <c:v>25392</c:v>
                </c:pt>
                <c:pt idx="37771">
                  <c:v>25392</c:v>
                </c:pt>
                <c:pt idx="37772">
                  <c:v>25391</c:v>
                </c:pt>
                <c:pt idx="37773">
                  <c:v>25391</c:v>
                </c:pt>
                <c:pt idx="37774">
                  <c:v>25391</c:v>
                </c:pt>
                <c:pt idx="37775">
                  <c:v>25391</c:v>
                </c:pt>
                <c:pt idx="37776">
                  <c:v>25391</c:v>
                </c:pt>
                <c:pt idx="37777">
                  <c:v>25391</c:v>
                </c:pt>
                <c:pt idx="37778">
                  <c:v>25390</c:v>
                </c:pt>
                <c:pt idx="37779">
                  <c:v>25389</c:v>
                </c:pt>
                <c:pt idx="37780">
                  <c:v>25389</c:v>
                </c:pt>
                <c:pt idx="37781">
                  <c:v>25388</c:v>
                </c:pt>
                <c:pt idx="37782">
                  <c:v>25387</c:v>
                </c:pt>
                <c:pt idx="37783">
                  <c:v>25386</c:v>
                </c:pt>
                <c:pt idx="37784">
                  <c:v>25386</c:v>
                </c:pt>
                <c:pt idx="37785">
                  <c:v>25386</c:v>
                </c:pt>
                <c:pt idx="37786">
                  <c:v>25385</c:v>
                </c:pt>
                <c:pt idx="37787">
                  <c:v>25385</c:v>
                </c:pt>
                <c:pt idx="37788">
                  <c:v>25384</c:v>
                </c:pt>
                <c:pt idx="37789">
                  <c:v>25384</c:v>
                </c:pt>
                <c:pt idx="37790">
                  <c:v>25384</c:v>
                </c:pt>
                <c:pt idx="37791">
                  <c:v>25382</c:v>
                </c:pt>
                <c:pt idx="37792">
                  <c:v>25380</c:v>
                </c:pt>
                <c:pt idx="37793">
                  <c:v>25379</c:v>
                </c:pt>
                <c:pt idx="37794">
                  <c:v>25379</c:v>
                </c:pt>
                <c:pt idx="37795">
                  <c:v>25379</c:v>
                </c:pt>
                <c:pt idx="37796">
                  <c:v>25378</c:v>
                </c:pt>
                <c:pt idx="37797">
                  <c:v>25377</c:v>
                </c:pt>
                <c:pt idx="37798">
                  <c:v>25376</c:v>
                </c:pt>
                <c:pt idx="37799">
                  <c:v>25376</c:v>
                </c:pt>
                <c:pt idx="37800">
                  <c:v>25376</c:v>
                </c:pt>
                <c:pt idx="37801">
                  <c:v>25376</c:v>
                </c:pt>
                <c:pt idx="37802">
                  <c:v>25376</c:v>
                </c:pt>
                <c:pt idx="37803">
                  <c:v>25375</c:v>
                </c:pt>
                <c:pt idx="37804">
                  <c:v>25375</c:v>
                </c:pt>
                <c:pt idx="37805">
                  <c:v>25375</c:v>
                </c:pt>
                <c:pt idx="37806">
                  <c:v>25374</c:v>
                </c:pt>
                <c:pt idx="37807">
                  <c:v>25374</c:v>
                </c:pt>
                <c:pt idx="37808">
                  <c:v>25374</c:v>
                </c:pt>
                <c:pt idx="37809">
                  <c:v>25374</c:v>
                </c:pt>
                <c:pt idx="37810">
                  <c:v>25374</c:v>
                </c:pt>
                <c:pt idx="37811">
                  <c:v>25373</c:v>
                </c:pt>
                <c:pt idx="37812">
                  <c:v>25372</c:v>
                </c:pt>
                <c:pt idx="37813">
                  <c:v>25372</c:v>
                </c:pt>
                <c:pt idx="37814">
                  <c:v>25372</c:v>
                </c:pt>
                <c:pt idx="37815">
                  <c:v>25372</c:v>
                </c:pt>
                <c:pt idx="37816">
                  <c:v>25371</c:v>
                </c:pt>
                <c:pt idx="37817">
                  <c:v>25371</c:v>
                </c:pt>
                <c:pt idx="37818">
                  <c:v>25370</c:v>
                </c:pt>
                <c:pt idx="37819">
                  <c:v>25370</c:v>
                </c:pt>
                <c:pt idx="37820">
                  <c:v>25369</c:v>
                </c:pt>
                <c:pt idx="37821">
                  <c:v>25369</c:v>
                </c:pt>
                <c:pt idx="37822">
                  <c:v>25368</c:v>
                </c:pt>
                <c:pt idx="37823">
                  <c:v>25368</c:v>
                </c:pt>
                <c:pt idx="37824">
                  <c:v>25367</c:v>
                </c:pt>
                <c:pt idx="37825">
                  <c:v>25367</c:v>
                </c:pt>
                <c:pt idx="37826">
                  <c:v>25367</c:v>
                </c:pt>
                <c:pt idx="37827">
                  <c:v>25366</c:v>
                </c:pt>
                <c:pt idx="37828">
                  <c:v>25366</c:v>
                </c:pt>
                <c:pt idx="37829">
                  <c:v>25365</c:v>
                </c:pt>
                <c:pt idx="37830">
                  <c:v>25365</c:v>
                </c:pt>
                <c:pt idx="37831">
                  <c:v>25364</c:v>
                </c:pt>
                <c:pt idx="37832">
                  <c:v>25364</c:v>
                </c:pt>
                <c:pt idx="37833">
                  <c:v>25364</c:v>
                </c:pt>
                <c:pt idx="37834">
                  <c:v>25363</c:v>
                </c:pt>
                <c:pt idx="37835">
                  <c:v>25363</c:v>
                </c:pt>
                <c:pt idx="37836">
                  <c:v>25362</c:v>
                </c:pt>
                <c:pt idx="37837">
                  <c:v>25361</c:v>
                </c:pt>
                <c:pt idx="37838">
                  <c:v>25361</c:v>
                </c:pt>
                <c:pt idx="37839">
                  <c:v>25359</c:v>
                </c:pt>
                <c:pt idx="37840">
                  <c:v>25358</c:v>
                </c:pt>
                <c:pt idx="37841">
                  <c:v>25358</c:v>
                </c:pt>
                <c:pt idx="37842">
                  <c:v>25357</c:v>
                </c:pt>
                <c:pt idx="37843">
                  <c:v>25357</c:v>
                </c:pt>
                <c:pt idx="37844">
                  <c:v>25357</c:v>
                </c:pt>
                <c:pt idx="37845">
                  <c:v>25356</c:v>
                </c:pt>
                <c:pt idx="37846">
                  <c:v>25356</c:v>
                </c:pt>
                <c:pt idx="37847">
                  <c:v>25356</c:v>
                </c:pt>
                <c:pt idx="37848">
                  <c:v>25356</c:v>
                </c:pt>
                <c:pt idx="37849">
                  <c:v>25355</c:v>
                </c:pt>
                <c:pt idx="37850">
                  <c:v>25353</c:v>
                </c:pt>
                <c:pt idx="37851">
                  <c:v>25353</c:v>
                </c:pt>
                <c:pt idx="37852">
                  <c:v>25352</c:v>
                </c:pt>
                <c:pt idx="37853">
                  <c:v>25352</c:v>
                </c:pt>
                <c:pt idx="37854">
                  <c:v>25352</c:v>
                </c:pt>
                <c:pt idx="37855">
                  <c:v>25352</c:v>
                </c:pt>
                <c:pt idx="37856">
                  <c:v>25351</c:v>
                </c:pt>
                <c:pt idx="37857">
                  <c:v>25351</c:v>
                </c:pt>
                <c:pt idx="37858">
                  <c:v>25350</c:v>
                </c:pt>
                <c:pt idx="37859">
                  <c:v>25350</c:v>
                </c:pt>
                <c:pt idx="37860">
                  <c:v>25350</c:v>
                </c:pt>
                <c:pt idx="37861">
                  <c:v>25349</c:v>
                </c:pt>
                <c:pt idx="37862">
                  <c:v>25349</c:v>
                </c:pt>
                <c:pt idx="37863">
                  <c:v>25348</c:v>
                </c:pt>
                <c:pt idx="37864">
                  <c:v>25347</c:v>
                </c:pt>
                <c:pt idx="37865">
                  <c:v>25346</c:v>
                </c:pt>
                <c:pt idx="37866">
                  <c:v>25345</c:v>
                </c:pt>
                <c:pt idx="37867">
                  <c:v>25345</c:v>
                </c:pt>
                <c:pt idx="37868">
                  <c:v>25344</c:v>
                </c:pt>
                <c:pt idx="37869">
                  <c:v>25343</c:v>
                </c:pt>
                <c:pt idx="37870">
                  <c:v>25342</c:v>
                </c:pt>
                <c:pt idx="37871">
                  <c:v>25341</c:v>
                </c:pt>
                <c:pt idx="37872">
                  <c:v>25341</c:v>
                </c:pt>
                <c:pt idx="37873">
                  <c:v>25341</c:v>
                </c:pt>
                <c:pt idx="37874">
                  <c:v>25341</c:v>
                </c:pt>
                <c:pt idx="37875">
                  <c:v>25341</c:v>
                </c:pt>
                <c:pt idx="37876">
                  <c:v>25341</c:v>
                </c:pt>
                <c:pt idx="37877">
                  <c:v>25340</c:v>
                </c:pt>
                <c:pt idx="37878">
                  <c:v>25340</c:v>
                </c:pt>
                <c:pt idx="37879">
                  <c:v>25340</c:v>
                </c:pt>
                <c:pt idx="37880">
                  <c:v>25339</c:v>
                </c:pt>
                <c:pt idx="37881">
                  <c:v>25339</c:v>
                </c:pt>
                <c:pt idx="37882">
                  <c:v>25339</c:v>
                </c:pt>
                <c:pt idx="37883">
                  <c:v>25339</c:v>
                </c:pt>
                <c:pt idx="37884">
                  <c:v>25338</c:v>
                </c:pt>
                <c:pt idx="37885">
                  <c:v>25338</c:v>
                </c:pt>
                <c:pt idx="37886">
                  <c:v>25338</c:v>
                </c:pt>
                <c:pt idx="37887">
                  <c:v>25337</c:v>
                </c:pt>
                <c:pt idx="37888">
                  <c:v>25336</c:v>
                </c:pt>
                <c:pt idx="37889">
                  <c:v>25334</c:v>
                </c:pt>
                <c:pt idx="37890">
                  <c:v>25334</c:v>
                </c:pt>
                <c:pt idx="37891">
                  <c:v>25334</c:v>
                </c:pt>
                <c:pt idx="37892">
                  <c:v>25333</c:v>
                </c:pt>
                <c:pt idx="37893">
                  <c:v>25333</c:v>
                </c:pt>
                <c:pt idx="37894">
                  <c:v>25333</c:v>
                </c:pt>
                <c:pt idx="37895">
                  <c:v>25332</c:v>
                </c:pt>
                <c:pt idx="37896">
                  <c:v>25331</c:v>
                </c:pt>
                <c:pt idx="37897">
                  <c:v>25330</c:v>
                </c:pt>
                <c:pt idx="37898">
                  <c:v>25330</c:v>
                </c:pt>
                <c:pt idx="37899">
                  <c:v>25329</c:v>
                </c:pt>
                <c:pt idx="37900">
                  <c:v>25327</c:v>
                </c:pt>
                <c:pt idx="37901">
                  <c:v>25327</c:v>
                </c:pt>
                <c:pt idx="37902">
                  <c:v>25327</c:v>
                </c:pt>
                <c:pt idx="37903">
                  <c:v>25326</c:v>
                </c:pt>
                <c:pt idx="37904">
                  <c:v>25325</c:v>
                </c:pt>
                <c:pt idx="37905">
                  <c:v>25323</c:v>
                </c:pt>
                <c:pt idx="37906">
                  <c:v>25323</c:v>
                </c:pt>
                <c:pt idx="37907">
                  <c:v>25323</c:v>
                </c:pt>
                <c:pt idx="37908">
                  <c:v>25323</c:v>
                </c:pt>
                <c:pt idx="37909">
                  <c:v>25322</c:v>
                </c:pt>
                <c:pt idx="37910">
                  <c:v>25322</c:v>
                </c:pt>
                <c:pt idx="37911">
                  <c:v>25321</c:v>
                </c:pt>
                <c:pt idx="37912">
                  <c:v>25321</c:v>
                </c:pt>
                <c:pt idx="37913">
                  <c:v>25320</c:v>
                </c:pt>
                <c:pt idx="37914">
                  <c:v>25319</c:v>
                </c:pt>
                <c:pt idx="37915">
                  <c:v>25318</c:v>
                </c:pt>
                <c:pt idx="37916">
                  <c:v>25318</c:v>
                </c:pt>
                <c:pt idx="37917">
                  <c:v>25317</c:v>
                </c:pt>
                <c:pt idx="37918">
                  <c:v>25317</c:v>
                </c:pt>
                <c:pt idx="37919">
                  <c:v>25317</c:v>
                </c:pt>
                <c:pt idx="37920">
                  <c:v>25317</c:v>
                </c:pt>
                <c:pt idx="37921">
                  <c:v>25317</c:v>
                </c:pt>
                <c:pt idx="37922">
                  <c:v>25316</c:v>
                </c:pt>
                <c:pt idx="37923">
                  <c:v>25316</c:v>
                </c:pt>
                <c:pt idx="37924">
                  <c:v>25315</c:v>
                </c:pt>
                <c:pt idx="37925">
                  <c:v>25315</c:v>
                </c:pt>
                <c:pt idx="37926">
                  <c:v>25315</c:v>
                </c:pt>
                <c:pt idx="37927">
                  <c:v>25314</c:v>
                </c:pt>
                <c:pt idx="37928">
                  <c:v>25314</c:v>
                </c:pt>
                <c:pt idx="37929">
                  <c:v>25313</c:v>
                </c:pt>
                <c:pt idx="37930">
                  <c:v>25313</c:v>
                </c:pt>
                <c:pt idx="37931">
                  <c:v>25312</c:v>
                </c:pt>
                <c:pt idx="37932">
                  <c:v>25311</c:v>
                </c:pt>
                <c:pt idx="37933">
                  <c:v>25309</c:v>
                </c:pt>
                <c:pt idx="37934">
                  <c:v>25307</c:v>
                </c:pt>
                <c:pt idx="37935">
                  <c:v>25307</c:v>
                </c:pt>
                <c:pt idx="37936">
                  <c:v>25306</c:v>
                </c:pt>
                <c:pt idx="37937">
                  <c:v>25305</c:v>
                </c:pt>
                <c:pt idx="37938">
                  <c:v>25304</c:v>
                </c:pt>
                <c:pt idx="37939">
                  <c:v>25304</c:v>
                </c:pt>
                <c:pt idx="37940">
                  <c:v>25303</c:v>
                </c:pt>
                <c:pt idx="37941">
                  <c:v>25302</c:v>
                </c:pt>
                <c:pt idx="37942">
                  <c:v>25302</c:v>
                </c:pt>
                <c:pt idx="37943">
                  <c:v>25302</c:v>
                </c:pt>
                <c:pt idx="37944">
                  <c:v>25302</c:v>
                </c:pt>
                <c:pt idx="37945">
                  <c:v>25302</c:v>
                </c:pt>
                <c:pt idx="37946">
                  <c:v>25301</c:v>
                </c:pt>
                <c:pt idx="37947">
                  <c:v>25300</c:v>
                </c:pt>
                <c:pt idx="37948">
                  <c:v>25300</c:v>
                </c:pt>
                <c:pt idx="37949">
                  <c:v>25300</c:v>
                </c:pt>
                <c:pt idx="37950">
                  <c:v>25299</c:v>
                </c:pt>
                <c:pt idx="37951">
                  <c:v>25299</c:v>
                </c:pt>
                <c:pt idx="37952">
                  <c:v>25299</c:v>
                </c:pt>
                <c:pt idx="37953">
                  <c:v>25298</c:v>
                </c:pt>
                <c:pt idx="37954">
                  <c:v>25298</c:v>
                </c:pt>
                <c:pt idx="37955">
                  <c:v>25298</c:v>
                </c:pt>
                <c:pt idx="37956">
                  <c:v>25298</c:v>
                </c:pt>
                <c:pt idx="37957">
                  <c:v>25297</c:v>
                </c:pt>
                <c:pt idx="37958">
                  <c:v>25296</c:v>
                </c:pt>
                <c:pt idx="37959">
                  <c:v>25296</c:v>
                </c:pt>
                <c:pt idx="37960">
                  <c:v>25296</c:v>
                </c:pt>
                <c:pt idx="37961">
                  <c:v>25295</c:v>
                </c:pt>
                <c:pt idx="37962">
                  <c:v>25295</c:v>
                </c:pt>
                <c:pt idx="37963">
                  <c:v>25295</c:v>
                </c:pt>
                <c:pt idx="37964">
                  <c:v>25295</c:v>
                </c:pt>
                <c:pt idx="37965">
                  <c:v>25295</c:v>
                </c:pt>
                <c:pt idx="37966">
                  <c:v>25294</c:v>
                </c:pt>
                <c:pt idx="37967">
                  <c:v>25293</c:v>
                </c:pt>
                <c:pt idx="37968">
                  <c:v>25293</c:v>
                </c:pt>
                <c:pt idx="37969">
                  <c:v>25292</c:v>
                </c:pt>
                <c:pt idx="37970">
                  <c:v>25292</c:v>
                </c:pt>
                <c:pt idx="37971">
                  <c:v>25291</c:v>
                </c:pt>
                <c:pt idx="37972">
                  <c:v>25290</c:v>
                </c:pt>
                <c:pt idx="37973">
                  <c:v>25290</c:v>
                </c:pt>
                <c:pt idx="37974">
                  <c:v>25290</c:v>
                </c:pt>
                <c:pt idx="37975">
                  <c:v>25290</c:v>
                </c:pt>
                <c:pt idx="37976">
                  <c:v>25290</c:v>
                </c:pt>
                <c:pt idx="37977">
                  <c:v>25289</c:v>
                </c:pt>
                <c:pt idx="37978">
                  <c:v>25289</c:v>
                </c:pt>
                <c:pt idx="37979">
                  <c:v>25288</c:v>
                </c:pt>
                <c:pt idx="37980">
                  <c:v>25288</c:v>
                </c:pt>
                <c:pt idx="37981">
                  <c:v>25288</c:v>
                </c:pt>
                <c:pt idx="37982">
                  <c:v>25287</c:v>
                </c:pt>
                <c:pt idx="37983">
                  <c:v>25286</c:v>
                </c:pt>
                <c:pt idx="37984">
                  <c:v>25286</c:v>
                </c:pt>
                <c:pt idx="37985">
                  <c:v>25285</c:v>
                </c:pt>
                <c:pt idx="37986">
                  <c:v>25285</c:v>
                </c:pt>
                <c:pt idx="37987">
                  <c:v>25285</c:v>
                </c:pt>
                <c:pt idx="37988">
                  <c:v>25285</c:v>
                </c:pt>
                <c:pt idx="37989">
                  <c:v>25284</c:v>
                </c:pt>
                <c:pt idx="37990">
                  <c:v>25284</c:v>
                </c:pt>
                <c:pt idx="37991">
                  <c:v>25283</c:v>
                </c:pt>
                <c:pt idx="37992">
                  <c:v>25282</c:v>
                </c:pt>
                <c:pt idx="37993">
                  <c:v>25281</c:v>
                </c:pt>
                <c:pt idx="37994">
                  <c:v>25281</c:v>
                </c:pt>
                <c:pt idx="37995">
                  <c:v>25280</c:v>
                </c:pt>
                <c:pt idx="37996">
                  <c:v>25280</c:v>
                </c:pt>
                <c:pt idx="37997">
                  <c:v>25280</c:v>
                </c:pt>
                <c:pt idx="37998">
                  <c:v>25279</c:v>
                </c:pt>
                <c:pt idx="37999">
                  <c:v>25279</c:v>
                </c:pt>
                <c:pt idx="38000">
                  <c:v>25279</c:v>
                </c:pt>
                <c:pt idx="38001">
                  <c:v>25279</c:v>
                </c:pt>
                <c:pt idx="38002">
                  <c:v>25278</c:v>
                </c:pt>
                <c:pt idx="38003">
                  <c:v>25278</c:v>
                </c:pt>
                <c:pt idx="38004">
                  <c:v>25276</c:v>
                </c:pt>
                <c:pt idx="38005">
                  <c:v>25276</c:v>
                </c:pt>
                <c:pt idx="38006">
                  <c:v>25276</c:v>
                </c:pt>
                <c:pt idx="38007">
                  <c:v>25275</c:v>
                </c:pt>
                <c:pt idx="38008">
                  <c:v>25274</c:v>
                </c:pt>
                <c:pt idx="38009">
                  <c:v>25274</c:v>
                </c:pt>
                <c:pt idx="38010">
                  <c:v>25273</c:v>
                </c:pt>
                <c:pt idx="38011">
                  <c:v>25272</c:v>
                </c:pt>
                <c:pt idx="38012">
                  <c:v>25272</c:v>
                </c:pt>
                <c:pt idx="38013">
                  <c:v>25270</c:v>
                </c:pt>
                <c:pt idx="38014">
                  <c:v>25270</c:v>
                </c:pt>
                <c:pt idx="38015">
                  <c:v>25269</c:v>
                </c:pt>
                <c:pt idx="38016">
                  <c:v>25269</c:v>
                </c:pt>
                <c:pt idx="38017">
                  <c:v>25268</c:v>
                </c:pt>
                <c:pt idx="38018">
                  <c:v>25268</c:v>
                </c:pt>
                <c:pt idx="38019">
                  <c:v>25267</c:v>
                </c:pt>
                <c:pt idx="38020">
                  <c:v>25266</c:v>
                </c:pt>
                <c:pt idx="38021">
                  <c:v>25265</c:v>
                </c:pt>
                <c:pt idx="38022">
                  <c:v>25264</c:v>
                </c:pt>
                <c:pt idx="38023">
                  <c:v>25263</c:v>
                </c:pt>
                <c:pt idx="38024">
                  <c:v>25262</c:v>
                </c:pt>
                <c:pt idx="38025">
                  <c:v>25262</c:v>
                </c:pt>
                <c:pt idx="38026">
                  <c:v>25261</c:v>
                </c:pt>
                <c:pt idx="38027">
                  <c:v>25261</c:v>
                </c:pt>
                <c:pt idx="38028">
                  <c:v>25260</c:v>
                </c:pt>
                <c:pt idx="38029">
                  <c:v>25260</c:v>
                </c:pt>
                <c:pt idx="38030">
                  <c:v>25259</c:v>
                </c:pt>
                <c:pt idx="38031">
                  <c:v>25259</c:v>
                </c:pt>
                <c:pt idx="38032">
                  <c:v>25259</c:v>
                </c:pt>
                <c:pt idx="38033">
                  <c:v>25257</c:v>
                </c:pt>
                <c:pt idx="38034">
                  <c:v>25257</c:v>
                </c:pt>
                <c:pt idx="38035">
                  <c:v>25256</c:v>
                </c:pt>
                <c:pt idx="38036">
                  <c:v>25255</c:v>
                </c:pt>
                <c:pt idx="38037">
                  <c:v>25255</c:v>
                </c:pt>
                <c:pt idx="38038">
                  <c:v>25254</c:v>
                </c:pt>
                <c:pt idx="38039">
                  <c:v>25254</c:v>
                </c:pt>
                <c:pt idx="38040">
                  <c:v>25253</c:v>
                </c:pt>
                <c:pt idx="38041">
                  <c:v>25253</c:v>
                </c:pt>
                <c:pt idx="38042">
                  <c:v>25252</c:v>
                </c:pt>
                <c:pt idx="38043">
                  <c:v>25252</c:v>
                </c:pt>
                <c:pt idx="38044">
                  <c:v>25252</c:v>
                </c:pt>
                <c:pt idx="38045">
                  <c:v>25252</c:v>
                </c:pt>
                <c:pt idx="38046">
                  <c:v>25252</c:v>
                </c:pt>
                <c:pt idx="38047">
                  <c:v>25251</c:v>
                </c:pt>
                <c:pt idx="38048">
                  <c:v>25251</c:v>
                </c:pt>
                <c:pt idx="38049">
                  <c:v>25250</c:v>
                </c:pt>
                <c:pt idx="38050">
                  <c:v>25249</c:v>
                </c:pt>
                <c:pt idx="38051">
                  <c:v>25249</c:v>
                </c:pt>
                <c:pt idx="38052">
                  <c:v>25249</c:v>
                </c:pt>
                <c:pt idx="38053">
                  <c:v>25248</c:v>
                </c:pt>
                <c:pt idx="38054">
                  <c:v>25248</c:v>
                </c:pt>
                <c:pt idx="38055">
                  <c:v>25247</c:v>
                </c:pt>
                <c:pt idx="38056">
                  <c:v>25247</c:v>
                </c:pt>
                <c:pt idx="38057">
                  <c:v>25247</c:v>
                </c:pt>
                <c:pt idx="38058">
                  <c:v>25245</c:v>
                </c:pt>
                <c:pt idx="38059">
                  <c:v>25245</c:v>
                </c:pt>
                <c:pt idx="38060">
                  <c:v>25245</c:v>
                </c:pt>
                <c:pt idx="38061">
                  <c:v>25244</c:v>
                </c:pt>
                <c:pt idx="38062">
                  <c:v>25244</c:v>
                </c:pt>
                <c:pt idx="38063">
                  <c:v>25243</c:v>
                </c:pt>
                <c:pt idx="38064">
                  <c:v>25243</c:v>
                </c:pt>
                <c:pt idx="38065">
                  <c:v>25243</c:v>
                </c:pt>
                <c:pt idx="38066">
                  <c:v>25242</c:v>
                </c:pt>
                <c:pt idx="38067">
                  <c:v>25242</c:v>
                </c:pt>
                <c:pt idx="38068">
                  <c:v>25242</c:v>
                </c:pt>
                <c:pt idx="38069">
                  <c:v>25242</c:v>
                </c:pt>
                <c:pt idx="38070">
                  <c:v>25241</c:v>
                </c:pt>
                <c:pt idx="38071">
                  <c:v>25241</c:v>
                </c:pt>
                <c:pt idx="38072">
                  <c:v>25241</c:v>
                </c:pt>
                <c:pt idx="38073">
                  <c:v>25241</c:v>
                </c:pt>
                <c:pt idx="38074">
                  <c:v>25240</c:v>
                </c:pt>
                <c:pt idx="38075">
                  <c:v>25237</c:v>
                </c:pt>
                <c:pt idx="38076">
                  <c:v>25236</c:v>
                </c:pt>
                <c:pt idx="38077">
                  <c:v>25236</c:v>
                </c:pt>
                <c:pt idx="38078">
                  <c:v>25235</c:v>
                </c:pt>
                <c:pt idx="38079">
                  <c:v>25235</c:v>
                </c:pt>
                <c:pt idx="38080">
                  <c:v>25235</c:v>
                </c:pt>
                <c:pt idx="38081">
                  <c:v>25234</c:v>
                </c:pt>
                <c:pt idx="38082">
                  <c:v>25234</c:v>
                </c:pt>
                <c:pt idx="38083">
                  <c:v>25234</c:v>
                </c:pt>
                <c:pt idx="38084">
                  <c:v>25233</c:v>
                </c:pt>
                <c:pt idx="38085">
                  <c:v>25233</c:v>
                </c:pt>
                <c:pt idx="38086">
                  <c:v>25233</c:v>
                </c:pt>
                <c:pt idx="38087">
                  <c:v>25233</c:v>
                </c:pt>
                <c:pt idx="38088">
                  <c:v>25233</c:v>
                </c:pt>
                <c:pt idx="38089">
                  <c:v>25233</c:v>
                </c:pt>
                <c:pt idx="38090">
                  <c:v>25232</c:v>
                </c:pt>
                <c:pt idx="38091">
                  <c:v>25232</c:v>
                </c:pt>
                <c:pt idx="38092">
                  <c:v>25232</c:v>
                </c:pt>
                <c:pt idx="38093">
                  <c:v>25232</c:v>
                </c:pt>
                <c:pt idx="38094">
                  <c:v>25231</c:v>
                </c:pt>
                <c:pt idx="38095">
                  <c:v>25230</c:v>
                </c:pt>
                <c:pt idx="38096">
                  <c:v>25230</c:v>
                </c:pt>
                <c:pt idx="38097">
                  <c:v>25229</c:v>
                </c:pt>
                <c:pt idx="38098">
                  <c:v>25229</c:v>
                </c:pt>
                <c:pt idx="38099">
                  <c:v>25229</c:v>
                </c:pt>
                <c:pt idx="38100">
                  <c:v>25229</c:v>
                </c:pt>
                <c:pt idx="38101">
                  <c:v>25227</c:v>
                </c:pt>
                <c:pt idx="38102">
                  <c:v>25227</c:v>
                </c:pt>
                <c:pt idx="38103">
                  <c:v>25226</c:v>
                </c:pt>
                <c:pt idx="38104">
                  <c:v>25226</c:v>
                </c:pt>
                <c:pt idx="38105">
                  <c:v>25226</c:v>
                </c:pt>
                <c:pt idx="38106">
                  <c:v>25225</c:v>
                </c:pt>
                <c:pt idx="38107">
                  <c:v>25225</c:v>
                </c:pt>
                <c:pt idx="38108">
                  <c:v>25224</c:v>
                </c:pt>
                <c:pt idx="38109">
                  <c:v>25223</c:v>
                </c:pt>
                <c:pt idx="38110">
                  <c:v>25223</c:v>
                </c:pt>
                <c:pt idx="38111">
                  <c:v>25223</c:v>
                </c:pt>
                <c:pt idx="38112">
                  <c:v>25222</c:v>
                </c:pt>
                <c:pt idx="38113">
                  <c:v>25222</c:v>
                </c:pt>
                <c:pt idx="38114">
                  <c:v>25219</c:v>
                </c:pt>
                <c:pt idx="38115">
                  <c:v>25219</c:v>
                </c:pt>
                <c:pt idx="38116">
                  <c:v>25219</c:v>
                </c:pt>
                <c:pt idx="38117">
                  <c:v>25219</c:v>
                </c:pt>
                <c:pt idx="38118">
                  <c:v>25218</c:v>
                </c:pt>
                <c:pt idx="38119">
                  <c:v>25217</c:v>
                </c:pt>
                <c:pt idx="38120">
                  <c:v>25216</c:v>
                </c:pt>
                <c:pt idx="38121">
                  <c:v>25216</c:v>
                </c:pt>
                <c:pt idx="38122">
                  <c:v>25215</c:v>
                </c:pt>
                <c:pt idx="38123">
                  <c:v>25215</c:v>
                </c:pt>
                <c:pt idx="38124">
                  <c:v>25215</c:v>
                </c:pt>
                <c:pt idx="38125">
                  <c:v>25214</c:v>
                </c:pt>
                <c:pt idx="38126">
                  <c:v>25213</c:v>
                </c:pt>
                <c:pt idx="38127">
                  <c:v>25212</c:v>
                </c:pt>
                <c:pt idx="38128">
                  <c:v>25211</c:v>
                </c:pt>
                <c:pt idx="38129">
                  <c:v>25210</c:v>
                </c:pt>
                <c:pt idx="38130">
                  <c:v>25210</c:v>
                </c:pt>
                <c:pt idx="38131">
                  <c:v>25210</c:v>
                </c:pt>
                <c:pt idx="38132">
                  <c:v>25208</c:v>
                </c:pt>
                <c:pt idx="38133">
                  <c:v>25207</c:v>
                </c:pt>
                <c:pt idx="38134">
                  <c:v>25207</c:v>
                </c:pt>
                <c:pt idx="38135">
                  <c:v>25207</c:v>
                </c:pt>
                <c:pt idx="38136">
                  <c:v>25207</c:v>
                </c:pt>
                <c:pt idx="38137">
                  <c:v>25205</c:v>
                </c:pt>
                <c:pt idx="38138">
                  <c:v>25204</c:v>
                </c:pt>
                <c:pt idx="38139">
                  <c:v>25203</c:v>
                </c:pt>
                <c:pt idx="38140">
                  <c:v>25203</c:v>
                </c:pt>
                <c:pt idx="38141">
                  <c:v>25203</c:v>
                </c:pt>
                <c:pt idx="38142">
                  <c:v>25203</c:v>
                </c:pt>
                <c:pt idx="38143">
                  <c:v>25202</c:v>
                </c:pt>
                <c:pt idx="38144">
                  <c:v>25202</c:v>
                </c:pt>
                <c:pt idx="38145">
                  <c:v>25202</c:v>
                </c:pt>
                <c:pt idx="38146">
                  <c:v>25202</c:v>
                </c:pt>
                <c:pt idx="38147">
                  <c:v>25200</c:v>
                </c:pt>
                <c:pt idx="38148">
                  <c:v>25200</c:v>
                </c:pt>
                <c:pt idx="38149">
                  <c:v>25200</c:v>
                </c:pt>
                <c:pt idx="38150">
                  <c:v>25199</c:v>
                </c:pt>
                <c:pt idx="38151">
                  <c:v>25198</c:v>
                </c:pt>
                <c:pt idx="38152">
                  <c:v>25198</c:v>
                </c:pt>
                <c:pt idx="38153">
                  <c:v>25198</c:v>
                </c:pt>
                <c:pt idx="38154">
                  <c:v>25198</c:v>
                </c:pt>
                <c:pt idx="38155">
                  <c:v>25198</c:v>
                </c:pt>
                <c:pt idx="38156">
                  <c:v>25197</c:v>
                </c:pt>
                <c:pt idx="38157">
                  <c:v>25196</c:v>
                </c:pt>
                <c:pt idx="38158">
                  <c:v>25196</c:v>
                </c:pt>
                <c:pt idx="38159">
                  <c:v>25196</c:v>
                </c:pt>
                <c:pt idx="38160">
                  <c:v>25195</c:v>
                </c:pt>
                <c:pt idx="38161">
                  <c:v>25195</c:v>
                </c:pt>
                <c:pt idx="38162">
                  <c:v>25193</c:v>
                </c:pt>
                <c:pt idx="38163">
                  <c:v>25192</c:v>
                </c:pt>
                <c:pt idx="38164">
                  <c:v>25192</c:v>
                </c:pt>
                <c:pt idx="38165">
                  <c:v>25191</c:v>
                </c:pt>
                <c:pt idx="38166">
                  <c:v>25191</c:v>
                </c:pt>
                <c:pt idx="38167">
                  <c:v>25191</c:v>
                </c:pt>
                <c:pt idx="38168">
                  <c:v>25190</c:v>
                </c:pt>
                <c:pt idx="38169">
                  <c:v>25189</c:v>
                </c:pt>
                <c:pt idx="38170">
                  <c:v>25189</c:v>
                </c:pt>
                <c:pt idx="38171">
                  <c:v>25189</c:v>
                </c:pt>
                <c:pt idx="38172">
                  <c:v>25188</c:v>
                </c:pt>
                <c:pt idx="38173">
                  <c:v>25188</c:v>
                </c:pt>
                <c:pt idx="38174">
                  <c:v>25188</c:v>
                </c:pt>
                <c:pt idx="38175">
                  <c:v>25188</c:v>
                </c:pt>
                <c:pt idx="38176">
                  <c:v>25187</c:v>
                </c:pt>
                <c:pt idx="38177">
                  <c:v>25187</c:v>
                </c:pt>
                <c:pt idx="38178">
                  <c:v>25187</c:v>
                </c:pt>
                <c:pt idx="38179">
                  <c:v>25186</c:v>
                </c:pt>
                <c:pt idx="38180">
                  <c:v>25185</c:v>
                </c:pt>
                <c:pt idx="38181">
                  <c:v>25185</c:v>
                </c:pt>
                <c:pt idx="38182">
                  <c:v>25185</c:v>
                </c:pt>
                <c:pt idx="38183">
                  <c:v>25184</c:v>
                </c:pt>
                <c:pt idx="38184">
                  <c:v>25184</c:v>
                </c:pt>
                <c:pt idx="38185">
                  <c:v>25183</c:v>
                </c:pt>
                <c:pt idx="38186">
                  <c:v>25182</c:v>
                </c:pt>
                <c:pt idx="38187">
                  <c:v>25182</c:v>
                </c:pt>
                <c:pt idx="38188">
                  <c:v>25182</c:v>
                </c:pt>
                <c:pt idx="38189">
                  <c:v>25181</c:v>
                </c:pt>
                <c:pt idx="38190">
                  <c:v>25180</c:v>
                </c:pt>
                <c:pt idx="38191">
                  <c:v>25180</c:v>
                </c:pt>
                <c:pt idx="38192">
                  <c:v>25180</c:v>
                </c:pt>
                <c:pt idx="38193">
                  <c:v>25179</c:v>
                </c:pt>
                <c:pt idx="38194">
                  <c:v>25179</c:v>
                </c:pt>
                <c:pt idx="38195">
                  <c:v>25179</c:v>
                </c:pt>
                <c:pt idx="38196">
                  <c:v>25178</c:v>
                </c:pt>
                <c:pt idx="38197">
                  <c:v>25178</c:v>
                </c:pt>
                <c:pt idx="38198">
                  <c:v>25177</c:v>
                </c:pt>
                <c:pt idx="38199">
                  <c:v>25177</c:v>
                </c:pt>
                <c:pt idx="38200">
                  <c:v>25176</c:v>
                </c:pt>
                <c:pt idx="38201">
                  <c:v>25176</c:v>
                </c:pt>
                <c:pt idx="38202">
                  <c:v>25175</c:v>
                </c:pt>
                <c:pt idx="38203">
                  <c:v>25174</c:v>
                </c:pt>
                <c:pt idx="38204">
                  <c:v>25174</c:v>
                </c:pt>
                <c:pt idx="38205">
                  <c:v>25173</c:v>
                </c:pt>
                <c:pt idx="38206">
                  <c:v>25173</c:v>
                </c:pt>
                <c:pt idx="38207">
                  <c:v>25172</c:v>
                </c:pt>
                <c:pt idx="38208">
                  <c:v>25171</c:v>
                </c:pt>
                <c:pt idx="38209">
                  <c:v>25171</c:v>
                </c:pt>
                <c:pt idx="38210">
                  <c:v>25170</c:v>
                </c:pt>
                <c:pt idx="38211">
                  <c:v>25170</c:v>
                </c:pt>
                <c:pt idx="38212">
                  <c:v>25170</c:v>
                </c:pt>
                <c:pt idx="38213">
                  <c:v>25169</c:v>
                </c:pt>
                <c:pt idx="38214">
                  <c:v>25169</c:v>
                </c:pt>
                <c:pt idx="38215">
                  <c:v>25168</c:v>
                </c:pt>
                <c:pt idx="38216">
                  <c:v>25168</c:v>
                </c:pt>
                <c:pt idx="38217">
                  <c:v>25167</c:v>
                </c:pt>
                <c:pt idx="38218">
                  <c:v>25166</c:v>
                </c:pt>
                <c:pt idx="38219">
                  <c:v>25166</c:v>
                </c:pt>
                <c:pt idx="38220">
                  <c:v>25165</c:v>
                </c:pt>
                <c:pt idx="38221">
                  <c:v>25165</c:v>
                </c:pt>
                <c:pt idx="38222">
                  <c:v>25165</c:v>
                </c:pt>
                <c:pt idx="38223">
                  <c:v>25165</c:v>
                </c:pt>
                <c:pt idx="38224">
                  <c:v>25165</c:v>
                </c:pt>
                <c:pt idx="38225">
                  <c:v>25163</c:v>
                </c:pt>
                <c:pt idx="38226">
                  <c:v>25162</c:v>
                </c:pt>
                <c:pt idx="38227">
                  <c:v>25161</c:v>
                </c:pt>
                <c:pt idx="38228">
                  <c:v>25161</c:v>
                </c:pt>
                <c:pt idx="38229">
                  <c:v>25160</c:v>
                </c:pt>
                <c:pt idx="38230">
                  <c:v>25160</c:v>
                </c:pt>
                <c:pt idx="38231">
                  <c:v>25160</c:v>
                </c:pt>
                <c:pt idx="38232">
                  <c:v>25159</c:v>
                </c:pt>
                <c:pt idx="38233">
                  <c:v>25158</c:v>
                </c:pt>
                <c:pt idx="38234">
                  <c:v>25158</c:v>
                </c:pt>
                <c:pt idx="38235">
                  <c:v>25157</c:v>
                </c:pt>
                <c:pt idx="38236">
                  <c:v>25157</c:v>
                </c:pt>
                <c:pt idx="38237">
                  <c:v>25157</c:v>
                </c:pt>
                <c:pt idx="38238">
                  <c:v>25157</c:v>
                </c:pt>
                <c:pt idx="38239">
                  <c:v>25156</c:v>
                </c:pt>
                <c:pt idx="38240">
                  <c:v>25156</c:v>
                </c:pt>
                <c:pt idx="38241">
                  <c:v>25155</c:v>
                </c:pt>
                <c:pt idx="38242">
                  <c:v>25154</c:v>
                </c:pt>
                <c:pt idx="38243">
                  <c:v>25152</c:v>
                </c:pt>
                <c:pt idx="38244">
                  <c:v>25152</c:v>
                </c:pt>
                <c:pt idx="38245">
                  <c:v>25151</c:v>
                </c:pt>
                <c:pt idx="38246">
                  <c:v>25150</c:v>
                </c:pt>
                <c:pt idx="38247">
                  <c:v>25150</c:v>
                </c:pt>
                <c:pt idx="38248">
                  <c:v>25150</c:v>
                </c:pt>
                <c:pt idx="38249">
                  <c:v>25148</c:v>
                </c:pt>
                <c:pt idx="38250">
                  <c:v>25148</c:v>
                </c:pt>
                <c:pt idx="38251">
                  <c:v>25148</c:v>
                </c:pt>
                <c:pt idx="38252">
                  <c:v>25146</c:v>
                </c:pt>
                <c:pt idx="38253">
                  <c:v>25146</c:v>
                </c:pt>
                <c:pt idx="38254">
                  <c:v>25144</c:v>
                </c:pt>
                <c:pt idx="38255">
                  <c:v>25143</c:v>
                </c:pt>
                <c:pt idx="38256">
                  <c:v>25143</c:v>
                </c:pt>
                <c:pt idx="38257">
                  <c:v>25143</c:v>
                </c:pt>
                <c:pt idx="38258">
                  <c:v>25142</c:v>
                </c:pt>
                <c:pt idx="38259">
                  <c:v>25141</c:v>
                </c:pt>
                <c:pt idx="38260">
                  <c:v>25140</c:v>
                </c:pt>
                <c:pt idx="38261">
                  <c:v>25140</c:v>
                </c:pt>
                <c:pt idx="38262">
                  <c:v>25138</c:v>
                </c:pt>
                <c:pt idx="38263">
                  <c:v>25137</c:v>
                </c:pt>
                <c:pt idx="38264">
                  <c:v>25137</c:v>
                </c:pt>
                <c:pt idx="38265">
                  <c:v>25136</c:v>
                </c:pt>
                <c:pt idx="38266">
                  <c:v>25136</c:v>
                </c:pt>
                <c:pt idx="38267">
                  <c:v>25134</c:v>
                </c:pt>
                <c:pt idx="38268">
                  <c:v>25134</c:v>
                </c:pt>
                <c:pt idx="38269">
                  <c:v>25134</c:v>
                </c:pt>
                <c:pt idx="38270">
                  <c:v>25133</c:v>
                </c:pt>
                <c:pt idx="38271">
                  <c:v>25132</c:v>
                </c:pt>
                <c:pt idx="38272">
                  <c:v>25132</c:v>
                </c:pt>
                <c:pt idx="38273">
                  <c:v>25132</c:v>
                </c:pt>
                <c:pt idx="38274">
                  <c:v>25131</c:v>
                </c:pt>
                <c:pt idx="38275">
                  <c:v>25130</c:v>
                </c:pt>
                <c:pt idx="38276">
                  <c:v>25130</c:v>
                </c:pt>
                <c:pt idx="38277">
                  <c:v>25130</c:v>
                </c:pt>
                <c:pt idx="38278">
                  <c:v>25130</c:v>
                </c:pt>
                <c:pt idx="38279">
                  <c:v>25129</c:v>
                </c:pt>
                <c:pt idx="38280">
                  <c:v>25129</c:v>
                </c:pt>
                <c:pt idx="38281">
                  <c:v>25129</c:v>
                </c:pt>
                <c:pt idx="38282">
                  <c:v>25129</c:v>
                </c:pt>
                <c:pt idx="38283">
                  <c:v>25128</c:v>
                </c:pt>
                <c:pt idx="38284">
                  <c:v>25128</c:v>
                </c:pt>
                <c:pt idx="38285">
                  <c:v>25128</c:v>
                </c:pt>
                <c:pt idx="38286">
                  <c:v>25127</c:v>
                </c:pt>
                <c:pt idx="38287">
                  <c:v>25127</c:v>
                </c:pt>
                <c:pt idx="38288">
                  <c:v>25127</c:v>
                </c:pt>
                <c:pt idx="38289">
                  <c:v>25125</c:v>
                </c:pt>
                <c:pt idx="38290">
                  <c:v>25125</c:v>
                </c:pt>
                <c:pt idx="38291">
                  <c:v>25125</c:v>
                </c:pt>
                <c:pt idx="38292">
                  <c:v>25125</c:v>
                </c:pt>
                <c:pt idx="38293">
                  <c:v>25124</c:v>
                </c:pt>
                <c:pt idx="38294">
                  <c:v>25123</c:v>
                </c:pt>
                <c:pt idx="38295">
                  <c:v>25122</c:v>
                </c:pt>
                <c:pt idx="38296">
                  <c:v>25122</c:v>
                </c:pt>
                <c:pt idx="38297">
                  <c:v>25122</c:v>
                </c:pt>
                <c:pt idx="38298">
                  <c:v>25122</c:v>
                </c:pt>
                <c:pt idx="38299">
                  <c:v>25122</c:v>
                </c:pt>
                <c:pt idx="38300">
                  <c:v>25122</c:v>
                </c:pt>
                <c:pt idx="38301">
                  <c:v>25122</c:v>
                </c:pt>
                <c:pt idx="38302">
                  <c:v>25121</c:v>
                </c:pt>
                <c:pt idx="38303">
                  <c:v>25120</c:v>
                </c:pt>
                <c:pt idx="38304">
                  <c:v>25120</c:v>
                </c:pt>
                <c:pt idx="38305">
                  <c:v>25120</c:v>
                </c:pt>
                <c:pt idx="38306">
                  <c:v>25119</c:v>
                </c:pt>
                <c:pt idx="38307">
                  <c:v>25119</c:v>
                </c:pt>
                <c:pt idx="38308">
                  <c:v>25118</c:v>
                </c:pt>
                <c:pt idx="38309">
                  <c:v>25118</c:v>
                </c:pt>
                <c:pt idx="38310">
                  <c:v>25117</c:v>
                </c:pt>
                <c:pt idx="38311">
                  <c:v>25117</c:v>
                </c:pt>
                <c:pt idx="38312">
                  <c:v>25117</c:v>
                </c:pt>
                <c:pt idx="38313">
                  <c:v>25116</c:v>
                </c:pt>
                <c:pt idx="38314">
                  <c:v>25115</c:v>
                </c:pt>
                <c:pt idx="38315">
                  <c:v>25115</c:v>
                </c:pt>
                <c:pt idx="38316">
                  <c:v>25115</c:v>
                </c:pt>
                <c:pt idx="38317">
                  <c:v>25114</c:v>
                </c:pt>
                <c:pt idx="38318">
                  <c:v>25114</c:v>
                </c:pt>
                <c:pt idx="38319">
                  <c:v>25113</c:v>
                </c:pt>
                <c:pt idx="38320">
                  <c:v>25113</c:v>
                </c:pt>
                <c:pt idx="38321">
                  <c:v>25112</c:v>
                </c:pt>
                <c:pt idx="38322">
                  <c:v>25112</c:v>
                </c:pt>
                <c:pt idx="38323">
                  <c:v>25111</c:v>
                </c:pt>
                <c:pt idx="38324">
                  <c:v>25110</c:v>
                </c:pt>
                <c:pt idx="38325">
                  <c:v>25110</c:v>
                </c:pt>
                <c:pt idx="38326">
                  <c:v>25108</c:v>
                </c:pt>
                <c:pt idx="38327">
                  <c:v>25108</c:v>
                </c:pt>
                <c:pt idx="38328">
                  <c:v>25107</c:v>
                </c:pt>
                <c:pt idx="38329">
                  <c:v>25106</c:v>
                </c:pt>
                <c:pt idx="38330">
                  <c:v>25105</c:v>
                </c:pt>
                <c:pt idx="38331">
                  <c:v>25105</c:v>
                </c:pt>
                <c:pt idx="38332">
                  <c:v>25105</c:v>
                </c:pt>
                <c:pt idx="38333">
                  <c:v>25104</c:v>
                </c:pt>
                <c:pt idx="38334">
                  <c:v>25104</c:v>
                </c:pt>
                <c:pt idx="38335">
                  <c:v>25104</c:v>
                </c:pt>
                <c:pt idx="38336">
                  <c:v>25104</c:v>
                </c:pt>
                <c:pt idx="38337">
                  <c:v>25103</c:v>
                </c:pt>
                <c:pt idx="38338">
                  <c:v>25103</c:v>
                </c:pt>
                <c:pt idx="38339">
                  <c:v>25102</c:v>
                </c:pt>
                <c:pt idx="38340">
                  <c:v>25102</c:v>
                </c:pt>
                <c:pt idx="38341">
                  <c:v>25101</c:v>
                </c:pt>
                <c:pt idx="38342">
                  <c:v>25101</c:v>
                </c:pt>
                <c:pt idx="38343">
                  <c:v>25101</c:v>
                </c:pt>
                <c:pt idx="38344">
                  <c:v>25100</c:v>
                </c:pt>
                <c:pt idx="38345">
                  <c:v>25100</c:v>
                </c:pt>
                <c:pt idx="38346">
                  <c:v>25099</c:v>
                </c:pt>
                <c:pt idx="38347">
                  <c:v>25098</c:v>
                </c:pt>
                <c:pt idx="38348">
                  <c:v>25097</c:v>
                </c:pt>
                <c:pt idx="38349">
                  <c:v>25096</c:v>
                </c:pt>
                <c:pt idx="38350">
                  <c:v>25096</c:v>
                </c:pt>
                <c:pt idx="38351">
                  <c:v>25095</c:v>
                </c:pt>
                <c:pt idx="38352">
                  <c:v>25095</c:v>
                </c:pt>
                <c:pt idx="38353">
                  <c:v>25095</c:v>
                </c:pt>
                <c:pt idx="38354">
                  <c:v>25095</c:v>
                </c:pt>
                <c:pt idx="38355">
                  <c:v>25095</c:v>
                </c:pt>
                <c:pt idx="38356">
                  <c:v>25094</c:v>
                </c:pt>
                <c:pt idx="38357">
                  <c:v>25092</c:v>
                </c:pt>
                <c:pt idx="38358">
                  <c:v>25092</c:v>
                </c:pt>
                <c:pt idx="38359">
                  <c:v>25091</c:v>
                </c:pt>
                <c:pt idx="38360">
                  <c:v>25091</c:v>
                </c:pt>
                <c:pt idx="38361">
                  <c:v>25090</c:v>
                </c:pt>
                <c:pt idx="38362">
                  <c:v>25090</c:v>
                </c:pt>
                <c:pt idx="38363">
                  <c:v>25089</c:v>
                </c:pt>
                <c:pt idx="38364">
                  <c:v>25089</c:v>
                </c:pt>
                <c:pt idx="38365">
                  <c:v>25089</c:v>
                </c:pt>
                <c:pt idx="38366">
                  <c:v>25088</c:v>
                </c:pt>
                <c:pt idx="38367">
                  <c:v>25088</c:v>
                </c:pt>
                <c:pt idx="38368">
                  <c:v>25088</c:v>
                </c:pt>
                <c:pt idx="38369">
                  <c:v>25087</c:v>
                </c:pt>
                <c:pt idx="38370">
                  <c:v>25087</c:v>
                </c:pt>
                <c:pt idx="38371">
                  <c:v>25086</c:v>
                </c:pt>
                <c:pt idx="38372">
                  <c:v>25086</c:v>
                </c:pt>
                <c:pt idx="38373">
                  <c:v>25085</c:v>
                </c:pt>
                <c:pt idx="38374">
                  <c:v>25085</c:v>
                </c:pt>
                <c:pt idx="38375">
                  <c:v>25085</c:v>
                </c:pt>
                <c:pt idx="38376">
                  <c:v>25085</c:v>
                </c:pt>
                <c:pt idx="38377">
                  <c:v>25084</c:v>
                </c:pt>
                <c:pt idx="38378">
                  <c:v>25084</c:v>
                </c:pt>
                <c:pt idx="38379">
                  <c:v>25083</c:v>
                </c:pt>
                <c:pt idx="38380">
                  <c:v>25082</c:v>
                </c:pt>
                <c:pt idx="38381">
                  <c:v>25082</c:v>
                </c:pt>
                <c:pt idx="38382">
                  <c:v>25078</c:v>
                </c:pt>
                <c:pt idx="38383">
                  <c:v>25077</c:v>
                </c:pt>
                <c:pt idx="38384">
                  <c:v>25077</c:v>
                </c:pt>
                <c:pt idx="38385">
                  <c:v>25077</c:v>
                </c:pt>
                <c:pt idx="38386">
                  <c:v>25077</c:v>
                </c:pt>
                <c:pt idx="38387">
                  <c:v>25076</c:v>
                </c:pt>
                <c:pt idx="38388">
                  <c:v>25076</c:v>
                </c:pt>
                <c:pt idx="38389">
                  <c:v>25076</c:v>
                </c:pt>
                <c:pt idx="38390">
                  <c:v>25076</c:v>
                </c:pt>
                <c:pt idx="38391">
                  <c:v>25075</c:v>
                </c:pt>
                <c:pt idx="38392">
                  <c:v>25075</c:v>
                </c:pt>
                <c:pt idx="38393">
                  <c:v>25074</c:v>
                </c:pt>
                <c:pt idx="38394">
                  <c:v>25074</c:v>
                </c:pt>
                <c:pt idx="38395">
                  <c:v>25074</c:v>
                </c:pt>
                <c:pt idx="38396">
                  <c:v>25072</c:v>
                </c:pt>
                <c:pt idx="38397">
                  <c:v>25072</c:v>
                </c:pt>
                <c:pt idx="38398">
                  <c:v>25072</c:v>
                </c:pt>
                <c:pt idx="38399">
                  <c:v>25071</c:v>
                </c:pt>
                <c:pt idx="38400">
                  <c:v>25071</c:v>
                </c:pt>
                <c:pt idx="38401">
                  <c:v>25071</c:v>
                </c:pt>
                <c:pt idx="38402">
                  <c:v>25070</c:v>
                </c:pt>
                <c:pt idx="38403">
                  <c:v>25069</c:v>
                </c:pt>
                <c:pt idx="38404">
                  <c:v>25069</c:v>
                </c:pt>
                <c:pt idx="38405">
                  <c:v>25068</c:v>
                </c:pt>
                <c:pt idx="38406">
                  <c:v>25068</c:v>
                </c:pt>
                <c:pt idx="38407">
                  <c:v>25068</c:v>
                </c:pt>
                <c:pt idx="38408">
                  <c:v>25068</c:v>
                </c:pt>
                <c:pt idx="38409">
                  <c:v>25068</c:v>
                </c:pt>
                <c:pt idx="38410">
                  <c:v>25067</c:v>
                </c:pt>
                <c:pt idx="38411">
                  <c:v>25067</c:v>
                </c:pt>
                <c:pt idx="38412">
                  <c:v>25066</c:v>
                </c:pt>
                <c:pt idx="38413">
                  <c:v>25066</c:v>
                </c:pt>
                <c:pt idx="38414">
                  <c:v>25063</c:v>
                </c:pt>
                <c:pt idx="38415">
                  <c:v>25063</c:v>
                </c:pt>
                <c:pt idx="38416">
                  <c:v>25062</c:v>
                </c:pt>
                <c:pt idx="38417">
                  <c:v>25062</c:v>
                </c:pt>
                <c:pt idx="38418">
                  <c:v>25062</c:v>
                </c:pt>
                <c:pt idx="38419">
                  <c:v>25061</c:v>
                </c:pt>
                <c:pt idx="38420">
                  <c:v>25061</c:v>
                </c:pt>
                <c:pt idx="38421">
                  <c:v>25060</c:v>
                </c:pt>
                <c:pt idx="38422">
                  <c:v>25058</c:v>
                </c:pt>
                <c:pt idx="38423">
                  <c:v>25057</c:v>
                </c:pt>
                <c:pt idx="38424">
                  <c:v>25057</c:v>
                </c:pt>
                <c:pt idx="38425">
                  <c:v>25057</c:v>
                </c:pt>
                <c:pt idx="38426">
                  <c:v>25057</c:v>
                </c:pt>
                <c:pt idx="38427">
                  <c:v>25056</c:v>
                </c:pt>
                <c:pt idx="38428">
                  <c:v>25056</c:v>
                </c:pt>
                <c:pt idx="38429">
                  <c:v>25055</c:v>
                </c:pt>
                <c:pt idx="38430">
                  <c:v>25055</c:v>
                </c:pt>
                <c:pt idx="38431">
                  <c:v>25055</c:v>
                </c:pt>
                <c:pt idx="38432">
                  <c:v>25054</c:v>
                </c:pt>
                <c:pt idx="38433">
                  <c:v>25054</c:v>
                </c:pt>
                <c:pt idx="38434">
                  <c:v>25054</c:v>
                </c:pt>
                <c:pt idx="38435">
                  <c:v>25054</c:v>
                </c:pt>
                <c:pt idx="38436">
                  <c:v>25053</c:v>
                </c:pt>
                <c:pt idx="38437">
                  <c:v>25052</c:v>
                </c:pt>
                <c:pt idx="38438">
                  <c:v>25051</c:v>
                </c:pt>
                <c:pt idx="38439">
                  <c:v>25050</c:v>
                </c:pt>
                <c:pt idx="38440">
                  <c:v>25049</c:v>
                </c:pt>
                <c:pt idx="38441">
                  <c:v>25049</c:v>
                </c:pt>
                <c:pt idx="38442">
                  <c:v>25049</c:v>
                </c:pt>
                <c:pt idx="38443">
                  <c:v>25049</c:v>
                </c:pt>
                <c:pt idx="38444">
                  <c:v>25048</c:v>
                </c:pt>
                <c:pt idx="38445">
                  <c:v>25048</c:v>
                </c:pt>
                <c:pt idx="38446">
                  <c:v>25048</c:v>
                </c:pt>
                <c:pt idx="38447">
                  <c:v>25048</c:v>
                </c:pt>
                <c:pt idx="38448">
                  <c:v>25047</c:v>
                </c:pt>
                <c:pt idx="38449">
                  <c:v>25046</c:v>
                </c:pt>
                <c:pt idx="38450">
                  <c:v>25046</c:v>
                </c:pt>
                <c:pt idx="38451">
                  <c:v>25045</c:v>
                </c:pt>
                <c:pt idx="38452">
                  <c:v>25044</c:v>
                </c:pt>
                <c:pt idx="38453">
                  <c:v>25044</c:v>
                </c:pt>
                <c:pt idx="38454">
                  <c:v>25042</c:v>
                </c:pt>
                <c:pt idx="38455">
                  <c:v>25042</c:v>
                </c:pt>
                <c:pt idx="38456">
                  <c:v>25040</c:v>
                </c:pt>
                <c:pt idx="38457">
                  <c:v>25040</c:v>
                </c:pt>
                <c:pt idx="38458">
                  <c:v>25040</c:v>
                </c:pt>
                <c:pt idx="38459">
                  <c:v>25040</c:v>
                </c:pt>
                <c:pt idx="38460">
                  <c:v>25039</c:v>
                </c:pt>
                <c:pt idx="38461">
                  <c:v>25039</c:v>
                </c:pt>
                <c:pt idx="38462">
                  <c:v>25039</c:v>
                </c:pt>
                <c:pt idx="38463">
                  <c:v>25039</c:v>
                </c:pt>
                <c:pt idx="38464">
                  <c:v>25038</c:v>
                </c:pt>
                <c:pt idx="38465">
                  <c:v>25037</c:v>
                </c:pt>
                <c:pt idx="38466">
                  <c:v>25035</c:v>
                </c:pt>
                <c:pt idx="38467">
                  <c:v>25035</c:v>
                </c:pt>
                <c:pt idx="38468">
                  <c:v>25034</c:v>
                </c:pt>
                <c:pt idx="38469">
                  <c:v>25034</c:v>
                </c:pt>
                <c:pt idx="38470">
                  <c:v>25034</c:v>
                </c:pt>
                <c:pt idx="38471">
                  <c:v>25033</c:v>
                </c:pt>
                <c:pt idx="38472">
                  <c:v>25033</c:v>
                </c:pt>
                <c:pt idx="38473">
                  <c:v>25032</c:v>
                </c:pt>
                <c:pt idx="38474">
                  <c:v>25032</c:v>
                </c:pt>
                <c:pt idx="38475">
                  <c:v>25031</c:v>
                </c:pt>
                <c:pt idx="38476">
                  <c:v>25031</c:v>
                </c:pt>
                <c:pt idx="38477">
                  <c:v>25031</c:v>
                </c:pt>
                <c:pt idx="38478">
                  <c:v>25031</c:v>
                </c:pt>
                <c:pt idx="38479">
                  <c:v>25030</c:v>
                </c:pt>
                <c:pt idx="38480">
                  <c:v>25030</c:v>
                </c:pt>
                <c:pt idx="38481">
                  <c:v>25029</c:v>
                </c:pt>
                <c:pt idx="38482">
                  <c:v>25029</c:v>
                </c:pt>
                <c:pt idx="38483">
                  <c:v>25028</c:v>
                </c:pt>
                <c:pt idx="38484">
                  <c:v>25028</c:v>
                </c:pt>
                <c:pt idx="38485">
                  <c:v>25027</c:v>
                </c:pt>
                <c:pt idx="38486">
                  <c:v>25027</c:v>
                </c:pt>
                <c:pt idx="38487">
                  <c:v>25027</c:v>
                </c:pt>
                <c:pt idx="38488">
                  <c:v>25026</c:v>
                </c:pt>
                <c:pt idx="38489">
                  <c:v>25023</c:v>
                </c:pt>
                <c:pt idx="38490">
                  <c:v>25023</c:v>
                </c:pt>
                <c:pt idx="38491">
                  <c:v>25023</c:v>
                </c:pt>
                <c:pt idx="38492">
                  <c:v>25023</c:v>
                </c:pt>
                <c:pt idx="38493">
                  <c:v>25022</c:v>
                </c:pt>
                <c:pt idx="38494">
                  <c:v>25022</c:v>
                </c:pt>
                <c:pt idx="38495">
                  <c:v>25020</c:v>
                </c:pt>
                <c:pt idx="38496">
                  <c:v>25020</c:v>
                </c:pt>
                <c:pt idx="38497">
                  <c:v>25020</c:v>
                </c:pt>
                <c:pt idx="38498">
                  <c:v>25019</c:v>
                </c:pt>
                <c:pt idx="38499">
                  <c:v>25017</c:v>
                </c:pt>
                <c:pt idx="38500">
                  <c:v>25017</c:v>
                </c:pt>
                <c:pt idx="38501">
                  <c:v>25017</c:v>
                </c:pt>
                <c:pt idx="38502">
                  <c:v>25016</c:v>
                </c:pt>
                <c:pt idx="38503">
                  <c:v>25016</c:v>
                </c:pt>
                <c:pt idx="38504">
                  <c:v>25016</c:v>
                </c:pt>
                <c:pt idx="38505">
                  <c:v>25015</c:v>
                </c:pt>
                <c:pt idx="38506">
                  <c:v>25015</c:v>
                </c:pt>
                <c:pt idx="38507">
                  <c:v>25015</c:v>
                </c:pt>
                <c:pt idx="38508">
                  <c:v>25014</c:v>
                </c:pt>
                <c:pt idx="38509">
                  <c:v>25014</c:v>
                </c:pt>
                <c:pt idx="38510">
                  <c:v>25013</c:v>
                </c:pt>
                <c:pt idx="38511">
                  <c:v>25013</c:v>
                </c:pt>
                <c:pt idx="38512">
                  <c:v>25013</c:v>
                </c:pt>
                <c:pt idx="38513">
                  <c:v>25013</c:v>
                </c:pt>
                <c:pt idx="38514">
                  <c:v>25013</c:v>
                </c:pt>
                <c:pt idx="38515">
                  <c:v>25012</c:v>
                </c:pt>
                <c:pt idx="38516">
                  <c:v>25012</c:v>
                </c:pt>
                <c:pt idx="38517">
                  <c:v>25012</c:v>
                </c:pt>
                <c:pt idx="38518">
                  <c:v>25012</c:v>
                </c:pt>
                <c:pt idx="38519">
                  <c:v>25011</c:v>
                </c:pt>
                <c:pt idx="38520">
                  <c:v>25011</c:v>
                </c:pt>
                <c:pt idx="38521">
                  <c:v>25009</c:v>
                </c:pt>
                <c:pt idx="38522">
                  <c:v>25009</c:v>
                </c:pt>
                <c:pt idx="38523">
                  <c:v>25009</c:v>
                </c:pt>
                <c:pt idx="38524">
                  <c:v>25008</c:v>
                </c:pt>
                <c:pt idx="38525">
                  <c:v>25007</c:v>
                </c:pt>
                <c:pt idx="38526">
                  <c:v>25006</c:v>
                </c:pt>
                <c:pt idx="38527">
                  <c:v>25006</c:v>
                </c:pt>
                <c:pt idx="38528">
                  <c:v>25005</c:v>
                </c:pt>
                <c:pt idx="38529">
                  <c:v>25005</c:v>
                </c:pt>
                <c:pt idx="38530">
                  <c:v>25005</c:v>
                </c:pt>
                <c:pt idx="38531">
                  <c:v>25005</c:v>
                </c:pt>
                <c:pt idx="38532">
                  <c:v>25004</c:v>
                </c:pt>
                <c:pt idx="38533">
                  <c:v>25004</c:v>
                </c:pt>
                <c:pt idx="38534">
                  <c:v>25004</c:v>
                </c:pt>
                <c:pt idx="38535">
                  <c:v>25004</c:v>
                </c:pt>
                <c:pt idx="38536">
                  <c:v>25003</c:v>
                </c:pt>
                <c:pt idx="38537">
                  <c:v>25003</c:v>
                </c:pt>
                <c:pt idx="38538">
                  <c:v>25003</c:v>
                </c:pt>
                <c:pt idx="38539">
                  <c:v>25003</c:v>
                </c:pt>
                <c:pt idx="38540">
                  <c:v>25002</c:v>
                </c:pt>
                <c:pt idx="38541">
                  <c:v>25002</c:v>
                </c:pt>
                <c:pt idx="38542">
                  <c:v>25002</c:v>
                </c:pt>
                <c:pt idx="38543">
                  <c:v>25002</c:v>
                </c:pt>
                <c:pt idx="38544">
                  <c:v>25002</c:v>
                </c:pt>
                <c:pt idx="38545">
                  <c:v>25001</c:v>
                </c:pt>
                <c:pt idx="38546">
                  <c:v>25001</c:v>
                </c:pt>
                <c:pt idx="38547">
                  <c:v>25000</c:v>
                </c:pt>
                <c:pt idx="38548">
                  <c:v>25000</c:v>
                </c:pt>
                <c:pt idx="38549">
                  <c:v>25000</c:v>
                </c:pt>
                <c:pt idx="38550">
                  <c:v>25000</c:v>
                </c:pt>
                <c:pt idx="38551">
                  <c:v>24999</c:v>
                </c:pt>
                <c:pt idx="38552">
                  <c:v>24999</c:v>
                </c:pt>
                <c:pt idx="38553">
                  <c:v>24999</c:v>
                </c:pt>
                <c:pt idx="38554">
                  <c:v>24998</c:v>
                </c:pt>
                <c:pt idx="38555">
                  <c:v>24997</c:v>
                </c:pt>
                <c:pt idx="38556">
                  <c:v>24997</c:v>
                </c:pt>
                <c:pt idx="38557">
                  <c:v>24996</c:v>
                </c:pt>
                <c:pt idx="38558">
                  <c:v>24995</c:v>
                </c:pt>
                <c:pt idx="38559">
                  <c:v>24995</c:v>
                </c:pt>
                <c:pt idx="38560">
                  <c:v>24994</c:v>
                </c:pt>
                <c:pt idx="38561">
                  <c:v>24994</c:v>
                </c:pt>
                <c:pt idx="38562">
                  <c:v>24993</c:v>
                </c:pt>
                <c:pt idx="38563">
                  <c:v>24993</c:v>
                </c:pt>
                <c:pt idx="38564">
                  <c:v>24993</c:v>
                </c:pt>
                <c:pt idx="38565">
                  <c:v>24992</c:v>
                </c:pt>
                <c:pt idx="38566">
                  <c:v>24992</c:v>
                </c:pt>
                <c:pt idx="38567">
                  <c:v>24992</c:v>
                </c:pt>
                <c:pt idx="38568">
                  <c:v>24992</c:v>
                </c:pt>
                <c:pt idx="38569">
                  <c:v>24991</c:v>
                </c:pt>
                <c:pt idx="38570">
                  <c:v>24991</c:v>
                </c:pt>
                <c:pt idx="38571">
                  <c:v>24990</c:v>
                </c:pt>
                <c:pt idx="38572">
                  <c:v>24990</c:v>
                </c:pt>
                <c:pt idx="38573">
                  <c:v>24988</c:v>
                </c:pt>
                <c:pt idx="38574">
                  <c:v>24987</c:v>
                </c:pt>
                <c:pt idx="38575">
                  <c:v>24987</c:v>
                </c:pt>
                <c:pt idx="38576">
                  <c:v>24987</c:v>
                </c:pt>
                <c:pt idx="38577">
                  <c:v>24987</c:v>
                </c:pt>
                <c:pt idx="38578">
                  <c:v>24986</c:v>
                </c:pt>
                <c:pt idx="38579">
                  <c:v>24986</c:v>
                </c:pt>
                <c:pt idx="38580">
                  <c:v>24985</c:v>
                </c:pt>
                <c:pt idx="38581">
                  <c:v>24984</c:v>
                </c:pt>
                <c:pt idx="38582">
                  <c:v>24984</c:v>
                </c:pt>
                <c:pt idx="38583">
                  <c:v>24983</c:v>
                </c:pt>
                <c:pt idx="38584">
                  <c:v>24983</c:v>
                </c:pt>
                <c:pt idx="38585">
                  <c:v>24983</c:v>
                </c:pt>
                <c:pt idx="38586">
                  <c:v>24982</c:v>
                </c:pt>
                <c:pt idx="38587">
                  <c:v>24982</c:v>
                </c:pt>
                <c:pt idx="38588">
                  <c:v>24981</c:v>
                </c:pt>
                <c:pt idx="38589">
                  <c:v>24981</c:v>
                </c:pt>
                <c:pt idx="38590">
                  <c:v>24981</c:v>
                </c:pt>
                <c:pt idx="38591">
                  <c:v>24981</c:v>
                </c:pt>
                <c:pt idx="38592">
                  <c:v>24979</c:v>
                </c:pt>
                <c:pt idx="38593">
                  <c:v>24979</c:v>
                </c:pt>
                <c:pt idx="38594">
                  <c:v>24977</c:v>
                </c:pt>
                <c:pt idx="38595">
                  <c:v>24977</c:v>
                </c:pt>
                <c:pt idx="38596">
                  <c:v>24976</c:v>
                </c:pt>
                <c:pt idx="38597">
                  <c:v>24974</c:v>
                </c:pt>
                <c:pt idx="38598">
                  <c:v>24974</c:v>
                </c:pt>
                <c:pt idx="38599">
                  <c:v>24974</c:v>
                </c:pt>
                <c:pt idx="38600">
                  <c:v>24973</c:v>
                </c:pt>
                <c:pt idx="38601">
                  <c:v>24973</c:v>
                </c:pt>
                <c:pt idx="38602">
                  <c:v>24973</c:v>
                </c:pt>
                <c:pt idx="38603">
                  <c:v>24973</c:v>
                </c:pt>
                <c:pt idx="38604">
                  <c:v>24970</c:v>
                </c:pt>
                <c:pt idx="38605">
                  <c:v>24969</c:v>
                </c:pt>
                <c:pt idx="38606">
                  <c:v>24967</c:v>
                </c:pt>
                <c:pt idx="38607">
                  <c:v>24967</c:v>
                </c:pt>
                <c:pt idx="38608">
                  <c:v>24965</c:v>
                </c:pt>
                <c:pt idx="38609">
                  <c:v>24964</c:v>
                </c:pt>
                <c:pt idx="38610">
                  <c:v>24962</c:v>
                </c:pt>
                <c:pt idx="38611">
                  <c:v>24962</c:v>
                </c:pt>
                <c:pt idx="38612">
                  <c:v>24961</c:v>
                </c:pt>
                <c:pt idx="38613">
                  <c:v>24961</c:v>
                </c:pt>
                <c:pt idx="38614">
                  <c:v>24961</c:v>
                </c:pt>
                <c:pt idx="38615">
                  <c:v>24961</c:v>
                </c:pt>
                <c:pt idx="38616">
                  <c:v>24960</c:v>
                </c:pt>
                <c:pt idx="38617">
                  <c:v>24959</c:v>
                </c:pt>
                <c:pt idx="38618">
                  <c:v>24959</c:v>
                </c:pt>
                <c:pt idx="38619">
                  <c:v>24958</c:v>
                </c:pt>
                <c:pt idx="38620">
                  <c:v>24958</c:v>
                </c:pt>
                <c:pt idx="38621">
                  <c:v>24958</c:v>
                </c:pt>
                <c:pt idx="38622">
                  <c:v>24957</c:v>
                </c:pt>
                <c:pt idx="38623">
                  <c:v>24956</c:v>
                </c:pt>
                <c:pt idx="38624">
                  <c:v>24956</c:v>
                </c:pt>
                <c:pt idx="38625">
                  <c:v>24955</c:v>
                </c:pt>
                <c:pt idx="38626">
                  <c:v>24955</c:v>
                </c:pt>
                <c:pt idx="38627">
                  <c:v>24955</c:v>
                </c:pt>
                <c:pt idx="38628">
                  <c:v>24954</c:v>
                </c:pt>
                <c:pt idx="38629">
                  <c:v>24954</c:v>
                </c:pt>
                <c:pt idx="38630">
                  <c:v>24954</c:v>
                </c:pt>
                <c:pt idx="38631">
                  <c:v>24953</c:v>
                </c:pt>
                <c:pt idx="38632">
                  <c:v>24953</c:v>
                </c:pt>
                <c:pt idx="38633">
                  <c:v>24952</c:v>
                </c:pt>
                <c:pt idx="38634">
                  <c:v>24952</c:v>
                </c:pt>
                <c:pt idx="38635">
                  <c:v>24951</c:v>
                </c:pt>
                <c:pt idx="38636">
                  <c:v>24951</c:v>
                </c:pt>
                <c:pt idx="38637">
                  <c:v>24951</c:v>
                </c:pt>
                <c:pt idx="38638">
                  <c:v>24949</c:v>
                </c:pt>
                <c:pt idx="38639">
                  <c:v>24948</c:v>
                </c:pt>
                <c:pt idx="38640">
                  <c:v>24946</c:v>
                </c:pt>
                <c:pt idx="38641">
                  <c:v>24945</c:v>
                </c:pt>
                <c:pt idx="38642">
                  <c:v>24945</c:v>
                </c:pt>
                <c:pt idx="38643">
                  <c:v>24945</c:v>
                </c:pt>
                <c:pt idx="38644">
                  <c:v>24943</c:v>
                </c:pt>
                <c:pt idx="38645">
                  <c:v>24943</c:v>
                </c:pt>
                <c:pt idx="38646">
                  <c:v>24942</c:v>
                </c:pt>
                <c:pt idx="38647">
                  <c:v>24941</c:v>
                </c:pt>
                <c:pt idx="38648">
                  <c:v>24940</c:v>
                </c:pt>
                <c:pt idx="38649">
                  <c:v>24939</c:v>
                </c:pt>
                <c:pt idx="38650">
                  <c:v>24938</c:v>
                </c:pt>
                <c:pt idx="38651">
                  <c:v>24937</c:v>
                </c:pt>
                <c:pt idx="38652">
                  <c:v>24937</c:v>
                </c:pt>
                <c:pt idx="38653">
                  <c:v>24936</c:v>
                </c:pt>
                <c:pt idx="38654">
                  <c:v>24935</c:v>
                </c:pt>
                <c:pt idx="38655">
                  <c:v>24934</c:v>
                </c:pt>
                <c:pt idx="38656">
                  <c:v>24934</c:v>
                </c:pt>
                <c:pt idx="38657">
                  <c:v>24934</c:v>
                </c:pt>
                <c:pt idx="38658">
                  <c:v>24933</c:v>
                </c:pt>
                <c:pt idx="38659">
                  <c:v>24933</c:v>
                </c:pt>
                <c:pt idx="38660">
                  <c:v>24932</c:v>
                </c:pt>
                <c:pt idx="38661">
                  <c:v>24932</c:v>
                </c:pt>
                <c:pt idx="38662">
                  <c:v>24932</c:v>
                </c:pt>
                <c:pt idx="38663">
                  <c:v>24931</c:v>
                </c:pt>
                <c:pt idx="38664">
                  <c:v>24931</c:v>
                </c:pt>
                <c:pt idx="38665">
                  <c:v>24931</c:v>
                </c:pt>
                <c:pt idx="38666">
                  <c:v>24929</c:v>
                </c:pt>
                <c:pt idx="38667">
                  <c:v>24929</c:v>
                </c:pt>
                <c:pt idx="38668">
                  <c:v>24929</c:v>
                </c:pt>
                <c:pt idx="38669">
                  <c:v>24928</c:v>
                </c:pt>
                <c:pt idx="38670">
                  <c:v>24928</c:v>
                </c:pt>
                <c:pt idx="38671">
                  <c:v>24927</c:v>
                </c:pt>
                <c:pt idx="38672">
                  <c:v>24927</c:v>
                </c:pt>
                <c:pt idx="38673">
                  <c:v>24926</c:v>
                </c:pt>
                <c:pt idx="38674">
                  <c:v>24926</c:v>
                </c:pt>
                <c:pt idx="38675">
                  <c:v>24925</c:v>
                </c:pt>
                <c:pt idx="38676">
                  <c:v>24925</c:v>
                </c:pt>
                <c:pt idx="38677">
                  <c:v>24925</c:v>
                </c:pt>
                <c:pt idx="38678">
                  <c:v>24925</c:v>
                </c:pt>
                <c:pt idx="38679">
                  <c:v>24924</c:v>
                </c:pt>
                <c:pt idx="38680">
                  <c:v>24924</c:v>
                </c:pt>
                <c:pt idx="38681">
                  <c:v>24924</c:v>
                </c:pt>
                <c:pt idx="38682">
                  <c:v>24923</c:v>
                </c:pt>
                <c:pt idx="38683">
                  <c:v>24922</c:v>
                </c:pt>
                <c:pt idx="38684">
                  <c:v>24922</c:v>
                </c:pt>
                <c:pt idx="38685">
                  <c:v>24921</c:v>
                </c:pt>
                <c:pt idx="38686">
                  <c:v>24921</c:v>
                </c:pt>
                <c:pt idx="38687">
                  <c:v>24921</c:v>
                </c:pt>
                <c:pt idx="38688">
                  <c:v>24921</c:v>
                </c:pt>
                <c:pt idx="38689">
                  <c:v>24920</c:v>
                </c:pt>
                <c:pt idx="38690">
                  <c:v>24920</c:v>
                </c:pt>
                <c:pt idx="38691">
                  <c:v>24920</c:v>
                </c:pt>
                <c:pt idx="38692">
                  <c:v>24918</c:v>
                </c:pt>
                <c:pt idx="38693">
                  <c:v>24918</c:v>
                </c:pt>
                <c:pt idx="38694">
                  <c:v>24918</c:v>
                </c:pt>
                <c:pt idx="38695">
                  <c:v>24917</c:v>
                </c:pt>
                <c:pt idx="38696">
                  <c:v>24917</c:v>
                </c:pt>
                <c:pt idx="38697">
                  <c:v>24916</c:v>
                </c:pt>
                <c:pt idx="38698">
                  <c:v>24916</c:v>
                </c:pt>
                <c:pt idx="38699">
                  <c:v>24914</c:v>
                </c:pt>
                <c:pt idx="38700">
                  <c:v>24914</c:v>
                </c:pt>
                <c:pt idx="38701">
                  <c:v>24914</c:v>
                </c:pt>
                <c:pt idx="38702">
                  <c:v>24914</c:v>
                </c:pt>
                <c:pt idx="38703">
                  <c:v>24913</c:v>
                </c:pt>
                <c:pt idx="38704">
                  <c:v>24913</c:v>
                </c:pt>
                <c:pt idx="38705">
                  <c:v>24913</c:v>
                </c:pt>
                <c:pt idx="38706">
                  <c:v>24912</c:v>
                </c:pt>
                <c:pt idx="38707">
                  <c:v>24912</c:v>
                </c:pt>
                <c:pt idx="38708">
                  <c:v>24910</c:v>
                </c:pt>
                <c:pt idx="38709">
                  <c:v>24910</c:v>
                </c:pt>
                <c:pt idx="38710">
                  <c:v>24910</c:v>
                </c:pt>
                <c:pt idx="38711">
                  <c:v>24909</c:v>
                </c:pt>
                <c:pt idx="38712">
                  <c:v>24909</c:v>
                </c:pt>
                <c:pt idx="38713">
                  <c:v>24909</c:v>
                </c:pt>
                <c:pt idx="38714">
                  <c:v>24909</c:v>
                </c:pt>
                <c:pt idx="38715">
                  <c:v>24908</c:v>
                </c:pt>
                <c:pt idx="38716">
                  <c:v>24907</c:v>
                </c:pt>
                <c:pt idx="38717">
                  <c:v>24907</c:v>
                </c:pt>
                <c:pt idx="38718">
                  <c:v>24906</c:v>
                </c:pt>
                <c:pt idx="38719">
                  <c:v>24905</c:v>
                </c:pt>
                <c:pt idx="38720">
                  <c:v>24905</c:v>
                </c:pt>
                <c:pt idx="38721">
                  <c:v>24905</c:v>
                </c:pt>
                <c:pt idx="38722">
                  <c:v>24904</c:v>
                </c:pt>
                <c:pt idx="38723">
                  <c:v>24903</c:v>
                </c:pt>
                <c:pt idx="38724">
                  <c:v>24903</c:v>
                </c:pt>
                <c:pt idx="38725">
                  <c:v>24902</c:v>
                </c:pt>
                <c:pt idx="38726">
                  <c:v>24899</c:v>
                </c:pt>
                <c:pt idx="38727">
                  <c:v>24899</c:v>
                </c:pt>
                <c:pt idx="38728">
                  <c:v>24897</c:v>
                </c:pt>
                <c:pt idx="38729">
                  <c:v>24897</c:v>
                </c:pt>
                <c:pt idx="38730">
                  <c:v>24897</c:v>
                </c:pt>
                <c:pt idx="38731">
                  <c:v>24897</c:v>
                </c:pt>
                <c:pt idx="38732">
                  <c:v>24896</c:v>
                </c:pt>
                <c:pt idx="38733">
                  <c:v>24896</c:v>
                </c:pt>
                <c:pt idx="38734">
                  <c:v>24896</c:v>
                </c:pt>
                <c:pt idx="38735">
                  <c:v>24895</c:v>
                </c:pt>
                <c:pt idx="38736">
                  <c:v>24895</c:v>
                </c:pt>
                <c:pt idx="38737">
                  <c:v>24895</c:v>
                </c:pt>
                <c:pt idx="38738">
                  <c:v>24895</c:v>
                </c:pt>
                <c:pt idx="38739">
                  <c:v>24894</c:v>
                </c:pt>
                <c:pt idx="38740">
                  <c:v>24892</c:v>
                </c:pt>
                <c:pt idx="38741">
                  <c:v>24892</c:v>
                </c:pt>
                <c:pt idx="38742">
                  <c:v>24891</c:v>
                </c:pt>
                <c:pt idx="38743">
                  <c:v>24891</c:v>
                </c:pt>
                <c:pt idx="38744">
                  <c:v>24890</c:v>
                </c:pt>
                <c:pt idx="38745">
                  <c:v>24890</c:v>
                </c:pt>
                <c:pt idx="38746">
                  <c:v>24889</c:v>
                </c:pt>
                <c:pt idx="38747">
                  <c:v>24889</c:v>
                </c:pt>
                <c:pt idx="38748">
                  <c:v>24888</c:v>
                </c:pt>
                <c:pt idx="38749">
                  <c:v>24888</c:v>
                </c:pt>
                <c:pt idx="38750">
                  <c:v>24888</c:v>
                </c:pt>
                <c:pt idx="38751">
                  <c:v>24888</c:v>
                </c:pt>
                <c:pt idx="38752">
                  <c:v>24887</c:v>
                </c:pt>
                <c:pt idx="38753">
                  <c:v>24887</c:v>
                </c:pt>
                <c:pt idx="38754">
                  <c:v>24887</c:v>
                </c:pt>
                <c:pt idx="38755">
                  <c:v>24887</c:v>
                </c:pt>
                <c:pt idx="38756">
                  <c:v>24886</c:v>
                </c:pt>
                <c:pt idx="38757">
                  <c:v>24885</c:v>
                </c:pt>
                <c:pt idx="38758">
                  <c:v>24885</c:v>
                </c:pt>
                <c:pt idx="38759">
                  <c:v>24885</c:v>
                </c:pt>
                <c:pt idx="38760">
                  <c:v>24884</c:v>
                </c:pt>
                <c:pt idx="38761">
                  <c:v>24884</c:v>
                </c:pt>
                <c:pt idx="38762">
                  <c:v>24884</c:v>
                </c:pt>
                <c:pt idx="38763">
                  <c:v>24883</c:v>
                </c:pt>
                <c:pt idx="38764">
                  <c:v>24883</c:v>
                </c:pt>
                <c:pt idx="38765">
                  <c:v>24883</c:v>
                </c:pt>
                <c:pt idx="38766">
                  <c:v>24882</c:v>
                </c:pt>
                <c:pt idx="38767">
                  <c:v>24882</c:v>
                </c:pt>
                <c:pt idx="38768">
                  <c:v>24881</c:v>
                </c:pt>
                <c:pt idx="38769">
                  <c:v>24879</c:v>
                </c:pt>
                <c:pt idx="38770">
                  <c:v>24879</c:v>
                </c:pt>
                <c:pt idx="38771">
                  <c:v>24879</c:v>
                </c:pt>
                <c:pt idx="38772">
                  <c:v>24878</c:v>
                </c:pt>
                <c:pt idx="38773">
                  <c:v>24877</c:v>
                </c:pt>
                <c:pt idx="38774">
                  <c:v>24876</c:v>
                </c:pt>
                <c:pt idx="38775">
                  <c:v>24875</c:v>
                </c:pt>
                <c:pt idx="38776">
                  <c:v>24874</c:v>
                </c:pt>
                <c:pt idx="38777">
                  <c:v>24874</c:v>
                </c:pt>
                <c:pt idx="38778">
                  <c:v>24874</c:v>
                </c:pt>
                <c:pt idx="38779">
                  <c:v>24873</c:v>
                </c:pt>
                <c:pt idx="38780">
                  <c:v>24873</c:v>
                </c:pt>
                <c:pt idx="38781">
                  <c:v>24872</c:v>
                </c:pt>
                <c:pt idx="38782">
                  <c:v>24872</c:v>
                </c:pt>
                <c:pt idx="38783">
                  <c:v>24871</c:v>
                </c:pt>
                <c:pt idx="38784">
                  <c:v>24870</c:v>
                </c:pt>
                <c:pt idx="38785">
                  <c:v>24870</c:v>
                </c:pt>
                <c:pt idx="38786">
                  <c:v>24869</c:v>
                </c:pt>
                <c:pt idx="38787">
                  <c:v>24869</c:v>
                </c:pt>
                <c:pt idx="38788">
                  <c:v>24868</c:v>
                </c:pt>
                <c:pt idx="38789">
                  <c:v>24868</c:v>
                </c:pt>
                <c:pt idx="38790">
                  <c:v>24867</c:v>
                </c:pt>
                <c:pt idx="38791">
                  <c:v>24867</c:v>
                </c:pt>
                <c:pt idx="38792">
                  <c:v>24866</c:v>
                </c:pt>
                <c:pt idx="38793">
                  <c:v>24866</c:v>
                </c:pt>
                <c:pt idx="38794">
                  <c:v>24865</c:v>
                </c:pt>
                <c:pt idx="38795">
                  <c:v>24864</c:v>
                </c:pt>
                <c:pt idx="38796">
                  <c:v>24863</c:v>
                </c:pt>
                <c:pt idx="38797">
                  <c:v>24863</c:v>
                </c:pt>
                <c:pt idx="38798">
                  <c:v>24862</c:v>
                </c:pt>
                <c:pt idx="38799">
                  <c:v>24862</c:v>
                </c:pt>
                <c:pt idx="38800">
                  <c:v>24862</c:v>
                </c:pt>
                <c:pt idx="38801">
                  <c:v>24861</c:v>
                </c:pt>
                <c:pt idx="38802">
                  <c:v>24860</c:v>
                </c:pt>
                <c:pt idx="38803">
                  <c:v>24860</c:v>
                </c:pt>
                <c:pt idx="38804">
                  <c:v>24860</c:v>
                </c:pt>
                <c:pt idx="38805">
                  <c:v>24859</c:v>
                </c:pt>
                <c:pt idx="38806">
                  <c:v>24858</c:v>
                </c:pt>
                <c:pt idx="38807">
                  <c:v>24858</c:v>
                </c:pt>
                <c:pt idx="38808">
                  <c:v>24858</c:v>
                </c:pt>
                <c:pt idx="38809">
                  <c:v>24858</c:v>
                </c:pt>
                <c:pt idx="38810">
                  <c:v>24858</c:v>
                </c:pt>
                <c:pt idx="38811">
                  <c:v>24858</c:v>
                </c:pt>
                <c:pt idx="38812">
                  <c:v>24858</c:v>
                </c:pt>
                <c:pt idx="38813">
                  <c:v>24857</c:v>
                </c:pt>
                <c:pt idx="38814">
                  <c:v>24857</c:v>
                </c:pt>
                <c:pt idx="38815">
                  <c:v>24857</c:v>
                </c:pt>
                <c:pt idx="38816">
                  <c:v>24856</c:v>
                </c:pt>
                <c:pt idx="38817">
                  <c:v>24856</c:v>
                </c:pt>
                <c:pt idx="38818">
                  <c:v>24855</c:v>
                </c:pt>
                <c:pt idx="38819">
                  <c:v>24855</c:v>
                </c:pt>
                <c:pt idx="38820">
                  <c:v>24855</c:v>
                </c:pt>
                <c:pt idx="38821">
                  <c:v>24854</c:v>
                </c:pt>
                <c:pt idx="38822">
                  <c:v>24854</c:v>
                </c:pt>
                <c:pt idx="38823">
                  <c:v>24853</c:v>
                </c:pt>
                <c:pt idx="38824">
                  <c:v>24852</c:v>
                </c:pt>
                <c:pt idx="38825">
                  <c:v>24851</c:v>
                </c:pt>
                <c:pt idx="38826">
                  <c:v>24851</c:v>
                </c:pt>
                <c:pt idx="38827">
                  <c:v>24851</c:v>
                </c:pt>
                <c:pt idx="38828">
                  <c:v>24851</c:v>
                </c:pt>
                <c:pt idx="38829">
                  <c:v>24850</c:v>
                </c:pt>
                <c:pt idx="38830">
                  <c:v>24850</c:v>
                </c:pt>
                <c:pt idx="38831">
                  <c:v>24850</c:v>
                </c:pt>
                <c:pt idx="38832">
                  <c:v>24849</c:v>
                </c:pt>
                <c:pt idx="38833">
                  <c:v>24849</c:v>
                </c:pt>
                <c:pt idx="38834">
                  <c:v>24849</c:v>
                </c:pt>
                <c:pt idx="38835">
                  <c:v>24849</c:v>
                </c:pt>
                <c:pt idx="38836">
                  <c:v>24849</c:v>
                </c:pt>
                <c:pt idx="38837">
                  <c:v>24848</c:v>
                </c:pt>
                <c:pt idx="38838">
                  <c:v>24848</c:v>
                </c:pt>
                <c:pt idx="38839">
                  <c:v>24848</c:v>
                </c:pt>
                <c:pt idx="38840">
                  <c:v>24848</c:v>
                </c:pt>
                <c:pt idx="38841">
                  <c:v>24848</c:v>
                </c:pt>
                <c:pt idx="38842">
                  <c:v>24847</c:v>
                </c:pt>
                <c:pt idx="38843">
                  <c:v>24847</c:v>
                </c:pt>
                <c:pt idx="38844">
                  <c:v>24847</c:v>
                </c:pt>
                <c:pt idx="38845">
                  <c:v>24846</c:v>
                </c:pt>
                <c:pt idx="38846">
                  <c:v>24846</c:v>
                </c:pt>
                <c:pt idx="38847">
                  <c:v>24846</c:v>
                </c:pt>
                <c:pt idx="38848">
                  <c:v>24845</c:v>
                </c:pt>
                <c:pt idx="38849">
                  <c:v>24845</c:v>
                </c:pt>
                <c:pt idx="38850">
                  <c:v>24845</c:v>
                </c:pt>
                <c:pt idx="38851">
                  <c:v>24844</c:v>
                </c:pt>
                <c:pt idx="38852">
                  <c:v>24844</c:v>
                </c:pt>
                <c:pt idx="38853">
                  <c:v>24841</c:v>
                </c:pt>
                <c:pt idx="38854">
                  <c:v>24841</c:v>
                </c:pt>
                <c:pt idx="38855">
                  <c:v>24840</c:v>
                </c:pt>
                <c:pt idx="38856">
                  <c:v>24840</c:v>
                </c:pt>
                <c:pt idx="38857">
                  <c:v>24839</c:v>
                </c:pt>
                <c:pt idx="38858">
                  <c:v>24839</c:v>
                </c:pt>
                <c:pt idx="38859">
                  <c:v>24839</c:v>
                </c:pt>
                <c:pt idx="38860">
                  <c:v>24838</c:v>
                </c:pt>
                <c:pt idx="38861">
                  <c:v>24838</c:v>
                </c:pt>
                <c:pt idx="38862">
                  <c:v>24838</c:v>
                </c:pt>
                <c:pt idx="38863">
                  <c:v>24838</c:v>
                </c:pt>
                <c:pt idx="38864">
                  <c:v>24837</c:v>
                </c:pt>
                <c:pt idx="38865">
                  <c:v>24836</c:v>
                </c:pt>
                <c:pt idx="38866">
                  <c:v>24835</c:v>
                </c:pt>
                <c:pt idx="38867">
                  <c:v>24834</c:v>
                </c:pt>
                <c:pt idx="38868">
                  <c:v>24834</c:v>
                </c:pt>
                <c:pt idx="38869">
                  <c:v>24834</c:v>
                </c:pt>
                <c:pt idx="38870">
                  <c:v>24833</c:v>
                </c:pt>
                <c:pt idx="38871">
                  <c:v>24833</c:v>
                </c:pt>
                <c:pt idx="38872">
                  <c:v>24833</c:v>
                </c:pt>
                <c:pt idx="38873">
                  <c:v>24832</c:v>
                </c:pt>
                <c:pt idx="38874">
                  <c:v>24831</c:v>
                </c:pt>
                <c:pt idx="38875">
                  <c:v>24831</c:v>
                </c:pt>
                <c:pt idx="38876">
                  <c:v>24830</c:v>
                </c:pt>
                <c:pt idx="38877">
                  <c:v>24829</c:v>
                </c:pt>
                <c:pt idx="38878">
                  <c:v>24828</c:v>
                </c:pt>
                <c:pt idx="38879">
                  <c:v>24828</c:v>
                </c:pt>
                <c:pt idx="38880">
                  <c:v>24828</c:v>
                </c:pt>
                <c:pt idx="38881">
                  <c:v>24826</c:v>
                </c:pt>
                <c:pt idx="38882">
                  <c:v>24825</c:v>
                </c:pt>
                <c:pt idx="38883">
                  <c:v>24825</c:v>
                </c:pt>
                <c:pt idx="38884">
                  <c:v>24823</c:v>
                </c:pt>
                <c:pt idx="38885">
                  <c:v>24823</c:v>
                </c:pt>
                <c:pt idx="38886">
                  <c:v>24821</c:v>
                </c:pt>
                <c:pt idx="38887">
                  <c:v>24821</c:v>
                </c:pt>
                <c:pt idx="38888">
                  <c:v>24821</c:v>
                </c:pt>
                <c:pt idx="38889">
                  <c:v>24820</c:v>
                </c:pt>
                <c:pt idx="38890">
                  <c:v>24820</c:v>
                </c:pt>
                <c:pt idx="38891">
                  <c:v>24819</c:v>
                </c:pt>
                <c:pt idx="38892">
                  <c:v>24819</c:v>
                </c:pt>
                <c:pt idx="38893">
                  <c:v>24819</c:v>
                </c:pt>
                <c:pt idx="38894">
                  <c:v>24819</c:v>
                </c:pt>
                <c:pt idx="38895">
                  <c:v>24818</c:v>
                </c:pt>
                <c:pt idx="38896">
                  <c:v>24817</c:v>
                </c:pt>
                <c:pt idx="38897">
                  <c:v>24817</c:v>
                </c:pt>
                <c:pt idx="38898">
                  <c:v>24817</c:v>
                </c:pt>
                <c:pt idx="38899">
                  <c:v>24817</c:v>
                </c:pt>
                <c:pt idx="38900">
                  <c:v>24816</c:v>
                </c:pt>
                <c:pt idx="38901">
                  <c:v>24816</c:v>
                </c:pt>
                <c:pt idx="38902">
                  <c:v>24816</c:v>
                </c:pt>
                <c:pt idx="38903">
                  <c:v>24815</c:v>
                </c:pt>
                <c:pt idx="38904">
                  <c:v>24815</c:v>
                </c:pt>
                <c:pt idx="38905">
                  <c:v>24814</c:v>
                </c:pt>
                <c:pt idx="38906">
                  <c:v>24814</c:v>
                </c:pt>
                <c:pt idx="38907">
                  <c:v>24814</c:v>
                </c:pt>
                <c:pt idx="38908">
                  <c:v>24813</c:v>
                </c:pt>
                <c:pt idx="38909">
                  <c:v>24812</c:v>
                </c:pt>
                <c:pt idx="38910">
                  <c:v>24812</c:v>
                </c:pt>
                <c:pt idx="38911">
                  <c:v>24812</c:v>
                </c:pt>
                <c:pt idx="38912">
                  <c:v>24811</c:v>
                </c:pt>
                <c:pt idx="38913">
                  <c:v>24811</c:v>
                </c:pt>
                <c:pt idx="38914">
                  <c:v>24811</c:v>
                </c:pt>
                <c:pt idx="38915">
                  <c:v>24810</c:v>
                </c:pt>
                <c:pt idx="38916">
                  <c:v>24810</c:v>
                </c:pt>
                <c:pt idx="38917">
                  <c:v>24809</c:v>
                </c:pt>
                <c:pt idx="38918">
                  <c:v>24809</c:v>
                </c:pt>
                <c:pt idx="38919">
                  <c:v>24808</c:v>
                </c:pt>
                <c:pt idx="38920">
                  <c:v>24808</c:v>
                </c:pt>
                <c:pt idx="38921">
                  <c:v>24808</c:v>
                </c:pt>
                <c:pt idx="38922">
                  <c:v>24808</c:v>
                </c:pt>
                <c:pt idx="38923">
                  <c:v>24806</c:v>
                </c:pt>
                <c:pt idx="38924">
                  <c:v>24806</c:v>
                </c:pt>
                <c:pt idx="38925">
                  <c:v>24806</c:v>
                </c:pt>
                <c:pt idx="38926">
                  <c:v>24805</c:v>
                </c:pt>
                <c:pt idx="38927">
                  <c:v>24805</c:v>
                </c:pt>
                <c:pt idx="38928">
                  <c:v>24805</c:v>
                </c:pt>
                <c:pt idx="38929">
                  <c:v>24803</c:v>
                </c:pt>
                <c:pt idx="38930">
                  <c:v>24802</c:v>
                </c:pt>
                <c:pt idx="38931">
                  <c:v>24802</c:v>
                </c:pt>
                <c:pt idx="38932">
                  <c:v>24802</c:v>
                </c:pt>
                <c:pt idx="38933">
                  <c:v>24802</c:v>
                </c:pt>
                <c:pt idx="38934">
                  <c:v>24802</c:v>
                </c:pt>
                <c:pt idx="38935">
                  <c:v>24802</c:v>
                </c:pt>
                <c:pt idx="38936">
                  <c:v>24801</c:v>
                </c:pt>
                <c:pt idx="38937">
                  <c:v>24801</c:v>
                </c:pt>
                <c:pt idx="38938">
                  <c:v>24801</c:v>
                </c:pt>
                <c:pt idx="38939">
                  <c:v>24801</c:v>
                </c:pt>
                <c:pt idx="38940">
                  <c:v>24800</c:v>
                </c:pt>
                <c:pt idx="38941">
                  <c:v>24800</c:v>
                </c:pt>
                <c:pt idx="38942">
                  <c:v>24799</c:v>
                </c:pt>
                <c:pt idx="38943">
                  <c:v>24799</c:v>
                </c:pt>
                <c:pt idx="38944">
                  <c:v>24799</c:v>
                </c:pt>
                <c:pt idx="38945">
                  <c:v>24799</c:v>
                </c:pt>
                <c:pt idx="38946">
                  <c:v>24798</c:v>
                </c:pt>
                <c:pt idx="38947">
                  <c:v>24798</c:v>
                </c:pt>
                <c:pt idx="38948">
                  <c:v>24798</c:v>
                </c:pt>
                <c:pt idx="38949">
                  <c:v>24798</c:v>
                </c:pt>
                <c:pt idx="38950">
                  <c:v>24798</c:v>
                </c:pt>
                <c:pt idx="38951">
                  <c:v>24797</c:v>
                </c:pt>
                <c:pt idx="38952">
                  <c:v>24797</c:v>
                </c:pt>
                <c:pt idx="38953">
                  <c:v>24796</c:v>
                </c:pt>
                <c:pt idx="38954">
                  <c:v>24796</c:v>
                </c:pt>
                <c:pt idx="38955">
                  <c:v>24796</c:v>
                </c:pt>
                <c:pt idx="38956">
                  <c:v>24795</c:v>
                </c:pt>
                <c:pt idx="38957">
                  <c:v>24795</c:v>
                </c:pt>
                <c:pt idx="38958">
                  <c:v>24794</c:v>
                </c:pt>
                <c:pt idx="38959">
                  <c:v>24792</c:v>
                </c:pt>
                <c:pt idx="38960">
                  <c:v>24792</c:v>
                </c:pt>
                <c:pt idx="38961">
                  <c:v>24791</c:v>
                </c:pt>
                <c:pt idx="38962">
                  <c:v>24789</c:v>
                </c:pt>
                <c:pt idx="38963">
                  <c:v>24789</c:v>
                </c:pt>
                <c:pt idx="38964">
                  <c:v>24789</c:v>
                </c:pt>
                <c:pt idx="38965">
                  <c:v>24788</c:v>
                </c:pt>
                <c:pt idx="38966">
                  <c:v>24788</c:v>
                </c:pt>
                <c:pt idx="38967">
                  <c:v>24786</c:v>
                </c:pt>
                <c:pt idx="38968">
                  <c:v>24786</c:v>
                </c:pt>
                <c:pt idx="38969">
                  <c:v>24785</c:v>
                </c:pt>
                <c:pt idx="38970">
                  <c:v>24785</c:v>
                </c:pt>
                <c:pt idx="38971">
                  <c:v>24785</c:v>
                </c:pt>
                <c:pt idx="38972">
                  <c:v>24785</c:v>
                </c:pt>
                <c:pt idx="38973">
                  <c:v>24783</c:v>
                </c:pt>
                <c:pt idx="38974">
                  <c:v>24783</c:v>
                </c:pt>
                <c:pt idx="38975">
                  <c:v>24783</c:v>
                </c:pt>
                <c:pt idx="38976">
                  <c:v>24782</c:v>
                </c:pt>
                <c:pt idx="38977">
                  <c:v>24782</c:v>
                </c:pt>
                <c:pt idx="38978">
                  <c:v>24782</c:v>
                </c:pt>
                <c:pt idx="38979">
                  <c:v>24781</c:v>
                </c:pt>
                <c:pt idx="38980">
                  <c:v>24781</c:v>
                </c:pt>
                <c:pt idx="38981">
                  <c:v>24780</c:v>
                </c:pt>
                <c:pt idx="38982">
                  <c:v>24780</c:v>
                </c:pt>
                <c:pt idx="38983">
                  <c:v>24779</c:v>
                </c:pt>
                <c:pt idx="38984">
                  <c:v>24778</c:v>
                </c:pt>
                <c:pt idx="38985">
                  <c:v>24778</c:v>
                </c:pt>
                <c:pt idx="38986">
                  <c:v>24777</c:v>
                </c:pt>
                <c:pt idx="38987">
                  <c:v>24777</c:v>
                </c:pt>
                <c:pt idx="38988">
                  <c:v>24777</c:v>
                </c:pt>
                <c:pt idx="38989">
                  <c:v>24776</c:v>
                </c:pt>
                <c:pt idx="38990">
                  <c:v>24775</c:v>
                </c:pt>
                <c:pt idx="38991">
                  <c:v>24775</c:v>
                </c:pt>
                <c:pt idx="38992">
                  <c:v>24773</c:v>
                </c:pt>
                <c:pt idx="38993">
                  <c:v>24773</c:v>
                </c:pt>
                <c:pt idx="38994">
                  <c:v>24772</c:v>
                </c:pt>
                <c:pt idx="38995">
                  <c:v>24771</c:v>
                </c:pt>
                <c:pt idx="38996">
                  <c:v>24771</c:v>
                </c:pt>
                <c:pt idx="38997">
                  <c:v>24771</c:v>
                </c:pt>
                <c:pt idx="38998">
                  <c:v>24770</c:v>
                </c:pt>
                <c:pt idx="38999">
                  <c:v>24770</c:v>
                </c:pt>
                <c:pt idx="39000">
                  <c:v>24766</c:v>
                </c:pt>
                <c:pt idx="39001">
                  <c:v>24764</c:v>
                </c:pt>
                <c:pt idx="39002">
                  <c:v>24764</c:v>
                </c:pt>
                <c:pt idx="39003">
                  <c:v>24764</c:v>
                </c:pt>
                <c:pt idx="39004">
                  <c:v>24763</c:v>
                </c:pt>
                <c:pt idx="39005">
                  <c:v>24763</c:v>
                </c:pt>
                <c:pt idx="39006">
                  <c:v>24763</c:v>
                </c:pt>
                <c:pt idx="39007">
                  <c:v>24762</c:v>
                </c:pt>
                <c:pt idx="39008">
                  <c:v>24761</c:v>
                </c:pt>
                <c:pt idx="39009">
                  <c:v>24760</c:v>
                </c:pt>
                <c:pt idx="39010">
                  <c:v>24759</c:v>
                </c:pt>
                <c:pt idx="39011">
                  <c:v>24759</c:v>
                </c:pt>
                <c:pt idx="39012">
                  <c:v>24759</c:v>
                </c:pt>
                <c:pt idx="39013">
                  <c:v>24758</c:v>
                </c:pt>
                <c:pt idx="39014">
                  <c:v>24756</c:v>
                </c:pt>
                <c:pt idx="39015">
                  <c:v>24756</c:v>
                </c:pt>
                <c:pt idx="39016">
                  <c:v>24755</c:v>
                </c:pt>
                <c:pt idx="39017">
                  <c:v>24755</c:v>
                </c:pt>
                <c:pt idx="39018">
                  <c:v>24755</c:v>
                </c:pt>
                <c:pt idx="39019">
                  <c:v>24754</c:v>
                </c:pt>
                <c:pt idx="39020">
                  <c:v>24753</c:v>
                </c:pt>
                <c:pt idx="39021">
                  <c:v>24753</c:v>
                </c:pt>
                <c:pt idx="39022">
                  <c:v>24753</c:v>
                </c:pt>
                <c:pt idx="39023">
                  <c:v>24752</c:v>
                </c:pt>
                <c:pt idx="39024">
                  <c:v>24749</c:v>
                </c:pt>
                <c:pt idx="39025">
                  <c:v>24749</c:v>
                </c:pt>
                <c:pt idx="39026">
                  <c:v>24748</c:v>
                </c:pt>
                <c:pt idx="39027">
                  <c:v>24748</c:v>
                </c:pt>
                <c:pt idx="39028">
                  <c:v>24747</c:v>
                </c:pt>
                <c:pt idx="39029">
                  <c:v>24747</c:v>
                </c:pt>
                <c:pt idx="39030">
                  <c:v>24746</c:v>
                </c:pt>
                <c:pt idx="39031">
                  <c:v>24745</c:v>
                </c:pt>
                <c:pt idx="39032">
                  <c:v>24745</c:v>
                </c:pt>
                <c:pt idx="39033">
                  <c:v>24745</c:v>
                </c:pt>
                <c:pt idx="39034">
                  <c:v>24745</c:v>
                </c:pt>
                <c:pt idx="39035">
                  <c:v>24744</c:v>
                </c:pt>
                <c:pt idx="39036">
                  <c:v>24744</c:v>
                </c:pt>
                <c:pt idx="39037">
                  <c:v>24744</c:v>
                </c:pt>
                <c:pt idx="39038">
                  <c:v>24744</c:v>
                </c:pt>
                <c:pt idx="39039">
                  <c:v>24743</c:v>
                </c:pt>
                <c:pt idx="39040">
                  <c:v>24743</c:v>
                </c:pt>
                <c:pt idx="39041">
                  <c:v>24741</c:v>
                </c:pt>
                <c:pt idx="39042">
                  <c:v>24741</c:v>
                </c:pt>
                <c:pt idx="39043">
                  <c:v>24741</c:v>
                </c:pt>
                <c:pt idx="39044">
                  <c:v>24741</c:v>
                </c:pt>
                <c:pt idx="39045">
                  <c:v>24741</c:v>
                </c:pt>
                <c:pt idx="39046">
                  <c:v>24740</c:v>
                </c:pt>
                <c:pt idx="39047">
                  <c:v>24740</c:v>
                </c:pt>
                <c:pt idx="39048">
                  <c:v>24739</c:v>
                </c:pt>
                <c:pt idx="39049">
                  <c:v>24739</c:v>
                </c:pt>
                <c:pt idx="39050">
                  <c:v>24738</c:v>
                </c:pt>
                <c:pt idx="39051">
                  <c:v>24738</c:v>
                </c:pt>
                <c:pt idx="39052">
                  <c:v>24737</c:v>
                </c:pt>
                <c:pt idx="39053">
                  <c:v>24737</c:v>
                </c:pt>
                <c:pt idx="39054">
                  <c:v>24737</c:v>
                </c:pt>
                <c:pt idx="39055">
                  <c:v>24736</c:v>
                </c:pt>
                <c:pt idx="39056">
                  <c:v>24736</c:v>
                </c:pt>
                <c:pt idx="39057">
                  <c:v>24735</c:v>
                </c:pt>
                <c:pt idx="39058">
                  <c:v>24735</c:v>
                </c:pt>
                <c:pt idx="39059">
                  <c:v>24734</c:v>
                </c:pt>
                <c:pt idx="39060">
                  <c:v>24733</c:v>
                </c:pt>
                <c:pt idx="39061">
                  <c:v>24733</c:v>
                </c:pt>
                <c:pt idx="39062">
                  <c:v>24732</c:v>
                </c:pt>
                <c:pt idx="39063">
                  <c:v>24732</c:v>
                </c:pt>
                <c:pt idx="39064">
                  <c:v>24732</c:v>
                </c:pt>
                <c:pt idx="39065">
                  <c:v>24731</c:v>
                </c:pt>
                <c:pt idx="39066">
                  <c:v>24731</c:v>
                </c:pt>
                <c:pt idx="39067">
                  <c:v>24731</c:v>
                </c:pt>
                <c:pt idx="39068">
                  <c:v>24731</c:v>
                </c:pt>
                <c:pt idx="39069">
                  <c:v>24730</c:v>
                </c:pt>
                <c:pt idx="39070">
                  <c:v>24729</c:v>
                </c:pt>
                <c:pt idx="39071">
                  <c:v>24729</c:v>
                </c:pt>
                <c:pt idx="39072">
                  <c:v>24729</c:v>
                </c:pt>
                <c:pt idx="39073">
                  <c:v>24729</c:v>
                </c:pt>
                <c:pt idx="39074">
                  <c:v>24728</c:v>
                </c:pt>
                <c:pt idx="39075">
                  <c:v>24728</c:v>
                </c:pt>
                <c:pt idx="39076">
                  <c:v>24726</c:v>
                </c:pt>
                <c:pt idx="39077">
                  <c:v>24725</c:v>
                </c:pt>
                <c:pt idx="39078">
                  <c:v>24725</c:v>
                </c:pt>
                <c:pt idx="39079">
                  <c:v>24725</c:v>
                </c:pt>
                <c:pt idx="39080">
                  <c:v>24724</c:v>
                </c:pt>
                <c:pt idx="39081">
                  <c:v>24723</c:v>
                </c:pt>
                <c:pt idx="39082">
                  <c:v>24723</c:v>
                </c:pt>
                <c:pt idx="39083">
                  <c:v>24723</c:v>
                </c:pt>
                <c:pt idx="39084">
                  <c:v>24723</c:v>
                </c:pt>
                <c:pt idx="39085">
                  <c:v>24722</c:v>
                </c:pt>
                <c:pt idx="39086">
                  <c:v>24722</c:v>
                </c:pt>
                <c:pt idx="39087">
                  <c:v>24721</c:v>
                </c:pt>
                <c:pt idx="39088">
                  <c:v>24721</c:v>
                </c:pt>
                <c:pt idx="39089">
                  <c:v>24720</c:v>
                </c:pt>
                <c:pt idx="39090">
                  <c:v>24720</c:v>
                </c:pt>
                <c:pt idx="39091">
                  <c:v>24719</c:v>
                </c:pt>
                <c:pt idx="39092">
                  <c:v>24719</c:v>
                </c:pt>
                <c:pt idx="39093">
                  <c:v>24719</c:v>
                </c:pt>
                <c:pt idx="39094">
                  <c:v>24719</c:v>
                </c:pt>
                <c:pt idx="39095">
                  <c:v>24719</c:v>
                </c:pt>
                <c:pt idx="39096">
                  <c:v>24718</c:v>
                </c:pt>
                <c:pt idx="39097">
                  <c:v>24716</c:v>
                </c:pt>
                <c:pt idx="39098">
                  <c:v>24716</c:v>
                </c:pt>
                <c:pt idx="39099">
                  <c:v>24716</c:v>
                </c:pt>
                <c:pt idx="39100">
                  <c:v>24716</c:v>
                </c:pt>
                <c:pt idx="39101">
                  <c:v>24716</c:v>
                </c:pt>
                <c:pt idx="39102">
                  <c:v>24713</c:v>
                </c:pt>
                <c:pt idx="39103">
                  <c:v>24713</c:v>
                </c:pt>
                <c:pt idx="39104">
                  <c:v>24713</c:v>
                </c:pt>
                <c:pt idx="39105">
                  <c:v>24712</c:v>
                </c:pt>
                <c:pt idx="39106">
                  <c:v>24711</c:v>
                </c:pt>
                <c:pt idx="39107">
                  <c:v>24710</c:v>
                </c:pt>
                <c:pt idx="39108">
                  <c:v>24710</c:v>
                </c:pt>
                <c:pt idx="39109">
                  <c:v>24710</c:v>
                </c:pt>
                <c:pt idx="39110">
                  <c:v>24709</c:v>
                </c:pt>
                <c:pt idx="39111">
                  <c:v>24709</c:v>
                </c:pt>
                <c:pt idx="39112">
                  <c:v>24708</c:v>
                </c:pt>
                <c:pt idx="39113">
                  <c:v>24707</c:v>
                </c:pt>
                <c:pt idx="39114">
                  <c:v>24707</c:v>
                </c:pt>
                <c:pt idx="39115">
                  <c:v>24707</c:v>
                </c:pt>
                <c:pt idx="39116">
                  <c:v>24706</c:v>
                </c:pt>
                <c:pt idx="39117">
                  <c:v>24705</c:v>
                </c:pt>
                <c:pt idx="39118">
                  <c:v>24705</c:v>
                </c:pt>
                <c:pt idx="39119">
                  <c:v>24704</c:v>
                </c:pt>
                <c:pt idx="39120">
                  <c:v>24704</c:v>
                </c:pt>
                <c:pt idx="39121">
                  <c:v>24703</c:v>
                </c:pt>
                <c:pt idx="39122">
                  <c:v>24703</c:v>
                </c:pt>
                <c:pt idx="39123">
                  <c:v>24702</c:v>
                </c:pt>
                <c:pt idx="39124">
                  <c:v>24701</c:v>
                </c:pt>
                <c:pt idx="39125">
                  <c:v>24701</c:v>
                </c:pt>
                <c:pt idx="39126">
                  <c:v>24700</c:v>
                </c:pt>
                <c:pt idx="39127">
                  <c:v>24700</c:v>
                </c:pt>
                <c:pt idx="39128">
                  <c:v>24699</c:v>
                </c:pt>
                <c:pt idx="39129">
                  <c:v>24699</c:v>
                </c:pt>
                <c:pt idx="39130">
                  <c:v>24698</c:v>
                </c:pt>
                <c:pt idx="39131">
                  <c:v>24698</c:v>
                </c:pt>
                <c:pt idx="39132">
                  <c:v>24698</c:v>
                </c:pt>
                <c:pt idx="39133">
                  <c:v>24697</c:v>
                </c:pt>
                <c:pt idx="39134">
                  <c:v>24697</c:v>
                </c:pt>
                <c:pt idx="39135">
                  <c:v>24696</c:v>
                </c:pt>
                <c:pt idx="39136">
                  <c:v>24696</c:v>
                </c:pt>
                <c:pt idx="39137">
                  <c:v>24696</c:v>
                </c:pt>
                <c:pt idx="39138">
                  <c:v>24696</c:v>
                </c:pt>
                <c:pt idx="39139">
                  <c:v>24695</c:v>
                </c:pt>
                <c:pt idx="39140">
                  <c:v>24695</c:v>
                </c:pt>
                <c:pt idx="39141">
                  <c:v>24695</c:v>
                </c:pt>
                <c:pt idx="39142">
                  <c:v>24694</c:v>
                </c:pt>
                <c:pt idx="39143">
                  <c:v>24693</c:v>
                </c:pt>
                <c:pt idx="39144">
                  <c:v>24693</c:v>
                </c:pt>
                <c:pt idx="39145">
                  <c:v>24693</c:v>
                </c:pt>
                <c:pt idx="39146">
                  <c:v>24693</c:v>
                </c:pt>
                <c:pt idx="39147">
                  <c:v>24692</c:v>
                </c:pt>
                <c:pt idx="39148">
                  <c:v>24692</c:v>
                </c:pt>
                <c:pt idx="39149">
                  <c:v>24692</c:v>
                </c:pt>
                <c:pt idx="39150">
                  <c:v>24692</c:v>
                </c:pt>
                <c:pt idx="39151">
                  <c:v>24690</c:v>
                </c:pt>
                <c:pt idx="39152">
                  <c:v>24690</c:v>
                </c:pt>
                <c:pt idx="39153">
                  <c:v>24690</c:v>
                </c:pt>
                <c:pt idx="39154">
                  <c:v>24688</c:v>
                </c:pt>
                <c:pt idx="39155">
                  <c:v>24688</c:v>
                </c:pt>
                <c:pt idx="39156">
                  <c:v>24688</c:v>
                </c:pt>
                <c:pt idx="39157">
                  <c:v>24688</c:v>
                </c:pt>
                <c:pt idx="39158">
                  <c:v>24686</c:v>
                </c:pt>
                <c:pt idx="39159">
                  <c:v>24685</c:v>
                </c:pt>
                <c:pt idx="39160">
                  <c:v>24684</c:v>
                </c:pt>
                <c:pt idx="39161">
                  <c:v>24684</c:v>
                </c:pt>
                <c:pt idx="39162">
                  <c:v>24684</c:v>
                </c:pt>
                <c:pt idx="39163">
                  <c:v>24683</c:v>
                </c:pt>
                <c:pt idx="39164">
                  <c:v>24683</c:v>
                </c:pt>
                <c:pt idx="39165">
                  <c:v>24682</c:v>
                </c:pt>
                <c:pt idx="39166">
                  <c:v>24682</c:v>
                </c:pt>
                <c:pt idx="39167">
                  <c:v>24681</c:v>
                </c:pt>
                <c:pt idx="39168">
                  <c:v>24680</c:v>
                </c:pt>
                <c:pt idx="39169">
                  <c:v>24679</c:v>
                </c:pt>
                <c:pt idx="39170">
                  <c:v>24679</c:v>
                </c:pt>
                <c:pt idx="39171">
                  <c:v>24678</c:v>
                </c:pt>
                <c:pt idx="39172">
                  <c:v>24678</c:v>
                </c:pt>
                <c:pt idx="39173">
                  <c:v>24677</c:v>
                </c:pt>
                <c:pt idx="39174">
                  <c:v>24676</c:v>
                </c:pt>
                <c:pt idx="39175">
                  <c:v>24676</c:v>
                </c:pt>
                <c:pt idx="39176">
                  <c:v>24676</c:v>
                </c:pt>
                <c:pt idx="39177">
                  <c:v>24675</c:v>
                </c:pt>
                <c:pt idx="39178">
                  <c:v>24675</c:v>
                </c:pt>
                <c:pt idx="39179">
                  <c:v>24675</c:v>
                </c:pt>
                <c:pt idx="39180">
                  <c:v>24674</c:v>
                </c:pt>
                <c:pt idx="39181">
                  <c:v>24674</c:v>
                </c:pt>
                <c:pt idx="39182">
                  <c:v>24673</c:v>
                </c:pt>
                <c:pt idx="39183">
                  <c:v>24672</c:v>
                </c:pt>
                <c:pt idx="39184">
                  <c:v>24672</c:v>
                </c:pt>
                <c:pt idx="39185">
                  <c:v>24671</c:v>
                </c:pt>
                <c:pt idx="39186">
                  <c:v>24671</c:v>
                </c:pt>
                <c:pt idx="39187">
                  <c:v>24670</c:v>
                </c:pt>
                <c:pt idx="39188">
                  <c:v>24670</c:v>
                </c:pt>
                <c:pt idx="39189">
                  <c:v>24668</c:v>
                </c:pt>
                <c:pt idx="39190">
                  <c:v>24668</c:v>
                </c:pt>
                <c:pt idx="39191">
                  <c:v>24667</c:v>
                </c:pt>
                <c:pt idx="39192">
                  <c:v>24667</c:v>
                </c:pt>
                <c:pt idx="39193">
                  <c:v>24666</c:v>
                </c:pt>
                <c:pt idx="39194">
                  <c:v>24666</c:v>
                </c:pt>
                <c:pt idx="39195">
                  <c:v>24665</c:v>
                </c:pt>
                <c:pt idx="39196">
                  <c:v>24665</c:v>
                </c:pt>
                <c:pt idx="39197">
                  <c:v>24665</c:v>
                </c:pt>
                <c:pt idx="39198">
                  <c:v>24664</c:v>
                </c:pt>
                <c:pt idx="39199">
                  <c:v>24663</c:v>
                </c:pt>
                <c:pt idx="39200">
                  <c:v>24662</c:v>
                </c:pt>
                <c:pt idx="39201">
                  <c:v>24662</c:v>
                </c:pt>
                <c:pt idx="39202">
                  <c:v>24662</c:v>
                </c:pt>
                <c:pt idx="39203">
                  <c:v>24661</c:v>
                </c:pt>
                <c:pt idx="39204">
                  <c:v>24661</c:v>
                </c:pt>
                <c:pt idx="39205">
                  <c:v>24661</c:v>
                </c:pt>
                <c:pt idx="39206">
                  <c:v>24660</c:v>
                </c:pt>
                <c:pt idx="39207">
                  <c:v>24660</c:v>
                </c:pt>
                <c:pt idx="39208">
                  <c:v>24659</c:v>
                </c:pt>
                <c:pt idx="39209">
                  <c:v>24659</c:v>
                </c:pt>
                <c:pt idx="39210">
                  <c:v>24658</c:v>
                </c:pt>
                <c:pt idx="39211">
                  <c:v>24657</c:v>
                </c:pt>
                <c:pt idx="39212">
                  <c:v>24657</c:v>
                </c:pt>
                <c:pt idx="39213">
                  <c:v>24656</c:v>
                </c:pt>
                <c:pt idx="39214">
                  <c:v>24655</c:v>
                </c:pt>
                <c:pt idx="39215">
                  <c:v>24654</c:v>
                </c:pt>
                <c:pt idx="39216">
                  <c:v>24654</c:v>
                </c:pt>
                <c:pt idx="39217">
                  <c:v>24653</c:v>
                </c:pt>
                <c:pt idx="39218">
                  <c:v>24653</c:v>
                </c:pt>
                <c:pt idx="39219">
                  <c:v>24652</c:v>
                </c:pt>
                <c:pt idx="39220">
                  <c:v>24652</c:v>
                </c:pt>
                <c:pt idx="39221">
                  <c:v>24652</c:v>
                </c:pt>
                <c:pt idx="39222">
                  <c:v>24652</c:v>
                </c:pt>
                <c:pt idx="39223">
                  <c:v>24651</c:v>
                </c:pt>
                <c:pt idx="39224">
                  <c:v>24651</c:v>
                </c:pt>
                <c:pt idx="39225">
                  <c:v>24651</c:v>
                </c:pt>
                <c:pt idx="39226">
                  <c:v>24651</c:v>
                </c:pt>
                <c:pt idx="39227">
                  <c:v>24651</c:v>
                </c:pt>
                <c:pt idx="39228">
                  <c:v>24650</c:v>
                </c:pt>
                <c:pt idx="39229">
                  <c:v>24650</c:v>
                </c:pt>
                <c:pt idx="39230">
                  <c:v>24649</c:v>
                </c:pt>
                <c:pt idx="39231">
                  <c:v>24648</c:v>
                </c:pt>
                <c:pt idx="39232">
                  <c:v>24647</c:v>
                </c:pt>
                <c:pt idx="39233">
                  <c:v>24646</c:v>
                </c:pt>
                <c:pt idx="39234">
                  <c:v>24645</c:v>
                </c:pt>
                <c:pt idx="39235">
                  <c:v>24644</c:v>
                </c:pt>
                <c:pt idx="39236">
                  <c:v>24643</c:v>
                </c:pt>
                <c:pt idx="39237">
                  <c:v>24643</c:v>
                </c:pt>
                <c:pt idx="39238">
                  <c:v>24641</c:v>
                </c:pt>
                <c:pt idx="39239">
                  <c:v>24641</c:v>
                </c:pt>
                <c:pt idx="39240">
                  <c:v>24641</c:v>
                </c:pt>
                <c:pt idx="39241">
                  <c:v>24640</c:v>
                </c:pt>
                <c:pt idx="39242">
                  <c:v>24640</c:v>
                </c:pt>
                <c:pt idx="39243">
                  <c:v>24639</c:v>
                </c:pt>
                <c:pt idx="39244">
                  <c:v>24638</c:v>
                </c:pt>
                <c:pt idx="39245">
                  <c:v>24638</c:v>
                </c:pt>
                <c:pt idx="39246">
                  <c:v>24638</c:v>
                </c:pt>
                <c:pt idx="39247">
                  <c:v>24637</c:v>
                </c:pt>
                <c:pt idx="39248">
                  <c:v>24637</c:v>
                </c:pt>
                <c:pt idx="39249">
                  <c:v>24637</c:v>
                </c:pt>
                <c:pt idx="39250">
                  <c:v>24636</c:v>
                </c:pt>
                <c:pt idx="39251">
                  <c:v>24635</c:v>
                </c:pt>
                <c:pt idx="39252">
                  <c:v>24635</c:v>
                </c:pt>
                <c:pt idx="39253">
                  <c:v>24634</c:v>
                </c:pt>
                <c:pt idx="39254">
                  <c:v>24634</c:v>
                </c:pt>
                <c:pt idx="39255">
                  <c:v>24634</c:v>
                </c:pt>
                <c:pt idx="39256">
                  <c:v>24634</c:v>
                </c:pt>
                <c:pt idx="39257">
                  <c:v>24633</c:v>
                </c:pt>
                <c:pt idx="39258">
                  <c:v>24633</c:v>
                </c:pt>
                <c:pt idx="39259">
                  <c:v>24632</c:v>
                </c:pt>
                <c:pt idx="39260">
                  <c:v>24632</c:v>
                </c:pt>
                <c:pt idx="39261">
                  <c:v>24630</c:v>
                </c:pt>
                <c:pt idx="39262">
                  <c:v>24630</c:v>
                </c:pt>
                <c:pt idx="39263">
                  <c:v>24629</c:v>
                </c:pt>
                <c:pt idx="39264">
                  <c:v>24629</c:v>
                </c:pt>
                <c:pt idx="39265">
                  <c:v>24629</c:v>
                </c:pt>
                <c:pt idx="39266">
                  <c:v>24629</c:v>
                </c:pt>
                <c:pt idx="39267">
                  <c:v>24628</c:v>
                </c:pt>
                <c:pt idx="39268">
                  <c:v>24627</c:v>
                </c:pt>
                <c:pt idx="39269">
                  <c:v>24627</c:v>
                </c:pt>
                <c:pt idx="39270">
                  <c:v>24626</c:v>
                </c:pt>
                <c:pt idx="39271">
                  <c:v>24626</c:v>
                </c:pt>
                <c:pt idx="39272">
                  <c:v>24626</c:v>
                </c:pt>
                <c:pt idx="39273">
                  <c:v>24626</c:v>
                </c:pt>
                <c:pt idx="39274">
                  <c:v>24625</c:v>
                </c:pt>
                <c:pt idx="39275">
                  <c:v>24625</c:v>
                </c:pt>
                <c:pt idx="39276">
                  <c:v>24625</c:v>
                </c:pt>
                <c:pt idx="39277">
                  <c:v>24624</c:v>
                </c:pt>
                <c:pt idx="39278">
                  <c:v>24623</c:v>
                </c:pt>
                <c:pt idx="39279">
                  <c:v>24623</c:v>
                </c:pt>
                <c:pt idx="39280">
                  <c:v>24623</c:v>
                </c:pt>
                <c:pt idx="39281">
                  <c:v>24623</c:v>
                </c:pt>
                <c:pt idx="39282">
                  <c:v>24623</c:v>
                </c:pt>
                <c:pt idx="39283">
                  <c:v>24622</c:v>
                </c:pt>
                <c:pt idx="39284">
                  <c:v>24622</c:v>
                </c:pt>
                <c:pt idx="39285">
                  <c:v>24622</c:v>
                </c:pt>
                <c:pt idx="39286">
                  <c:v>24621</c:v>
                </c:pt>
                <c:pt idx="39287">
                  <c:v>24621</c:v>
                </c:pt>
                <c:pt idx="39288">
                  <c:v>24620</c:v>
                </c:pt>
                <c:pt idx="39289">
                  <c:v>24620</c:v>
                </c:pt>
                <c:pt idx="39290">
                  <c:v>24620</c:v>
                </c:pt>
                <c:pt idx="39291">
                  <c:v>24620</c:v>
                </c:pt>
                <c:pt idx="39292">
                  <c:v>24620</c:v>
                </c:pt>
                <c:pt idx="39293">
                  <c:v>24619</c:v>
                </c:pt>
                <c:pt idx="39294">
                  <c:v>24619</c:v>
                </c:pt>
                <c:pt idx="39295">
                  <c:v>24618</c:v>
                </c:pt>
                <c:pt idx="39296">
                  <c:v>24618</c:v>
                </c:pt>
                <c:pt idx="39297">
                  <c:v>24618</c:v>
                </c:pt>
                <c:pt idx="39298">
                  <c:v>24617</c:v>
                </c:pt>
                <c:pt idx="39299">
                  <c:v>24616</c:v>
                </c:pt>
                <c:pt idx="39300">
                  <c:v>24616</c:v>
                </c:pt>
                <c:pt idx="39301">
                  <c:v>24616</c:v>
                </c:pt>
                <c:pt idx="39302">
                  <c:v>24615</c:v>
                </c:pt>
                <c:pt idx="39303">
                  <c:v>24615</c:v>
                </c:pt>
                <c:pt idx="39304">
                  <c:v>24614</c:v>
                </c:pt>
                <c:pt idx="39305">
                  <c:v>24614</c:v>
                </c:pt>
                <c:pt idx="39306">
                  <c:v>24614</c:v>
                </c:pt>
                <c:pt idx="39307">
                  <c:v>24614</c:v>
                </c:pt>
                <c:pt idx="39308">
                  <c:v>24614</c:v>
                </c:pt>
                <c:pt idx="39309">
                  <c:v>24613</c:v>
                </c:pt>
                <c:pt idx="39310">
                  <c:v>24612</c:v>
                </c:pt>
                <c:pt idx="39311">
                  <c:v>24611</c:v>
                </c:pt>
                <c:pt idx="39312">
                  <c:v>24611</c:v>
                </c:pt>
                <c:pt idx="39313">
                  <c:v>24611</c:v>
                </c:pt>
                <c:pt idx="39314">
                  <c:v>24610</c:v>
                </c:pt>
                <c:pt idx="39315">
                  <c:v>24610</c:v>
                </c:pt>
                <c:pt idx="39316">
                  <c:v>24609</c:v>
                </c:pt>
                <c:pt idx="39317">
                  <c:v>24609</c:v>
                </c:pt>
                <c:pt idx="39318">
                  <c:v>24609</c:v>
                </c:pt>
                <c:pt idx="39319">
                  <c:v>24608</c:v>
                </c:pt>
                <c:pt idx="39320">
                  <c:v>24606</c:v>
                </c:pt>
                <c:pt idx="39321">
                  <c:v>24606</c:v>
                </c:pt>
                <c:pt idx="39322">
                  <c:v>24604</c:v>
                </c:pt>
                <c:pt idx="39323">
                  <c:v>24604</c:v>
                </c:pt>
                <c:pt idx="39324">
                  <c:v>24604</c:v>
                </c:pt>
                <c:pt idx="39325">
                  <c:v>24603</c:v>
                </c:pt>
                <c:pt idx="39326">
                  <c:v>24602</c:v>
                </c:pt>
                <c:pt idx="39327">
                  <c:v>24602</c:v>
                </c:pt>
                <c:pt idx="39328">
                  <c:v>24601</c:v>
                </c:pt>
                <c:pt idx="39329">
                  <c:v>24601</c:v>
                </c:pt>
                <c:pt idx="39330">
                  <c:v>24601</c:v>
                </c:pt>
                <c:pt idx="39331">
                  <c:v>24601</c:v>
                </c:pt>
                <c:pt idx="39332">
                  <c:v>24601</c:v>
                </c:pt>
                <c:pt idx="39333">
                  <c:v>24600</c:v>
                </c:pt>
                <c:pt idx="39334">
                  <c:v>24599</c:v>
                </c:pt>
                <c:pt idx="39335">
                  <c:v>24598</c:v>
                </c:pt>
                <c:pt idx="39336">
                  <c:v>24597</c:v>
                </c:pt>
                <c:pt idx="39337">
                  <c:v>24597</c:v>
                </c:pt>
                <c:pt idx="39338">
                  <c:v>24597</c:v>
                </c:pt>
                <c:pt idx="39339">
                  <c:v>24597</c:v>
                </c:pt>
                <c:pt idx="39340">
                  <c:v>24596</c:v>
                </c:pt>
                <c:pt idx="39341">
                  <c:v>24596</c:v>
                </c:pt>
                <c:pt idx="39342">
                  <c:v>24596</c:v>
                </c:pt>
                <c:pt idx="39343">
                  <c:v>24595</c:v>
                </c:pt>
                <c:pt idx="39344">
                  <c:v>24595</c:v>
                </c:pt>
                <c:pt idx="39345">
                  <c:v>24595</c:v>
                </c:pt>
                <c:pt idx="39346">
                  <c:v>24595</c:v>
                </c:pt>
                <c:pt idx="39347">
                  <c:v>24595</c:v>
                </c:pt>
                <c:pt idx="39348">
                  <c:v>24595</c:v>
                </c:pt>
                <c:pt idx="39349">
                  <c:v>24595</c:v>
                </c:pt>
                <c:pt idx="39350">
                  <c:v>24595</c:v>
                </c:pt>
                <c:pt idx="39351">
                  <c:v>24595</c:v>
                </c:pt>
                <c:pt idx="39352">
                  <c:v>24595</c:v>
                </c:pt>
                <c:pt idx="39353">
                  <c:v>24594</c:v>
                </c:pt>
                <c:pt idx="39354">
                  <c:v>24594</c:v>
                </c:pt>
                <c:pt idx="39355">
                  <c:v>24593</c:v>
                </c:pt>
                <c:pt idx="39356">
                  <c:v>24593</c:v>
                </c:pt>
                <c:pt idx="39357">
                  <c:v>24593</c:v>
                </c:pt>
                <c:pt idx="39358">
                  <c:v>24592</c:v>
                </c:pt>
                <c:pt idx="39359">
                  <c:v>24592</c:v>
                </c:pt>
                <c:pt idx="39360">
                  <c:v>24592</c:v>
                </c:pt>
                <c:pt idx="39361">
                  <c:v>24592</c:v>
                </c:pt>
                <c:pt idx="39362">
                  <c:v>24592</c:v>
                </c:pt>
                <c:pt idx="39363">
                  <c:v>24591</c:v>
                </c:pt>
                <c:pt idx="39364">
                  <c:v>24590</c:v>
                </c:pt>
                <c:pt idx="39365">
                  <c:v>24590</c:v>
                </c:pt>
                <c:pt idx="39366">
                  <c:v>24590</c:v>
                </c:pt>
                <c:pt idx="39367">
                  <c:v>24590</c:v>
                </c:pt>
                <c:pt idx="39368">
                  <c:v>24589</c:v>
                </c:pt>
                <c:pt idx="39369">
                  <c:v>24589</c:v>
                </c:pt>
                <c:pt idx="39370">
                  <c:v>24589</c:v>
                </c:pt>
                <c:pt idx="39371">
                  <c:v>24589</c:v>
                </c:pt>
                <c:pt idx="39372">
                  <c:v>24585</c:v>
                </c:pt>
                <c:pt idx="39373">
                  <c:v>24584</c:v>
                </c:pt>
                <c:pt idx="39374">
                  <c:v>24584</c:v>
                </c:pt>
                <c:pt idx="39375">
                  <c:v>24584</c:v>
                </c:pt>
                <c:pt idx="39376">
                  <c:v>24583</c:v>
                </c:pt>
                <c:pt idx="39377">
                  <c:v>24583</c:v>
                </c:pt>
                <c:pt idx="39378">
                  <c:v>24583</c:v>
                </c:pt>
                <c:pt idx="39379">
                  <c:v>24582</c:v>
                </c:pt>
                <c:pt idx="39380">
                  <c:v>24582</c:v>
                </c:pt>
                <c:pt idx="39381">
                  <c:v>24581</c:v>
                </c:pt>
                <c:pt idx="39382">
                  <c:v>24581</c:v>
                </c:pt>
                <c:pt idx="39383">
                  <c:v>24581</c:v>
                </c:pt>
                <c:pt idx="39384">
                  <c:v>24581</c:v>
                </c:pt>
                <c:pt idx="39385">
                  <c:v>24581</c:v>
                </c:pt>
                <c:pt idx="39386">
                  <c:v>24581</c:v>
                </c:pt>
                <c:pt idx="39387">
                  <c:v>24581</c:v>
                </c:pt>
                <c:pt idx="39388">
                  <c:v>24580</c:v>
                </c:pt>
                <c:pt idx="39389">
                  <c:v>24580</c:v>
                </c:pt>
                <c:pt idx="39390">
                  <c:v>24580</c:v>
                </c:pt>
                <c:pt idx="39391">
                  <c:v>24578</c:v>
                </c:pt>
                <c:pt idx="39392">
                  <c:v>24578</c:v>
                </c:pt>
                <c:pt idx="39393">
                  <c:v>24578</c:v>
                </c:pt>
                <c:pt idx="39394">
                  <c:v>24578</c:v>
                </c:pt>
                <c:pt idx="39395">
                  <c:v>24578</c:v>
                </c:pt>
                <c:pt idx="39396">
                  <c:v>24577</c:v>
                </c:pt>
                <c:pt idx="39397">
                  <c:v>24577</c:v>
                </c:pt>
                <c:pt idx="39398">
                  <c:v>24577</c:v>
                </c:pt>
                <c:pt idx="39399">
                  <c:v>24576</c:v>
                </c:pt>
                <c:pt idx="39400">
                  <c:v>24576</c:v>
                </c:pt>
                <c:pt idx="39401">
                  <c:v>24575</c:v>
                </c:pt>
                <c:pt idx="39402">
                  <c:v>24575</c:v>
                </c:pt>
                <c:pt idx="39403">
                  <c:v>24574</c:v>
                </c:pt>
                <c:pt idx="39404">
                  <c:v>24574</c:v>
                </c:pt>
                <c:pt idx="39405">
                  <c:v>24574</c:v>
                </c:pt>
                <c:pt idx="39406">
                  <c:v>24573</c:v>
                </c:pt>
                <c:pt idx="39407">
                  <c:v>24573</c:v>
                </c:pt>
                <c:pt idx="39408">
                  <c:v>24573</c:v>
                </c:pt>
                <c:pt idx="39409">
                  <c:v>24572</c:v>
                </c:pt>
                <c:pt idx="39410">
                  <c:v>24569</c:v>
                </c:pt>
                <c:pt idx="39411">
                  <c:v>24569</c:v>
                </c:pt>
                <c:pt idx="39412">
                  <c:v>24569</c:v>
                </c:pt>
                <c:pt idx="39413">
                  <c:v>24569</c:v>
                </c:pt>
                <c:pt idx="39414">
                  <c:v>24568</c:v>
                </c:pt>
                <c:pt idx="39415">
                  <c:v>24568</c:v>
                </c:pt>
                <c:pt idx="39416">
                  <c:v>24567</c:v>
                </c:pt>
                <c:pt idx="39417">
                  <c:v>24567</c:v>
                </c:pt>
                <c:pt idx="39418">
                  <c:v>24567</c:v>
                </c:pt>
                <c:pt idx="39419">
                  <c:v>24566</c:v>
                </c:pt>
                <c:pt idx="39420">
                  <c:v>24566</c:v>
                </c:pt>
                <c:pt idx="39421">
                  <c:v>24566</c:v>
                </c:pt>
                <c:pt idx="39422">
                  <c:v>24565</c:v>
                </c:pt>
                <c:pt idx="39423">
                  <c:v>24565</c:v>
                </c:pt>
                <c:pt idx="39424">
                  <c:v>24565</c:v>
                </c:pt>
                <c:pt idx="39425">
                  <c:v>24565</c:v>
                </c:pt>
                <c:pt idx="39426">
                  <c:v>24565</c:v>
                </c:pt>
                <c:pt idx="39427">
                  <c:v>24565</c:v>
                </c:pt>
                <c:pt idx="39428">
                  <c:v>24565</c:v>
                </c:pt>
                <c:pt idx="39429">
                  <c:v>24564</c:v>
                </c:pt>
                <c:pt idx="39430">
                  <c:v>24563</c:v>
                </c:pt>
                <c:pt idx="39431">
                  <c:v>24562</c:v>
                </c:pt>
                <c:pt idx="39432">
                  <c:v>24562</c:v>
                </c:pt>
                <c:pt idx="39433">
                  <c:v>24561</c:v>
                </c:pt>
                <c:pt idx="39434">
                  <c:v>24561</c:v>
                </c:pt>
                <c:pt idx="39435">
                  <c:v>24560</c:v>
                </c:pt>
                <c:pt idx="39436">
                  <c:v>24560</c:v>
                </c:pt>
                <c:pt idx="39437">
                  <c:v>24560</c:v>
                </c:pt>
                <c:pt idx="39438">
                  <c:v>24560</c:v>
                </c:pt>
                <c:pt idx="39439">
                  <c:v>24559</c:v>
                </c:pt>
                <c:pt idx="39440">
                  <c:v>24558</c:v>
                </c:pt>
                <c:pt idx="39441">
                  <c:v>24558</c:v>
                </c:pt>
                <c:pt idx="39442">
                  <c:v>24558</c:v>
                </c:pt>
                <c:pt idx="39443">
                  <c:v>24557</c:v>
                </c:pt>
                <c:pt idx="39444">
                  <c:v>24557</c:v>
                </c:pt>
                <c:pt idx="39445">
                  <c:v>24556</c:v>
                </c:pt>
                <c:pt idx="39446">
                  <c:v>24556</c:v>
                </c:pt>
                <c:pt idx="39447">
                  <c:v>24555</c:v>
                </c:pt>
                <c:pt idx="39448">
                  <c:v>24555</c:v>
                </c:pt>
                <c:pt idx="39449">
                  <c:v>24553</c:v>
                </c:pt>
                <c:pt idx="39450">
                  <c:v>24552</c:v>
                </c:pt>
                <c:pt idx="39451">
                  <c:v>24552</c:v>
                </c:pt>
                <c:pt idx="39452">
                  <c:v>24552</c:v>
                </c:pt>
                <c:pt idx="39453">
                  <c:v>24551</c:v>
                </c:pt>
                <c:pt idx="39454">
                  <c:v>24551</c:v>
                </c:pt>
                <c:pt idx="39455">
                  <c:v>24549</c:v>
                </c:pt>
                <c:pt idx="39456">
                  <c:v>24549</c:v>
                </c:pt>
                <c:pt idx="39457">
                  <c:v>24549</c:v>
                </c:pt>
                <c:pt idx="39458">
                  <c:v>24549</c:v>
                </c:pt>
                <c:pt idx="39459">
                  <c:v>24548</c:v>
                </c:pt>
                <c:pt idx="39460">
                  <c:v>24548</c:v>
                </c:pt>
                <c:pt idx="39461">
                  <c:v>24548</c:v>
                </c:pt>
                <c:pt idx="39462">
                  <c:v>24548</c:v>
                </c:pt>
                <c:pt idx="39463">
                  <c:v>24547</c:v>
                </c:pt>
                <c:pt idx="39464">
                  <c:v>24547</c:v>
                </c:pt>
                <c:pt idx="39465">
                  <c:v>24547</c:v>
                </c:pt>
                <c:pt idx="39466">
                  <c:v>24546</c:v>
                </c:pt>
                <c:pt idx="39467">
                  <c:v>24545</c:v>
                </c:pt>
                <c:pt idx="39468">
                  <c:v>24545</c:v>
                </c:pt>
                <c:pt idx="39469">
                  <c:v>24545</c:v>
                </c:pt>
                <c:pt idx="39470">
                  <c:v>24545</c:v>
                </c:pt>
                <c:pt idx="39471">
                  <c:v>24545</c:v>
                </c:pt>
                <c:pt idx="39472">
                  <c:v>24545</c:v>
                </c:pt>
                <c:pt idx="39473">
                  <c:v>24545</c:v>
                </c:pt>
                <c:pt idx="39474">
                  <c:v>24545</c:v>
                </c:pt>
                <c:pt idx="39475">
                  <c:v>24544</c:v>
                </c:pt>
                <c:pt idx="39476">
                  <c:v>24543</c:v>
                </c:pt>
                <c:pt idx="39477">
                  <c:v>24542</c:v>
                </c:pt>
                <c:pt idx="39478">
                  <c:v>24542</c:v>
                </c:pt>
                <c:pt idx="39479">
                  <c:v>24541</c:v>
                </c:pt>
                <c:pt idx="39480">
                  <c:v>24541</c:v>
                </c:pt>
                <c:pt idx="39481">
                  <c:v>24541</c:v>
                </c:pt>
                <c:pt idx="39482">
                  <c:v>24540</c:v>
                </c:pt>
                <c:pt idx="39483">
                  <c:v>24540</c:v>
                </c:pt>
                <c:pt idx="39484">
                  <c:v>24539</c:v>
                </c:pt>
                <c:pt idx="39485">
                  <c:v>24538</c:v>
                </c:pt>
                <c:pt idx="39486">
                  <c:v>24537</c:v>
                </c:pt>
                <c:pt idx="39487">
                  <c:v>24537</c:v>
                </c:pt>
                <c:pt idx="39488">
                  <c:v>24537</c:v>
                </c:pt>
                <c:pt idx="39489">
                  <c:v>24536</c:v>
                </c:pt>
                <c:pt idx="39490">
                  <c:v>24535</c:v>
                </c:pt>
                <c:pt idx="39491">
                  <c:v>24535</c:v>
                </c:pt>
                <c:pt idx="39492">
                  <c:v>24535</c:v>
                </c:pt>
                <c:pt idx="39493">
                  <c:v>24534</c:v>
                </c:pt>
                <c:pt idx="39494">
                  <c:v>24533</c:v>
                </c:pt>
                <c:pt idx="39495">
                  <c:v>24533</c:v>
                </c:pt>
                <c:pt idx="39496">
                  <c:v>24532</c:v>
                </c:pt>
                <c:pt idx="39497">
                  <c:v>24532</c:v>
                </c:pt>
                <c:pt idx="39498">
                  <c:v>24531</c:v>
                </c:pt>
                <c:pt idx="39499">
                  <c:v>24531</c:v>
                </c:pt>
                <c:pt idx="39500">
                  <c:v>24530</c:v>
                </c:pt>
                <c:pt idx="39501">
                  <c:v>24530</c:v>
                </c:pt>
                <c:pt idx="39502">
                  <c:v>24530</c:v>
                </c:pt>
                <c:pt idx="39503">
                  <c:v>24530</c:v>
                </c:pt>
                <c:pt idx="39504">
                  <c:v>24529</c:v>
                </c:pt>
                <c:pt idx="39505">
                  <c:v>24529</c:v>
                </c:pt>
                <c:pt idx="39506">
                  <c:v>24529</c:v>
                </c:pt>
                <c:pt idx="39507">
                  <c:v>24528</c:v>
                </c:pt>
                <c:pt idx="39508">
                  <c:v>24528</c:v>
                </c:pt>
                <c:pt idx="39509">
                  <c:v>24528</c:v>
                </c:pt>
                <c:pt idx="39510">
                  <c:v>24528</c:v>
                </c:pt>
                <c:pt idx="39511">
                  <c:v>24528</c:v>
                </c:pt>
                <c:pt idx="39512">
                  <c:v>24528</c:v>
                </c:pt>
                <c:pt idx="39513">
                  <c:v>24527</c:v>
                </c:pt>
                <c:pt idx="39514">
                  <c:v>24527</c:v>
                </c:pt>
                <c:pt idx="39515">
                  <c:v>24527</c:v>
                </c:pt>
                <c:pt idx="39516">
                  <c:v>24526</c:v>
                </c:pt>
                <c:pt idx="39517">
                  <c:v>24526</c:v>
                </c:pt>
                <c:pt idx="39518">
                  <c:v>24526</c:v>
                </c:pt>
                <c:pt idx="39519">
                  <c:v>24526</c:v>
                </c:pt>
                <c:pt idx="39520">
                  <c:v>24525</c:v>
                </c:pt>
                <c:pt idx="39521">
                  <c:v>24524</c:v>
                </c:pt>
                <c:pt idx="39522">
                  <c:v>24524</c:v>
                </c:pt>
                <c:pt idx="39523">
                  <c:v>24524</c:v>
                </c:pt>
                <c:pt idx="39524">
                  <c:v>24523</c:v>
                </c:pt>
                <c:pt idx="39525">
                  <c:v>24523</c:v>
                </c:pt>
                <c:pt idx="39526">
                  <c:v>24522</c:v>
                </c:pt>
                <c:pt idx="39527">
                  <c:v>24522</c:v>
                </c:pt>
                <c:pt idx="39528">
                  <c:v>24522</c:v>
                </c:pt>
                <c:pt idx="39529">
                  <c:v>24522</c:v>
                </c:pt>
                <c:pt idx="39530">
                  <c:v>24521</c:v>
                </c:pt>
                <c:pt idx="39531">
                  <c:v>24521</c:v>
                </c:pt>
                <c:pt idx="39532">
                  <c:v>24521</c:v>
                </c:pt>
                <c:pt idx="39533">
                  <c:v>24520</c:v>
                </c:pt>
                <c:pt idx="39534">
                  <c:v>24520</c:v>
                </c:pt>
                <c:pt idx="39535">
                  <c:v>24519</c:v>
                </c:pt>
                <c:pt idx="39536">
                  <c:v>24519</c:v>
                </c:pt>
                <c:pt idx="39537">
                  <c:v>24518</c:v>
                </c:pt>
                <c:pt idx="39538">
                  <c:v>24518</c:v>
                </c:pt>
                <c:pt idx="39539">
                  <c:v>24517</c:v>
                </c:pt>
                <c:pt idx="39540">
                  <c:v>24517</c:v>
                </c:pt>
                <c:pt idx="39541">
                  <c:v>24516</c:v>
                </c:pt>
                <c:pt idx="39542">
                  <c:v>24516</c:v>
                </c:pt>
                <c:pt idx="39543">
                  <c:v>24515</c:v>
                </c:pt>
                <c:pt idx="39544">
                  <c:v>24515</c:v>
                </c:pt>
                <c:pt idx="39545">
                  <c:v>24515</c:v>
                </c:pt>
                <c:pt idx="39546">
                  <c:v>24514</c:v>
                </c:pt>
                <c:pt idx="39547">
                  <c:v>24514</c:v>
                </c:pt>
                <c:pt idx="39548">
                  <c:v>24513</c:v>
                </c:pt>
                <c:pt idx="39549">
                  <c:v>24513</c:v>
                </c:pt>
                <c:pt idx="39550">
                  <c:v>24513</c:v>
                </c:pt>
                <c:pt idx="39551">
                  <c:v>24513</c:v>
                </c:pt>
                <c:pt idx="39552">
                  <c:v>24513</c:v>
                </c:pt>
                <c:pt idx="39553">
                  <c:v>24513</c:v>
                </c:pt>
                <c:pt idx="39554">
                  <c:v>24513</c:v>
                </c:pt>
                <c:pt idx="39555">
                  <c:v>24512</c:v>
                </c:pt>
                <c:pt idx="39556">
                  <c:v>24512</c:v>
                </c:pt>
                <c:pt idx="39557">
                  <c:v>24512</c:v>
                </c:pt>
                <c:pt idx="39558">
                  <c:v>24511</c:v>
                </c:pt>
                <c:pt idx="39559">
                  <c:v>24511</c:v>
                </c:pt>
                <c:pt idx="39560">
                  <c:v>24511</c:v>
                </c:pt>
                <c:pt idx="39561">
                  <c:v>24511</c:v>
                </c:pt>
                <c:pt idx="39562">
                  <c:v>24511</c:v>
                </c:pt>
                <c:pt idx="39563">
                  <c:v>24510</c:v>
                </c:pt>
                <c:pt idx="39564">
                  <c:v>24510</c:v>
                </c:pt>
                <c:pt idx="39565">
                  <c:v>24510</c:v>
                </c:pt>
                <c:pt idx="39566">
                  <c:v>24509</c:v>
                </c:pt>
                <c:pt idx="39567">
                  <c:v>24509</c:v>
                </c:pt>
                <c:pt idx="39568">
                  <c:v>24508</c:v>
                </c:pt>
                <c:pt idx="39569">
                  <c:v>24508</c:v>
                </c:pt>
                <c:pt idx="39570">
                  <c:v>24507</c:v>
                </c:pt>
                <c:pt idx="39571">
                  <c:v>24507</c:v>
                </c:pt>
                <c:pt idx="39572">
                  <c:v>24507</c:v>
                </c:pt>
                <c:pt idx="39573">
                  <c:v>24506</c:v>
                </c:pt>
                <c:pt idx="39574">
                  <c:v>24504</c:v>
                </c:pt>
                <c:pt idx="39575">
                  <c:v>24504</c:v>
                </c:pt>
                <c:pt idx="39576">
                  <c:v>24503</c:v>
                </c:pt>
                <c:pt idx="39577">
                  <c:v>24503</c:v>
                </c:pt>
                <c:pt idx="39578">
                  <c:v>24503</c:v>
                </c:pt>
                <c:pt idx="39579">
                  <c:v>24502</c:v>
                </c:pt>
                <c:pt idx="39580">
                  <c:v>24502</c:v>
                </c:pt>
                <c:pt idx="39581">
                  <c:v>24500</c:v>
                </c:pt>
                <c:pt idx="39582">
                  <c:v>24500</c:v>
                </c:pt>
                <c:pt idx="39583">
                  <c:v>24497</c:v>
                </c:pt>
                <c:pt idx="39584">
                  <c:v>24496</c:v>
                </c:pt>
                <c:pt idx="39585">
                  <c:v>24496</c:v>
                </c:pt>
                <c:pt idx="39586">
                  <c:v>24495</c:v>
                </c:pt>
                <c:pt idx="39587">
                  <c:v>24494</c:v>
                </c:pt>
                <c:pt idx="39588">
                  <c:v>24494</c:v>
                </c:pt>
                <c:pt idx="39589">
                  <c:v>24494</c:v>
                </c:pt>
                <c:pt idx="39590">
                  <c:v>24494</c:v>
                </c:pt>
                <c:pt idx="39591">
                  <c:v>24493</c:v>
                </c:pt>
                <c:pt idx="39592">
                  <c:v>24492</c:v>
                </c:pt>
                <c:pt idx="39593">
                  <c:v>24492</c:v>
                </c:pt>
                <c:pt idx="39594">
                  <c:v>24490</c:v>
                </c:pt>
                <c:pt idx="39595">
                  <c:v>24490</c:v>
                </c:pt>
                <c:pt idx="39596">
                  <c:v>24490</c:v>
                </c:pt>
                <c:pt idx="39597">
                  <c:v>24489</c:v>
                </c:pt>
                <c:pt idx="39598">
                  <c:v>24489</c:v>
                </c:pt>
                <c:pt idx="39599">
                  <c:v>24488</c:v>
                </c:pt>
                <c:pt idx="39600">
                  <c:v>24488</c:v>
                </c:pt>
                <c:pt idx="39601">
                  <c:v>24488</c:v>
                </c:pt>
                <c:pt idx="39602">
                  <c:v>24486</c:v>
                </c:pt>
                <c:pt idx="39603">
                  <c:v>24484</c:v>
                </c:pt>
                <c:pt idx="39604">
                  <c:v>24484</c:v>
                </c:pt>
                <c:pt idx="39605">
                  <c:v>24484</c:v>
                </c:pt>
                <c:pt idx="39606">
                  <c:v>24482</c:v>
                </c:pt>
                <c:pt idx="39607">
                  <c:v>24481</c:v>
                </c:pt>
                <c:pt idx="39608">
                  <c:v>24479</c:v>
                </c:pt>
                <c:pt idx="39609">
                  <c:v>24479</c:v>
                </c:pt>
                <c:pt idx="39610">
                  <c:v>24478</c:v>
                </c:pt>
                <c:pt idx="39611">
                  <c:v>24478</c:v>
                </c:pt>
                <c:pt idx="39612">
                  <c:v>24477</c:v>
                </c:pt>
                <c:pt idx="39613">
                  <c:v>24477</c:v>
                </c:pt>
                <c:pt idx="39614">
                  <c:v>24477</c:v>
                </c:pt>
                <c:pt idx="39615">
                  <c:v>24477</c:v>
                </c:pt>
                <c:pt idx="39616">
                  <c:v>24476</c:v>
                </c:pt>
                <c:pt idx="39617">
                  <c:v>24476</c:v>
                </c:pt>
                <c:pt idx="39618">
                  <c:v>24476</c:v>
                </c:pt>
                <c:pt idx="39619">
                  <c:v>24476</c:v>
                </c:pt>
                <c:pt idx="39620">
                  <c:v>24475</c:v>
                </c:pt>
                <c:pt idx="39621">
                  <c:v>24475</c:v>
                </c:pt>
                <c:pt idx="39622">
                  <c:v>24475</c:v>
                </c:pt>
                <c:pt idx="39623">
                  <c:v>24475</c:v>
                </c:pt>
                <c:pt idx="39624">
                  <c:v>24475</c:v>
                </c:pt>
                <c:pt idx="39625">
                  <c:v>24474</c:v>
                </c:pt>
                <c:pt idx="39626">
                  <c:v>24474</c:v>
                </c:pt>
                <c:pt idx="39627">
                  <c:v>24474</c:v>
                </c:pt>
                <c:pt idx="39628">
                  <c:v>24473</c:v>
                </c:pt>
                <c:pt idx="39629">
                  <c:v>24473</c:v>
                </c:pt>
                <c:pt idx="39630">
                  <c:v>24472</c:v>
                </c:pt>
                <c:pt idx="39631">
                  <c:v>24472</c:v>
                </c:pt>
                <c:pt idx="39632">
                  <c:v>24470</c:v>
                </c:pt>
                <c:pt idx="39633">
                  <c:v>24469</c:v>
                </c:pt>
                <c:pt idx="39634">
                  <c:v>24466</c:v>
                </c:pt>
                <c:pt idx="39635">
                  <c:v>24465</c:v>
                </c:pt>
                <c:pt idx="39636">
                  <c:v>24465</c:v>
                </c:pt>
                <c:pt idx="39637">
                  <c:v>24465</c:v>
                </c:pt>
                <c:pt idx="39638">
                  <c:v>24465</c:v>
                </c:pt>
                <c:pt idx="39639">
                  <c:v>24464</c:v>
                </c:pt>
                <c:pt idx="39640">
                  <c:v>24464</c:v>
                </c:pt>
                <c:pt idx="39641">
                  <c:v>24463</c:v>
                </c:pt>
                <c:pt idx="39642">
                  <c:v>24463</c:v>
                </c:pt>
                <c:pt idx="39643">
                  <c:v>24463</c:v>
                </c:pt>
                <c:pt idx="39644">
                  <c:v>24463</c:v>
                </c:pt>
                <c:pt idx="39645">
                  <c:v>24463</c:v>
                </c:pt>
                <c:pt idx="39646">
                  <c:v>24461</c:v>
                </c:pt>
                <c:pt idx="39647">
                  <c:v>24459</c:v>
                </c:pt>
                <c:pt idx="39648">
                  <c:v>24458</c:v>
                </c:pt>
                <c:pt idx="39649">
                  <c:v>24458</c:v>
                </c:pt>
                <c:pt idx="39650">
                  <c:v>24458</c:v>
                </c:pt>
                <c:pt idx="39651">
                  <c:v>24457</c:v>
                </c:pt>
                <c:pt idx="39652">
                  <c:v>24457</c:v>
                </c:pt>
                <c:pt idx="39653">
                  <c:v>24456</c:v>
                </c:pt>
                <c:pt idx="39654">
                  <c:v>24456</c:v>
                </c:pt>
                <c:pt idx="39655">
                  <c:v>24456</c:v>
                </c:pt>
                <c:pt idx="39656">
                  <c:v>24455</c:v>
                </c:pt>
                <c:pt idx="39657">
                  <c:v>24455</c:v>
                </c:pt>
                <c:pt idx="39658">
                  <c:v>24454</c:v>
                </c:pt>
                <c:pt idx="39659">
                  <c:v>24454</c:v>
                </c:pt>
                <c:pt idx="39660">
                  <c:v>24454</c:v>
                </c:pt>
                <c:pt idx="39661">
                  <c:v>24454</c:v>
                </c:pt>
                <c:pt idx="39662">
                  <c:v>24454</c:v>
                </c:pt>
                <c:pt idx="39663">
                  <c:v>24453</c:v>
                </c:pt>
                <c:pt idx="39664">
                  <c:v>24452</c:v>
                </c:pt>
                <c:pt idx="39665">
                  <c:v>24452</c:v>
                </c:pt>
                <c:pt idx="39666">
                  <c:v>24452</c:v>
                </c:pt>
                <c:pt idx="39667">
                  <c:v>24451</c:v>
                </c:pt>
                <c:pt idx="39668">
                  <c:v>24451</c:v>
                </c:pt>
                <c:pt idx="39669">
                  <c:v>24450</c:v>
                </c:pt>
                <c:pt idx="39670">
                  <c:v>24450</c:v>
                </c:pt>
                <c:pt idx="39671">
                  <c:v>24450</c:v>
                </c:pt>
                <c:pt idx="39672">
                  <c:v>24450</c:v>
                </c:pt>
                <c:pt idx="39673">
                  <c:v>24449</c:v>
                </c:pt>
                <c:pt idx="39674">
                  <c:v>24449</c:v>
                </c:pt>
                <c:pt idx="39675">
                  <c:v>24449</c:v>
                </c:pt>
                <c:pt idx="39676">
                  <c:v>24449</c:v>
                </c:pt>
                <c:pt idx="39677">
                  <c:v>24448</c:v>
                </c:pt>
                <c:pt idx="39678">
                  <c:v>24448</c:v>
                </c:pt>
                <c:pt idx="39679">
                  <c:v>24447</c:v>
                </c:pt>
                <c:pt idx="39680">
                  <c:v>24446</c:v>
                </c:pt>
                <c:pt idx="39681">
                  <c:v>24446</c:v>
                </c:pt>
                <c:pt idx="39682">
                  <c:v>24446</c:v>
                </c:pt>
                <c:pt idx="39683">
                  <c:v>24445</c:v>
                </c:pt>
                <c:pt idx="39684">
                  <c:v>24445</c:v>
                </c:pt>
                <c:pt idx="39685">
                  <c:v>24445</c:v>
                </c:pt>
                <c:pt idx="39686">
                  <c:v>24444</c:v>
                </c:pt>
                <c:pt idx="39687">
                  <c:v>24444</c:v>
                </c:pt>
                <c:pt idx="39688">
                  <c:v>24444</c:v>
                </c:pt>
                <c:pt idx="39689">
                  <c:v>24444</c:v>
                </c:pt>
                <c:pt idx="39690">
                  <c:v>24443</c:v>
                </c:pt>
                <c:pt idx="39691">
                  <c:v>24443</c:v>
                </c:pt>
                <c:pt idx="39692">
                  <c:v>24443</c:v>
                </c:pt>
                <c:pt idx="39693">
                  <c:v>24442</c:v>
                </c:pt>
                <c:pt idx="39694">
                  <c:v>24442</c:v>
                </c:pt>
                <c:pt idx="39695">
                  <c:v>24442</c:v>
                </c:pt>
                <c:pt idx="39696">
                  <c:v>24442</c:v>
                </c:pt>
                <c:pt idx="39697">
                  <c:v>24442</c:v>
                </c:pt>
                <c:pt idx="39698">
                  <c:v>24442</c:v>
                </c:pt>
                <c:pt idx="39699">
                  <c:v>24441</c:v>
                </c:pt>
                <c:pt idx="39700">
                  <c:v>24441</c:v>
                </c:pt>
                <c:pt idx="39701">
                  <c:v>24441</c:v>
                </c:pt>
                <c:pt idx="39702">
                  <c:v>24441</c:v>
                </c:pt>
                <c:pt idx="39703">
                  <c:v>24440</c:v>
                </c:pt>
                <c:pt idx="39704">
                  <c:v>24440</c:v>
                </c:pt>
                <c:pt idx="39705">
                  <c:v>24440</c:v>
                </c:pt>
                <c:pt idx="39706">
                  <c:v>24439</c:v>
                </c:pt>
                <c:pt idx="39707">
                  <c:v>24439</c:v>
                </c:pt>
                <c:pt idx="39708">
                  <c:v>24438</c:v>
                </c:pt>
                <c:pt idx="39709">
                  <c:v>24437</c:v>
                </c:pt>
                <c:pt idx="39710">
                  <c:v>24437</c:v>
                </c:pt>
                <c:pt idx="39711">
                  <c:v>24437</c:v>
                </c:pt>
                <c:pt idx="39712">
                  <c:v>24436</c:v>
                </c:pt>
                <c:pt idx="39713">
                  <c:v>24436</c:v>
                </c:pt>
                <c:pt idx="39714">
                  <c:v>24436</c:v>
                </c:pt>
                <c:pt idx="39715">
                  <c:v>24435</c:v>
                </c:pt>
                <c:pt idx="39716">
                  <c:v>24435</c:v>
                </c:pt>
                <c:pt idx="39717">
                  <c:v>24435</c:v>
                </c:pt>
                <c:pt idx="39718">
                  <c:v>24433</c:v>
                </c:pt>
                <c:pt idx="39719">
                  <c:v>24433</c:v>
                </c:pt>
                <c:pt idx="39720">
                  <c:v>24433</c:v>
                </c:pt>
                <c:pt idx="39721">
                  <c:v>24433</c:v>
                </c:pt>
                <c:pt idx="39722">
                  <c:v>24432</c:v>
                </c:pt>
                <c:pt idx="39723">
                  <c:v>24432</c:v>
                </c:pt>
                <c:pt idx="39724">
                  <c:v>24432</c:v>
                </c:pt>
                <c:pt idx="39725">
                  <c:v>24432</c:v>
                </c:pt>
                <c:pt idx="39726">
                  <c:v>24431</c:v>
                </c:pt>
                <c:pt idx="39727">
                  <c:v>24431</c:v>
                </c:pt>
                <c:pt idx="39728">
                  <c:v>24431</c:v>
                </c:pt>
                <c:pt idx="39729">
                  <c:v>24430</c:v>
                </c:pt>
                <c:pt idx="39730">
                  <c:v>24429</c:v>
                </c:pt>
                <c:pt idx="39731">
                  <c:v>24429</c:v>
                </c:pt>
                <c:pt idx="39732">
                  <c:v>24429</c:v>
                </c:pt>
                <c:pt idx="39733">
                  <c:v>24428</c:v>
                </c:pt>
                <c:pt idx="39734">
                  <c:v>24428</c:v>
                </c:pt>
                <c:pt idx="39735">
                  <c:v>24428</c:v>
                </c:pt>
                <c:pt idx="39736">
                  <c:v>24428</c:v>
                </c:pt>
                <c:pt idx="39737">
                  <c:v>24428</c:v>
                </c:pt>
                <c:pt idx="39738">
                  <c:v>24428</c:v>
                </c:pt>
                <c:pt idx="39739">
                  <c:v>24427</c:v>
                </c:pt>
                <c:pt idx="39740">
                  <c:v>24427</c:v>
                </c:pt>
                <c:pt idx="39741">
                  <c:v>24426</c:v>
                </c:pt>
                <c:pt idx="39742">
                  <c:v>24426</c:v>
                </c:pt>
                <c:pt idx="39743">
                  <c:v>24426</c:v>
                </c:pt>
                <c:pt idx="39744">
                  <c:v>24426</c:v>
                </c:pt>
                <c:pt idx="39745">
                  <c:v>24426</c:v>
                </c:pt>
                <c:pt idx="39746">
                  <c:v>24426</c:v>
                </c:pt>
                <c:pt idx="39747">
                  <c:v>24425</c:v>
                </c:pt>
                <c:pt idx="39748">
                  <c:v>24425</c:v>
                </c:pt>
                <c:pt idx="39749">
                  <c:v>24425</c:v>
                </c:pt>
                <c:pt idx="39750">
                  <c:v>24425</c:v>
                </c:pt>
                <c:pt idx="39751">
                  <c:v>24425</c:v>
                </c:pt>
                <c:pt idx="39752">
                  <c:v>24425</c:v>
                </c:pt>
                <c:pt idx="39753">
                  <c:v>24424</c:v>
                </c:pt>
                <c:pt idx="39754">
                  <c:v>24424</c:v>
                </c:pt>
                <c:pt idx="39755">
                  <c:v>24424</c:v>
                </c:pt>
                <c:pt idx="39756">
                  <c:v>24423</c:v>
                </c:pt>
                <c:pt idx="39757">
                  <c:v>24423</c:v>
                </c:pt>
                <c:pt idx="39758">
                  <c:v>24423</c:v>
                </c:pt>
                <c:pt idx="39759">
                  <c:v>24423</c:v>
                </c:pt>
                <c:pt idx="39760">
                  <c:v>24422</c:v>
                </c:pt>
                <c:pt idx="39761">
                  <c:v>24422</c:v>
                </c:pt>
                <c:pt idx="39762">
                  <c:v>24422</c:v>
                </c:pt>
                <c:pt idx="39763">
                  <c:v>24422</c:v>
                </c:pt>
                <c:pt idx="39764">
                  <c:v>24421</c:v>
                </c:pt>
                <c:pt idx="39765">
                  <c:v>24420</c:v>
                </c:pt>
                <c:pt idx="39766">
                  <c:v>24420</c:v>
                </c:pt>
                <c:pt idx="39767">
                  <c:v>24419</c:v>
                </c:pt>
                <c:pt idx="39768">
                  <c:v>24419</c:v>
                </c:pt>
                <c:pt idx="39769">
                  <c:v>24419</c:v>
                </c:pt>
                <c:pt idx="39770">
                  <c:v>24418</c:v>
                </c:pt>
                <c:pt idx="39771">
                  <c:v>24417</c:v>
                </c:pt>
                <c:pt idx="39772">
                  <c:v>24417</c:v>
                </c:pt>
                <c:pt idx="39773">
                  <c:v>24417</c:v>
                </c:pt>
                <c:pt idx="39774">
                  <c:v>24417</c:v>
                </c:pt>
                <c:pt idx="39775">
                  <c:v>24416</c:v>
                </c:pt>
                <c:pt idx="39776">
                  <c:v>24416</c:v>
                </c:pt>
                <c:pt idx="39777">
                  <c:v>24416</c:v>
                </c:pt>
                <c:pt idx="39778">
                  <c:v>24415</c:v>
                </c:pt>
                <c:pt idx="39779">
                  <c:v>24415</c:v>
                </c:pt>
                <c:pt idx="39780">
                  <c:v>24414</c:v>
                </c:pt>
                <c:pt idx="39781">
                  <c:v>24412</c:v>
                </c:pt>
                <c:pt idx="39782">
                  <c:v>24412</c:v>
                </c:pt>
                <c:pt idx="39783">
                  <c:v>24412</c:v>
                </c:pt>
                <c:pt idx="39784">
                  <c:v>24412</c:v>
                </c:pt>
                <c:pt idx="39785">
                  <c:v>24412</c:v>
                </c:pt>
                <c:pt idx="39786">
                  <c:v>24411</c:v>
                </c:pt>
                <c:pt idx="39787">
                  <c:v>24411</c:v>
                </c:pt>
                <c:pt idx="39788">
                  <c:v>24411</c:v>
                </c:pt>
                <c:pt idx="39789">
                  <c:v>24411</c:v>
                </c:pt>
                <c:pt idx="39790">
                  <c:v>24411</c:v>
                </c:pt>
                <c:pt idx="39791">
                  <c:v>24411</c:v>
                </c:pt>
                <c:pt idx="39792">
                  <c:v>24410</c:v>
                </c:pt>
                <c:pt idx="39793">
                  <c:v>24410</c:v>
                </c:pt>
                <c:pt idx="39794">
                  <c:v>24409</c:v>
                </c:pt>
                <c:pt idx="39795">
                  <c:v>24409</c:v>
                </c:pt>
                <c:pt idx="39796">
                  <c:v>24409</c:v>
                </c:pt>
                <c:pt idx="39797">
                  <c:v>24409</c:v>
                </c:pt>
                <c:pt idx="39798">
                  <c:v>24407</c:v>
                </c:pt>
                <c:pt idx="39799">
                  <c:v>24407</c:v>
                </c:pt>
                <c:pt idx="39800">
                  <c:v>24407</c:v>
                </c:pt>
                <c:pt idx="39801">
                  <c:v>24406</c:v>
                </c:pt>
                <c:pt idx="39802">
                  <c:v>24405</c:v>
                </c:pt>
                <c:pt idx="39803">
                  <c:v>24405</c:v>
                </c:pt>
                <c:pt idx="39804">
                  <c:v>24405</c:v>
                </c:pt>
                <c:pt idx="39805">
                  <c:v>24405</c:v>
                </c:pt>
                <c:pt idx="39806">
                  <c:v>24404</c:v>
                </c:pt>
                <c:pt idx="39807">
                  <c:v>24403</c:v>
                </c:pt>
                <c:pt idx="39808">
                  <c:v>24403</c:v>
                </c:pt>
                <c:pt idx="39809">
                  <c:v>24403</c:v>
                </c:pt>
                <c:pt idx="39810">
                  <c:v>24403</c:v>
                </c:pt>
                <c:pt idx="39811">
                  <c:v>24402</c:v>
                </c:pt>
                <c:pt idx="39812">
                  <c:v>24400</c:v>
                </c:pt>
                <c:pt idx="39813">
                  <c:v>24400</c:v>
                </c:pt>
                <c:pt idx="39814">
                  <c:v>24400</c:v>
                </c:pt>
                <c:pt idx="39815">
                  <c:v>24399</c:v>
                </c:pt>
                <c:pt idx="39816">
                  <c:v>24399</c:v>
                </c:pt>
                <c:pt idx="39817">
                  <c:v>24399</c:v>
                </c:pt>
                <c:pt idx="39818">
                  <c:v>24399</c:v>
                </c:pt>
                <c:pt idx="39819">
                  <c:v>24399</c:v>
                </c:pt>
                <c:pt idx="39820">
                  <c:v>24398</c:v>
                </c:pt>
                <c:pt idx="39821">
                  <c:v>24398</c:v>
                </c:pt>
                <c:pt idx="39822">
                  <c:v>24397</c:v>
                </c:pt>
                <c:pt idx="39823">
                  <c:v>24397</c:v>
                </c:pt>
                <c:pt idx="39824">
                  <c:v>24397</c:v>
                </c:pt>
                <c:pt idx="39825">
                  <c:v>24396</c:v>
                </c:pt>
                <c:pt idx="39826">
                  <c:v>24395</c:v>
                </c:pt>
                <c:pt idx="39827">
                  <c:v>24395</c:v>
                </c:pt>
                <c:pt idx="39828">
                  <c:v>24394</c:v>
                </c:pt>
                <c:pt idx="39829">
                  <c:v>24394</c:v>
                </c:pt>
                <c:pt idx="39830">
                  <c:v>24393</c:v>
                </c:pt>
                <c:pt idx="39831">
                  <c:v>24393</c:v>
                </c:pt>
                <c:pt idx="39832">
                  <c:v>24392</c:v>
                </c:pt>
                <c:pt idx="39833">
                  <c:v>24392</c:v>
                </c:pt>
                <c:pt idx="39834">
                  <c:v>24391</c:v>
                </c:pt>
                <c:pt idx="39835">
                  <c:v>24391</c:v>
                </c:pt>
                <c:pt idx="39836">
                  <c:v>24391</c:v>
                </c:pt>
                <c:pt idx="39837">
                  <c:v>24391</c:v>
                </c:pt>
                <c:pt idx="39838">
                  <c:v>24391</c:v>
                </c:pt>
                <c:pt idx="39839">
                  <c:v>24390</c:v>
                </c:pt>
                <c:pt idx="39840">
                  <c:v>24388</c:v>
                </c:pt>
                <c:pt idx="39841">
                  <c:v>24388</c:v>
                </c:pt>
                <c:pt idx="39842">
                  <c:v>24388</c:v>
                </c:pt>
                <c:pt idx="39843">
                  <c:v>24387</c:v>
                </c:pt>
                <c:pt idx="39844">
                  <c:v>24387</c:v>
                </c:pt>
                <c:pt idx="39845">
                  <c:v>24387</c:v>
                </c:pt>
                <c:pt idx="39846">
                  <c:v>24387</c:v>
                </c:pt>
                <c:pt idx="39847">
                  <c:v>24387</c:v>
                </c:pt>
                <c:pt idx="39848">
                  <c:v>24387</c:v>
                </c:pt>
                <c:pt idx="39849">
                  <c:v>24386</c:v>
                </c:pt>
                <c:pt idx="39850">
                  <c:v>24386</c:v>
                </c:pt>
                <c:pt idx="39851">
                  <c:v>24385</c:v>
                </c:pt>
                <c:pt idx="39852">
                  <c:v>24385</c:v>
                </c:pt>
                <c:pt idx="39853">
                  <c:v>24384</c:v>
                </c:pt>
                <c:pt idx="39854">
                  <c:v>24384</c:v>
                </c:pt>
                <c:pt idx="39855">
                  <c:v>24384</c:v>
                </c:pt>
                <c:pt idx="39856">
                  <c:v>24383</c:v>
                </c:pt>
                <c:pt idx="39857">
                  <c:v>24383</c:v>
                </c:pt>
                <c:pt idx="39858">
                  <c:v>24382</c:v>
                </c:pt>
                <c:pt idx="39859">
                  <c:v>24382</c:v>
                </c:pt>
                <c:pt idx="39860">
                  <c:v>24382</c:v>
                </c:pt>
                <c:pt idx="39861">
                  <c:v>24382</c:v>
                </c:pt>
                <c:pt idx="39862">
                  <c:v>24381</c:v>
                </c:pt>
                <c:pt idx="39863">
                  <c:v>24381</c:v>
                </c:pt>
                <c:pt idx="39864">
                  <c:v>24380</c:v>
                </c:pt>
                <c:pt idx="39865">
                  <c:v>24380</c:v>
                </c:pt>
                <c:pt idx="39866">
                  <c:v>24379</c:v>
                </c:pt>
                <c:pt idx="39867">
                  <c:v>24379</c:v>
                </c:pt>
                <c:pt idx="39868">
                  <c:v>24379</c:v>
                </c:pt>
                <c:pt idx="39869">
                  <c:v>24379</c:v>
                </c:pt>
                <c:pt idx="39870">
                  <c:v>24379</c:v>
                </c:pt>
                <c:pt idx="39871">
                  <c:v>24377</c:v>
                </c:pt>
                <c:pt idx="39872">
                  <c:v>24377</c:v>
                </c:pt>
                <c:pt idx="39873">
                  <c:v>24375</c:v>
                </c:pt>
                <c:pt idx="39874">
                  <c:v>24374</c:v>
                </c:pt>
                <c:pt idx="39875">
                  <c:v>24374</c:v>
                </c:pt>
                <c:pt idx="39876">
                  <c:v>24374</c:v>
                </c:pt>
                <c:pt idx="39877">
                  <c:v>24373</c:v>
                </c:pt>
                <c:pt idx="39878">
                  <c:v>24373</c:v>
                </c:pt>
                <c:pt idx="39879">
                  <c:v>24372</c:v>
                </c:pt>
                <c:pt idx="39880">
                  <c:v>24372</c:v>
                </c:pt>
                <c:pt idx="39881">
                  <c:v>24372</c:v>
                </c:pt>
                <c:pt idx="39882">
                  <c:v>24372</c:v>
                </c:pt>
                <c:pt idx="39883">
                  <c:v>24372</c:v>
                </c:pt>
                <c:pt idx="39884">
                  <c:v>24371</c:v>
                </c:pt>
                <c:pt idx="39885">
                  <c:v>24371</c:v>
                </c:pt>
                <c:pt idx="39886">
                  <c:v>24371</c:v>
                </c:pt>
                <c:pt idx="39887">
                  <c:v>24370</c:v>
                </c:pt>
                <c:pt idx="39888">
                  <c:v>24368</c:v>
                </c:pt>
                <c:pt idx="39889">
                  <c:v>24368</c:v>
                </c:pt>
                <c:pt idx="39890">
                  <c:v>24367</c:v>
                </c:pt>
                <c:pt idx="39891">
                  <c:v>24367</c:v>
                </c:pt>
                <c:pt idx="39892">
                  <c:v>24366</c:v>
                </c:pt>
                <c:pt idx="39893">
                  <c:v>24365</c:v>
                </c:pt>
                <c:pt idx="39894">
                  <c:v>24365</c:v>
                </c:pt>
                <c:pt idx="39895">
                  <c:v>24364</c:v>
                </c:pt>
                <c:pt idx="39896">
                  <c:v>24364</c:v>
                </c:pt>
                <c:pt idx="39897">
                  <c:v>24364</c:v>
                </c:pt>
                <c:pt idx="39898">
                  <c:v>24364</c:v>
                </c:pt>
                <c:pt idx="39899">
                  <c:v>24363</c:v>
                </c:pt>
                <c:pt idx="39900">
                  <c:v>24363</c:v>
                </c:pt>
                <c:pt idx="39901">
                  <c:v>24363</c:v>
                </c:pt>
                <c:pt idx="39902">
                  <c:v>24362</c:v>
                </c:pt>
                <c:pt idx="39903">
                  <c:v>24362</c:v>
                </c:pt>
                <c:pt idx="39904">
                  <c:v>24362</c:v>
                </c:pt>
                <c:pt idx="39905">
                  <c:v>24360</c:v>
                </c:pt>
                <c:pt idx="39906">
                  <c:v>24359</c:v>
                </c:pt>
                <c:pt idx="39907">
                  <c:v>24359</c:v>
                </c:pt>
                <c:pt idx="39908">
                  <c:v>24358</c:v>
                </c:pt>
                <c:pt idx="39909">
                  <c:v>24357</c:v>
                </c:pt>
                <c:pt idx="39910">
                  <c:v>24357</c:v>
                </c:pt>
                <c:pt idx="39911">
                  <c:v>24357</c:v>
                </c:pt>
                <c:pt idx="39912">
                  <c:v>24357</c:v>
                </c:pt>
                <c:pt idx="39913">
                  <c:v>24357</c:v>
                </c:pt>
                <c:pt idx="39914">
                  <c:v>24357</c:v>
                </c:pt>
                <c:pt idx="39915">
                  <c:v>24357</c:v>
                </c:pt>
                <c:pt idx="39916">
                  <c:v>24356</c:v>
                </c:pt>
                <c:pt idx="39917">
                  <c:v>24355</c:v>
                </c:pt>
                <c:pt idx="39918">
                  <c:v>24354</c:v>
                </c:pt>
                <c:pt idx="39919">
                  <c:v>24353</c:v>
                </c:pt>
                <c:pt idx="39920">
                  <c:v>24353</c:v>
                </c:pt>
                <c:pt idx="39921">
                  <c:v>24352</c:v>
                </c:pt>
                <c:pt idx="39922">
                  <c:v>24351</c:v>
                </c:pt>
                <c:pt idx="39923">
                  <c:v>24351</c:v>
                </c:pt>
                <c:pt idx="39924">
                  <c:v>24350</c:v>
                </c:pt>
                <c:pt idx="39925">
                  <c:v>24350</c:v>
                </c:pt>
                <c:pt idx="39926">
                  <c:v>24349</c:v>
                </c:pt>
                <c:pt idx="39927">
                  <c:v>24349</c:v>
                </c:pt>
                <c:pt idx="39928">
                  <c:v>24349</c:v>
                </c:pt>
                <c:pt idx="39929">
                  <c:v>24349</c:v>
                </c:pt>
                <c:pt idx="39930">
                  <c:v>24348</c:v>
                </c:pt>
                <c:pt idx="39931">
                  <c:v>24348</c:v>
                </c:pt>
                <c:pt idx="39932">
                  <c:v>24348</c:v>
                </c:pt>
                <c:pt idx="39933">
                  <c:v>24348</c:v>
                </c:pt>
                <c:pt idx="39934">
                  <c:v>24348</c:v>
                </c:pt>
                <c:pt idx="39935">
                  <c:v>24348</c:v>
                </c:pt>
                <c:pt idx="39936">
                  <c:v>24348</c:v>
                </c:pt>
                <c:pt idx="39937">
                  <c:v>24347</c:v>
                </c:pt>
                <c:pt idx="39938">
                  <c:v>24347</c:v>
                </c:pt>
                <c:pt idx="39939">
                  <c:v>24347</c:v>
                </c:pt>
                <c:pt idx="39940">
                  <c:v>24346</c:v>
                </c:pt>
                <c:pt idx="39941">
                  <c:v>24345</c:v>
                </c:pt>
                <c:pt idx="39942">
                  <c:v>24345</c:v>
                </c:pt>
                <c:pt idx="39943">
                  <c:v>24345</c:v>
                </c:pt>
                <c:pt idx="39944">
                  <c:v>24344</c:v>
                </c:pt>
                <c:pt idx="39945">
                  <c:v>24344</c:v>
                </c:pt>
                <c:pt idx="39946">
                  <c:v>24344</c:v>
                </c:pt>
                <c:pt idx="39947">
                  <c:v>24344</c:v>
                </c:pt>
                <c:pt idx="39948">
                  <c:v>24343</c:v>
                </c:pt>
                <c:pt idx="39949">
                  <c:v>24342</c:v>
                </c:pt>
                <c:pt idx="39950">
                  <c:v>24342</c:v>
                </c:pt>
                <c:pt idx="39951">
                  <c:v>24341</c:v>
                </c:pt>
                <c:pt idx="39952">
                  <c:v>24341</c:v>
                </c:pt>
                <c:pt idx="39953">
                  <c:v>24341</c:v>
                </c:pt>
                <c:pt idx="39954">
                  <c:v>24341</c:v>
                </c:pt>
                <c:pt idx="39955">
                  <c:v>24341</c:v>
                </c:pt>
                <c:pt idx="39956">
                  <c:v>24340</c:v>
                </c:pt>
                <c:pt idx="39957">
                  <c:v>24340</c:v>
                </c:pt>
                <c:pt idx="39958">
                  <c:v>24340</c:v>
                </c:pt>
                <c:pt idx="39959">
                  <c:v>24339</c:v>
                </c:pt>
                <c:pt idx="39960">
                  <c:v>24339</c:v>
                </c:pt>
                <c:pt idx="39961">
                  <c:v>24338</c:v>
                </c:pt>
                <c:pt idx="39962">
                  <c:v>24338</c:v>
                </c:pt>
                <c:pt idx="39963">
                  <c:v>24338</c:v>
                </c:pt>
                <c:pt idx="39964">
                  <c:v>24338</c:v>
                </c:pt>
                <c:pt idx="39965">
                  <c:v>24337</c:v>
                </c:pt>
                <c:pt idx="39966">
                  <c:v>24337</c:v>
                </c:pt>
                <c:pt idx="39967">
                  <c:v>24336</c:v>
                </c:pt>
                <c:pt idx="39968">
                  <c:v>24336</c:v>
                </c:pt>
                <c:pt idx="39969">
                  <c:v>24335</c:v>
                </c:pt>
                <c:pt idx="39970">
                  <c:v>24335</c:v>
                </c:pt>
                <c:pt idx="39971">
                  <c:v>24334</c:v>
                </c:pt>
                <c:pt idx="39972">
                  <c:v>24334</c:v>
                </c:pt>
                <c:pt idx="39973">
                  <c:v>24334</c:v>
                </c:pt>
                <c:pt idx="39974">
                  <c:v>24334</c:v>
                </c:pt>
                <c:pt idx="39975">
                  <c:v>24334</c:v>
                </c:pt>
                <c:pt idx="39976">
                  <c:v>24334</c:v>
                </c:pt>
                <c:pt idx="39977">
                  <c:v>24333</c:v>
                </c:pt>
                <c:pt idx="39978">
                  <c:v>24333</c:v>
                </c:pt>
                <c:pt idx="39979">
                  <c:v>24333</c:v>
                </c:pt>
                <c:pt idx="39980">
                  <c:v>24331</c:v>
                </c:pt>
                <c:pt idx="39981">
                  <c:v>24331</c:v>
                </c:pt>
                <c:pt idx="39982">
                  <c:v>24331</c:v>
                </c:pt>
                <c:pt idx="39983">
                  <c:v>24330</c:v>
                </c:pt>
                <c:pt idx="39984">
                  <c:v>24330</c:v>
                </c:pt>
                <c:pt idx="39985">
                  <c:v>24330</c:v>
                </c:pt>
                <c:pt idx="39986">
                  <c:v>24329</c:v>
                </c:pt>
                <c:pt idx="39987">
                  <c:v>24329</c:v>
                </c:pt>
                <c:pt idx="39988">
                  <c:v>24329</c:v>
                </c:pt>
                <c:pt idx="39989">
                  <c:v>24329</c:v>
                </c:pt>
                <c:pt idx="39990">
                  <c:v>24328</c:v>
                </c:pt>
                <c:pt idx="39991">
                  <c:v>24327</c:v>
                </c:pt>
                <c:pt idx="39992">
                  <c:v>24327</c:v>
                </c:pt>
                <c:pt idx="39993">
                  <c:v>24327</c:v>
                </c:pt>
                <c:pt idx="39994">
                  <c:v>24327</c:v>
                </c:pt>
                <c:pt idx="39995">
                  <c:v>24326</c:v>
                </c:pt>
                <c:pt idx="39996">
                  <c:v>24326</c:v>
                </c:pt>
                <c:pt idx="39997">
                  <c:v>24326</c:v>
                </c:pt>
                <c:pt idx="39998">
                  <c:v>24326</c:v>
                </c:pt>
                <c:pt idx="39999">
                  <c:v>24325</c:v>
                </c:pt>
                <c:pt idx="40000">
                  <c:v>24324</c:v>
                </c:pt>
                <c:pt idx="40001">
                  <c:v>24324</c:v>
                </c:pt>
                <c:pt idx="40002">
                  <c:v>24324</c:v>
                </c:pt>
                <c:pt idx="40003">
                  <c:v>24324</c:v>
                </c:pt>
                <c:pt idx="40004">
                  <c:v>24323</c:v>
                </c:pt>
                <c:pt idx="40005">
                  <c:v>24323</c:v>
                </c:pt>
                <c:pt idx="40006">
                  <c:v>24322</c:v>
                </c:pt>
                <c:pt idx="40007">
                  <c:v>24322</c:v>
                </c:pt>
                <c:pt idx="40008">
                  <c:v>24322</c:v>
                </c:pt>
                <c:pt idx="40009">
                  <c:v>24321</c:v>
                </c:pt>
                <c:pt idx="40010">
                  <c:v>24321</c:v>
                </c:pt>
                <c:pt idx="40011">
                  <c:v>24320</c:v>
                </c:pt>
                <c:pt idx="40012">
                  <c:v>24320</c:v>
                </c:pt>
                <c:pt idx="40013">
                  <c:v>24319</c:v>
                </c:pt>
                <c:pt idx="40014">
                  <c:v>24319</c:v>
                </c:pt>
                <c:pt idx="40015">
                  <c:v>24319</c:v>
                </c:pt>
                <c:pt idx="40016">
                  <c:v>24318</c:v>
                </c:pt>
                <c:pt idx="40017">
                  <c:v>24317</c:v>
                </c:pt>
                <c:pt idx="40018">
                  <c:v>24317</c:v>
                </c:pt>
                <c:pt idx="40019">
                  <c:v>24317</c:v>
                </c:pt>
                <c:pt idx="40020">
                  <c:v>24316</c:v>
                </c:pt>
                <c:pt idx="40021">
                  <c:v>24314</c:v>
                </c:pt>
                <c:pt idx="40022">
                  <c:v>24314</c:v>
                </c:pt>
                <c:pt idx="40023">
                  <c:v>24314</c:v>
                </c:pt>
                <c:pt idx="40024">
                  <c:v>24313</c:v>
                </c:pt>
                <c:pt idx="40025">
                  <c:v>24313</c:v>
                </c:pt>
                <c:pt idx="40026">
                  <c:v>24312</c:v>
                </c:pt>
                <c:pt idx="40027">
                  <c:v>24312</c:v>
                </c:pt>
                <c:pt idx="40028">
                  <c:v>24312</c:v>
                </c:pt>
                <c:pt idx="40029">
                  <c:v>24311</c:v>
                </c:pt>
                <c:pt idx="40030">
                  <c:v>24311</c:v>
                </c:pt>
                <c:pt idx="40031">
                  <c:v>24311</c:v>
                </c:pt>
                <c:pt idx="40032">
                  <c:v>24310</c:v>
                </c:pt>
                <c:pt idx="40033">
                  <c:v>24310</c:v>
                </c:pt>
                <c:pt idx="40034">
                  <c:v>24309</c:v>
                </c:pt>
                <c:pt idx="40035">
                  <c:v>24308</c:v>
                </c:pt>
                <c:pt idx="40036">
                  <c:v>24308</c:v>
                </c:pt>
                <c:pt idx="40037">
                  <c:v>24308</c:v>
                </c:pt>
                <c:pt idx="40038">
                  <c:v>24308</c:v>
                </c:pt>
                <c:pt idx="40039">
                  <c:v>24307</c:v>
                </c:pt>
                <c:pt idx="40040">
                  <c:v>24305</c:v>
                </c:pt>
                <c:pt idx="40041">
                  <c:v>24304</c:v>
                </c:pt>
                <c:pt idx="40042">
                  <c:v>24304</c:v>
                </c:pt>
                <c:pt idx="40043">
                  <c:v>24303</c:v>
                </c:pt>
                <c:pt idx="40044">
                  <c:v>24303</c:v>
                </c:pt>
                <c:pt idx="40045">
                  <c:v>24303</c:v>
                </c:pt>
                <c:pt idx="40046">
                  <c:v>24302</c:v>
                </c:pt>
                <c:pt idx="40047">
                  <c:v>24302</c:v>
                </c:pt>
                <c:pt idx="40048">
                  <c:v>24301</c:v>
                </c:pt>
                <c:pt idx="40049">
                  <c:v>24301</c:v>
                </c:pt>
                <c:pt idx="40050">
                  <c:v>24300</c:v>
                </c:pt>
                <c:pt idx="40051">
                  <c:v>24300</c:v>
                </c:pt>
                <c:pt idx="40052">
                  <c:v>24300</c:v>
                </c:pt>
                <c:pt idx="40053">
                  <c:v>24299</c:v>
                </c:pt>
                <c:pt idx="40054">
                  <c:v>24299</c:v>
                </c:pt>
                <c:pt idx="40055">
                  <c:v>24298</c:v>
                </c:pt>
                <c:pt idx="40056">
                  <c:v>24298</c:v>
                </c:pt>
                <c:pt idx="40057">
                  <c:v>24296</c:v>
                </c:pt>
                <c:pt idx="40058">
                  <c:v>24296</c:v>
                </c:pt>
                <c:pt idx="40059">
                  <c:v>24296</c:v>
                </c:pt>
                <c:pt idx="40060">
                  <c:v>24295</c:v>
                </c:pt>
                <c:pt idx="40061">
                  <c:v>24295</c:v>
                </c:pt>
                <c:pt idx="40062">
                  <c:v>24294</c:v>
                </c:pt>
                <c:pt idx="40063">
                  <c:v>24293</c:v>
                </c:pt>
                <c:pt idx="40064">
                  <c:v>24293</c:v>
                </c:pt>
                <c:pt idx="40065">
                  <c:v>24293</c:v>
                </c:pt>
                <c:pt idx="40066">
                  <c:v>24293</c:v>
                </c:pt>
                <c:pt idx="40067">
                  <c:v>24293</c:v>
                </c:pt>
                <c:pt idx="40068">
                  <c:v>24293</c:v>
                </c:pt>
                <c:pt idx="40069">
                  <c:v>24292</c:v>
                </c:pt>
                <c:pt idx="40070">
                  <c:v>24292</c:v>
                </c:pt>
                <c:pt idx="40071">
                  <c:v>24292</c:v>
                </c:pt>
                <c:pt idx="40072">
                  <c:v>24292</c:v>
                </c:pt>
                <c:pt idx="40073">
                  <c:v>24292</c:v>
                </c:pt>
                <c:pt idx="40074">
                  <c:v>24291</c:v>
                </c:pt>
                <c:pt idx="40075">
                  <c:v>24290</c:v>
                </c:pt>
                <c:pt idx="40076">
                  <c:v>24290</c:v>
                </c:pt>
                <c:pt idx="40077">
                  <c:v>24290</c:v>
                </c:pt>
                <c:pt idx="40078">
                  <c:v>24290</c:v>
                </c:pt>
                <c:pt idx="40079">
                  <c:v>24290</c:v>
                </c:pt>
                <c:pt idx="40080">
                  <c:v>24290</c:v>
                </c:pt>
                <c:pt idx="40081">
                  <c:v>24289</c:v>
                </c:pt>
                <c:pt idx="40082">
                  <c:v>24289</c:v>
                </c:pt>
                <c:pt idx="40083">
                  <c:v>24289</c:v>
                </c:pt>
                <c:pt idx="40084">
                  <c:v>24287</c:v>
                </c:pt>
                <c:pt idx="40085">
                  <c:v>24286</c:v>
                </c:pt>
                <c:pt idx="40086">
                  <c:v>24286</c:v>
                </c:pt>
                <c:pt idx="40087">
                  <c:v>24286</c:v>
                </c:pt>
                <c:pt idx="40088">
                  <c:v>24285</c:v>
                </c:pt>
                <c:pt idx="40089">
                  <c:v>24285</c:v>
                </c:pt>
                <c:pt idx="40090">
                  <c:v>24285</c:v>
                </c:pt>
                <c:pt idx="40091">
                  <c:v>24284</c:v>
                </c:pt>
                <c:pt idx="40092">
                  <c:v>24283</c:v>
                </c:pt>
                <c:pt idx="40093">
                  <c:v>24283</c:v>
                </c:pt>
                <c:pt idx="40094">
                  <c:v>24283</c:v>
                </c:pt>
                <c:pt idx="40095">
                  <c:v>24282</c:v>
                </c:pt>
                <c:pt idx="40096">
                  <c:v>24282</c:v>
                </c:pt>
                <c:pt idx="40097">
                  <c:v>24282</c:v>
                </c:pt>
                <c:pt idx="40098">
                  <c:v>24281</c:v>
                </c:pt>
                <c:pt idx="40099">
                  <c:v>24281</c:v>
                </c:pt>
                <c:pt idx="40100">
                  <c:v>24281</c:v>
                </c:pt>
                <c:pt idx="40101">
                  <c:v>24280</c:v>
                </c:pt>
                <c:pt idx="40102">
                  <c:v>24280</c:v>
                </c:pt>
                <c:pt idx="40103">
                  <c:v>24280</c:v>
                </c:pt>
                <c:pt idx="40104">
                  <c:v>24278</c:v>
                </c:pt>
                <c:pt idx="40105">
                  <c:v>24278</c:v>
                </c:pt>
                <c:pt idx="40106">
                  <c:v>24277</c:v>
                </c:pt>
                <c:pt idx="40107">
                  <c:v>24277</c:v>
                </c:pt>
                <c:pt idx="40108">
                  <c:v>24277</c:v>
                </c:pt>
                <c:pt idx="40109">
                  <c:v>24277</c:v>
                </c:pt>
                <c:pt idx="40110">
                  <c:v>24277</c:v>
                </c:pt>
                <c:pt idx="40111">
                  <c:v>24277</c:v>
                </c:pt>
                <c:pt idx="40112">
                  <c:v>24276</c:v>
                </c:pt>
                <c:pt idx="40113">
                  <c:v>24276</c:v>
                </c:pt>
                <c:pt idx="40114">
                  <c:v>24276</c:v>
                </c:pt>
                <c:pt idx="40115">
                  <c:v>24275</c:v>
                </c:pt>
                <c:pt idx="40116">
                  <c:v>24275</c:v>
                </c:pt>
                <c:pt idx="40117">
                  <c:v>24275</c:v>
                </c:pt>
                <c:pt idx="40118">
                  <c:v>24274</c:v>
                </c:pt>
                <c:pt idx="40119">
                  <c:v>24274</c:v>
                </c:pt>
                <c:pt idx="40120">
                  <c:v>24274</c:v>
                </c:pt>
                <c:pt idx="40121">
                  <c:v>24273</c:v>
                </c:pt>
                <c:pt idx="40122">
                  <c:v>24273</c:v>
                </c:pt>
                <c:pt idx="40123">
                  <c:v>24272</c:v>
                </c:pt>
                <c:pt idx="40124">
                  <c:v>24271</c:v>
                </c:pt>
                <c:pt idx="40125">
                  <c:v>24271</c:v>
                </c:pt>
                <c:pt idx="40126">
                  <c:v>24270</c:v>
                </c:pt>
                <c:pt idx="40127">
                  <c:v>24269</c:v>
                </c:pt>
                <c:pt idx="40128">
                  <c:v>24269</c:v>
                </c:pt>
                <c:pt idx="40129">
                  <c:v>24269</c:v>
                </c:pt>
                <c:pt idx="40130">
                  <c:v>24269</c:v>
                </c:pt>
                <c:pt idx="40131">
                  <c:v>24268</c:v>
                </c:pt>
                <c:pt idx="40132">
                  <c:v>24268</c:v>
                </c:pt>
                <c:pt idx="40133">
                  <c:v>24268</c:v>
                </c:pt>
                <c:pt idx="40134">
                  <c:v>24268</c:v>
                </c:pt>
                <c:pt idx="40135">
                  <c:v>24268</c:v>
                </c:pt>
                <c:pt idx="40136">
                  <c:v>24265</c:v>
                </c:pt>
                <c:pt idx="40137">
                  <c:v>24265</c:v>
                </c:pt>
                <c:pt idx="40138">
                  <c:v>24265</c:v>
                </c:pt>
                <c:pt idx="40139">
                  <c:v>24264</c:v>
                </c:pt>
                <c:pt idx="40140">
                  <c:v>24263</c:v>
                </c:pt>
                <c:pt idx="40141">
                  <c:v>24263</c:v>
                </c:pt>
                <c:pt idx="40142">
                  <c:v>24263</c:v>
                </c:pt>
                <c:pt idx="40143">
                  <c:v>24263</c:v>
                </c:pt>
                <c:pt idx="40144">
                  <c:v>24263</c:v>
                </c:pt>
                <c:pt idx="40145">
                  <c:v>24263</c:v>
                </c:pt>
                <c:pt idx="40146">
                  <c:v>24262</c:v>
                </c:pt>
                <c:pt idx="40147">
                  <c:v>24262</c:v>
                </c:pt>
                <c:pt idx="40148">
                  <c:v>24261</c:v>
                </c:pt>
                <c:pt idx="40149">
                  <c:v>24261</c:v>
                </c:pt>
                <c:pt idx="40150">
                  <c:v>24261</c:v>
                </c:pt>
                <c:pt idx="40151">
                  <c:v>24261</c:v>
                </c:pt>
                <c:pt idx="40152">
                  <c:v>24261</c:v>
                </c:pt>
                <c:pt idx="40153">
                  <c:v>24261</c:v>
                </c:pt>
                <c:pt idx="40154">
                  <c:v>24260</c:v>
                </c:pt>
                <c:pt idx="40155">
                  <c:v>24260</c:v>
                </c:pt>
                <c:pt idx="40156">
                  <c:v>24260</c:v>
                </c:pt>
                <c:pt idx="40157">
                  <c:v>24260</c:v>
                </c:pt>
                <c:pt idx="40158">
                  <c:v>24260</c:v>
                </c:pt>
                <c:pt idx="40159">
                  <c:v>24259</c:v>
                </c:pt>
                <c:pt idx="40160">
                  <c:v>24259</c:v>
                </c:pt>
                <c:pt idx="40161">
                  <c:v>24258</c:v>
                </c:pt>
                <c:pt idx="40162">
                  <c:v>24258</c:v>
                </c:pt>
                <c:pt idx="40163">
                  <c:v>24258</c:v>
                </c:pt>
                <c:pt idx="40164">
                  <c:v>24258</c:v>
                </c:pt>
                <c:pt idx="40165">
                  <c:v>24258</c:v>
                </c:pt>
                <c:pt idx="40166">
                  <c:v>24257</c:v>
                </c:pt>
                <c:pt idx="40167">
                  <c:v>24257</c:v>
                </c:pt>
                <c:pt idx="40168">
                  <c:v>24256</c:v>
                </c:pt>
                <c:pt idx="40169">
                  <c:v>24256</c:v>
                </c:pt>
                <c:pt idx="40170">
                  <c:v>24256</c:v>
                </c:pt>
                <c:pt idx="40171">
                  <c:v>24254</c:v>
                </c:pt>
                <c:pt idx="40172">
                  <c:v>24253</c:v>
                </c:pt>
                <c:pt idx="40173">
                  <c:v>24253</c:v>
                </c:pt>
                <c:pt idx="40174">
                  <c:v>24252</c:v>
                </c:pt>
                <c:pt idx="40175">
                  <c:v>24251</c:v>
                </c:pt>
                <c:pt idx="40176">
                  <c:v>24251</c:v>
                </c:pt>
                <c:pt idx="40177">
                  <c:v>24250</c:v>
                </c:pt>
                <c:pt idx="40178">
                  <c:v>24250</c:v>
                </c:pt>
                <c:pt idx="40179">
                  <c:v>24250</c:v>
                </c:pt>
                <c:pt idx="40180">
                  <c:v>24249</c:v>
                </c:pt>
                <c:pt idx="40181">
                  <c:v>24249</c:v>
                </c:pt>
                <c:pt idx="40182">
                  <c:v>24248</c:v>
                </c:pt>
                <c:pt idx="40183">
                  <c:v>24247</c:v>
                </c:pt>
                <c:pt idx="40184">
                  <c:v>24247</c:v>
                </c:pt>
                <c:pt idx="40185">
                  <c:v>24245</c:v>
                </c:pt>
                <c:pt idx="40186">
                  <c:v>24245</c:v>
                </c:pt>
                <c:pt idx="40187">
                  <c:v>24245</c:v>
                </c:pt>
                <c:pt idx="40188">
                  <c:v>24244</c:v>
                </c:pt>
                <c:pt idx="40189">
                  <c:v>24244</c:v>
                </c:pt>
                <c:pt idx="40190">
                  <c:v>24244</c:v>
                </c:pt>
                <c:pt idx="40191">
                  <c:v>24243</c:v>
                </c:pt>
                <c:pt idx="40192">
                  <c:v>24243</c:v>
                </c:pt>
                <c:pt idx="40193">
                  <c:v>24243</c:v>
                </c:pt>
                <c:pt idx="40194">
                  <c:v>24243</c:v>
                </c:pt>
                <c:pt idx="40195">
                  <c:v>24242</c:v>
                </c:pt>
                <c:pt idx="40196">
                  <c:v>24242</c:v>
                </c:pt>
                <c:pt idx="40197">
                  <c:v>24242</c:v>
                </c:pt>
                <c:pt idx="40198">
                  <c:v>24242</c:v>
                </c:pt>
                <c:pt idx="40199">
                  <c:v>24242</c:v>
                </c:pt>
                <c:pt idx="40200">
                  <c:v>24242</c:v>
                </c:pt>
                <c:pt idx="40201">
                  <c:v>24241</c:v>
                </c:pt>
                <c:pt idx="40202">
                  <c:v>24241</c:v>
                </c:pt>
                <c:pt idx="40203">
                  <c:v>24241</c:v>
                </c:pt>
                <c:pt idx="40204">
                  <c:v>24241</c:v>
                </c:pt>
                <c:pt idx="40205">
                  <c:v>24241</c:v>
                </c:pt>
                <c:pt idx="40206">
                  <c:v>24241</c:v>
                </c:pt>
                <c:pt idx="40207">
                  <c:v>24240</c:v>
                </c:pt>
                <c:pt idx="40208">
                  <c:v>24240</c:v>
                </c:pt>
                <c:pt idx="40209">
                  <c:v>24240</c:v>
                </c:pt>
                <c:pt idx="40210">
                  <c:v>24240</c:v>
                </c:pt>
                <c:pt idx="40211">
                  <c:v>24239</c:v>
                </c:pt>
                <c:pt idx="40212">
                  <c:v>24239</c:v>
                </c:pt>
                <c:pt idx="40213">
                  <c:v>24238</c:v>
                </c:pt>
                <c:pt idx="40214">
                  <c:v>24237</c:v>
                </c:pt>
                <c:pt idx="40215">
                  <c:v>24236</c:v>
                </c:pt>
                <c:pt idx="40216">
                  <c:v>24236</c:v>
                </c:pt>
                <c:pt idx="40217">
                  <c:v>24235</c:v>
                </c:pt>
                <c:pt idx="40218">
                  <c:v>24235</c:v>
                </c:pt>
                <c:pt idx="40219">
                  <c:v>24235</c:v>
                </c:pt>
                <c:pt idx="40220">
                  <c:v>24233</c:v>
                </c:pt>
                <c:pt idx="40221">
                  <c:v>24233</c:v>
                </c:pt>
                <c:pt idx="40222">
                  <c:v>24232</c:v>
                </c:pt>
                <c:pt idx="40223">
                  <c:v>24232</c:v>
                </c:pt>
                <c:pt idx="40224">
                  <c:v>24230</c:v>
                </c:pt>
                <c:pt idx="40225">
                  <c:v>24230</c:v>
                </c:pt>
                <c:pt idx="40226">
                  <c:v>24230</c:v>
                </c:pt>
                <c:pt idx="40227">
                  <c:v>24229</c:v>
                </c:pt>
                <c:pt idx="40228">
                  <c:v>24228</c:v>
                </c:pt>
                <c:pt idx="40229">
                  <c:v>24228</c:v>
                </c:pt>
                <c:pt idx="40230">
                  <c:v>24228</c:v>
                </c:pt>
                <c:pt idx="40231">
                  <c:v>24228</c:v>
                </c:pt>
                <c:pt idx="40232">
                  <c:v>24228</c:v>
                </c:pt>
                <c:pt idx="40233">
                  <c:v>24227</c:v>
                </c:pt>
                <c:pt idx="40234">
                  <c:v>24226</c:v>
                </c:pt>
                <c:pt idx="40235">
                  <c:v>24226</c:v>
                </c:pt>
                <c:pt idx="40236">
                  <c:v>24226</c:v>
                </c:pt>
                <c:pt idx="40237">
                  <c:v>24226</c:v>
                </c:pt>
                <c:pt idx="40238">
                  <c:v>24225</c:v>
                </c:pt>
                <c:pt idx="40239">
                  <c:v>24225</c:v>
                </c:pt>
                <c:pt idx="40240">
                  <c:v>24224</c:v>
                </c:pt>
                <c:pt idx="40241">
                  <c:v>24224</c:v>
                </c:pt>
                <c:pt idx="40242">
                  <c:v>24223</c:v>
                </c:pt>
                <c:pt idx="40243">
                  <c:v>24223</c:v>
                </c:pt>
                <c:pt idx="40244">
                  <c:v>24223</c:v>
                </c:pt>
                <c:pt idx="40245">
                  <c:v>24223</c:v>
                </c:pt>
                <c:pt idx="40246">
                  <c:v>24222</c:v>
                </c:pt>
                <c:pt idx="40247">
                  <c:v>24222</c:v>
                </c:pt>
                <c:pt idx="40248">
                  <c:v>24221</c:v>
                </c:pt>
                <c:pt idx="40249">
                  <c:v>24221</c:v>
                </c:pt>
                <c:pt idx="40250">
                  <c:v>24221</c:v>
                </c:pt>
                <c:pt idx="40251">
                  <c:v>24221</c:v>
                </c:pt>
                <c:pt idx="40252">
                  <c:v>24221</c:v>
                </c:pt>
                <c:pt idx="40253">
                  <c:v>24220</c:v>
                </c:pt>
                <c:pt idx="40254">
                  <c:v>24220</c:v>
                </c:pt>
                <c:pt idx="40255">
                  <c:v>24220</c:v>
                </c:pt>
                <c:pt idx="40256">
                  <c:v>24220</c:v>
                </c:pt>
                <c:pt idx="40257">
                  <c:v>24220</c:v>
                </c:pt>
                <c:pt idx="40258">
                  <c:v>24220</c:v>
                </c:pt>
                <c:pt idx="40259">
                  <c:v>24219</c:v>
                </c:pt>
                <c:pt idx="40260">
                  <c:v>24219</c:v>
                </c:pt>
                <c:pt idx="40261">
                  <c:v>24218</c:v>
                </c:pt>
                <c:pt idx="40262">
                  <c:v>24217</c:v>
                </c:pt>
                <c:pt idx="40263">
                  <c:v>24217</c:v>
                </c:pt>
                <c:pt idx="40264">
                  <c:v>24216</c:v>
                </c:pt>
                <c:pt idx="40265">
                  <c:v>24216</c:v>
                </c:pt>
                <c:pt idx="40266">
                  <c:v>24215</c:v>
                </c:pt>
                <c:pt idx="40267">
                  <c:v>24212</c:v>
                </c:pt>
                <c:pt idx="40268">
                  <c:v>24212</c:v>
                </c:pt>
                <c:pt idx="40269">
                  <c:v>24210</c:v>
                </c:pt>
                <c:pt idx="40270">
                  <c:v>24210</c:v>
                </c:pt>
                <c:pt idx="40271">
                  <c:v>24209</c:v>
                </c:pt>
                <c:pt idx="40272">
                  <c:v>24209</c:v>
                </c:pt>
                <c:pt idx="40273">
                  <c:v>24209</c:v>
                </c:pt>
                <c:pt idx="40274">
                  <c:v>24209</c:v>
                </c:pt>
                <c:pt idx="40275">
                  <c:v>24208</c:v>
                </c:pt>
                <c:pt idx="40276">
                  <c:v>24208</c:v>
                </c:pt>
                <c:pt idx="40277">
                  <c:v>24208</c:v>
                </c:pt>
                <c:pt idx="40278">
                  <c:v>24208</c:v>
                </c:pt>
                <c:pt idx="40279">
                  <c:v>24208</c:v>
                </c:pt>
                <c:pt idx="40280">
                  <c:v>24207</c:v>
                </c:pt>
                <c:pt idx="40281">
                  <c:v>24206</c:v>
                </c:pt>
                <c:pt idx="40282">
                  <c:v>24206</c:v>
                </c:pt>
                <c:pt idx="40283">
                  <c:v>24206</c:v>
                </c:pt>
                <c:pt idx="40284">
                  <c:v>24206</c:v>
                </c:pt>
                <c:pt idx="40285">
                  <c:v>24205</c:v>
                </c:pt>
                <c:pt idx="40286">
                  <c:v>24205</c:v>
                </c:pt>
                <c:pt idx="40287">
                  <c:v>24205</c:v>
                </c:pt>
                <c:pt idx="40288">
                  <c:v>24204</c:v>
                </c:pt>
                <c:pt idx="40289">
                  <c:v>24204</c:v>
                </c:pt>
                <c:pt idx="40290">
                  <c:v>24204</c:v>
                </c:pt>
                <c:pt idx="40291">
                  <c:v>24202</c:v>
                </c:pt>
                <c:pt idx="40292">
                  <c:v>24202</c:v>
                </c:pt>
                <c:pt idx="40293">
                  <c:v>24202</c:v>
                </c:pt>
                <c:pt idx="40294">
                  <c:v>24201</c:v>
                </c:pt>
                <c:pt idx="40295">
                  <c:v>24200</c:v>
                </c:pt>
                <c:pt idx="40296">
                  <c:v>24200</c:v>
                </c:pt>
                <c:pt idx="40297">
                  <c:v>24199</c:v>
                </c:pt>
                <c:pt idx="40298">
                  <c:v>24199</c:v>
                </c:pt>
                <c:pt idx="40299">
                  <c:v>24199</c:v>
                </c:pt>
                <c:pt idx="40300">
                  <c:v>24198</c:v>
                </c:pt>
                <c:pt idx="40301">
                  <c:v>24197</c:v>
                </c:pt>
                <c:pt idx="40302">
                  <c:v>24197</c:v>
                </c:pt>
                <c:pt idx="40303">
                  <c:v>24196</c:v>
                </c:pt>
                <c:pt idx="40304">
                  <c:v>24196</c:v>
                </c:pt>
                <c:pt idx="40305">
                  <c:v>24196</c:v>
                </c:pt>
                <c:pt idx="40306">
                  <c:v>24195</c:v>
                </c:pt>
                <c:pt idx="40307">
                  <c:v>24195</c:v>
                </c:pt>
                <c:pt idx="40308">
                  <c:v>24195</c:v>
                </c:pt>
                <c:pt idx="40309">
                  <c:v>24195</c:v>
                </c:pt>
                <c:pt idx="40310">
                  <c:v>24194</c:v>
                </c:pt>
                <c:pt idx="40311">
                  <c:v>24194</c:v>
                </c:pt>
                <c:pt idx="40312">
                  <c:v>24193</c:v>
                </c:pt>
                <c:pt idx="40313">
                  <c:v>24192</c:v>
                </c:pt>
                <c:pt idx="40314">
                  <c:v>24191</c:v>
                </c:pt>
                <c:pt idx="40315">
                  <c:v>24191</c:v>
                </c:pt>
                <c:pt idx="40316">
                  <c:v>24191</c:v>
                </c:pt>
                <c:pt idx="40317">
                  <c:v>24191</c:v>
                </c:pt>
                <c:pt idx="40318">
                  <c:v>24190</c:v>
                </c:pt>
                <c:pt idx="40319">
                  <c:v>24190</c:v>
                </c:pt>
                <c:pt idx="40320">
                  <c:v>24189</c:v>
                </c:pt>
                <c:pt idx="40321">
                  <c:v>24189</c:v>
                </c:pt>
                <c:pt idx="40322">
                  <c:v>24189</c:v>
                </c:pt>
                <c:pt idx="40323">
                  <c:v>24187</c:v>
                </c:pt>
                <c:pt idx="40324">
                  <c:v>24187</c:v>
                </c:pt>
                <c:pt idx="40325">
                  <c:v>24187</c:v>
                </c:pt>
                <c:pt idx="40326">
                  <c:v>24186</c:v>
                </c:pt>
                <c:pt idx="40327">
                  <c:v>24185</c:v>
                </c:pt>
                <c:pt idx="40328">
                  <c:v>24185</c:v>
                </c:pt>
                <c:pt idx="40329">
                  <c:v>24184</c:v>
                </c:pt>
                <c:pt idx="40330">
                  <c:v>24184</c:v>
                </c:pt>
                <c:pt idx="40331">
                  <c:v>24184</c:v>
                </c:pt>
                <c:pt idx="40332">
                  <c:v>24183</c:v>
                </c:pt>
                <c:pt idx="40333">
                  <c:v>24183</c:v>
                </c:pt>
                <c:pt idx="40334">
                  <c:v>24183</c:v>
                </c:pt>
                <c:pt idx="40335">
                  <c:v>24183</c:v>
                </c:pt>
                <c:pt idx="40336">
                  <c:v>24183</c:v>
                </c:pt>
                <c:pt idx="40337">
                  <c:v>24182</c:v>
                </c:pt>
                <c:pt idx="40338">
                  <c:v>24182</c:v>
                </c:pt>
                <c:pt idx="40339">
                  <c:v>24181</c:v>
                </c:pt>
                <c:pt idx="40340">
                  <c:v>24181</c:v>
                </c:pt>
                <c:pt idx="40341">
                  <c:v>24180</c:v>
                </c:pt>
                <c:pt idx="40342">
                  <c:v>24179</c:v>
                </c:pt>
                <c:pt idx="40343">
                  <c:v>24179</c:v>
                </c:pt>
                <c:pt idx="40344">
                  <c:v>24179</c:v>
                </c:pt>
                <c:pt idx="40345">
                  <c:v>24178</c:v>
                </c:pt>
                <c:pt idx="40346">
                  <c:v>24178</c:v>
                </c:pt>
                <c:pt idx="40347">
                  <c:v>24178</c:v>
                </c:pt>
                <c:pt idx="40348">
                  <c:v>24178</c:v>
                </c:pt>
                <c:pt idx="40349">
                  <c:v>24178</c:v>
                </c:pt>
                <c:pt idx="40350">
                  <c:v>24178</c:v>
                </c:pt>
                <c:pt idx="40351">
                  <c:v>24177</c:v>
                </c:pt>
                <c:pt idx="40352">
                  <c:v>24177</c:v>
                </c:pt>
                <c:pt idx="40353">
                  <c:v>24177</c:v>
                </c:pt>
                <c:pt idx="40354">
                  <c:v>24177</c:v>
                </c:pt>
                <c:pt idx="40355">
                  <c:v>24176</c:v>
                </c:pt>
                <c:pt idx="40356">
                  <c:v>24176</c:v>
                </c:pt>
                <c:pt idx="40357">
                  <c:v>24176</c:v>
                </c:pt>
                <c:pt idx="40358">
                  <c:v>24175</c:v>
                </c:pt>
                <c:pt idx="40359">
                  <c:v>24174</c:v>
                </c:pt>
                <c:pt idx="40360">
                  <c:v>24173</c:v>
                </c:pt>
                <c:pt idx="40361">
                  <c:v>24172</c:v>
                </c:pt>
                <c:pt idx="40362">
                  <c:v>24172</c:v>
                </c:pt>
                <c:pt idx="40363">
                  <c:v>24172</c:v>
                </c:pt>
                <c:pt idx="40364">
                  <c:v>24172</c:v>
                </c:pt>
                <c:pt idx="40365">
                  <c:v>24171</c:v>
                </c:pt>
                <c:pt idx="40366">
                  <c:v>24171</c:v>
                </c:pt>
                <c:pt idx="40367">
                  <c:v>24171</c:v>
                </c:pt>
                <c:pt idx="40368">
                  <c:v>24171</c:v>
                </c:pt>
                <c:pt idx="40369">
                  <c:v>24171</c:v>
                </c:pt>
                <c:pt idx="40370">
                  <c:v>24170</c:v>
                </c:pt>
                <c:pt idx="40371">
                  <c:v>24170</c:v>
                </c:pt>
                <c:pt idx="40372">
                  <c:v>24170</c:v>
                </c:pt>
                <c:pt idx="40373">
                  <c:v>24170</c:v>
                </c:pt>
                <c:pt idx="40374">
                  <c:v>24170</c:v>
                </c:pt>
                <c:pt idx="40375">
                  <c:v>24170</c:v>
                </c:pt>
                <c:pt idx="40376">
                  <c:v>24169</c:v>
                </c:pt>
                <c:pt idx="40377">
                  <c:v>24168</c:v>
                </c:pt>
                <c:pt idx="40378">
                  <c:v>24167</c:v>
                </c:pt>
                <c:pt idx="40379">
                  <c:v>24167</c:v>
                </c:pt>
                <c:pt idx="40380">
                  <c:v>24167</c:v>
                </c:pt>
                <c:pt idx="40381">
                  <c:v>24166</c:v>
                </c:pt>
                <c:pt idx="40382">
                  <c:v>24166</c:v>
                </c:pt>
                <c:pt idx="40383">
                  <c:v>24166</c:v>
                </c:pt>
                <c:pt idx="40384">
                  <c:v>24165</c:v>
                </c:pt>
                <c:pt idx="40385">
                  <c:v>24165</c:v>
                </c:pt>
                <c:pt idx="40386">
                  <c:v>24165</c:v>
                </c:pt>
                <c:pt idx="40387">
                  <c:v>24165</c:v>
                </c:pt>
                <c:pt idx="40388">
                  <c:v>24163</c:v>
                </c:pt>
                <c:pt idx="40389">
                  <c:v>24163</c:v>
                </c:pt>
                <c:pt idx="40390">
                  <c:v>24163</c:v>
                </c:pt>
                <c:pt idx="40391">
                  <c:v>24163</c:v>
                </c:pt>
                <c:pt idx="40392">
                  <c:v>24162</c:v>
                </c:pt>
                <c:pt idx="40393">
                  <c:v>24161</c:v>
                </c:pt>
                <c:pt idx="40394">
                  <c:v>24159</c:v>
                </c:pt>
                <c:pt idx="40395">
                  <c:v>24157</c:v>
                </c:pt>
                <c:pt idx="40396">
                  <c:v>24157</c:v>
                </c:pt>
                <c:pt idx="40397">
                  <c:v>24157</c:v>
                </c:pt>
                <c:pt idx="40398">
                  <c:v>24156</c:v>
                </c:pt>
                <c:pt idx="40399">
                  <c:v>24156</c:v>
                </c:pt>
                <c:pt idx="40400">
                  <c:v>24155</c:v>
                </c:pt>
                <c:pt idx="40401">
                  <c:v>24155</c:v>
                </c:pt>
                <c:pt idx="40402">
                  <c:v>24155</c:v>
                </c:pt>
                <c:pt idx="40403">
                  <c:v>24155</c:v>
                </c:pt>
                <c:pt idx="40404">
                  <c:v>24155</c:v>
                </c:pt>
                <c:pt idx="40405">
                  <c:v>24154</c:v>
                </c:pt>
                <c:pt idx="40406">
                  <c:v>24154</c:v>
                </c:pt>
                <c:pt idx="40407">
                  <c:v>24153</c:v>
                </c:pt>
                <c:pt idx="40408">
                  <c:v>24153</c:v>
                </c:pt>
                <c:pt idx="40409">
                  <c:v>24153</c:v>
                </c:pt>
                <c:pt idx="40410">
                  <c:v>24153</c:v>
                </c:pt>
                <c:pt idx="40411">
                  <c:v>24152</c:v>
                </c:pt>
                <c:pt idx="40412">
                  <c:v>24152</c:v>
                </c:pt>
                <c:pt idx="40413">
                  <c:v>24152</c:v>
                </c:pt>
                <c:pt idx="40414">
                  <c:v>24151</c:v>
                </c:pt>
                <c:pt idx="40415">
                  <c:v>24151</c:v>
                </c:pt>
                <c:pt idx="40416">
                  <c:v>24150</c:v>
                </c:pt>
                <c:pt idx="40417">
                  <c:v>24150</c:v>
                </c:pt>
                <c:pt idx="40418">
                  <c:v>24150</c:v>
                </c:pt>
                <c:pt idx="40419">
                  <c:v>24150</c:v>
                </c:pt>
                <c:pt idx="40420">
                  <c:v>24149</c:v>
                </c:pt>
                <c:pt idx="40421">
                  <c:v>24149</c:v>
                </c:pt>
                <c:pt idx="40422">
                  <c:v>24148</c:v>
                </c:pt>
                <c:pt idx="40423">
                  <c:v>24148</c:v>
                </c:pt>
                <c:pt idx="40424">
                  <c:v>24148</c:v>
                </c:pt>
                <c:pt idx="40425">
                  <c:v>24147</c:v>
                </c:pt>
                <c:pt idx="40426">
                  <c:v>24147</c:v>
                </c:pt>
                <c:pt idx="40427">
                  <c:v>24146</c:v>
                </c:pt>
                <c:pt idx="40428">
                  <c:v>24145</c:v>
                </c:pt>
                <c:pt idx="40429">
                  <c:v>24145</c:v>
                </c:pt>
                <c:pt idx="40430">
                  <c:v>24145</c:v>
                </c:pt>
                <c:pt idx="40431">
                  <c:v>24145</c:v>
                </c:pt>
                <c:pt idx="40432">
                  <c:v>24144</c:v>
                </c:pt>
                <c:pt idx="40433">
                  <c:v>24144</c:v>
                </c:pt>
                <c:pt idx="40434">
                  <c:v>24143</c:v>
                </c:pt>
                <c:pt idx="40435">
                  <c:v>24143</c:v>
                </c:pt>
                <c:pt idx="40436">
                  <c:v>24142</c:v>
                </c:pt>
                <c:pt idx="40437">
                  <c:v>24141</c:v>
                </c:pt>
                <c:pt idx="40438">
                  <c:v>24141</c:v>
                </c:pt>
                <c:pt idx="40439">
                  <c:v>24140</c:v>
                </c:pt>
                <c:pt idx="40440">
                  <c:v>24140</c:v>
                </c:pt>
                <c:pt idx="40441">
                  <c:v>24140</c:v>
                </c:pt>
                <c:pt idx="40442">
                  <c:v>24139</c:v>
                </c:pt>
                <c:pt idx="40443">
                  <c:v>24139</c:v>
                </c:pt>
                <c:pt idx="40444">
                  <c:v>24138</c:v>
                </c:pt>
                <c:pt idx="40445">
                  <c:v>24138</c:v>
                </c:pt>
                <c:pt idx="40446">
                  <c:v>24138</c:v>
                </c:pt>
                <c:pt idx="40447">
                  <c:v>24137</c:v>
                </c:pt>
                <c:pt idx="40448">
                  <c:v>24137</c:v>
                </c:pt>
                <c:pt idx="40449">
                  <c:v>24136</c:v>
                </c:pt>
                <c:pt idx="40450">
                  <c:v>24135</c:v>
                </c:pt>
                <c:pt idx="40451">
                  <c:v>24135</c:v>
                </c:pt>
                <c:pt idx="40452">
                  <c:v>24135</c:v>
                </c:pt>
                <c:pt idx="40453">
                  <c:v>24134</c:v>
                </c:pt>
                <c:pt idx="40454">
                  <c:v>24133</c:v>
                </c:pt>
                <c:pt idx="40455">
                  <c:v>24133</c:v>
                </c:pt>
                <c:pt idx="40456">
                  <c:v>24132</c:v>
                </c:pt>
                <c:pt idx="40457">
                  <c:v>24132</c:v>
                </c:pt>
                <c:pt idx="40458">
                  <c:v>24131</c:v>
                </c:pt>
                <c:pt idx="40459">
                  <c:v>24131</c:v>
                </c:pt>
                <c:pt idx="40460">
                  <c:v>24131</c:v>
                </c:pt>
                <c:pt idx="40461">
                  <c:v>24128</c:v>
                </c:pt>
                <c:pt idx="40462">
                  <c:v>24128</c:v>
                </c:pt>
                <c:pt idx="40463">
                  <c:v>24127</c:v>
                </c:pt>
                <c:pt idx="40464">
                  <c:v>24127</c:v>
                </c:pt>
                <c:pt idx="40465">
                  <c:v>24127</c:v>
                </c:pt>
                <c:pt idx="40466">
                  <c:v>24127</c:v>
                </c:pt>
                <c:pt idx="40467">
                  <c:v>24126</c:v>
                </c:pt>
                <c:pt idx="40468">
                  <c:v>24126</c:v>
                </c:pt>
                <c:pt idx="40469">
                  <c:v>24125</c:v>
                </c:pt>
                <c:pt idx="40470">
                  <c:v>24124</c:v>
                </c:pt>
                <c:pt idx="40471">
                  <c:v>24124</c:v>
                </c:pt>
                <c:pt idx="40472">
                  <c:v>24124</c:v>
                </c:pt>
                <c:pt idx="40473">
                  <c:v>24123</c:v>
                </c:pt>
                <c:pt idx="40474">
                  <c:v>24122</c:v>
                </c:pt>
                <c:pt idx="40475">
                  <c:v>24122</c:v>
                </c:pt>
                <c:pt idx="40476">
                  <c:v>24122</c:v>
                </c:pt>
                <c:pt idx="40477">
                  <c:v>24122</c:v>
                </c:pt>
                <c:pt idx="40478">
                  <c:v>24122</c:v>
                </c:pt>
                <c:pt idx="40479">
                  <c:v>24121</c:v>
                </c:pt>
                <c:pt idx="40480">
                  <c:v>24121</c:v>
                </c:pt>
                <c:pt idx="40481">
                  <c:v>24121</c:v>
                </c:pt>
                <c:pt idx="40482">
                  <c:v>24120</c:v>
                </c:pt>
                <c:pt idx="40483">
                  <c:v>24120</c:v>
                </c:pt>
                <c:pt idx="40484">
                  <c:v>24119</c:v>
                </c:pt>
                <c:pt idx="40485">
                  <c:v>24119</c:v>
                </c:pt>
                <c:pt idx="40486">
                  <c:v>24118</c:v>
                </c:pt>
                <c:pt idx="40487">
                  <c:v>24116</c:v>
                </c:pt>
                <c:pt idx="40488">
                  <c:v>24116</c:v>
                </c:pt>
                <c:pt idx="40489">
                  <c:v>24115</c:v>
                </c:pt>
                <c:pt idx="40490">
                  <c:v>24115</c:v>
                </c:pt>
                <c:pt idx="40491">
                  <c:v>24115</c:v>
                </c:pt>
                <c:pt idx="40492">
                  <c:v>24115</c:v>
                </c:pt>
                <c:pt idx="40493">
                  <c:v>24114</c:v>
                </c:pt>
                <c:pt idx="40494">
                  <c:v>24114</c:v>
                </c:pt>
                <c:pt idx="40495">
                  <c:v>24114</c:v>
                </c:pt>
                <c:pt idx="40496">
                  <c:v>24114</c:v>
                </c:pt>
                <c:pt idx="40497">
                  <c:v>24113</c:v>
                </c:pt>
                <c:pt idx="40498">
                  <c:v>24113</c:v>
                </c:pt>
                <c:pt idx="40499">
                  <c:v>24112</c:v>
                </c:pt>
                <c:pt idx="40500">
                  <c:v>24112</c:v>
                </c:pt>
                <c:pt idx="40501">
                  <c:v>24112</c:v>
                </c:pt>
                <c:pt idx="40502">
                  <c:v>24112</c:v>
                </c:pt>
                <c:pt idx="40503">
                  <c:v>24112</c:v>
                </c:pt>
                <c:pt idx="40504">
                  <c:v>24112</c:v>
                </c:pt>
                <c:pt idx="40505">
                  <c:v>24111</c:v>
                </c:pt>
                <c:pt idx="40506">
                  <c:v>24111</c:v>
                </c:pt>
                <c:pt idx="40507">
                  <c:v>24111</c:v>
                </c:pt>
                <c:pt idx="40508">
                  <c:v>24110</c:v>
                </c:pt>
                <c:pt idx="40509">
                  <c:v>24110</c:v>
                </c:pt>
                <c:pt idx="40510">
                  <c:v>24110</c:v>
                </c:pt>
                <c:pt idx="40511">
                  <c:v>24110</c:v>
                </c:pt>
                <c:pt idx="40512">
                  <c:v>24109</c:v>
                </c:pt>
                <c:pt idx="40513">
                  <c:v>24109</c:v>
                </c:pt>
                <c:pt idx="40514">
                  <c:v>24109</c:v>
                </c:pt>
                <c:pt idx="40515">
                  <c:v>24108</c:v>
                </c:pt>
                <c:pt idx="40516">
                  <c:v>24108</c:v>
                </c:pt>
                <c:pt idx="40517">
                  <c:v>24108</c:v>
                </c:pt>
                <c:pt idx="40518">
                  <c:v>24107</c:v>
                </c:pt>
                <c:pt idx="40519">
                  <c:v>24107</c:v>
                </c:pt>
                <c:pt idx="40520">
                  <c:v>24107</c:v>
                </c:pt>
                <c:pt idx="40521">
                  <c:v>24107</c:v>
                </c:pt>
                <c:pt idx="40522">
                  <c:v>24106</c:v>
                </c:pt>
                <c:pt idx="40523">
                  <c:v>24106</c:v>
                </c:pt>
                <c:pt idx="40524">
                  <c:v>24105</c:v>
                </c:pt>
                <c:pt idx="40525">
                  <c:v>24105</c:v>
                </c:pt>
                <c:pt idx="40526">
                  <c:v>24103</c:v>
                </c:pt>
                <c:pt idx="40527">
                  <c:v>24103</c:v>
                </c:pt>
                <c:pt idx="40528">
                  <c:v>24102</c:v>
                </c:pt>
                <c:pt idx="40529">
                  <c:v>24102</c:v>
                </c:pt>
                <c:pt idx="40530">
                  <c:v>24102</c:v>
                </c:pt>
                <c:pt idx="40531">
                  <c:v>24102</c:v>
                </c:pt>
                <c:pt idx="40532">
                  <c:v>24102</c:v>
                </c:pt>
                <c:pt idx="40533">
                  <c:v>24101</c:v>
                </c:pt>
                <c:pt idx="40534">
                  <c:v>24101</c:v>
                </c:pt>
                <c:pt idx="40535">
                  <c:v>24100</c:v>
                </c:pt>
                <c:pt idx="40536">
                  <c:v>24100</c:v>
                </c:pt>
                <c:pt idx="40537">
                  <c:v>24099</c:v>
                </c:pt>
                <c:pt idx="40538">
                  <c:v>24097</c:v>
                </c:pt>
                <c:pt idx="40539">
                  <c:v>24097</c:v>
                </c:pt>
                <c:pt idx="40540">
                  <c:v>24095</c:v>
                </c:pt>
                <c:pt idx="40541">
                  <c:v>24095</c:v>
                </c:pt>
                <c:pt idx="40542">
                  <c:v>24095</c:v>
                </c:pt>
                <c:pt idx="40543">
                  <c:v>24094</c:v>
                </c:pt>
                <c:pt idx="40544">
                  <c:v>24094</c:v>
                </c:pt>
                <c:pt idx="40545">
                  <c:v>24093</c:v>
                </c:pt>
                <c:pt idx="40546">
                  <c:v>24092</c:v>
                </c:pt>
                <c:pt idx="40547">
                  <c:v>24092</c:v>
                </c:pt>
                <c:pt idx="40548">
                  <c:v>24091</c:v>
                </c:pt>
                <c:pt idx="40549">
                  <c:v>24090</c:v>
                </c:pt>
                <c:pt idx="40550">
                  <c:v>24090</c:v>
                </c:pt>
                <c:pt idx="40551">
                  <c:v>24090</c:v>
                </c:pt>
                <c:pt idx="40552">
                  <c:v>24090</c:v>
                </c:pt>
                <c:pt idx="40553">
                  <c:v>24089</c:v>
                </c:pt>
                <c:pt idx="40554">
                  <c:v>24089</c:v>
                </c:pt>
                <c:pt idx="40555">
                  <c:v>24088</c:v>
                </c:pt>
                <c:pt idx="40556">
                  <c:v>24088</c:v>
                </c:pt>
                <c:pt idx="40557">
                  <c:v>24087</c:v>
                </c:pt>
                <c:pt idx="40558">
                  <c:v>24087</c:v>
                </c:pt>
                <c:pt idx="40559">
                  <c:v>24087</c:v>
                </c:pt>
                <c:pt idx="40560">
                  <c:v>24087</c:v>
                </c:pt>
                <c:pt idx="40561">
                  <c:v>24087</c:v>
                </c:pt>
                <c:pt idx="40562">
                  <c:v>24086</c:v>
                </c:pt>
                <c:pt idx="40563">
                  <c:v>24086</c:v>
                </c:pt>
                <c:pt idx="40564">
                  <c:v>24086</c:v>
                </c:pt>
                <c:pt idx="40565">
                  <c:v>24086</c:v>
                </c:pt>
                <c:pt idx="40566">
                  <c:v>24086</c:v>
                </c:pt>
                <c:pt idx="40567">
                  <c:v>24085</c:v>
                </c:pt>
                <c:pt idx="40568">
                  <c:v>24084</c:v>
                </c:pt>
                <c:pt idx="40569">
                  <c:v>24084</c:v>
                </c:pt>
                <c:pt idx="40570">
                  <c:v>24083</c:v>
                </c:pt>
                <c:pt idx="40571">
                  <c:v>24083</c:v>
                </c:pt>
                <c:pt idx="40572">
                  <c:v>24083</c:v>
                </c:pt>
                <c:pt idx="40573">
                  <c:v>24082</c:v>
                </c:pt>
                <c:pt idx="40574">
                  <c:v>24082</c:v>
                </c:pt>
                <c:pt idx="40575">
                  <c:v>24082</c:v>
                </c:pt>
                <c:pt idx="40576">
                  <c:v>24082</c:v>
                </c:pt>
                <c:pt idx="40577">
                  <c:v>24081</c:v>
                </c:pt>
                <c:pt idx="40578">
                  <c:v>24081</c:v>
                </c:pt>
                <c:pt idx="40579">
                  <c:v>24080</c:v>
                </c:pt>
                <c:pt idx="40580">
                  <c:v>24080</c:v>
                </c:pt>
                <c:pt idx="40581">
                  <c:v>24080</c:v>
                </c:pt>
                <c:pt idx="40582">
                  <c:v>24080</c:v>
                </c:pt>
                <c:pt idx="40583">
                  <c:v>24079</c:v>
                </c:pt>
                <c:pt idx="40584">
                  <c:v>24078</c:v>
                </c:pt>
                <c:pt idx="40585">
                  <c:v>24078</c:v>
                </c:pt>
                <c:pt idx="40586">
                  <c:v>24078</c:v>
                </c:pt>
                <c:pt idx="40587">
                  <c:v>24077</c:v>
                </c:pt>
                <c:pt idx="40588">
                  <c:v>24077</c:v>
                </c:pt>
                <c:pt idx="40589">
                  <c:v>24077</c:v>
                </c:pt>
                <c:pt idx="40590">
                  <c:v>24077</c:v>
                </c:pt>
                <c:pt idx="40591">
                  <c:v>24076</c:v>
                </c:pt>
                <c:pt idx="40592">
                  <c:v>24076</c:v>
                </c:pt>
                <c:pt idx="40593">
                  <c:v>24076</c:v>
                </c:pt>
                <c:pt idx="40594">
                  <c:v>24075</c:v>
                </c:pt>
                <c:pt idx="40595">
                  <c:v>24075</c:v>
                </c:pt>
                <c:pt idx="40596">
                  <c:v>24074</c:v>
                </c:pt>
                <c:pt idx="40597">
                  <c:v>24074</c:v>
                </c:pt>
                <c:pt idx="40598">
                  <c:v>24073</c:v>
                </c:pt>
                <c:pt idx="40599">
                  <c:v>24073</c:v>
                </c:pt>
                <c:pt idx="40600">
                  <c:v>24073</c:v>
                </c:pt>
                <c:pt idx="40601">
                  <c:v>24072</c:v>
                </c:pt>
                <c:pt idx="40602">
                  <c:v>24072</c:v>
                </c:pt>
                <c:pt idx="40603">
                  <c:v>24072</c:v>
                </c:pt>
                <c:pt idx="40604">
                  <c:v>24071</c:v>
                </c:pt>
                <c:pt idx="40605">
                  <c:v>24071</c:v>
                </c:pt>
                <c:pt idx="40606">
                  <c:v>24071</c:v>
                </c:pt>
                <c:pt idx="40607">
                  <c:v>24070</c:v>
                </c:pt>
                <c:pt idx="40608">
                  <c:v>24069</c:v>
                </c:pt>
                <c:pt idx="40609">
                  <c:v>24069</c:v>
                </c:pt>
                <c:pt idx="40610">
                  <c:v>24069</c:v>
                </c:pt>
                <c:pt idx="40611">
                  <c:v>24069</c:v>
                </c:pt>
                <c:pt idx="40612">
                  <c:v>24068</c:v>
                </c:pt>
                <c:pt idx="40613">
                  <c:v>24067</c:v>
                </c:pt>
                <c:pt idx="40614">
                  <c:v>24067</c:v>
                </c:pt>
                <c:pt idx="40615">
                  <c:v>24067</c:v>
                </c:pt>
                <c:pt idx="40616">
                  <c:v>24066</c:v>
                </c:pt>
                <c:pt idx="40617">
                  <c:v>24066</c:v>
                </c:pt>
                <c:pt idx="40618">
                  <c:v>24065</c:v>
                </c:pt>
                <c:pt idx="40619">
                  <c:v>24065</c:v>
                </c:pt>
                <c:pt idx="40620">
                  <c:v>24064</c:v>
                </c:pt>
                <c:pt idx="40621">
                  <c:v>24062</c:v>
                </c:pt>
                <c:pt idx="40622">
                  <c:v>24062</c:v>
                </c:pt>
                <c:pt idx="40623">
                  <c:v>24061</c:v>
                </c:pt>
                <c:pt idx="40624">
                  <c:v>24061</c:v>
                </c:pt>
                <c:pt idx="40625">
                  <c:v>24061</c:v>
                </c:pt>
                <c:pt idx="40626">
                  <c:v>24060</c:v>
                </c:pt>
                <c:pt idx="40627">
                  <c:v>24060</c:v>
                </c:pt>
                <c:pt idx="40628">
                  <c:v>24060</c:v>
                </c:pt>
                <c:pt idx="40629">
                  <c:v>24058</c:v>
                </c:pt>
                <c:pt idx="40630">
                  <c:v>24058</c:v>
                </c:pt>
                <c:pt idx="40631">
                  <c:v>24058</c:v>
                </c:pt>
                <c:pt idx="40632">
                  <c:v>24058</c:v>
                </c:pt>
                <c:pt idx="40633">
                  <c:v>24058</c:v>
                </c:pt>
                <c:pt idx="40634">
                  <c:v>24056</c:v>
                </c:pt>
                <c:pt idx="40635">
                  <c:v>24055</c:v>
                </c:pt>
                <c:pt idx="40636">
                  <c:v>24055</c:v>
                </c:pt>
                <c:pt idx="40637">
                  <c:v>24055</c:v>
                </c:pt>
                <c:pt idx="40638">
                  <c:v>24055</c:v>
                </c:pt>
                <c:pt idx="40639">
                  <c:v>24055</c:v>
                </c:pt>
                <c:pt idx="40640">
                  <c:v>24053</c:v>
                </c:pt>
                <c:pt idx="40641">
                  <c:v>24052</c:v>
                </c:pt>
                <c:pt idx="40642">
                  <c:v>24051</c:v>
                </c:pt>
                <c:pt idx="40643">
                  <c:v>24050</c:v>
                </c:pt>
                <c:pt idx="40644">
                  <c:v>24050</c:v>
                </c:pt>
                <c:pt idx="40645">
                  <c:v>24050</c:v>
                </c:pt>
                <c:pt idx="40646">
                  <c:v>24049</c:v>
                </c:pt>
                <c:pt idx="40647">
                  <c:v>24049</c:v>
                </c:pt>
                <c:pt idx="40648">
                  <c:v>24048</c:v>
                </c:pt>
                <c:pt idx="40649">
                  <c:v>24048</c:v>
                </c:pt>
                <c:pt idx="40650">
                  <c:v>24048</c:v>
                </c:pt>
                <c:pt idx="40651">
                  <c:v>24047</c:v>
                </c:pt>
                <c:pt idx="40652">
                  <c:v>24047</c:v>
                </c:pt>
                <c:pt idx="40653">
                  <c:v>24046</c:v>
                </c:pt>
                <c:pt idx="40654">
                  <c:v>24046</c:v>
                </c:pt>
                <c:pt idx="40655">
                  <c:v>24046</c:v>
                </c:pt>
                <c:pt idx="40656">
                  <c:v>24046</c:v>
                </c:pt>
                <c:pt idx="40657">
                  <c:v>24045</c:v>
                </c:pt>
                <c:pt idx="40658">
                  <c:v>24044</c:v>
                </c:pt>
                <c:pt idx="40659">
                  <c:v>24043</c:v>
                </c:pt>
                <c:pt idx="40660">
                  <c:v>24043</c:v>
                </c:pt>
                <c:pt idx="40661">
                  <c:v>24043</c:v>
                </c:pt>
                <c:pt idx="40662">
                  <c:v>24043</c:v>
                </c:pt>
                <c:pt idx="40663">
                  <c:v>24043</c:v>
                </c:pt>
                <c:pt idx="40664">
                  <c:v>24042</c:v>
                </c:pt>
                <c:pt idx="40665">
                  <c:v>24041</c:v>
                </c:pt>
                <c:pt idx="40666">
                  <c:v>24041</c:v>
                </c:pt>
                <c:pt idx="40667">
                  <c:v>24041</c:v>
                </c:pt>
                <c:pt idx="40668">
                  <c:v>24040</c:v>
                </c:pt>
                <c:pt idx="40669">
                  <c:v>24040</c:v>
                </c:pt>
                <c:pt idx="40670">
                  <c:v>24040</c:v>
                </c:pt>
                <c:pt idx="40671">
                  <c:v>24039</c:v>
                </c:pt>
                <c:pt idx="40672">
                  <c:v>24039</c:v>
                </c:pt>
                <c:pt idx="40673">
                  <c:v>24039</c:v>
                </c:pt>
                <c:pt idx="40674">
                  <c:v>24038</c:v>
                </c:pt>
                <c:pt idx="40675">
                  <c:v>24038</c:v>
                </c:pt>
                <c:pt idx="40676">
                  <c:v>24036</c:v>
                </c:pt>
                <c:pt idx="40677">
                  <c:v>24036</c:v>
                </c:pt>
                <c:pt idx="40678">
                  <c:v>24036</c:v>
                </c:pt>
                <c:pt idx="40679">
                  <c:v>24036</c:v>
                </c:pt>
                <c:pt idx="40680">
                  <c:v>24035</c:v>
                </c:pt>
                <c:pt idx="40681">
                  <c:v>24034</c:v>
                </c:pt>
                <c:pt idx="40682">
                  <c:v>24034</c:v>
                </c:pt>
                <c:pt idx="40683">
                  <c:v>24033</c:v>
                </c:pt>
                <c:pt idx="40684">
                  <c:v>24033</c:v>
                </c:pt>
                <c:pt idx="40685">
                  <c:v>24033</c:v>
                </c:pt>
                <c:pt idx="40686">
                  <c:v>24032</c:v>
                </c:pt>
                <c:pt idx="40687">
                  <c:v>24032</c:v>
                </c:pt>
                <c:pt idx="40688">
                  <c:v>24032</c:v>
                </c:pt>
                <c:pt idx="40689">
                  <c:v>24032</c:v>
                </c:pt>
                <c:pt idx="40690">
                  <c:v>24031</c:v>
                </c:pt>
                <c:pt idx="40691">
                  <c:v>24031</c:v>
                </c:pt>
                <c:pt idx="40692">
                  <c:v>24031</c:v>
                </c:pt>
                <c:pt idx="40693">
                  <c:v>24030</c:v>
                </c:pt>
                <c:pt idx="40694">
                  <c:v>24030</c:v>
                </c:pt>
                <c:pt idx="40695">
                  <c:v>24029</c:v>
                </c:pt>
                <c:pt idx="40696">
                  <c:v>24029</c:v>
                </c:pt>
                <c:pt idx="40697">
                  <c:v>24029</c:v>
                </c:pt>
                <c:pt idx="40698">
                  <c:v>24028</c:v>
                </c:pt>
                <c:pt idx="40699">
                  <c:v>24028</c:v>
                </c:pt>
                <c:pt idx="40700">
                  <c:v>24028</c:v>
                </c:pt>
                <c:pt idx="40701">
                  <c:v>24028</c:v>
                </c:pt>
                <c:pt idx="40702">
                  <c:v>24027</c:v>
                </c:pt>
                <c:pt idx="40703">
                  <c:v>24026</c:v>
                </c:pt>
                <c:pt idx="40704">
                  <c:v>24026</c:v>
                </c:pt>
                <c:pt idx="40705">
                  <c:v>24026</c:v>
                </c:pt>
                <c:pt idx="40706">
                  <c:v>24026</c:v>
                </c:pt>
                <c:pt idx="40707">
                  <c:v>24026</c:v>
                </c:pt>
                <c:pt idx="40708">
                  <c:v>24024</c:v>
                </c:pt>
                <c:pt idx="40709">
                  <c:v>24024</c:v>
                </c:pt>
                <c:pt idx="40710">
                  <c:v>24024</c:v>
                </c:pt>
                <c:pt idx="40711">
                  <c:v>24023</c:v>
                </c:pt>
                <c:pt idx="40712">
                  <c:v>24022</c:v>
                </c:pt>
                <c:pt idx="40713">
                  <c:v>24022</c:v>
                </c:pt>
                <c:pt idx="40714">
                  <c:v>24022</c:v>
                </c:pt>
                <c:pt idx="40715">
                  <c:v>24021</c:v>
                </c:pt>
                <c:pt idx="40716">
                  <c:v>24021</c:v>
                </c:pt>
                <c:pt idx="40717">
                  <c:v>24021</c:v>
                </c:pt>
                <c:pt idx="40718">
                  <c:v>24021</c:v>
                </c:pt>
                <c:pt idx="40719">
                  <c:v>24020</c:v>
                </c:pt>
                <c:pt idx="40720">
                  <c:v>24020</c:v>
                </c:pt>
                <c:pt idx="40721">
                  <c:v>24020</c:v>
                </c:pt>
                <c:pt idx="40722">
                  <c:v>24019</c:v>
                </c:pt>
                <c:pt idx="40723">
                  <c:v>24019</c:v>
                </c:pt>
                <c:pt idx="40724">
                  <c:v>24019</c:v>
                </c:pt>
                <c:pt idx="40725">
                  <c:v>24019</c:v>
                </c:pt>
                <c:pt idx="40726">
                  <c:v>24018</c:v>
                </c:pt>
                <c:pt idx="40727">
                  <c:v>24017</c:v>
                </c:pt>
                <c:pt idx="40728">
                  <c:v>24017</c:v>
                </c:pt>
                <c:pt idx="40729">
                  <c:v>24017</c:v>
                </c:pt>
                <c:pt idx="40730">
                  <c:v>24017</c:v>
                </c:pt>
                <c:pt idx="40731">
                  <c:v>24017</c:v>
                </c:pt>
                <c:pt idx="40732">
                  <c:v>24016</c:v>
                </c:pt>
                <c:pt idx="40733">
                  <c:v>24016</c:v>
                </c:pt>
                <c:pt idx="40734">
                  <c:v>24016</c:v>
                </c:pt>
                <c:pt idx="40735">
                  <c:v>24015</c:v>
                </c:pt>
                <c:pt idx="40736">
                  <c:v>24015</c:v>
                </c:pt>
                <c:pt idx="40737">
                  <c:v>24015</c:v>
                </c:pt>
                <c:pt idx="40738">
                  <c:v>24015</c:v>
                </c:pt>
                <c:pt idx="40739">
                  <c:v>24012</c:v>
                </c:pt>
                <c:pt idx="40740">
                  <c:v>24011</c:v>
                </c:pt>
                <c:pt idx="40741">
                  <c:v>24011</c:v>
                </c:pt>
                <c:pt idx="40742">
                  <c:v>24010</c:v>
                </c:pt>
                <c:pt idx="40743">
                  <c:v>24010</c:v>
                </c:pt>
                <c:pt idx="40744">
                  <c:v>24010</c:v>
                </c:pt>
                <c:pt idx="40745">
                  <c:v>24010</c:v>
                </c:pt>
                <c:pt idx="40746">
                  <c:v>24009</c:v>
                </c:pt>
                <c:pt idx="40747">
                  <c:v>24009</c:v>
                </c:pt>
                <c:pt idx="40748">
                  <c:v>24008</c:v>
                </c:pt>
                <c:pt idx="40749">
                  <c:v>24008</c:v>
                </c:pt>
                <c:pt idx="40750">
                  <c:v>24007</c:v>
                </c:pt>
                <c:pt idx="40751">
                  <c:v>24007</c:v>
                </c:pt>
                <c:pt idx="40752">
                  <c:v>24007</c:v>
                </c:pt>
                <c:pt idx="40753">
                  <c:v>24007</c:v>
                </c:pt>
                <c:pt idx="40754">
                  <c:v>24007</c:v>
                </c:pt>
                <c:pt idx="40755">
                  <c:v>24006</c:v>
                </c:pt>
                <c:pt idx="40756">
                  <c:v>24006</c:v>
                </c:pt>
                <c:pt idx="40757">
                  <c:v>24006</c:v>
                </c:pt>
                <c:pt idx="40758">
                  <c:v>24006</c:v>
                </c:pt>
                <c:pt idx="40759">
                  <c:v>24006</c:v>
                </c:pt>
                <c:pt idx="40760">
                  <c:v>24006</c:v>
                </c:pt>
                <c:pt idx="40761">
                  <c:v>24005</c:v>
                </c:pt>
                <c:pt idx="40762">
                  <c:v>24005</c:v>
                </c:pt>
                <c:pt idx="40763">
                  <c:v>24005</c:v>
                </c:pt>
                <c:pt idx="40764">
                  <c:v>24005</c:v>
                </c:pt>
                <c:pt idx="40765">
                  <c:v>24005</c:v>
                </c:pt>
                <c:pt idx="40766">
                  <c:v>24004</c:v>
                </c:pt>
                <c:pt idx="40767">
                  <c:v>24004</c:v>
                </c:pt>
                <c:pt idx="40768">
                  <c:v>24004</c:v>
                </c:pt>
                <c:pt idx="40769">
                  <c:v>24004</c:v>
                </c:pt>
                <c:pt idx="40770">
                  <c:v>24004</c:v>
                </c:pt>
                <c:pt idx="40771">
                  <c:v>24004</c:v>
                </c:pt>
                <c:pt idx="40772">
                  <c:v>24004</c:v>
                </c:pt>
                <c:pt idx="40773">
                  <c:v>24003</c:v>
                </c:pt>
                <c:pt idx="40774">
                  <c:v>24003</c:v>
                </c:pt>
                <c:pt idx="40775">
                  <c:v>24003</c:v>
                </c:pt>
                <c:pt idx="40776">
                  <c:v>24003</c:v>
                </c:pt>
                <c:pt idx="40777">
                  <c:v>24001</c:v>
                </c:pt>
                <c:pt idx="40778">
                  <c:v>24001</c:v>
                </c:pt>
                <c:pt idx="40779">
                  <c:v>24000</c:v>
                </c:pt>
                <c:pt idx="40780">
                  <c:v>24000</c:v>
                </c:pt>
                <c:pt idx="40781">
                  <c:v>24000</c:v>
                </c:pt>
                <c:pt idx="40782">
                  <c:v>24000</c:v>
                </c:pt>
                <c:pt idx="40783">
                  <c:v>24000</c:v>
                </c:pt>
                <c:pt idx="40784">
                  <c:v>23999</c:v>
                </c:pt>
                <c:pt idx="40785">
                  <c:v>23999</c:v>
                </c:pt>
                <c:pt idx="40786">
                  <c:v>23999</c:v>
                </c:pt>
                <c:pt idx="40787">
                  <c:v>23998</c:v>
                </c:pt>
                <c:pt idx="40788">
                  <c:v>23998</c:v>
                </c:pt>
                <c:pt idx="40789">
                  <c:v>23998</c:v>
                </c:pt>
                <c:pt idx="40790">
                  <c:v>23998</c:v>
                </c:pt>
                <c:pt idx="40791">
                  <c:v>23997</c:v>
                </c:pt>
                <c:pt idx="40792">
                  <c:v>23996</c:v>
                </c:pt>
                <c:pt idx="40793">
                  <c:v>23996</c:v>
                </c:pt>
                <c:pt idx="40794">
                  <c:v>23996</c:v>
                </c:pt>
                <c:pt idx="40795">
                  <c:v>23995</c:v>
                </c:pt>
                <c:pt idx="40796">
                  <c:v>23995</c:v>
                </c:pt>
                <c:pt idx="40797">
                  <c:v>23994</c:v>
                </c:pt>
                <c:pt idx="40798">
                  <c:v>23994</c:v>
                </c:pt>
                <c:pt idx="40799">
                  <c:v>23993</c:v>
                </c:pt>
                <c:pt idx="40800">
                  <c:v>23993</c:v>
                </c:pt>
                <c:pt idx="40801">
                  <c:v>23992</c:v>
                </c:pt>
                <c:pt idx="40802">
                  <c:v>23991</c:v>
                </c:pt>
                <c:pt idx="40803">
                  <c:v>23991</c:v>
                </c:pt>
                <c:pt idx="40804">
                  <c:v>23991</c:v>
                </c:pt>
                <c:pt idx="40805">
                  <c:v>23991</c:v>
                </c:pt>
                <c:pt idx="40806">
                  <c:v>23991</c:v>
                </c:pt>
                <c:pt idx="40807">
                  <c:v>23989</c:v>
                </c:pt>
                <c:pt idx="40808">
                  <c:v>23989</c:v>
                </c:pt>
                <c:pt idx="40809">
                  <c:v>23988</c:v>
                </c:pt>
                <c:pt idx="40810">
                  <c:v>23988</c:v>
                </c:pt>
                <c:pt idx="40811">
                  <c:v>23988</c:v>
                </c:pt>
                <c:pt idx="40812">
                  <c:v>23987</c:v>
                </c:pt>
                <c:pt idx="40813">
                  <c:v>23986</c:v>
                </c:pt>
                <c:pt idx="40814">
                  <c:v>23985</c:v>
                </c:pt>
                <c:pt idx="40815">
                  <c:v>23984</c:v>
                </c:pt>
                <c:pt idx="40816">
                  <c:v>23984</c:v>
                </c:pt>
                <c:pt idx="40817">
                  <c:v>23983</c:v>
                </c:pt>
                <c:pt idx="40818">
                  <c:v>23983</c:v>
                </c:pt>
                <c:pt idx="40819">
                  <c:v>23983</c:v>
                </c:pt>
                <c:pt idx="40820">
                  <c:v>23983</c:v>
                </c:pt>
                <c:pt idx="40821">
                  <c:v>23982</c:v>
                </c:pt>
                <c:pt idx="40822">
                  <c:v>23982</c:v>
                </c:pt>
                <c:pt idx="40823">
                  <c:v>23981</c:v>
                </c:pt>
                <c:pt idx="40824">
                  <c:v>23981</c:v>
                </c:pt>
                <c:pt idx="40825">
                  <c:v>23981</c:v>
                </c:pt>
                <c:pt idx="40826">
                  <c:v>23981</c:v>
                </c:pt>
                <c:pt idx="40827">
                  <c:v>23981</c:v>
                </c:pt>
                <c:pt idx="40828">
                  <c:v>23981</c:v>
                </c:pt>
                <c:pt idx="40829">
                  <c:v>23980</c:v>
                </c:pt>
                <c:pt idx="40830">
                  <c:v>23979</c:v>
                </c:pt>
                <c:pt idx="40831">
                  <c:v>23979</c:v>
                </c:pt>
                <c:pt idx="40832">
                  <c:v>23979</c:v>
                </c:pt>
                <c:pt idx="40833">
                  <c:v>23979</c:v>
                </c:pt>
                <c:pt idx="40834">
                  <c:v>23978</c:v>
                </c:pt>
                <c:pt idx="40835">
                  <c:v>23978</c:v>
                </c:pt>
                <c:pt idx="40836">
                  <c:v>23978</c:v>
                </c:pt>
                <c:pt idx="40837">
                  <c:v>23978</c:v>
                </c:pt>
                <c:pt idx="40838">
                  <c:v>23977</c:v>
                </c:pt>
                <c:pt idx="40839">
                  <c:v>23977</c:v>
                </c:pt>
                <c:pt idx="40840">
                  <c:v>23977</c:v>
                </c:pt>
                <c:pt idx="40841">
                  <c:v>23974</c:v>
                </c:pt>
                <c:pt idx="40842">
                  <c:v>23974</c:v>
                </c:pt>
                <c:pt idx="40843">
                  <c:v>23973</c:v>
                </c:pt>
                <c:pt idx="40844">
                  <c:v>23973</c:v>
                </c:pt>
                <c:pt idx="40845">
                  <c:v>23972</c:v>
                </c:pt>
                <c:pt idx="40846">
                  <c:v>23972</c:v>
                </c:pt>
                <c:pt idx="40847">
                  <c:v>23971</c:v>
                </c:pt>
                <c:pt idx="40848">
                  <c:v>23971</c:v>
                </c:pt>
                <c:pt idx="40849">
                  <c:v>23971</c:v>
                </c:pt>
                <c:pt idx="40850">
                  <c:v>23970</c:v>
                </c:pt>
                <c:pt idx="40851">
                  <c:v>23970</c:v>
                </c:pt>
                <c:pt idx="40852">
                  <c:v>23969</c:v>
                </c:pt>
                <c:pt idx="40853">
                  <c:v>23969</c:v>
                </c:pt>
                <c:pt idx="40854">
                  <c:v>23969</c:v>
                </c:pt>
                <c:pt idx="40855">
                  <c:v>23967</c:v>
                </c:pt>
                <c:pt idx="40856">
                  <c:v>23966</c:v>
                </c:pt>
                <c:pt idx="40857">
                  <c:v>23966</c:v>
                </c:pt>
                <c:pt idx="40858">
                  <c:v>23965</c:v>
                </c:pt>
                <c:pt idx="40859">
                  <c:v>23964</c:v>
                </c:pt>
                <c:pt idx="40860">
                  <c:v>23962</c:v>
                </c:pt>
                <c:pt idx="40861">
                  <c:v>23962</c:v>
                </c:pt>
                <c:pt idx="40862">
                  <c:v>23961</c:v>
                </c:pt>
                <c:pt idx="40863">
                  <c:v>23960</c:v>
                </c:pt>
                <c:pt idx="40864">
                  <c:v>23960</c:v>
                </c:pt>
                <c:pt idx="40865">
                  <c:v>23960</c:v>
                </c:pt>
                <c:pt idx="40866">
                  <c:v>23959</c:v>
                </c:pt>
                <c:pt idx="40867">
                  <c:v>23958</c:v>
                </c:pt>
                <c:pt idx="40868">
                  <c:v>23958</c:v>
                </c:pt>
                <c:pt idx="40869">
                  <c:v>23957</c:v>
                </c:pt>
                <c:pt idx="40870">
                  <c:v>23957</c:v>
                </c:pt>
                <c:pt idx="40871">
                  <c:v>23956</c:v>
                </c:pt>
                <c:pt idx="40872">
                  <c:v>23955</c:v>
                </c:pt>
                <c:pt idx="40873">
                  <c:v>23955</c:v>
                </c:pt>
                <c:pt idx="40874">
                  <c:v>23955</c:v>
                </c:pt>
                <c:pt idx="40875">
                  <c:v>23955</c:v>
                </c:pt>
                <c:pt idx="40876">
                  <c:v>23955</c:v>
                </c:pt>
                <c:pt idx="40877">
                  <c:v>23954</c:v>
                </c:pt>
                <c:pt idx="40878">
                  <c:v>23954</c:v>
                </c:pt>
                <c:pt idx="40879">
                  <c:v>23953</c:v>
                </c:pt>
                <c:pt idx="40880">
                  <c:v>23953</c:v>
                </c:pt>
                <c:pt idx="40881">
                  <c:v>23952</c:v>
                </c:pt>
                <c:pt idx="40882">
                  <c:v>23952</c:v>
                </c:pt>
                <c:pt idx="40883">
                  <c:v>23952</c:v>
                </c:pt>
                <c:pt idx="40884">
                  <c:v>23952</c:v>
                </c:pt>
                <c:pt idx="40885">
                  <c:v>23952</c:v>
                </c:pt>
                <c:pt idx="40886">
                  <c:v>23952</c:v>
                </c:pt>
                <c:pt idx="40887">
                  <c:v>23952</c:v>
                </c:pt>
                <c:pt idx="40888">
                  <c:v>23951</c:v>
                </c:pt>
                <c:pt idx="40889">
                  <c:v>23951</c:v>
                </c:pt>
                <c:pt idx="40890">
                  <c:v>23950</c:v>
                </c:pt>
                <c:pt idx="40891">
                  <c:v>23949</c:v>
                </c:pt>
                <c:pt idx="40892">
                  <c:v>23949</c:v>
                </c:pt>
                <c:pt idx="40893">
                  <c:v>23948</c:v>
                </c:pt>
                <c:pt idx="40894">
                  <c:v>23948</c:v>
                </c:pt>
                <c:pt idx="40895">
                  <c:v>23948</c:v>
                </c:pt>
                <c:pt idx="40896">
                  <c:v>23948</c:v>
                </c:pt>
                <c:pt idx="40897">
                  <c:v>23947</c:v>
                </c:pt>
                <c:pt idx="40898">
                  <c:v>23946</c:v>
                </c:pt>
                <c:pt idx="40899">
                  <c:v>23946</c:v>
                </c:pt>
                <c:pt idx="40900">
                  <c:v>23946</c:v>
                </c:pt>
                <c:pt idx="40901">
                  <c:v>23946</c:v>
                </c:pt>
                <c:pt idx="40902">
                  <c:v>23945</c:v>
                </c:pt>
                <c:pt idx="40903">
                  <c:v>23944</c:v>
                </c:pt>
                <c:pt idx="40904">
                  <c:v>23942</c:v>
                </c:pt>
                <c:pt idx="40905">
                  <c:v>23941</c:v>
                </c:pt>
                <c:pt idx="40906">
                  <c:v>23941</c:v>
                </c:pt>
                <c:pt idx="40907">
                  <c:v>23941</c:v>
                </c:pt>
                <c:pt idx="40908">
                  <c:v>23941</c:v>
                </c:pt>
                <c:pt idx="40909">
                  <c:v>23940</c:v>
                </c:pt>
                <c:pt idx="40910">
                  <c:v>23940</c:v>
                </c:pt>
                <c:pt idx="40911">
                  <c:v>23940</c:v>
                </c:pt>
                <c:pt idx="40912">
                  <c:v>23939</c:v>
                </c:pt>
                <c:pt idx="40913">
                  <c:v>23939</c:v>
                </c:pt>
                <c:pt idx="40914">
                  <c:v>23938</c:v>
                </c:pt>
                <c:pt idx="40915">
                  <c:v>23938</c:v>
                </c:pt>
                <c:pt idx="40916">
                  <c:v>23938</c:v>
                </c:pt>
                <c:pt idx="40917">
                  <c:v>23937</c:v>
                </c:pt>
                <c:pt idx="40918">
                  <c:v>23937</c:v>
                </c:pt>
                <c:pt idx="40919">
                  <c:v>23937</c:v>
                </c:pt>
                <c:pt idx="40920">
                  <c:v>23937</c:v>
                </c:pt>
                <c:pt idx="40921">
                  <c:v>23936</c:v>
                </c:pt>
                <c:pt idx="40922">
                  <c:v>23936</c:v>
                </c:pt>
                <c:pt idx="40923">
                  <c:v>23935</c:v>
                </c:pt>
                <c:pt idx="40924">
                  <c:v>23934</c:v>
                </c:pt>
                <c:pt idx="40925">
                  <c:v>23934</c:v>
                </c:pt>
                <c:pt idx="40926">
                  <c:v>23934</c:v>
                </c:pt>
                <c:pt idx="40927">
                  <c:v>23934</c:v>
                </c:pt>
                <c:pt idx="40928">
                  <c:v>23934</c:v>
                </c:pt>
                <c:pt idx="40929">
                  <c:v>23933</c:v>
                </c:pt>
                <c:pt idx="40930">
                  <c:v>23933</c:v>
                </c:pt>
                <c:pt idx="40931">
                  <c:v>23931</c:v>
                </c:pt>
                <c:pt idx="40932">
                  <c:v>23931</c:v>
                </c:pt>
                <c:pt idx="40933">
                  <c:v>23931</c:v>
                </c:pt>
                <c:pt idx="40934">
                  <c:v>23930</c:v>
                </c:pt>
                <c:pt idx="40935">
                  <c:v>23930</c:v>
                </c:pt>
                <c:pt idx="40936">
                  <c:v>23929</c:v>
                </c:pt>
                <c:pt idx="40937">
                  <c:v>23929</c:v>
                </c:pt>
                <c:pt idx="40938">
                  <c:v>23928</c:v>
                </c:pt>
                <c:pt idx="40939">
                  <c:v>23928</c:v>
                </c:pt>
                <c:pt idx="40940">
                  <c:v>23927</c:v>
                </c:pt>
                <c:pt idx="40941">
                  <c:v>23927</c:v>
                </c:pt>
                <c:pt idx="40942">
                  <c:v>23926</c:v>
                </c:pt>
                <c:pt idx="40943">
                  <c:v>23925</c:v>
                </c:pt>
                <c:pt idx="40944">
                  <c:v>23925</c:v>
                </c:pt>
                <c:pt idx="40945">
                  <c:v>23925</c:v>
                </c:pt>
                <c:pt idx="40946">
                  <c:v>23924</c:v>
                </c:pt>
                <c:pt idx="40947">
                  <c:v>23924</c:v>
                </c:pt>
                <c:pt idx="40948">
                  <c:v>23923</c:v>
                </c:pt>
                <c:pt idx="40949">
                  <c:v>23923</c:v>
                </c:pt>
                <c:pt idx="40950">
                  <c:v>23923</c:v>
                </c:pt>
                <c:pt idx="40951">
                  <c:v>23923</c:v>
                </c:pt>
                <c:pt idx="40952">
                  <c:v>23922</c:v>
                </c:pt>
                <c:pt idx="40953">
                  <c:v>23922</c:v>
                </c:pt>
                <c:pt idx="40954">
                  <c:v>23921</c:v>
                </c:pt>
                <c:pt idx="40955">
                  <c:v>23921</c:v>
                </c:pt>
                <c:pt idx="40956">
                  <c:v>23921</c:v>
                </c:pt>
                <c:pt idx="40957">
                  <c:v>23921</c:v>
                </c:pt>
                <c:pt idx="40958">
                  <c:v>23920</c:v>
                </c:pt>
                <c:pt idx="40959">
                  <c:v>23919</c:v>
                </c:pt>
                <c:pt idx="40960">
                  <c:v>23918</c:v>
                </c:pt>
                <c:pt idx="40961">
                  <c:v>23918</c:v>
                </c:pt>
                <c:pt idx="40962">
                  <c:v>23918</c:v>
                </c:pt>
                <c:pt idx="40963">
                  <c:v>23917</c:v>
                </c:pt>
                <c:pt idx="40964">
                  <c:v>23917</c:v>
                </c:pt>
                <c:pt idx="40965">
                  <c:v>23917</c:v>
                </c:pt>
                <c:pt idx="40966">
                  <c:v>23915</c:v>
                </c:pt>
                <c:pt idx="40967">
                  <c:v>23915</c:v>
                </c:pt>
                <c:pt idx="40968">
                  <c:v>23914</c:v>
                </c:pt>
                <c:pt idx="40969">
                  <c:v>23913</c:v>
                </c:pt>
                <c:pt idx="40970">
                  <c:v>23912</c:v>
                </c:pt>
                <c:pt idx="40971">
                  <c:v>23912</c:v>
                </c:pt>
                <c:pt idx="40972">
                  <c:v>23911</c:v>
                </c:pt>
                <c:pt idx="40973">
                  <c:v>23911</c:v>
                </c:pt>
                <c:pt idx="40974">
                  <c:v>23910</c:v>
                </c:pt>
                <c:pt idx="40975">
                  <c:v>23910</c:v>
                </c:pt>
                <c:pt idx="40976">
                  <c:v>23910</c:v>
                </c:pt>
                <c:pt idx="40977">
                  <c:v>23909</c:v>
                </c:pt>
                <c:pt idx="40978">
                  <c:v>23909</c:v>
                </c:pt>
                <c:pt idx="40979">
                  <c:v>23908</c:v>
                </c:pt>
                <c:pt idx="40980">
                  <c:v>23908</c:v>
                </c:pt>
                <c:pt idx="40981">
                  <c:v>23908</c:v>
                </c:pt>
                <c:pt idx="40982">
                  <c:v>23907</c:v>
                </c:pt>
                <c:pt idx="40983">
                  <c:v>23907</c:v>
                </c:pt>
                <c:pt idx="40984">
                  <c:v>23907</c:v>
                </c:pt>
                <c:pt idx="40985">
                  <c:v>23907</c:v>
                </c:pt>
                <c:pt idx="40986">
                  <c:v>23907</c:v>
                </c:pt>
                <c:pt idx="40987">
                  <c:v>23905</c:v>
                </c:pt>
                <c:pt idx="40988">
                  <c:v>23905</c:v>
                </c:pt>
                <c:pt idx="40989">
                  <c:v>23905</c:v>
                </c:pt>
                <c:pt idx="40990">
                  <c:v>23904</c:v>
                </c:pt>
                <c:pt idx="40991">
                  <c:v>23903</c:v>
                </c:pt>
                <c:pt idx="40992">
                  <c:v>23902</c:v>
                </c:pt>
                <c:pt idx="40993">
                  <c:v>23902</c:v>
                </c:pt>
                <c:pt idx="40994">
                  <c:v>23901</c:v>
                </c:pt>
                <c:pt idx="40995">
                  <c:v>23899</c:v>
                </c:pt>
                <c:pt idx="40996">
                  <c:v>23898</c:v>
                </c:pt>
                <c:pt idx="40997">
                  <c:v>23898</c:v>
                </c:pt>
                <c:pt idx="40998">
                  <c:v>23898</c:v>
                </c:pt>
                <c:pt idx="40999">
                  <c:v>23897</c:v>
                </c:pt>
                <c:pt idx="41000">
                  <c:v>23897</c:v>
                </c:pt>
                <c:pt idx="41001">
                  <c:v>23897</c:v>
                </c:pt>
                <c:pt idx="41002">
                  <c:v>23896</c:v>
                </c:pt>
                <c:pt idx="41003">
                  <c:v>23895</c:v>
                </c:pt>
                <c:pt idx="41004">
                  <c:v>23895</c:v>
                </c:pt>
                <c:pt idx="41005">
                  <c:v>23895</c:v>
                </c:pt>
                <c:pt idx="41006">
                  <c:v>23895</c:v>
                </c:pt>
                <c:pt idx="41007">
                  <c:v>23895</c:v>
                </c:pt>
                <c:pt idx="41008">
                  <c:v>23893</c:v>
                </c:pt>
                <c:pt idx="41009">
                  <c:v>23893</c:v>
                </c:pt>
                <c:pt idx="41010">
                  <c:v>23893</c:v>
                </c:pt>
                <c:pt idx="41011">
                  <c:v>23893</c:v>
                </c:pt>
                <c:pt idx="41012">
                  <c:v>23893</c:v>
                </c:pt>
                <c:pt idx="41013">
                  <c:v>23893</c:v>
                </c:pt>
                <c:pt idx="41014">
                  <c:v>23892</c:v>
                </c:pt>
                <c:pt idx="41015">
                  <c:v>23891</c:v>
                </c:pt>
                <c:pt idx="41016">
                  <c:v>23891</c:v>
                </c:pt>
                <c:pt idx="41017">
                  <c:v>23891</c:v>
                </c:pt>
                <c:pt idx="41018">
                  <c:v>23891</c:v>
                </c:pt>
                <c:pt idx="41019">
                  <c:v>23890</c:v>
                </c:pt>
                <c:pt idx="41020">
                  <c:v>23889</c:v>
                </c:pt>
                <c:pt idx="41021">
                  <c:v>23888</c:v>
                </c:pt>
                <c:pt idx="41022">
                  <c:v>23888</c:v>
                </c:pt>
                <c:pt idx="41023">
                  <c:v>23887</c:v>
                </c:pt>
                <c:pt idx="41024">
                  <c:v>23886</c:v>
                </c:pt>
                <c:pt idx="41025">
                  <c:v>23886</c:v>
                </c:pt>
                <c:pt idx="41026">
                  <c:v>23885</c:v>
                </c:pt>
                <c:pt idx="41027">
                  <c:v>23885</c:v>
                </c:pt>
                <c:pt idx="41028">
                  <c:v>23885</c:v>
                </c:pt>
                <c:pt idx="41029">
                  <c:v>23885</c:v>
                </c:pt>
                <c:pt idx="41030">
                  <c:v>23885</c:v>
                </c:pt>
                <c:pt idx="41031">
                  <c:v>23885</c:v>
                </c:pt>
                <c:pt idx="41032">
                  <c:v>23885</c:v>
                </c:pt>
                <c:pt idx="41033">
                  <c:v>23884</c:v>
                </c:pt>
                <c:pt idx="41034">
                  <c:v>23884</c:v>
                </c:pt>
                <c:pt idx="41035">
                  <c:v>23883</c:v>
                </c:pt>
                <c:pt idx="41036">
                  <c:v>23882</c:v>
                </c:pt>
                <c:pt idx="41037">
                  <c:v>23882</c:v>
                </c:pt>
                <c:pt idx="41038">
                  <c:v>23882</c:v>
                </c:pt>
                <c:pt idx="41039">
                  <c:v>23881</c:v>
                </c:pt>
                <c:pt idx="41040">
                  <c:v>23881</c:v>
                </c:pt>
                <c:pt idx="41041">
                  <c:v>23880</c:v>
                </c:pt>
                <c:pt idx="41042">
                  <c:v>23880</c:v>
                </c:pt>
                <c:pt idx="41043">
                  <c:v>23880</c:v>
                </c:pt>
                <c:pt idx="41044">
                  <c:v>23880</c:v>
                </c:pt>
                <c:pt idx="41045">
                  <c:v>23879</c:v>
                </c:pt>
                <c:pt idx="41046">
                  <c:v>23879</c:v>
                </c:pt>
                <c:pt idx="41047">
                  <c:v>23878</c:v>
                </c:pt>
                <c:pt idx="41048">
                  <c:v>23878</c:v>
                </c:pt>
                <c:pt idx="41049">
                  <c:v>23878</c:v>
                </c:pt>
                <c:pt idx="41050">
                  <c:v>23878</c:v>
                </c:pt>
                <c:pt idx="41051">
                  <c:v>23878</c:v>
                </c:pt>
                <c:pt idx="41052">
                  <c:v>23877</c:v>
                </c:pt>
                <c:pt idx="41053">
                  <c:v>23877</c:v>
                </c:pt>
                <c:pt idx="41054">
                  <c:v>23876</c:v>
                </c:pt>
                <c:pt idx="41055">
                  <c:v>23876</c:v>
                </c:pt>
                <c:pt idx="41056">
                  <c:v>23876</c:v>
                </c:pt>
                <c:pt idx="41057">
                  <c:v>23875</c:v>
                </c:pt>
                <c:pt idx="41058">
                  <c:v>23875</c:v>
                </c:pt>
                <c:pt idx="41059">
                  <c:v>23875</c:v>
                </c:pt>
                <c:pt idx="41060">
                  <c:v>23875</c:v>
                </c:pt>
                <c:pt idx="41061">
                  <c:v>23874</c:v>
                </c:pt>
                <c:pt idx="41062">
                  <c:v>23874</c:v>
                </c:pt>
                <c:pt idx="41063">
                  <c:v>23873</c:v>
                </c:pt>
                <c:pt idx="41064">
                  <c:v>23873</c:v>
                </c:pt>
                <c:pt idx="41065">
                  <c:v>23873</c:v>
                </c:pt>
                <c:pt idx="41066">
                  <c:v>23872</c:v>
                </c:pt>
                <c:pt idx="41067">
                  <c:v>23872</c:v>
                </c:pt>
                <c:pt idx="41068">
                  <c:v>23872</c:v>
                </c:pt>
                <c:pt idx="41069">
                  <c:v>23871</c:v>
                </c:pt>
                <c:pt idx="41070">
                  <c:v>23870</c:v>
                </c:pt>
                <c:pt idx="41071">
                  <c:v>23869</c:v>
                </c:pt>
                <c:pt idx="41072">
                  <c:v>23868</c:v>
                </c:pt>
                <c:pt idx="41073">
                  <c:v>23868</c:v>
                </c:pt>
                <c:pt idx="41074">
                  <c:v>23868</c:v>
                </c:pt>
                <c:pt idx="41075">
                  <c:v>23868</c:v>
                </c:pt>
                <c:pt idx="41076">
                  <c:v>23868</c:v>
                </c:pt>
                <c:pt idx="41077">
                  <c:v>23867</c:v>
                </c:pt>
                <c:pt idx="41078">
                  <c:v>23867</c:v>
                </c:pt>
                <c:pt idx="41079">
                  <c:v>23867</c:v>
                </c:pt>
                <c:pt idx="41080">
                  <c:v>23867</c:v>
                </c:pt>
                <c:pt idx="41081">
                  <c:v>23867</c:v>
                </c:pt>
                <c:pt idx="41082">
                  <c:v>23866</c:v>
                </c:pt>
                <c:pt idx="41083">
                  <c:v>23866</c:v>
                </c:pt>
                <c:pt idx="41084">
                  <c:v>23866</c:v>
                </c:pt>
                <c:pt idx="41085">
                  <c:v>23864</c:v>
                </c:pt>
                <c:pt idx="41086">
                  <c:v>23864</c:v>
                </c:pt>
                <c:pt idx="41087">
                  <c:v>23864</c:v>
                </c:pt>
                <c:pt idx="41088">
                  <c:v>23863</c:v>
                </c:pt>
                <c:pt idx="41089">
                  <c:v>23863</c:v>
                </c:pt>
                <c:pt idx="41090">
                  <c:v>23863</c:v>
                </c:pt>
                <c:pt idx="41091">
                  <c:v>23862</c:v>
                </c:pt>
                <c:pt idx="41092">
                  <c:v>23862</c:v>
                </c:pt>
                <c:pt idx="41093">
                  <c:v>23862</c:v>
                </c:pt>
                <c:pt idx="41094">
                  <c:v>23862</c:v>
                </c:pt>
                <c:pt idx="41095">
                  <c:v>23861</c:v>
                </c:pt>
                <c:pt idx="41096">
                  <c:v>23860</c:v>
                </c:pt>
                <c:pt idx="41097">
                  <c:v>23860</c:v>
                </c:pt>
                <c:pt idx="41098">
                  <c:v>23859</c:v>
                </c:pt>
                <c:pt idx="41099">
                  <c:v>23859</c:v>
                </c:pt>
                <c:pt idx="41100">
                  <c:v>23859</c:v>
                </c:pt>
                <c:pt idx="41101">
                  <c:v>23859</c:v>
                </c:pt>
                <c:pt idx="41102">
                  <c:v>23858</c:v>
                </c:pt>
                <c:pt idx="41103">
                  <c:v>23857</c:v>
                </c:pt>
                <c:pt idx="41104">
                  <c:v>23857</c:v>
                </c:pt>
                <c:pt idx="41105">
                  <c:v>23856</c:v>
                </c:pt>
                <c:pt idx="41106">
                  <c:v>23856</c:v>
                </c:pt>
                <c:pt idx="41107">
                  <c:v>23856</c:v>
                </c:pt>
                <c:pt idx="41108">
                  <c:v>23856</c:v>
                </c:pt>
                <c:pt idx="41109">
                  <c:v>23855</c:v>
                </c:pt>
                <c:pt idx="41110">
                  <c:v>23855</c:v>
                </c:pt>
                <c:pt idx="41111">
                  <c:v>23855</c:v>
                </c:pt>
                <c:pt idx="41112">
                  <c:v>23854</c:v>
                </c:pt>
                <c:pt idx="41113">
                  <c:v>23854</c:v>
                </c:pt>
                <c:pt idx="41114">
                  <c:v>23853</c:v>
                </c:pt>
                <c:pt idx="41115">
                  <c:v>23852</c:v>
                </c:pt>
                <c:pt idx="41116">
                  <c:v>23852</c:v>
                </c:pt>
                <c:pt idx="41117">
                  <c:v>23852</c:v>
                </c:pt>
                <c:pt idx="41118">
                  <c:v>23851</c:v>
                </c:pt>
                <c:pt idx="41119">
                  <c:v>23851</c:v>
                </c:pt>
                <c:pt idx="41120">
                  <c:v>23851</c:v>
                </c:pt>
                <c:pt idx="41121">
                  <c:v>23850</c:v>
                </c:pt>
                <c:pt idx="41122">
                  <c:v>23849</c:v>
                </c:pt>
                <c:pt idx="41123">
                  <c:v>23849</c:v>
                </c:pt>
                <c:pt idx="41124">
                  <c:v>23848</c:v>
                </c:pt>
                <c:pt idx="41125">
                  <c:v>23848</c:v>
                </c:pt>
                <c:pt idx="41126">
                  <c:v>23848</c:v>
                </c:pt>
                <c:pt idx="41127">
                  <c:v>23847</c:v>
                </c:pt>
                <c:pt idx="41128">
                  <c:v>23847</c:v>
                </c:pt>
                <c:pt idx="41129">
                  <c:v>23847</c:v>
                </c:pt>
                <c:pt idx="41130">
                  <c:v>23847</c:v>
                </c:pt>
                <c:pt idx="41131">
                  <c:v>23846</c:v>
                </c:pt>
                <c:pt idx="41132">
                  <c:v>23846</c:v>
                </c:pt>
                <c:pt idx="41133">
                  <c:v>23846</c:v>
                </c:pt>
                <c:pt idx="41134">
                  <c:v>23845</c:v>
                </c:pt>
                <c:pt idx="41135">
                  <c:v>23845</c:v>
                </c:pt>
                <c:pt idx="41136">
                  <c:v>23844</c:v>
                </c:pt>
                <c:pt idx="41137">
                  <c:v>23844</c:v>
                </c:pt>
                <c:pt idx="41138">
                  <c:v>23844</c:v>
                </c:pt>
                <c:pt idx="41139">
                  <c:v>23844</c:v>
                </c:pt>
                <c:pt idx="41140">
                  <c:v>23844</c:v>
                </c:pt>
                <c:pt idx="41141">
                  <c:v>23844</c:v>
                </c:pt>
                <c:pt idx="41142">
                  <c:v>23843</c:v>
                </c:pt>
                <c:pt idx="41143">
                  <c:v>23842</c:v>
                </c:pt>
                <c:pt idx="41144">
                  <c:v>23842</c:v>
                </c:pt>
                <c:pt idx="41145">
                  <c:v>23841</c:v>
                </c:pt>
                <c:pt idx="41146">
                  <c:v>23841</c:v>
                </c:pt>
                <c:pt idx="41147">
                  <c:v>23841</c:v>
                </c:pt>
                <c:pt idx="41148">
                  <c:v>23839</c:v>
                </c:pt>
                <c:pt idx="41149">
                  <c:v>23839</c:v>
                </c:pt>
                <c:pt idx="41150">
                  <c:v>23839</c:v>
                </c:pt>
                <c:pt idx="41151">
                  <c:v>23837</c:v>
                </c:pt>
                <c:pt idx="41152">
                  <c:v>23837</c:v>
                </c:pt>
                <c:pt idx="41153">
                  <c:v>23837</c:v>
                </c:pt>
                <c:pt idx="41154">
                  <c:v>23837</c:v>
                </c:pt>
                <c:pt idx="41155">
                  <c:v>23837</c:v>
                </c:pt>
                <c:pt idx="41156">
                  <c:v>23836</c:v>
                </c:pt>
                <c:pt idx="41157">
                  <c:v>23836</c:v>
                </c:pt>
                <c:pt idx="41158">
                  <c:v>23836</c:v>
                </c:pt>
                <c:pt idx="41159">
                  <c:v>23835</c:v>
                </c:pt>
                <c:pt idx="41160">
                  <c:v>23835</c:v>
                </c:pt>
                <c:pt idx="41161">
                  <c:v>23835</c:v>
                </c:pt>
                <c:pt idx="41162">
                  <c:v>23835</c:v>
                </c:pt>
                <c:pt idx="41163">
                  <c:v>23833</c:v>
                </c:pt>
                <c:pt idx="41164">
                  <c:v>23833</c:v>
                </c:pt>
                <c:pt idx="41165">
                  <c:v>23833</c:v>
                </c:pt>
                <c:pt idx="41166">
                  <c:v>23832</c:v>
                </c:pt>
                <c:pt idx="41167">
                  <c:v>23832</c:v>
                </c:pt>
                <c:pt idx="41168">
                  <c:v>23831</c:v>
                </c:pt>
                <c:pt idx="41169">
                  <c:v>23831</c:v>
                </c:pt>
                <c:pt idx="41170">
                  <c:v>23830</c:v>
                </c:pt>
                <c:pt idx="41171">
                  <c:v>23829</c:v>
                </c:pt>
                <c:pt idx="41172">
                  <c:v>23829</c:v>
                </c:pt>
                <c:pt idx="41173">
                  <c:v>23829</c:v>
                </c:pt>
                <c:pt idx="41174">
                  <c:v>23829</c:v>
                </c:pt>
                <c:pt idx="41175">
                  <c:v>23828</c:v>
                </c:pt>
                <c:pt idx="41176">
                  <c:v>23828</c:v>
                </c:pt>
                <c:pt idx="41177">
                  <c:v>23827</c:v>
                </c:pt>
                <c:pt idx="41178">
                  <c:v>23826</c:v>
                </c:pt>
                <c:pt idx="41179">
                  <c:v>23826</c:v>
                </c:pt>
                <c:pt idx="41180">
                  <c:v>23825</c:v>
                </c:pt>
                <c:pt idx="41181">
                  <c:v>23824</c:v>
                </c:pt>
                <c:pt idx="41182">
                  <c:v>23823</c:v>
                </c:pt>
                <c:pt idx="41183">
                  <c:v>23823</c:v>
                </c:pt>
                <c:pt idx="41184">
                  <c:v>23823</c:v>
                </c:pt>
                <c:pt idx="41185">
                  <c:v>23823</c:v>
                </c:pt>
                <c:pt idx="41186">
                  <c:v>23822</c:v>
                </c:pt>
                <c:pt idx="41187">
                  <c:v>23822</c:v>
                </c:pt>
                <c:pt idx="41188">
                  <c:v>23822</c:v>
                </c:pt>
                <c:pt idx="41189">
                  <c:v>23822</c:v>
                </c:pt>
                <c:pt idx="41190">
                  <c:v>23821</c:v>
                </c:pt>
                <c:pt idx="41191">
                  <c:v>23821</c:v>
                </c:pt>
                <c:pt idx="41192">
                  <c:v>23821</c:v>
                </c:pt>
                <c:pt idx="41193">
                  <c:v>23821</c:v>
                </c:pt>
                <c:pt idx="41194">
                  <c:v>23821</c:v>
                </c:pt>
                <c:pt idx="41195">
                  <c:v>23820</c:v>
                </c:pt>
                <c:pt idx="41196">
                  <c:v>23819</c:v>
                </c:pt>
                <c:pt idx="41197">
                  <c:v>23819</c:v>
                </c:pt>
                <c:pt idx="41198">
                  <c:v>23819</c:v>
                </c:pt>
                <c:pt idx="41199">
                  <c:v>23818</c:v>
                </c:pt>
                <c:pt idx="41200">
                  <c:v>23818</c:v>
                </c:pt>
                <c:pt idx="41201">
                  <c:v>23817</c:v>
                </c:pt>
                <c:pt idx="41202">
                  <c:v>23816</c:v>
                </c:pt>
                <c:pt idx="41203">
                  <c:v>23816</c:v>
                </c:pt>
                <c:pt idx="41204">
                  <c:v>23816</c:v>
                </c:pt>
                <c:pt idx="41205">
                  <c:v>23816</c:v>
                </c:pt>
                <c:pt idx="41206">
                  <c:v>23816</c:v>
                </c:pt>
                <c:pt idx="41207">
                  <c:v>23815</c:v>
                </c:pt>
                <c:pt idx="41208">
                  <c:v>23815</c:v>
                </c:pt>
                <c:pt idx="41209">
                  <c:v>23814</c:v>
                </c:pt>
                <c:pt idx="41210">
                  <c:v>23814</c:v>
                </c:pt>
                <c:pt idx="41211">
                  <c:v>23814</c:v>
                </c:pt>
                <c:pt idx="41212">
                  <c:v>23814</c:v>
                </c:pt>
                <c:pt idx="41213">
                  <c:v>23814</c:v>
                </c:pt>
                <c:pt idx="41214">
                  <c:v>23813</c:v>
                </c:pt>
                <c:pt idx="41215">
                  <c:v>23813</c:v>
                </c:pt>
                <c:pt idx="41216">
                  <c:v>23813</c:v>
                </c:pt>
                <c:pt idx="41217">
                  <c:v>23812</c:v>
                </c:pt>
                <c:pt idx="41218">
                  <c:v>23811</c:v>
                </c:pt>
                <c:pt idx="41219">
                  <c:v>23811</c:v>
                </c:pt>
                <c:pt idx="41220">
                  <c:v>23810</c:v>
                </c:pt>
                <c:pt idx="41221">
                  <c:v>23810</c:v>
                </c:pt>
                <c:pt idx="41222">
                  <c:v>23809</c:v>
                </c:pt>
                <c:pt idx="41223">
                  <c:v>23809</c:v>
                </c:pt>
                <c:pt idx="41224">
                  <c:v>23809</c:v>
                </c:pt>
                <c:pt idx="41225">
                  <c:v>23809</c:v>
                </c:pt>
                <c:pt idx="41226">
                  <c:v>23809</c:v>
                </c:pt>
                <c:pt idx="41227">
                  <c:v>23808</c:v>
                </c:pt>
                <c:pt idx="41228">
                  <c:v>23807</c:v>
                </c:pt>
                <c:pt idx="41229">
                  <c:v>23807</c:v>
                </c:pt>
                <c:pt idx="41230">
                  <c:v>23807</c:v>
                </c:pt>
                <c:pt idx="41231">
                  <c:v>23807</c:v>
                </c:pt>
                <c:pt idx="41232">
                  <c:v>23807</c:v>
                </c:pt>
                <c:pt idx="41233">
                  <c:v>23807</c:v>
                </c:pt>
                <c:pt idx="41234">
                  <c:v>23806</c:v>
                </c:pt>
                <c:pt idx="41235">
                  <c:v>23806</c:v>
                </c:pt>
                <c:pt idx="41236">
                  <c:v>23806</c:v>
                </c:pt>
                <c:pt idx="41237">
                  <c:v>23806</c:v>
                </c:pt>
                <c:pt idx="41238">
                  <c:v>23805</c:v>
                </c:pt>
                <c:pt idx="41239">
                  <c:v>23805</c:v>
                </c:pt>
                <c:pt idx="41240">
                  <c:v>23805</c:v>
                </c:pt>
                <c:pt idx="41241">
                  <c:v>23804</c:v>
                </c:pt>
                <c:pt idx="41242">
                  <c:v>23804</c:v>
                </c:pt>
                <c:pt idx="41243">
                  <c:v>23804</c:v>
                </c:pt>
                <c:pt idx="41244">
                  <c:v>23804</c:v>
                </c:pt>
                <c:pt idx="41245">
                  <c:v>23803</c:v>
                </c:pt>
                <c:pt idx="41246">
                  <c:v>23803</c:v>
                </c:pt>
                <c:pt idx="41247">
                  <c:v>23803</c:v>
                </c:pt>
                <c:pt idx="41248">
                  <c:v>23802</c:v>
                </c:pt>
                <c:pt idx="41249">
                  <c:v>23802</c:v>
                </c:pt>
                <c:pt idx="41250">
                  <c:v>23802</c:v>
                </c:pt>
                <c:pt idx="41251">
                  <c:v>23801</c:v>
                </c:pt>
                <c:pt idx="41252">
                  <c:v>23800</c:v>
                </c:pt>
                <c:pt idx="41253">
                  <c:v>23800</c:v>
                </c:pt>
                <c:pt idx="41254">
                  <c:v>23800</c:v>
                </c:pt>
                <c:pt idx="41255">
                  <c:v>23799</c:v>
                </c:pt>
                <c:pt idx="41256">
                  <c:v>23797</c:v>
                </c:pt>
                <c:pt idx="41257">
                  <c:v>23797</c:v>
                </c:pt>
                <c:pt idx="41258">
                  <c:v>23797</c:v>
                </c:pt>
                <c:pt idx="41259">
                  <c:v>23796</c:v>
                </c:pt>
                <c:pt idx="41260">
                  <c:v>23796</c:v>
                </c:pt>
                <c:pt idx="41261">
                  <c:v>23796</c:v>
                </c:pt>
                <c:pt idx="41262">
                  <c:v>23795</c:v>
                </c:pt>
                <c:pt idx="41263">
                  <c:v>23795</c:v>
                </c:pt>
                <c:pt idx="41264">
                  <c:v>23795</c:v>
                </c:pt>
                <c:pt idx="41265">
                  <c:v>23795</c:v>
                </c:pt>
                <c:pt idx="41266">
                  <c:v>23794</c:v>
                </c:pt>
                <c:pt idx="41267">
                  <c:v>23794</c:v>
                </c:pt>
                <c:pt idx="41268">
                  <c:v>23794</c:v>
                </c:pt>
                <c:pt idx="41269">
                  <c:v>23794</c:v>
                </c:pt>
                <c:pt idx="41270">
                  <c:v>23793</c:v>
                </c:pt>
                <c:pt idx="41271">
                  <c:v>23793</c:v>
                </c:pt>
                <c:pt idx="41272">
                  <c:v>23793</c:v>
                </c:pt>
                <c:pt idx="41273">
                  <c:v>23791</c:v>
                </c:pt>
                <c:pt idx="41274">
                  <c:v>23791</c:v>
                </c:pt>
                <c:pt idx="41275">
                  <c:v>23790</c:v>
                </c:pt>
                <c:pt idx="41276">
                  <c:v>23790</c:v>
                </c:pt>
                <c:pt idx="41277">
                  <c:v>23790</c:v>
                </c:pt>
                <c:pt idx="41278">
                  <c:v>23789</c:v>
                </c:pt>
                <c:pt idx="41279">
                  <c:v>23788</c:v>
                </c:pt>
                <c:pt idx="41280">
                  <c:v>23788</c:v>
                </c:pt>
                <c:pt idx="41281">
                  <c:v>23788</c:v>
                </c:pt>
                <c:pt idx="41282">
                  <c:v>23787</c:v>
                </c:pt>
                <c:pt idx="41283">
                  <c:v>23787</c:v>
                </c:pt>
                <c:pt idx="41284">
                  <c:v>23787</c:v>
                </c:pt>
                <c:pt idx="41285">
                  <c:v>23787</c:v>
                </c:pt>
                <c:pt idx="41286">
                  <c:v>23787</c:v>
                </c:pt>
                <c:pt idx="41287">
                  <c:v>23786</c:v>
                </c:pt>
                <c:pt idx="41288">
                  <c:v>23786</c:v>
                </c:pt>
                <c:pt idx="41289">
                  <c:v>23785</c:v>
                </c:pt>
                <c:pt idx="41290">
                  <c:v>23785</c:v>
                </c:pt>
                <c:pt idx="41291">
                  <c:v>23785</c:v>
                </c:pt>
                <c:pt idx="41292">
                  <c:v>23785</c:v>
                </c:pt>
                <c:pt idx="41293">
                  <c:v>23784</c:v>
                </c:pt>
                <c:pt idx="41294">
                  <c:v>23784</c:v>
                </c:pt>
                <c:pt idx="41295">
                  <c:v>23783</c:v>
                </c:pt>
                <c:pt idx="41296">
                  <c:v>23782</c:v>
                </c:pt>
                <c:pt idx="41297">
                  <c:v>23782</c:v>
                </c:pt>
                <c:pt idx="41298">
                  <c:v>23782</c:v>
                </c:pt>
                <c:pt idx="41299">
                  <c:v>23782</c:v>
                </c:pt>
                <c:pt idx="41300">
                  <c:v>23782</c:v>
                </c:pt>
                <c:pt idx="41301">
                  <c:v>23782</c:v>
                </c:pt>
                <c:pt idx="41302">
                  <c:v>23782</c:v>
                </c:pt>
                <c:pt idx="41303">
                  <c:v>23781</c:v>
                </c:pt>
                <c:pt idx="41304">
                  <c:v>23781</c:v>
                </c:pt>
                <c:pt idx="41305">
                  <c:v>23781</c:v>
                </c:pt>
                <c:pt idx="41306">
                  <c:v>23780</c:v>
                </c:pt>
                <c:pt idx="41307">
                  <c:v>23780</c:v>
                </c:pt>
                <c:pt idx="41308">
                  <c:v>23780</c:v>
                </c:pt>
                <c:pt idx="41309">
                  <c:v>23780</c:v>
                </c:pt>
                <c:pt idx="41310">
                  <c:v>23779</c:v>
                </c:pt>
                <c:pt idx="41311">
                  <c:v>23779</c:v>
                </c:pt>
                <c:pt idx="41312">
                  <c:v>23779</c:v>
                </c:pt>
                <c:pt idx="41313">
                  <c:v>23779</c:v>
                </c:pt>
                <c:pt idx="41314">
                  <c:v>23777</c:v>
                </c:pt>
                <c:pt idx="41315">
                  <c:v>23777</c:v>
                </c:pt>
                <c:pt idx="41316">
                  <c:v>23776</c:v>
                </c:pt>
                <c:pt idx="41317">
                  <c:v>23776</c:v>
                </c:pt>
                <c:pt idx="41318">
                  <c:v>23776</c:v>
                </c:pt>
                <c:pt idx="41319">
                  <c:v>23775</c:v>
                </c:pt>
                <c:pt idx="41320">
                  <c:v>23775</c:v>
                </c:pt>
                <c:pt idx="41321">
                  <c:v>23775</c:v>
                </c:pt>
                <c:pt idx="41322">
                  <c:v>23774</c:v>
                </c:pt>
                <c:pt idx="41323">
                  <c:v>23774</c:v>
                </c:pt>
                <c:pt idx="41324">
                  <c:v>23774</c:v>
                </c:pt>
                <c:pt idx="41325">
                  <c:v>23774</c:v>
                </c:pt>
                <c:pt idx="41326">
                  <c:v>23774</c:v>
                </c:pt>
                <c:pt idx="41327">
                  <c:v>23773</c:v>
                </c:pt>
                <c:pt idx="41328">
                  <c:v>23773</c:v>
                </c:pt>
                <c:pt idx="41329">
                  <c:v>23772</c:v>
                </c:pt>
                <c:pt idx="41330">
                  <c:v>23772</c:v>
                </c:pt>
                <c:pt idx="41331">
                  <c:v>23772</c:v>
                </c:pt>
                <c:pt idx="41332">
                  <c:v>23771</c:v>
                </c:pt>
                <c:pt idx="41333">
                  <c:v>23771</c:v>
                </c:pt>
                <c:pt idx="41334">
                  <c:v>23771</c:v>
                </c:pt>
                <c:pt idx="41335">
                  <c:v>23771</c:v>
                </c:pt>
                <c:pt idx="41336">
                  <c:v>23771</c:v>
                </c:pt>
                <c:pt idx="41337">
                  <c:v>23771</c:v>
                </c:pt>
                <c:pt idx="41338">
                  <c:v>23770</c:v>
                </c:pt>
                <c:pt idx="41339">
                  <c:v>23769</c:v>
                </c:pt>
                <c:pt idx="41340">
                  <c:v>23769</c:v>
                </c:pt>
                <c:pt idx="41341">
                  <c:v>23768</c:v>
                </c:pt>
                <c:pt idx="41342">
                  <c:v>23768</c:v>
                </c:pt>
                <c:pt idx="41343">
                  <c:v>23767</c:v>
                </c:pt>
                <c:pt idx="41344">
                  <c:v>23767</c:v>
                </c:pt>
                <c:pt idx="41345">
                  <c:v>23766</c:v>
                </c:pt>
                <c:pt idx="41346">
                  <c:v>23766</c:v>
                </c:pt>
                <c:pt idx="41347">
                  <c:v>23766</c:v>
                </c:pt>
                <c:pt idx="41348">
                  <c:v>23765</c:v>
                </c:pt>
                <c:pt idx="41349">
                  <c:v>23765</c:v>
                </c:pt>
                <c:pt idx="41350">
                  <c:v>23765</c:v>
                </c:pt>
                <c:pt idx="41351">
                  <c:v>23764</c:v>
                </c:pt>
                <c:pt idx="41352">
                  <c:v>23763</c:v>
                </c:pt>
                <c:pt idx="41353">
                  <c:v>23763</c:v>
                </c:pt>
                <c:pt idx="41354">
                  <c:v>23763</c:v>
                </c:pt>
                <c:pt idx="41355">
                  <c:v>23763</c:v>
                </c:pt>
                <c:pt idx="41356">
                  <c:v>23763</c:v>
                </c:pt>
                <c:pt idx="41357">
                  <c:v>23762</c:v>
                </c:pt>
                <c:pt idx="41358">
                  <c:v>23761</c:v>
                </c:pt>
                <c:pt idx="41359">
                  <c:v>23760</c:v>
                </c:pt>
                <c:pt idx="41360">
                  <c:v>23760</c:v>
                </c:pt>
                <c:pt idx="41361">
                  <c:v>23760</c:v>
                </c:pt>
                <c:pt idx="41362">
                  <c:v>23760</c:v>
                </c:pt>
                <c:pt idx="41363">
                  <c:v>23760</c:v>
                </c:pt>
                <c:pt idx="41364">
                  <c:v>23760</c:v>
                </c:pt>
                <c:pt idx="41365">
                  <c:v>23760</c:v>
                </c:pt>
                <c:pt idx="41366">
                  <c:v>23759</c:v>
                </c:pt>
                <c:pt idx="41367">
                  <c:v>23759</c:v>
                </c:pt>
                <c:pt idx="41368">
                  <c:v>23759</c:v>
                </c:pt>
                <c:pt idx="41369">
                  <c:v>23758</c:v>
                </c:pt>
                <c:pt idx="41370">
                  <c:v>23758</c:v>
                </c:pt>
                <c:pt idx="41371">
                  <c:v>23757</c:v>
                </c:pt>
                <c:pt idx="41372">
                  <c:v>23757</c:v>
                </c:pt>
                <c:pt idx="41373">
                  <c:v>23757</c:v>
                </c:pt>
                <c:pt idx="41374">
                  <c:v>23757</c:v>
                </c:pt>
                <c:pt idx="41375">
                  <c:v>23757</c:v>
                </c:pt>
                <c:pt idx="41376">
                  <c:v>23757</c:v>
                </c:pt>
                <c:pt idx="41377">
                  <c:v>23757</c:v>
                </c:pt>
                <c:pt idx="41378">
                  <c:v>23756</c:v>
                </c:pt>
                <c:pt idx="41379">
                  <c:v>23756</c:v>
                </c:pt>
                <c:pt idx="41380">
                  <c:v>23755</c:v>
                </c:pt>
                <c:pt idx="41381">
                  <c:v>23754</c:v>
                </c:pt>
                <c:pt idx="41382">
                  <c:v>23754</c:v>
                </c:pt>
                <c:pt idx="41383">
                  <c:v>23752</c:v>
                </c:pt>
                <c:pt idx="41384">
                  <c:v>23751</c:v>
                </c:pt>
                <c:pt idx="41385">
                  <c:v>23749</c:v>
                </c:pt>
                <c:pt idx="41386">
                  <c:v>23749</c:v>
                </c:pt>
                <c:pt idx="41387">
                  <c:v>23749</c:v>
                </c:pt>
                <c:pt idx="41388">
                  <c:v>23749</c:v>
                </c:pt>
                <c:pt idx="41389">
                  <c:v>23748</c:v>
                </c:pt>
                <c:pt idx="41390">
                  <c:v>23748</c:v>
                </c:pt>
                <c:pt idx="41391">
                  <c:v>23748</c:v>
                </c:pt>
                <c:pt idx="41392">
                  <c:v>23748</c:v>
                </c:pt>
                <c:pt idx="41393">
                  <c:v>23747</c:v>
                </c:pt>
                <c:pt idx="41394">
                  <c:v>23746</c:v>
                </c:pt>
                <c:pt idx="41395">
                  <c:v>23745</c:v>
                </c:pt>
                <c:pt idx="41396">
                  <c:v>23745</c:v>
                </c:pt>
                <c:pt idx="41397">
                  <c:v>23745</c:v>
                </c:pt>
                <c:pt idx="41398">
                  <c:v>23744</c:v>
                </c:pt>
                <c:pt idx="41399">
                  <c:v>23744</c:v>
                </c:pt>
                <c:pt idx="41400">
                  <c:v>23744</c:v>
                </c:pt>
                <c:pt idx="41401">
                  <c:v>23744</c:v>
                </c:pt>
                <c:pt idx="41402">
                  <c:v>23744</c:v>
                </c:pt>
                <c:pt idx="41403">
                  <c:v>23744</c:v>
                </c:pt>
                <c:pt idx="41404">
                  <c:v>23744</c:v>
                </c:pt>
                <c:pt idx="41405">
                  <c:v>23743</c:v>
                </c:pt>
                <c:pt idx="41406">
                  <c:v>23743</c:v>
                </c:pt>
                <c:pt idx="41407">
                  <c:v>23743</c:v>
                </c:pt>
                <c:pt idx="41408">
                  <c:v>23742</c:v>
                </c:pt>
                <c:pt idx="41409">
                  <c:v>23742</c:v>
                </c:pt>
                <c:pt idx="41410">
                  <c:v>23741</c:v>
                </c:pt>
                <c:pt idx="41411">
                  <c:v>23741</c:v>
                </c:pt>
                <c:pt idx="41412">
                  <c:v>23741</c:v>
                </c:pt>
                <c:pt idx="41413">
                  <c:v>23740</c:v>
                </c:pt>
                <c:pt idx="41414">
                  <c:v>23740</c:v>
                </c:pt>
                <c:pt idx="41415">
                  <c:v>23740</c:v>
                </c:pt>
                <c:pt idx="41416">
                  <c:v>23740</c:v>
                </c:pt>
                <c:pt idx="41417">
                  <c:v>23740</c:v>
                </c:pt>
                <c:pt idx="41418">
                  <c:v>23739</c:v>
                </c:pt>
                <c:pt idx="41419">
                  <c:v>23738</c:v>
                </c:pt>
                <c:pt idx="41420">
                  <c:v>23738</c:v>
                </c:pt>
                <c:pt idx="41421">
                  <c:v>23737</c:v>
                </c:pt>
                <c:pt idx="41422">
                  <c:v>23737</c:v>
                </c:pt>
                <c:pt idx="41423">
                  <c:v>23736</c:v>
                </c:pt>
                <c:pt idx="41424">
                  <c:v>23736</c:v>
                </c:pt>
                <c:pt idx="41425">
                  <c:v>23735</c:v>
                </c:pt>
                <c:pt idx="41426">
                  <c:v>23735</c:v>
                </c:pt>
                <c:pt idx="41427">
                  <c:v>23735</c:v>
                </c:pt>
                <c:pt idx="41428">
                  <c:v>23735</c:v>
                </c:pt>
                <c:pt idx="41429">
                  <c:v>23734</c:v>
                </c:pt>
                <c:pt idx="41430">
                  <c:v>23734</c:v>
                </c:pt>
                <c:pt idx="41431">
                  <c:v>23734</c:v>
                </c:pt>
                <c:pt idx="41432">
                  <c:v>23734</c:v>
                </c:pt>
                <c:pt idx="41433">
                  <c:v>23733</c:v>
                </c:pt>
                <c:pt idx="41434">
                  <c:v>23733</c:v>
                </c:pt>
                <c:pt idx="41435">
                  <c:v>23733</c:v>
                </c:pt>
                <c:pt idx="41436">
                  <c:v>23732</c:v>
                </c:pt>
                <c:pt idx="41437">
                  <c:v>23732</c:v>
                </c:pt>
                <c:pt idx="41438">
                  <c:v>23732</c:v>
                </c:pt>
                <c:pt idx="41439">
                  <c:v>23731</c:v>
                </c:pt>
                <c:pt idx="41440">
                  <c:v>23731</c:v>
                </c:pt>
                <c:pt idx="41441">
                  <c:v>23730</c:v>
                </c:pt>
                <c:pt idx="41442">
                  <c:v>23730</c:v>
                </c:pt>
                <c:pt idx="41443">
                  <c:v>23730</c:v>
                </c:pt>
                <c:pt idx="41444">
                  <c:v>23730</c:v>
                </c:pt>
                <c:pt idx="41445">
                  <c:v>23730</c:v>
                </c:pt>
                <c:pt idx="41446">
                  <c:v>23729</c:v>
                </c:pt>
                <c:pt idx="41447">
                  <c:v>23729</c:v>
                </c:pt>
                <c:pt idx="41448">
                  <c:v>23729</c:v>
                </c:pt>
                <c:pt idx="41449">
                  <c:v>23728</c:v>
                </c:pt>
                <c:pt idx="41450">
                  <c:v>23728</c:v>
                </c:pt>
                <c:pt idx="41451">
                  <c:v>23728</c:v>
                </c:pt>
                <c:pt idx="41452">
                  <c:v>23727</c:v>
                </c:pt>
                <c:pt idx="41453">
                  <c:v>23727</c:v>
                </c:pt>
                <c:pt idx="41454">
                  <c:v>23726</c:v>
                </c:pt>
                <c:pt idx="41455">
                  <c:v>23726</c:v>
                </c:pt>
                <c:pt idx="41456">
                  <c:v>23726</c:v>
                </c:pt>
                <c:pt idx="41457">
                  <c:v>23725</c:v>
                </c:pt>
                <c:pt idx="41458">
                  <c:v>23725</c:v>
                </c:pt>
                <c:pt idx="41459">
                  <c:v>23725</c:v>
                </c:pt>
                <c:pt idx="41460">
                  <c:v>23724</c:v>
                </c:pt>
                <c:pt idx="41461">
                  <c:v>23724</c:v>
                </c:pt>
                <c:pt idx="41462">
                  <c:v>23723</c:v>
                </c:pt>
                <c:pt idx="41463">
                  <c:v>23723</c:v>
                </c:pt>
                <c:pt idx="41464">
                  <c:v>23723</c:v>
                </c:pt>
                <c:pt idx="41465">
                  <c:v>23723</c:v>
                </c:pt>
                <c:pt idx="41466">
                  <c:v>23723</c:v>
                </c:pt>
                <c:pt idx="41467">
                  <c:v>23721</c:v>
                </c:pt>
                <c:pt idx="41468">
                  <c:v>23721</c:v>
                </c:pt>
                <c:pt idx="41469">
                  <c:v>23721</c:v>
                </c:pt>
                <c:pt idx="41470">
                  <c:v>23720</c:v>
                </c:pt>
                <c:pt idx="41471">
                  <c:v>23720</c:v>
                </c:pt>
                <c:pt idx="41472">
                  <c:v>23720</c:v>
                </c:pt>
                <c:pt idx="41473">
                  <c:v>23719</c:v>
                </c:pt>
                <c:pt idx="41474">
                  <c:v>23719</c:v>
                </c:pt>
                <c:pt idx="41475">
                  <c:v>23719</c:v>
                </c:pt>
                <c:pt idx="41476">
                  <c:v>23719</c:v>
                </c:pt>
                <c:pt idx="41477">
                  <c:v>23719</c:v>
                </c:pt>
                <c:pt idx="41478">
                  <c:v>23718</c:v>
                </c:pt>
                <c:pt idx="41479">
                  <c:v>23718</c:v>
                </c:pt>
                <c:pt idx="41480">
                  <c:v>23718</c:v>
                </c:pt>
                <c:pt idx="41481">
                  <c:v>23717</c:v>
                </c:pt>
                <c:pt idx="41482">
                  <c:v>23717</c:v>
                </c:pt>
                <c:pt idx="41483">
                  <c:v>23715</c:v>
                </c:pt>
                <c:pt idx="41484">
                  <c:v>23715</c:v>
                </c:pt>
                <c:pt idx="41485">
                  <c:v>23715</c:v>
                </c:pt>
                <c:pt idx="41486">
                  <c:v>23715</c:v>
                </c:pt>
                <c:pt idx="41487">
                  <c:v>23715</c:v>
                </c:pt>
                <c:pt idx="41488">
                  <c:v>23715</c:v>
                </c:pt>
                <c:pt idx="41489">
                  <c:v>23715</c:v>
                </c:pt>
                <c:pt idx="41490">
                  <c:v>23715</c:v>
                </c:pt>
                <c:pt idx="41491">
                  <c:v>23715</c:v>
                </c:pt>
                <c:pt idx="41492">
                  <c:v>23715</c:v>
                </c:pt>
                <c:pt idx="41493">
                  <c:v>23714</c:v>
                </c:pt>
                <c:pt idx="41494">
                  <c:v>23714</c:v>
                </c:pt>
                <c:pt idx="41495">
                  <c:v>23714</c:v>
                </c:pt>
                <c:pt idx="41496">
                  <c:v>23714</c:v>
                </c:pt>
                <c:pt idx="41497">
                  <c:v>23713</c:v>
                </c:pt>
                <c:pt idx="41498">
                  <c:v>23713</c:v>
                </c:pt>
                <c:pt idx="41499">
                  <c:v>23713</c:v>
                </c:pt>
                <c:pt idx="41500">
                  <c:v>23713</c:v>
                </c:pt>
                <c:pt idx="41501">
                  <c:v>23712</c:v>
                </c:pt>
                <c:pt idx="41502">
                  <c:v>23711</c:v>
                </c:pt>
                <c:pt idx="41503">
                  <c:v>23711</c:v>
                </c:pt>
                <c:pt idx="41504">
                  <c:v>23711</c:v>
                </c:pt>
                <c:pt idx="41505">
                  <c:v>23711</c:v>
                </c:pt>
                <c:pt idx="41506">
                  <c:v>23710</c:v>
                </c:pt>
                <c:pt idx="41507">
                  <c:v>23710</c:v>
                </c:pt>
                <c:pt idx="41508">
                  <c:v>23710</c:v>
                </c:pt>
                <c:pt idx="41509">
                  <c:v>23709</c:v>
                </c:pt>
                <c:pt idx="41510">
                  <c:v>23708</c:v>
                </c:pt>
                <c:pt idx="41511">
                  <c:v>23708</c:v>
                </c:pt>
                <c:pt idx="41512">
                  <c:v>23708</c:v>
                </c:pt>
                <c:pt idx="41513">
                  <c:v>23707</c:v>
                </c:pt>
                <c:pt idx="41514">
                  <c:v>23707</c:v>
                </c:pt>
                <c:pt idx="41515">
                  <c:v>23707</c:v>
                </c:pt>
                <c:pt idx="41516">
                  <c:v>23707</c:v>
                </c:pt>
                <c:pt idx="41517">
                  <c:v>23706</c:v>
                </c:pt>
                <c:pt idx="41518">
                  <c:v>23706</c:v>
                </c:pt>
                <c:pt idx="41519">
                  <c:v>23706</c:v>
                </c:pt>
                <c:pt idx="41520">
                  <c:v>23705</c:v>
                </c:pt>
                <c:pt idx="41521">
                  <c:v>23705</c:v>
                </c:pt>
                <c:pt idx="41522">
                  <c:v>23705</c:v>
                </c:pt>
                <c:pt idx="41523">
                  <c:v>23704</c:v>
                </c:pt>
                <c:pt idx="41524">
                  <c:v>23704</c:v>
                </c:pt>
                <c:pt idx="41525">
                  <c:v>23703</c:v>
                </c:pt>
                <c:pt idx="41526">
                  <c:v>23703</c:v>
                </c:pt>
                <c:pt idx="41527">
                  <c:v>23703</c:v>
                </c:pt>
                <c:pt idx="41528">
                  <c:v>23703</c:v>
                </c:pt>
                <c:pt idx="41529">
                  <c:v>23702</c:v>
                </c:pt>
                <c:pt idx="41530">
                  <c:v>23701</c:v>
                </c:pt>
                <c:pt idx="41531">
                  <c:v>23701</c:v>
                </c:pt>
                <c:pt idx="41532">
                  <c:v>23701</c:v>
                </c:pt>
                <c:pt idx="41533">
                  <c:v>23701</c:v>
                </c:pt>
                <c:pt idx="41534">
                  <c:v>23700</c:v>
                </c:pt>
                <c:pt idx="41535">
                  <c:v>23700</c:v>
                </c:pt>
                <c:pt idx="41536">
                  <c:v>23700</c:v>
                </c:pt>
                <c:pt idx="41537">
                  <c:v>23700</c:v>
                </c:pt>
                <c:pt idx="41538">
                  <c:v>23699</c:v>
                </c:pt>
                <c:pt idx="41539">
                  <c:v>23699</c:v>
                </c:pt>
                <c:pt idx="41540">
                  <c:v>23699</c:v>
                </c:pt>
                <c:pt idx="41541">
                  <c:v>23699</c:v>
                </c:pt>
                <c:pt idx="41542">
                  <c:v>23699</c:v>
                </c:pt>
                <c:pt idx="41543">
                  <c:v>23699</c:v>
                </c:pt>
                <c:pt idx="41544">
                  <c:v>23698</c:v>
                </c:pt>
                <c:pt idx="41545">
                  <c:v>23698</c:v>
                </c:pt>
                <c:pt idx="41546">
                  <c:v>23697</c:v>
                </c:pt>
                <c:pt idx="41547">
                  <c:v>23696</c:v>
                </c:pt>
                <c:pt idx="41548">
                  <c:v>23695</c:v>
                </c:pt>
                <c:pt idx="41549">
                  <c:v>23694</c:v>
                </c:pt>
                <c:pt idx="41550">
                  <c:v>23694</c:v>
                </c:pt>
                <c:pt idx="41551">
                  <c:v>23694</c:v>
                </c:pt>
                <c:pt idx="41552">
                  <c:v>23694</c:v>
                </c:pt>
                <c:pt idx="41553">
                  <c:v>23693</c:v>
                </c:pt>
                <c:pt idx="41554">
                  <c:v>23693</c:v>
                </c:pt>
                <c:pt idx="41555">
                  <c:v>23693</c:v>
                </c:pt>
                <c:pt idx="41556">
                  <c:v>23692</c:v>
                </c:pt>
                <c:pt idx="41557">
                  <c:v>23692</c:v>
                </c:pt>
                <c:pt idx="41558">
                  <c:v>23692</c:v>
                </c:pt>
                <c:pt idx="41559">
                  <c:v>23692</c:v>
                </c:pt>
                <c:pt idx="41560">
                  <c:v>23692</c:v>
                </c:pt>
                <c:pt idx="41561">
                  <c:v>23691</c:v>
                </c:pt>
                <c:pt idx="41562">
                  <c:v>23690</c:v>
                </c:pt>
                <c:pt idx="41563">
                  <c:v>23690</c:v>
                </c:pt>
                <c:pt idx="41564">
                  <c:v>23690</c:v>
                </c:pt>
                <c:pt idx="41565">
                  <c:v>23689</c:v>
                </c:pt>
                <c:pt idx="41566">
                  <c:v>23689</c:v>
                </c:pt>
                <c:pt idx="41567">
                  <c:v>23689</c:v>
                </c:pt>
                <c:pt idx="41568">
                  <c:v>23689</c:v>
                </c:pt>
                <c:pt idx="41569">
                  <c:v>23689</c:v>
                </c:pt>
                <c:pt idx="41570">
                  <c:v>23689</c:v>
                </c:pt>
                <c:pt idx="41571">
                  <c:v>23689</c:v>
                </c:pt>
                <c:pt idx="41572">
                  <c:v>23689</c:v>
                </c:pt>
                <c:pt idx="41573">
                  <c:v>23688</c:v>
                </c:pt>
                <c:pt idx="41574">
                  <c:v>23688</c:v>
                </c:pt>
                <c:pt idx="41575">
                  <c:v>23688</c:v>
                </c:pt>
                <c:pt idx="41576">
                  <c:v>23687</c:v>
                </c:pt>
                <c:pt idx="41577">
                  <c:v>23687</c:v>
                </c:pt>
                <c:pt idx="41578">
                  <c:v>23686</c:v>
                </c:pt>
                <c:pt idx="41579">
                  <c:v>23686</c:v>
                </c:pt>
                <c:pt idx="41580">
                  <c:v>23686</c:v>
                </c:pt>
                <c:pt idx="41581">
                  <c:v>23686</c:v>
                </c:pt>
                <c:pt idx="41582">
                  <c:v>23686</c:v>
                </c:pt>
                <c:pt idx="41583">
                  <c:v>23685</c:v>
                </c:pt>
                <c:pt idx="41584">
                  <c:v>23685</c:v>
                </c:pt>
                <c:pt idx="41585">
                  <c:v>23685</c:v>
                </c:pt>
                <c:pt idx="41586">
                  <c:v>23685</c:v>
                </c:pt>
                <c:pt idx="41587">
                  <c:v>23685</c:v>
                </c:pt>
                <c:pt idx="41588">
                  <c:v>23684</c:v>
                </c:pt>
                <c:pt idx="41589">
                  <c:v>23683</c:v>
                </c:pt>
                <c:pt idx="41590">
                  <c:v>23683</c:v>
                </c:pt>
                <c:pt idx="41591">
                  <c:v>23683</c:v>
                </c:pt>
                <c:pt idx="41592">
                  <c:v>23683</c:v>
                </c:pt>
                <c:pt idx="41593">
                  <c:v>23682</c:v>
                </c:pt>
                <c:pt idx="41594">
                  <c:v>23682</c:v>
                </c:pt>
                <c:pt idx="41595">
                  <c:v>23681</c:v>
                </c:pt>
                <c:pt idx="41596">
                  <c:v>23680</c:v>
                </c:pt>
                <c:pt idx="41597">
                  <c:v>23680</c:v>
                </c:pt>
                <c:pt idx="41598">
                  <c:v>23679</c:v>
                </c:pt>
                <c:pt idx="41599">
                  <c:v>23679</c:v>
                </c:pt>
                <c:pt idx="41600">
                  <c:v>23679</c:v>
                </c:pt>
                <c:pt idx="41601">
                  <c:v>23679</c:v>
                </c:pt>
                <c:pt idx="41602">
                  <c:v>23678</c:v>
                </c:pt>
                <c:pt idx="41603">
                  <c:v>23678</c:v>
                </c:pt>
                <c:pt idx="41604">
                  <c:v>23678</c:v>
                </c:pt>
                <c:pt idx="41605">
                  <c:v>23677</c:v>
                </c:pt>
                <c:pt idx="41606">
                  <c:v>23676</c:v>
                </c:pt>
                <c:pt idx="41607">
                  <c:v>23676</c:v>
                </c:pt>
                <c:pt idx="41608">
                  <c:v>23676</c:v>
                </c:pt>
                <c:pt idx="41609">
                  <c:v>23675</c:v>
                </c:pt>
                <c:pt idx="41610">
                  <c:v>23674</c:v>
                </c:pt>
                <c:pt idx="41611">
                  <c:v>23674</c:v>
                </c:pt>
                <c:pt idx="41612">
                  <c:v>23674</c:v>
                </c:pt>
                <c:pt idx="41613">
                  <c:v>23674</c:v>
                </c:pt>
                <c:pt idx="41614">
                  <c:v>23674</c:v>
                </c:pt>
                <c:pt idx="41615">
                  <c:v>23673</c:v>
                </c:pt>
                <c:pt idx="41616">
                  <c:v>23673</c:v>
                </c:pt>
                <c:pt idx="41617">
                  <c:v>23673</c:v>
                </c:pt>
                <c:pt idx="41618">
                  <c:v>23673</c:v>
                </c:pt>
                <c:pt idx="41619">
                  <c:v>23673</c:v>
                </c:pt>
                <c:pt idx="41620">
                  <c:v>23672</c:v>
                </c:pt>
                <c:pt idx="41621">
                  <c:v>23672</c:v>
                </c:pt>
                <c:pt idx="41622">
                  <c:v>23671</c:v>
                </c:pt>
                <c:pt idx="41623">
                  <c:v>23671</c:v>
                </c:pt>
                <c:pt idx="41624">
                  <c:v>23671</c:v>
                </c:pt>
                <c:pt idx="41625">
                  <c:v>23671</c:v>
                </c:pt>
                <c:pt idx="41626">
                  <c:v>23670</c:v>
                </c:pt>
                <c:pt idx="41627">
                  <c:v>23670</c:v>
                </c:pt>
                <c:pt idx="41628">
                  <c:v>23669</c:v>
                </c:pt>
                <c:pt idx="41629">
                  <c:v>23669</c:v>
                </c:pt>
                <c:pt idx="41630">
                  <c:v>23669</c:v>
                </c:pt>
                <c:pt idx="41631">
                  <c:v>23667</c:v>
                </c:pt>
                <c:pt idx="41632">
                  <c:v>23666</c:v>
                </c:pt>
                <c:pt idx="41633">
                  <c:v>23666</c:v>
                </c:pt>
                <c:pt idx="41634">
                  <c:v>23666</c:v>
                </c:pt>
                <c:pt idx="41635">
                  <c:v>23665</c:v>
                </c:pt>
                <c:pt idx="41636">
                  <c:v>23665</c:v>
                </c:pt>
                <c:pt idx="41637">
                  <c:v>23664</c:v>
                </c:pt>
                <c:pt idx="41638">
                  <c:v>23664</c:v>
                </c:pt>
                <c:pt idx="41639">
                  <c:v>23663</c:v>
                </c:pt>
                <c:pt idx="41640">
                  <c:v>23663</c:v>
                </c:pt>
                <c:pt idx="41641">
                  <c:v>23663</c:v>
                </c:pt>
                <c:pt idx="41642">
                  <c:v>23663</c:v>
                </c:pt>
                <c:pt idx="41643">
                  <c:v>23662</c:v>
                </c:pt>
                <c:pt idx="41644">
                  <c:v>23662</c:v>
                </c:pt>
                <c:pt idx="41645">
                  <c:v>23661</c:v>
                </c:pt>
                <c:pt idx="41646">
                  <c:v>23660</c:v>
                </c:pt>
                <c:pt idx="41647">
                  <c:v>23660</c:v>
                </c:pt>
                <c:pt idx="41648">
                  <c:v>23658</c:v>
                </c:pt>
                <c:pt idx="41649">
                  <c:v>23657</c:v>
                </c:pt>
                <c:pt idx="41650">
                  <c:v>23657</c:v>
                </c:pt>
                <c:pt idx="41651">
                  <c:v>23657</c:v>
                </c:pt>
                <c:pt idx="41652">
                  <c:v>23657</c:v>
                </c:pt>
                <c:pt idx="41653">
                  <c:v>23657</c:v>
                </c:pt>
                <c:pt idx="41654">
                  <c:v>23657</c:v>
                </c:pt>
                <c:pt idx="41655">
                  <c:v>23656</c:v>
                </c:pt>
                <c:pt idx="41656">
                  <c:v>23655</c:v>
                </c:pt>
                <c:pt idx="41657">
                  <c:v>23655</c:v>
                </c:pt>
                <c:pt idx="41658">
                  <c:v>23655</c:v>
                </c:pt>
                <c:pt idx="41659">
                  <c:v>23654</c:v>
                </c:pt>
                <c:pt idx="41660">
                  <c:v>23653</c:v>
                </c:pt>
                <c:pt idx="41661">
                  <c:v>23653</c:v>
                </c:pt>
                <c:pt idx="41662">
                  <c:v>23653</c:v>
                </c:pt>
                <c:pt idx="41663">
                  <c:v>23653</c:v>
                </c:pt>
                <c:pt idx="41664">
                  <c:v>23652</c:v>
                </c:pt>
                <c:pt idx="41665">
                  <c:v>23652</c:v>
                </c:pt>
                <c:pt idx="41666">
                  <c:v>23652</c:v>
                </c:pt>
                <c:pt idx="41667">
                  <c:v>23652</c:v>
                </c:pt>
                <c:pt idx="41668">
                  <c:v>23651</c:v>
                </c:pt>
                <c:pt idx="41669">
                  <c:v>23651</c:v>
                </c:pt>
                <c:pt idx="41670">
                  <c:v>23651</c:v>
                </c:pt>
                <c:pt idx="41671">
                  <c:v>23651</c:v>
                </c:pt>
                <c:pt idx="41672">
                  <c:v>23650</c:v>
                </c:pt>
                <c:pt idx="41673">
                  <c:v>23650</c:v>
                </c:pt>
                <c:pt idx="41674">
                  <c:v>23649</c:v>
                </c:pt>
                <c:pt idx="41675">
                  <c:v>23649</c:v>
                </c:pt>
                <c:pt idx="41676">
                  <c:v>23648</c:v>
                </c:pt>
                <c:pt idx="41677">
                  <c:v>23648</c:v>
                </c:pt>
                <c:pt idx="41678">
                  <c:v>23648</c:v>
                </c:pt>
                <c:pt idx="41679">
                  <c:v>23648</c:v>
                </c:pt>
                <c:pt idx="41680">
                  <c:v>23647</c:v>
                </c:pt>
                <c:pt idx="41681">
                  <c:v>23647</c:v>
                </c:pt>
                <c:pt idx="41682">
                  <c:v>23645</c:v>
                </c:pt>
                <c:pt idx="41683">
                  <c:v>23645</c:v>
                </c:pt>
                <c:pt idx="41684">
                  <c:v>23644</c:v>
                </c:pt>
                <c:pt idx="41685">
                  <c:v>23644</c:v>
                </c:pt>
                <c:pt idx="41686">
                  <c:v>23643</c:v>
                </c:pt>
                <c:pt idx="41687">
                  <c:v>23643</c:v>
                </c:pt>
                <c:pt idx="41688">
                  <c:v>23643</c:v>
                </c:pt>
                <c:pt idx="41689">
                  <c:v>23643</c:v>
                </c:pt>
                <c:pt idx="41690">
                  <c:v>23643</c:v>
                </c:pt>
                <c:pt idx="41691">
                  <c:v>23643</c:v>
                </c:pt>
                <c:pt idx="41692">
                  <c:v>23643</c:v>
                </c:pt>
                <c:pt idx="41693">
                  <c:v>23642</c:v>
                </c:pt>
                <c:pt idx="41694">
                  <c:v>23642</c:v>
                </c:pt>
                <c:pt idx="41695">
                  <c:v>23642</c:v>
                </c:pt>
                <c:pt idx="41696">
                  <c:v>23642</c:v>
                </c:pt>
                <c:pt idx="41697">
                  <c:v>23641</c:v>
                </c:pt>
                <c:pt idx="41698">
                  <c:v>23641</c:v>
                </c:pt>
                <c:pt idx="41699">
                  <c:v>23640</c:v>
                </c:pt>
                <c:pt idx="41700">
                  <c:v>23640</c:v>
                </c:pt>
                <c:pt idx="41701">
                  <c:v>23640</c:v>
                </c:pt>
                <c:pt idx="41702">
                  <c:v>23640</c:v>
                </c:pt>
                <c:pt idx="41703">
                  <c:v>23639</c:v>
                </c:pt>
                <c:pt idx="41704">
                  <c:v>23639</c:v>
                </c:pt>
                <c:pt idx="41705">
                  <c:v>23638</c:v>
                </c:pt>
                <c:pt idx="41706">
                  <c:v>23638</c:v>
                </c:pt>
                <c:pt idx="41707">
                  <c:v>23638</c:v>
                </c:pt>
                <c:pt idx="41708">
                  <c:v>23636</c:v>
                </c:pt>
                <c:pt idx="41709">
                  <c:v>23636</c:v>
                </c:pt>
                <c:pt idx="41710">
                  <c:v>23636</c:v>
                </c:pt>
                <c:pt idx="41711">
                  <c:v>23636</c:v>
                </c:pt>
                <c:pt idx="41712">
                  <c:v>23636</c:v>
                </c:pt>
                <c:pt idx="41713">
                  <c:v>23636</c:v>
                </c:pt>
                <c:pt idx="41714">
                  <c:v>23635</c:v>
                </c:pt>
                <c:pt idx="41715">
                  <c:v>23634</c:v>
                </c:pt>
                <c:pt idx="41716">
                  <c:v>23634</c:v>
                </c:pt>
                <c:pt idx="41717">
                  <c:v>23633</c:v>
                </c:pt>
                <c:pt idx="41718">
                  <c:v>23632</c:v>
                </c:pt>
                <c:pt idx="41719">
                  <c:v>23632</c:v>
                </c:pt>
                <c:pt idx="41720">
                  <c:v>23632</c:v>
                </c:pt>
                <c:pt idx="41721">
                  <c:v>23632</c:v>
                </c:pt>
                <c:pt idx="41722">
                  <c:v>23632</c:v>
                </c:pt>
                <c:pt idx="41723">
                  <c:v>23632</c:v>
                </c:pt>
                <c:pt idx="41724">
                  <c:v>23631</c:v>
                </c:pt>
                <c:pt idx="41725">
                  <c:v>23631</c:v>
                </c:pt>
                <c:pt idx="41726">
                  <c:v>23631</c:v>
                </c:pt>
                <c:pt idx="41727">
                  <c:v>23630</c:v>
                </c:pt>
                <c:pt idx="41728">
                  <c:v>23630</c:v>
                </c:pt>
                <c:pt idx="41729">
                  <c:v>23630</c:v>
                </c:pt>
                <c:pt idx="41730">
                  <c:v>23630</c:v>
                </c:pt>
                <c:pt idx="41731">
                  <c:v>23629</c:v>
                </c:pt>
                <c:pt idx="41732">
                  <c:v>23628</c:v>
                </c:pt>
                <c:pt idx="41733">
                  <c:v>23628</c:v>
                </c:pt>
                <c:pt idx="41734">
                  <c:v>23627</c:v>
                </c:pt>
                <c:pt idx="41735">
                  <c:v>23627</c:v>
                </c:pt>
                <c:pt idx="41736">
                  <c:v>23627</c:v>
                </c:pt>
                <c:pt idx="41737">
                  <c:v>23627</c:v>
                </c:pt>
                <c:pt idx="41738">
                  <c:v>23627</c:v>
                </c:pt>
                <c:pt idx="41739">
                  <c:v>23626</c:v>
                </c:pt>
                <c:pt idx="41740">
                  <c:v>23626</c:v>
                </c:pt>
                <c:pt idx="41741">
                  <c:v>23625</c:v>
                </c:pt>
                <c:pt idx="41742">
                  <c:v>23625</c:v>
                </c:pt>
                <c:pt idx="41743">
                  <c:v>23625</c:v>
                </c:pt>
                <c:pt idx="41744">
                  <c:v>23625</c:v>
                </c:pt>
                <c:pt idx="41745">
                  <c:v>23625</c:v>
                </c:pt>
                <c:pt idx="41746">
                  <c:v>23625</c:v>
                </c:pt>
                <c:pt idx="41747">
                  <c:v>23624</c:v>
                </c:pt>
                <c:pt idx="41748">
                  <c:v>23623</c:v>
                </c:pt>
                <c:pt idx="41749">
                  <c:v>23623</c:v>
                </c:pt>
                <c:pt idx="41750">
                  <c:v>23622</c:v>
                </c:pt>
                <c:pt idx="41751">
                  <c:v>23622</c:v>
                </c:pt>
                <c:pt idx="41752">
                  <c:v>23622</c:v>
                </c:pt>
                <c:pt idx="41753">
                  <c:v>23620</c:v>
                </c:pt>
                <c:pt idx="41754">
                  <c:v>23620</c:v>
                </c:pt>
                <c:pt idx="41755">
                  <c:v>23619</c:v>
                </c:pt>
                <c:pt idx="41756">
                  <c:v>23619</c:v>
                </c:pt>
                <c:pt idx="41757">
                  <c:v>23618</c:v>
                </c:pt>
                <c:pt idx="41758">
                  <c:v>23618</c:v>
                </c:pt>
                <c:pt idx="41759">
                  <c:v>23618</c:v>
                </c:pt>
                <c:pt idx="41760">
                  <c:v>23617</c:v>
                </c:pt>
                <c:pt idx="41761">
                  <c:v>23617</c:v>
                </c:pt>
                <c:pt idx="41762">
                  <c:v>23616</c:v>
                </c:pt>
                <c:pt idx="41763">
                  <c:v>23615</c:v>
                </c:pt>
                <c:pt idx="41764">
                  <c:v>23615</c:v>
                </c:pt>
                <c:pt idx="41765">
                  <c:v>23614</c:v>
                </c:pt>
                <c:pt idx="41766">
                  <c:v>23614</c:v>
                </c:pt>
                <c:pt idx="41767">
                  <c:v>23614</c:v>
                </c:pt>
                <c:pt idx="41768">
                  <c:v>23614</c:v>
                </c:pt>
                <c:pt idx="41769">
                  <c:v>23613</c:v>
                </c:pt>
                <c:pt idx="41770">
                  <c:v>23612</c:v>
                </c:pt>
                <c:pt idx="41771">
                  <c:v>23612</c:v>
                </c:pt>
                <c:pt idx="41772">
                  <c:v>23612</c:v>
                </c:pt>
                <c:pt idx="41773">
                  <c:v>23611</c:v>
                </c:pt>
                <c:pt idx="41774">
                  <c:v>23611</c:v>
                </c:pt>
                <c:pt idx="41775">
                  <c:v>23611</c:v>
                </c:pt>
                <c:pt idx="41776">
                  <c:v>23610</c:v>
                </c:pt>
                <c:pt idx="41777">
                  <c:v>23609</c:v>
                </c:pt>
                <c:pt idx="41778">
                  <c:v>23609</c:v>
                </c:pt>
                <c:pt idx="41779">
                  <c:v>23608</c:v>
                </c:pt>
                <c:pt idx="41780">
                  <c:v>23608</c:v>
                </c:pt>
                <c:pt idx="41781">
                  <c:v>23608</c:v>
                </c:pt>
                <c:pt idx="41782">
                  <c:v>23607</c:v>
                </c:pt>
                <c:pt idx="41783">
                  <c:v>23607</c:v>
                </c:pt>
                <c:pt idx="41784">
                  <c:v>23607</c:v>
                </c:pt>
                <c:pt idx="41785">
                  <c:v>23607</c:v>
                </c:pt>
                <c:pt idx="41786">
                  <c:v>23607</c:v>
                </c:pt>
                <c:pt idx="41787">
                  <c:v>23606</c:v>
                </c:pt>
                <c:pt idx="41788">
                  <c:v>23606</c:v>
                </c:pt>
                <c:pt idx="41789">
                  <c:v>23606</c:v>
                </c:pt>
                <c:pt idx="41790">
                  <c:v>23605</c:v>
                </c:pt>
                <c:pt idx="41791">
                  <c:v>23605</c:v>
                </c:pt>
                <c:pt idx="41792">
                  <c:v>23604</c:v>
                </c:pt>
                <c:pt idx="41793">
                  <c:v>23604</c:v>
                </c:pt>
                <c:pt idx="41794">
                  <c:v>23603</c:v>
                </c:pt>
                <c:pt idx="41795">
                  <c:v>23603</c:v>
                </c:pt>
                <c:pt idx="41796">
                  <c:v>23603</c:v>
                </c:pt>
                <c:pt idx="41797">
                  <c:v>23603</c:v>
                </c:pt>
                <c:pt idx="41798">
                  <c:v>23602</c:v>
                </c:pt>
                <c:pt idx="41799">
                  <c:v>23602</c:v>
                </c:pt>
                <c:pt idx="41800">
                  <c:v>23602</c:v>
                </c:pt>
                <c:pt idx="41801">
                  <c:v>23602</c:v>
                </c:pt>
                <c:pt idx="41802">
                  <c:v>23602</c:v>
                </c:pt>
                <c:pt idx="41803">
                  <c:v>23601</c:v>
                </c:pt>
                <c:pt idx="41804">
                  <c:v>23601</c:v>
                </c:pt>
                <c:pt idx="41805">
                  <c:v>23600</c:v>
                </c:pt>
                <c:pt idx="41806">
                  <c:v>23599</c:v>
                </c:pt>
                <c:pt idx="41807">
                  <c:v>23599</c:v>
                </c:pt>
                <c:pt idx="41808">
                  <c:v>23599</c:v>
                </c:pt>
                <c:pt idx="41809">
                  <c:v>23599</c:v>
                </c:pt>
                <c:pt idx="41810">
                  <c:v>23598</c:v>
                </c:pt>
                <c:pt idx="41811">
                  <c:v>23598</c:v>
                </c:pt>
                <c:pt idx="41812">
                  <c:v>23598</c:v>
                </c:pt>
                <c:pt idx="41813">
                  <c:v>23597</c:v>
                </c:pt>
                <c:pt idx="41814">
                  <c:v>23597</c:v>
                </c:pt>
                <c:pt idx="41815">
                  <c:v>23595</c:v>
                </c:pt>
                <c:pt idx="41816">
                  <c:v>23594</c:v>
                </c:pt>
                <c:pt idx="41817">
                  <c:v>23593</c:v>
                </c:pt>
                <c:pt idx="41818">
                  <c:v>23593</c:v>
                </c:pt>
                <c:pt idx="41819">
                  <c:v>23593</c:v>
                </c:pt>
                <c:pt idx="41820">
                  <c:v>23592</c:v>
                </c:pt>
                <c:pt idx="41821">
                  <c:v>23592</c:v>
                </c:pt>
                <c:pt idx="41822">
                  <c:v>23591</c:v>
                </c:pt>
                <c:pt idx="41823">
                  <c:v>23591</c:v>
                </c:pt>
                <c:pt idx="41824">
                  <c:v>23591</c:v>
                </c:pt>
                <c:pt idx="41825">
                  <c:v>23591</c:v>
                </c:pt>
                <c:pt idx="41826">
                  <c:v>23590</c:v>
                </c:pt>
                <c:pt idx="41827">
                  <c:v>23590</c:v>
                </c:pt>
                <c:pt idx="41828">
                  <c:v>23590</c:v>
                </c:pt>
                <c:pt idx="41829">
                  <c:v>23589</c:v>
                </c:pt>
                <c:pt idx="41830">
                  <c:v>23589</c:v>
                </c:pt>
                <c:pt idx="41831">
                  <c:v>23589</c:v>
                </c:pt>
                <c:pt idx="41832">
                  <c:v>23589</c:v>
                </c:pt>
                <c:pt idx="41833">
                  <c:v>23588</c:v>
                </c:pt>
                <c:pt idx="41834">
                  <c:v>23588</c:v>
                </c:pt>
                <c:pt idx="41835">
                  <c:v>23587</c:v>
                </c:pt>
                <c:pt idx="41836">
                  <c:v>23586</c:v>
                </c:pt>
                <c:pt idx="41837">
                  <c:v>23586</c:v>
                </c:pt>
                <c:pt idx="41838">
                  <c:v>23586</c:v>
                </c:pt>
                <c:pt idx="41839">
                  <c:v>23585</c:v>
                </c:pt>
                <c:pt idx="41840">
                  <c:v>23585</c:v>
                </c:pt>
                <c:pt idx="41841">
                  <c:v>23585</c:v>
                </c:pt>
                <c:pt idx="41842">
                  <c:v>23585</c:v>
                </c:pt>
                <c:pt idx="41843">
                  <c:v>23584</c:v>
                </c:pt>
                <c:pt idx="41844">
                  <c:v>23584</c:v>
                </c:pt>
                <c:pt idx="41845">
                  <c:v>23584</c:v>
                </c:pt>
                <c:pt idx="41846">
                  <c:v>23584</c:v>
                </c:pt>
                <c:pt idx="41847">
                  <c:v>23584</c:v>
                </c:pt>
                <c:pt idx="41848">
                  <c:v>23583</c:v>
                </c:pt>
                <c:pt idx="41849">
                  <c:v>23583</c:v>
                </c:pt>
                <c:pt idx="41850">
                  <c:v>23583</c:v>
                </c:pt>
                <c:pt idx="41851">
                  <c:v>23581</c:v>
                </c:pt>
                <c:pt idx="41852">
                  <c:v>23581</c:v>
                </c:pt>
                <c:pt idx="41853">
                  <c:v>23580</c:v>
                </c:pt>
                <c:pt idx="41854">
                  <c:v>23579</c:v>
                </c:pt>
                <c:pt idx="41855">
                  <c:v>23579</c:v>
                </c:pt>
                <c:pt idx="41856">
                  <c:v>23579</c:v>
                </c:pt>
                <c:pt idx="41857">
                  <c:v>23579</c:v>
                </c:pt>
                <c:pt idx="41858">
                  <c:v>23578</c:v>
                </c:pt>
                <c:pt idx="41859">
                  <c:v>23577</c:v>
                </c:pt>
                <c:pt idx="41860">
                  <c:v>23577</c:v>
                </c:pt>
                <c:pt idx="41861">
                  <c:v>23576</c:v>
                </c:pt>
                <c:pt idx="41862">
                  <c:v>23576</c:v>
                </c:pt>
                <c:pt idx="41863">
                  <c:v>23576</c:v>
                </c:pt>
                <c:pt idx="41864">
                  <c:v>23575</c:v>
                </c:pt>
                <c:pt idx="41865">
                  <c:v>23575</c:v>
                </c:pt>
                <c:pt idx="41866">
                  <c:v>23574</c:v>
                </c:pt>
                <c:pt idx="41867">
                  <c:v>23574</c:v>
                </c:pt>
                <c:pt idx="41868">
                  <c:v>23574</c:v>
                </c:pt>
                <c:pt idx="41869">
                  <c:v>23574</c:v>
                </c:pt>
                <c:pt idx="41870">
                  <c:v>23574</c:v>
                </c:pt>
                <c:pt idx="41871">
                  <c:v>23574</c:v>
                </c:pt>
                <c:pt idx="41872">
                  <c:v>23572</c:v>
                </c:pt>
                <c:pt idx="41873">
                  <c:v>23572</c:v>
                </c:pt>
                <c:pt idx="41874">
                  <c:v>23571</c:v>
                </c:pt>
                <c:pt idx="41875">
                  <c:v>23570</c:v>
                </c:pt>
                <c:pt idx="41876">
                  <c:v>23568</c:v>
                </c:pt>
                <c:pt idx="41877">
                  <c:v>23568</c:v>
                </c:pt>
                <c:pt idx="41878">
                  <c:v>23568</c:v>
                </c:pt>
                <c:pt idx="41879">
                  <c:v>23568</c:v>
                </c:pt>
                <c:pt idx="41880">
                  <c:v>23567</c:v>
                </c:pt>
                <c:pt idx="41881">
                  <c:v>23566</c:v>
                </c:pt>
                <c:pt idx="41882">
                  <c:v>23566</c:v>
                </c:pt>
                <c:pt idx="41883">
                  <c:v>23565</c:v>
                </c:pt>
                <c:pt idx="41884">
                  <c:v>23565</c:v>
                </c:pt>
                <c:pt idx="41885">
                  <c:v>23565</c:v>
                </c:pt>
                <c:pt idx="41886">
                  <c:v>23565</c:v>
                </c:pt>
                <c:pt idx="41887">
                  <c:v>23565</c:v>
                </c:pt>
                <c:pt idx="41888">
                  <c:v>23565</c:v>
                </c:pt>
                <c:pt idx="41889">
                  <c:v>23564</c:v>
                </c:pt>
                <c:pt idx="41890">
                  <c:v>23564</c:v>
                </c:pt>
                <c:pt idx="41891">
                  <c:v>23564</c:v>
                </c:pt>
                <c:pt idx="41892">
                  <c:v>23564</c:v>
                </c:pt>
                <c:pt idx="41893">
                  <c:v>23563</c:v>
                </c:pt>
                <c:pt idx="41894">
                  <c:v>23562</c:v>
                </c:pt>
                <c:pt idx="41895">
                  <c:v>23561</c:v>
                </c:pt>
                <c:pt idx="41896">
                  <c:v>23560</c:v>
                </c:pt>
                <c:pt idx="41897">
                  <c:v>23560</c:v>
                </c:pt>
                <c:pt idx="41898">
                  <c:v>23560</c:v>
                </c:pt>
                <c:pt idx="41899">
                  <c:v>23560</c:v>
                </c:pt>
                <c:pt idx="41900">
                  <c:v>23559</c:v>
                </c:pt>
                <c:pt idx="41901">
                  <c:v>23558</c:v>
                </c:pt>
                <c:pt idx="41902">
                  <c:v>23558</c:v>
                </c:pt>
                <c:pt idx="41903">
                  <c:v>23558</c:v>
                </c:pt>
                <c:pt idx="41904">
                  <c:v>23557</c:v>
                </c:pt>
                <c:pt idx="41905">
                  <c:v>23557</c:v>
                </c:pt>
                <c:pt idx="41906">
                  <c:v>23557</c:v>
                </c:pt>
                <c:pt idx="41907">
                  <c:v>23557</c:v>
                </c:pt>
                <c:pt idx="41908">
                  <c:v>23557</c:v>
                </c:pt>
                <c:pt idx="41909">
                  <c:v>23556</c:v>
                </c:pt>
                <c:pt idx="41910">
                  <c:v>23556</c:v>
                </c:pt>
                <c:pt idx="41911">
                  <c:v>23555</c:v>
                </c:pt>
                <c:pt idx="41912">
                  <c:v>23555</c:v>
                </c:pt>
                <c:pt idx="41913">
                  <c:v>23554</c:v>
                </c:pt>
                <c:pt idx="41914">
                  <c:v>23551</c:v>
                </c:pt>
                <c:pt idx="41915">
                  <c:v>23551</c:v>
                </c:pt>
                <c:pt idx="41916">
                  <c:v>23551</c:v>
                </c:pt>
                <c:pt idx="41917">
                  <c:v>23551</c:v>
                </c:pt>
                <c:pt idx="41918">
                  <c:v>23551</c:v>
                </c:pt>
                <c:pt idx="41919">
                  <c:v>23551</c:v>
                </c:pt>
                <c:pt idx="41920">
                  <c:v>23549</c:v>
                </c:pt>
                <c:pt idx="41921">
                  <c:v>23549</c:v>
                </c:pt>
                <c:pt idx="41922">
                  <c:v>23549</c:v>
                </c:pt>
                <c:pt idx="41923">
                  <c:v>23549</c:v>
                </c:pt>
                <c:pt idx="41924">
                  <c:v>23549</c:v>
                </c:pt>
                <c:pt idx="41925">
                  <c:v>23548</c:v>
                </c:pt>
                <c:pt idx="41926">
                  <c:v>23547</c:v>
                </c:pt>
                <c:pt idx="41927">
                  <c:v>23545</c:v>
                </c:pt>
                <c:pt idx="41928">
                  <c:v>23544</c:v>
                </c:pt>
                <c:pt idx="41929">
                  <c:v>23544</c:v>
                </c:pt>
                <c:pt idx="41930">
                  <c:v>23544</c:v>
                </c:pt>
                <c:pt idx="41931">
                  <c:v>23544</c:v>
                </c:pt>
                <c:pt idx="41932">
                  <c:v>23544</c:v>
                </c:pt>
                <c:pt idx="41933">
                  <c:v>23544</c:v>
                </c:pt>
                <c:pt idx="41934">
                  <c:v>23544</c:v>
                </c:pt>
                <c:pt idx="41935">
                  <c:v>23543</c:v>
                </c:pt>
                <c:pt idx="41936">
                  <c:v>23543</c:v>
                </c:pt>
                <c:pt idx="41937">
                  <c:v>23543</c:v>
                </c:pt>
                <c:pt idx="41938">
                  <c:v>23543</c:v>
                </c:pt>
                <c:pt idx="41939">
                  <c:v>23543</c:v>
                </c:pt>
                <c:pt idx="41940">
                  <c:v>23542</c:v>
                </c:pt>
                <c:pt idx="41941">
                  <c:v>23542</c:v>
                </c:pt>
                <c:pt idx="41942">
                  <c:v>23541</c:v>
                </c:pt>
                <c:pt idx="41943">
                  <c:v>23540</c:v>
                </c:pt>
                <c:pt idx="41944">
                  <c:v>23540</c:v>
                </c:pt>
                <c:pt idx="41945">
                  <c:v>23540</c:v>
                </c:pt>
                <c:pt idx="41946">
                  <c:v>23540</c:v>
                </c:pt>
                <c:pt idx="41947">
                  <c:v>23540</c:v>
                </c:pt>
                <c:pt idx="41948">
                  <c:v>23539</c:v>
                </c:pt>
                <c:pt idx="41949">
                  <c:v>23539</c:v>
                </c:pt>
                <c:pt idx="41950">
                  <c:v>23538</c:v>
                </c:pt>
                <c:pt idx="41951">
                  <c:v>23538</c:v>
                </c:pt>
                <c:pt idx="41952">
                  <c:v>23538</c:v>
                </c:pt>
                <c:pt idx="41953">
                  <c:v>23536</c:v>
                </c:pt>
                <c:pt idx="41954">
                  <c:v>23536</c:v>
                </c:pt>
                <c:pt idx="41955">
                  <c:v>23536</c:v>
                </c:pt>
                <c:pt idx="41956">
                  <c:v>23536</c:v>
                </c:pt>
                <c:pt idx="41957">
                  <c:v>23536</c:v>
                </c:pt>
                <c:pt idx="41958">
                  <c:v>23535</c:v>
                </c:pt>
                <c:pt idx="41959">
                  <c:v>23534</c:v>
                </c:pt>
                <c:pt idx="41960">
                  <c:v>23534</c:v>
                </c:pt>
                <c:pt idx="41961">
                  <c:v>23534</c:v>
                </c:pt>
                <c:pt idx="41962">
                  <c:v>23534</c:v>
                </c:pt>
                <c:pt idx="41963">
                  <c:v>23533</c:v>
                </c:pt>
                <c:pt idx="41964">
                  <c:v>23532</c:v>
                </c:pt>
                <c:pt idx="41965">
                  <c:v>23532</c:v>
                </c:pt>
                <c:pt idx="41966">
                  <c:v>23531</c:v>
                </c:pt>
                <c:pt idx="41967">
                  <c:v>23531</c:v>
                </c:pt>
                <c:pt idx="41968">
                  <c:v>23531</c:v>
                </c:pt>
                <c:pt idx="41969">
                  <c:v>23530</c:v>
                </c:pt>
                <c:pt idx="41970">
                  <c:v>23530</c:v>
                </c:pt>
                <c:pt idx="41971">
                  <c:v>23530</c:v>
                </c:pt>
                <c:pt idx="41972">
                  <c:v>23529</c:v>
                </c:pt>
                <c:pt idx="41973">
                  <c:v>23529</c:v>
                </c:pt>
                <c:pt idx="41974">
                  <c:v>23529</c:v>
                </c:pt>
                <c:pt idx="41975">
                  <c:v>23529</c:v>
                </c:pt>
                <c:pt idx="41976">
                  <c:v>23528</c:v>
                </c:pt>
                <c:pt idx="41977">
                  <c:v>23528</c:v>
                </c:pt>
                <c:pt idx="41978">
                  <c:v>23528</c:v>
                </c:pt>
                <c:pt idx="41979">
                  <c:v>23527</c:v>
                </c:pt>
                <c:pt idx="41980">
                  <c:v>23527</c:v>
                </c:pt>
                <c:pt idx="41981">
                  <c:v>23527</c:v>
                </c:pt>
                <c:pt idx="41982">
                  <c:v>23527</c:v>
                </c:pt>
                <c:pt idx="41983">
                  <c:v>23526</c:v>
                </c:pt>
                <c:pt idx="41984">
                  <c:v>23526</c:v>
                </c:pt>
                <c:pt idx="41985">
                  <c:v>23525</c:v>
                </c:pt>
                <c:pt idx="41986">
                  <c:v>23524</c:v>
                </c:pt>
                <c:pt idx="41987">
                  <c:v>23524</c:v>
                </c:pt>
                <c:pt idx="41988">
                  <c:v>23523</c:v>
                </c:pt>
                <c:pt idx="41989">
                  <c:v>23523</c:v>
                </c:pt>
                <c:pt idx="41990">
                  <c:v>23523</c:v>
                </c:pt>
                <c:pt idx="41991">
                  <c:v>23523</c:v>
                </c:pt>
                <c:pt idx="41992">
                  <c:v>23522</c:v>
                </c:pt>
                <c:pt idx="41993">
                  <c:v>23522</c:v>
                </c:pt>
                <c:pt idx="41994">
                  <c:v>23521</c:v>
                </c:pt>
                <c:pt idx="41995">
                  <c:v>23521</c:v>
                </c:pt>
                <c:pt idx="41996">
                  <c:v>23521</c:v>
                </c:pt>
                <c:pt idx="41997">
                  <c:v>23520</c:v>
                </c:pt>
                <c:pt idx="41998">
                  <c:v>23520</c:v>
                </c:pt>
                <c:pt idx="41999">
                  <c:v>23520</c:v>
                </c:pt>
                <c:pt idx="42000">
                  <c:v>23520</c:v>
                </c:pt>
                <c:pt idx="42001">
                  <c:v>23519</c:v>
                </c:pt>
                <c:pt idx="42002">
                  <c:v>23519</c:v>
                </c:pt>
                <c:pt idx="42003">
                  <c:v>23517</c:v>
                </c:pt>
                <c:pt idx="42004">
                  <c:v>23517</c:v>
                </c:pt>
                <c:pt idx="42005">
                  <c:v>23516</c:v>
                </c:pt>
                <c:pt idx="42006">
                  <c:v>23516</c:v>
                </c:pt>
                <c:pt idx="42007">
                  <c:v>23516</c:v>
                </c:pt>
                <c:pt idx="42008">
                  <c:v>23515</c:v>
                </c:pt>
                <c:pt idx="42009">
                  <c:v>23515</c:v>
                </c:pt>
                <c:pt idx="42010">
                  <c:v>23515</c:v>
                </c:pt>
                <c:pt idx="42011">
                  <c:v>23514</c:v>
                </c:pt>
                <c:pt idx="42012">
                  <c:v>23514</c:v>
                </c:pt>
                <c:pt idx="42013">
                  <c:v>23514</c:v>
                </c:pt>
                <c:pt idx="42014">
                  <c:v>23513</c:v>
                </c:pt>
                <c:pt idx="42015">
                  <c:v>23513</c:v>
                </c:pt>
                <c:pt idx="42016">
                  <c:v>23512</c:v>
                </c:pt>
                <c:pt idx="42017">
                  <c:v>23512</c:v>
                </c:pt>
                <c:pt idx="42018">
                  <c:v>23512</c:v>
                </c:pt>
                <c:pt idx="42019">
                  <c:v>23512</c:v>
                </c:pt>
                <c:pt idx="42020">
                  <c:v>23512</c:v>
                </c:pt>
                <c:pt idx="42021">
                  <c:v>23512</c:v>
                </c:pt>
                <c:pt idx="42022">
                  <c:v>23511</c:v>
                </c:pt>
                <c:pt idx="42023">
                  <c:v>23511</c:v>
                </c:pt>
                <c:pt idx="42024">
                  <c:v>23511</c:v>
                </c:pt>
                <c:pt idx="42025">
                  <c:v>23510</c:v>
                </c:pt>
                <c:pt idx="42026">
                  <c:v>23510</c:v>
                </c:pt>
                <c:pt idx="42027">
                  <c:v>23509</c:v>
                </c:pt>
                <c:pt idx="42028">
                  <c:v>23509</c:v>
                </c:pt>
                <c:pt idx="42029">
                  <c:v>23509</c:v>
                </c:pt>
                <c:pt idx="42030">
                  <c:v>23509</c:v>
                </c:pt>
                <c:pt idx="42031">
                  <c:v>23509</c:v>
                </c:pt>
                <c:pt idx="42032">
                  <c:v>23508</c:v>
                </c:pt>
                <c:pt idx="42033">
                  <c:v>23508</c:v>
                </c:pt>
                <c:pt idx="42034">
                  <c:v>23508</c:v>
                </c:pt>
                <c:pt idx="42035">
                  <c:v>23508</c:v>
                </c:pt>
                <c:pt idx="42036">
                  <c:v>23508</c:v>
                </c:pt>
                <c:pt idx="42037">
                  <c:v>23507</c:v>
                </c:pt>
                <c:pt idx="42038">
                  <c:v>23506</c:v>
                </c:pt>
                <c:pt idx="42039">
                  <c:v>23506</c:v>
                </c:pt>
                <c:pt idx="42040">
                  <c:v>23506</c:v>
                </c:pt>
                <c:pt idx="42041">
                  <c:v>23506</c:v>
                </c:pt>
                <c:pt idx="42042">
                  <c:v>23506</c:v>
                </c:pt>
                <c:pt idx="42043">
                  <c:v>23505</c:v>
                </c:pt>
                <c:pt idx="42044">
                  <c:v>23505</c:v>
                </c:pt>
                <c:pt idx="42045">
                  <c:v>23504</c:v>
                </c:pt>
                <c:pt idx="42046">
                  <c:v>23504</c:v>
                </c:pt>
                <c:pt idx="42047">
                  <c:v>23504</c:v>
                </c:pt>
                <c:pt idx="42048">
                  <c:v>23504</c:v>
                </c:pt>
                <c:pt idx="42049">
                  <c:v>23504</c:v>
                </c:pt>
                <c:pt idx="42050">
                  <c:v>23504</c:v>
                </c:pt>
                <c:pt idx="42051">
                  <c:v>23503</c:v>
                </c:pt>
                <c:pt idx="42052">
                  <c:v>23503</c:v>
                </c:pt>
                <c:pt idx="42053">
                  <c:v>23502</c:v>
                </c:pt>
                <c:pt idx="42054">
                  <c:v>23502</c:v>
                </c:pt>
                <c:pt idx="42055">
                  <c:v>23502</c:v>
                </c:pt>
                <c:pt idx="42056">
                  <c:v>23502</c:v>
                </c:pt>
                <c:pt idx="42057">
                  <c:v>23501</c:v>
                </c:pt>
                <c:pt idx="42058">
                  <c:v>23501</c:v>
                </c:pt>
                <c:pt idx="42059">
                  <c:v>23501</c:v>
                </c:pt>
                <c:pt idx="42060">
                  <c:v>23501</c:v>
                </c:pt>
                <c:pt idx="42061">
                  <c:v>23500</c:v>
                </c:pt>
                <c:pt idx="42062">
                  <c:v>23500</c:v>
                </c:pt>
                <c:pt idx="42063">
                  <c:v>23500</c:v>
                </c:pt>
                <c:pt idx="42064">
                  <c:v>23499</c:v>
                </c:pt>
                <c:pt idx="42065">
                  <c:v>23499</c:v>
                </c:pt>
                <c:pt idx="42066">
                  <c:v>23498</c:v>
                </c:pt>
                <c:pt idx="42067">
                  <c:v>23498</c:v>
                </c:pt>
                <c:pt idx="42068">
                  <c:v>23497</c:v>
                </c:pt>
                <c:pt idx="42069">
                  <c:v>23497</c:v>
                </c:pt>
                <c:pt idx="42070">
                  <c:v>23496</c:v>
                </c:pt>
                <c:pt idx="42071">
                  <c:v>23496</c:v>
                </c:pt>
                <c:pt idx="42072">
                  <c:v>23496</c:v>
                </c:pt>
                <c:pt idx="42073">
                  <c:v>23495</c:v>
                </c:pt>
                <c:pt idx="42074">
                  <c:v>23495</c:v>
                </c:pt>
                <c:pt idx="42075">
                  <c:v>23495</c:v>
                </c:pt>
                <c:pt idx="42076">
                  <c:v>23495</c:v>
                </c:pt>
                <c:pt idx="42077">
                  <c:v>23494</c:v>
                </c:pt>
                <c:pt idx="42078">
                  <c:v>23494</c:v>
                </c:pt>
                <c:pt idx="42079">
                  <c:v>23494</c:v>
                </c:pt>
                <c:pt idx="42080">
                  <c:v>23493</c:v>
                </c:pt>
                <c:pt idx="42081">
                  <c:v>23492</c:v>
                </c:pt>
                <c:pt idx="42082">
                  <c:v>23492</c:v>
                </c:pt>
                <c:pt idx="42083">
                  <c:v>23492</c:v>
                </c:pt>
                <c:pt idx="42084">
                  <c:v>23492</c:v>
                </c:pt>
                <c:pt idx="42085">
                  <c:v>23492</c:v>
                </c:pt>
                <c:pt idx="42086">
                  <c:v>23491</c:v>
                </c:pt>
                <c:pt idx="42087">
                  <c:v>23490</c:v>
                </c:pt>
                <c:pt idx="42088">
                  <c:v>23489</c:v>
                </c:pt>
                <c:pt idx="42089">
                  <c:v>23489</c:v>
                </c:pt>
                <c:pt idx="42090">
                  <c:v>23489</c:v>
                </c:pt>
                <c:pt idx="42091">
                  <c:v>23488</c:v>
                </c:pt>
                <c:pt idx="42092">
                  <c:v>23488</c:v>
                </c:pt>
                <c:pt idx="42093">
                  <c:v>23488</c:v>
                </c:pt>
                <c:pt idx="42094">
                  <c:v>23487</c:v>
                </c:pt>
                <c:pt idx="42095">
                  <c:v>23486</c:v>
                </c:pt>
                <c:pt idx="42096">
                  <c:v>23486</c:v>
                </c:pt>
                <c:pt idx="42097">
                  <c:v>23486</c:v>
                </c:pt>
                <c:pt idx="42098">
                  <c:v>23486</c:v>
                </c:pt>
                <c:pt idx="42099">
                  <c:v>23486</c:v>
                </c:pt>
                <c:pt idx="42100">
                  <c:v>23486</c:v>
                </c:pt>
                <c:pt idx="42101">
                  <c:v>23485</c:v>
                </c:pt>
                <c:pt idx="42102">
                  <c:v>23485</c:v>
                </c:pt>
                <c:pt idx="42103">
                  <c:v>23485</c:v>
                </c:pt>
                <c:pt idx="42104">
                  <c:v>23485</c:v>
                </c:pt>
                <c:pt idx="42105">
                  <c:v>23484</c:v>
                </c:pt>
                <c:pt idx="42106">
                  <c:v>23483</c:v>
                </c:pt>
                <c:pt idx="42107">
                  <c:v>23483</c:v>
                </c:pt>
                <c:pt idx="42108">
                  <c:v>23482</c:v>
                </c:pt>
                <c:pt idx="42109">
                  <c:v>23482</c:v>
                </c:pt>
                <c:pt idx="42110">
                  <c:v>23482</c:v>
                </c:pt>
                <c:pt idx="42111">
                  <c:v>23481</c:v>
                </c:pt>
                <c:pt idx="42112">
                  <c:v>23481</c:v>
                </c:pt>
                <c:pt idx="42113">
                  <c:v>23481</c:v>
                </c:pt>
                <c:pt idx="42114">
                  <c:v>23480</c:v>
                </c:pt>
                <c:pt idx="42115">
                  <c:v>23480</c:v>
                </c:pt>
                <c:pt idx="42116">
                  <c:v>23479</c:v>
                </c:pt>
                <c:pt idx="42117">
                  <c:v>23479</c:v>
                </c:pt>
                <c:pt idx="42118">
                  <c:v>23479</c:v>
                </c:pt>
                <c:pt idx="42119">
                  <c:v>23479</c:v>
                </c:pt>
                <c:pt idx="42120">
                  <c:v>23478</c:v>
                </c:pt>
                <c:pt idx="42121">
                  <c:v>23478</c:v>
                </c:pt>
                <c:pt idx="42122">
                  <c:v>23477</c:v>
                </c:pt>
                <c:pt idx="42123">
                  <c:v>23477</c:v>
                </c:pt>
                <c:pt idx="42124">
                  <c:v>23477</c:v>
                </c:pt>
                <c:pt idx="42125">
                  <c:v>23477</c:v>
                </c:pt>
                <c:pt idx="42126">
                  <c:v>23476</c:v>
                </c:pt>
                <c:pt idx="42127">
                  <c:v>23476</c:v>
                </c:pt>
                <c:pt idx="42128">
                  <c:v>23475</c:v>
                </c:pt>
                <c:pt idx="42129">
                  <c:v>23475</c:v>
                </c:pt>
                <c:pt idx="42130">
                  <c:v>23475</c:v>
                </c:pt>
                <c:pt idx="42131">
                  <c:v>23475</c:v>
                </c:pt>
                <c:pt idx="42132">
                  <c:v>23475</c:v>
                </c:pt>
                <c:pt idx="42133">
                  <c:v>23475</c:v>
                </c:pt>
                <c:pt idx="42134">
                  <c:v>23474</c:v>
                </c:pt>
                <c:pt idx="42135">
                  <c:v>23474</c:v>
                </c:pt>
                <c:pt idx="42136">
                  <c:v>23474</c:v>
                </c:pt>
                <c:pt idx="42137">
                  <c:v>23474</c:v>
                </c:pt>
                <c:pt idx="42138">
                  <c:v>23473</c:v>
                </c:pt>
                <c:pt idx="42139">
                  <c:v>23472</c:v>
                </c:pt>
                <c:pt idx="42140">
                  <c:v>23472</c:v>
                </c:pt>
                <c:pt idx="42141">
                  <c:v>23472</c:v>
                </c:pt>
                <c:pt idx="42142">
                  <c:v>23472</c:v>
                </c:pt>
                <c:pt idx="42143">
                  <c:v>23472</c:v>
                </c:pt>
                <c:pt idx="42144">
                  <c:v>23472</c:v>
                </c:pt>
                <c:pt idx="42145">
                  <c:v>23472</c:v>
                </c:pt>
                <c:pt idx="42146">
                  <c:v>23471</c:v>
                </c:pt>
                <c:pt idx="42147">
                  <c:v>23470</c:v>
                </c:pt>
                <c:pt idx="42148">
                  <c:v>23470</c:v>
                </c:pt>
                <c:pt idx="42149">
                  <c:v>23470</c:v>
                </c:pt>
                <c:pt idx="42150">
                  <c:v>23470</c:v>
                </c:pt>
                <c:pt idx="42151">
                  <c:v>23470</c:v>
                </c:pt>
                <c:pt idx="42152">
                  <c:v>23470</c:v>
                </c:pt>
                <c:pt idx="42153">
                  <c:v>23469</c:v>
                </c:pt>
                <c:pt idx="42154">
                  <c:v>23469</c:v>
                </c:pt>
                <c:pt idx="42155">
                  <c:v>23469</c:v>
                </c:pt>
                <c:pt idx="42156">
                  <c:v>23469</c:v>
                </c:pt>
                <c:pt idx="42157">
                  <c:v>23468</c:v>
                </c:pt>
                <c:pt idx="42158">
                  <c:v>23467</c:v>
                </c:pt>
                <c:pt idx="42159">
                  <c:v>23467</c:v>
                </c:pt>
                <c:pt idx="42160">
                  <c:v>23466</c:v>
                </c:pt>
                <c:pt idx="42161">
                  <c:v>23466</c:v>
                </c:pt>
                <c:pt idx="42162">
                  <c:v>23466</c:v>
                </c:pt>
                <c:pt idx="42163">
                  <c:v>23465</c:v>
                </c:pt>
                <c:pt idx="42164">
                  <c:v>23463</c:v>
                </c:pt>
                <c:pt idx="42165">
                  <c:v>23463</c:v>
                </c:pt>
                <c:pt idx="42166">
                  <c:v>23463</c:v>
                </c:pt>
                <c:pt idx="42167">
                  <c:v>23462</c:v>
                </c:pt>
                <c:pt idx="42168">
                  <c:v>23462</c:v>
                </c:pt>
                <c:pt idx="42169">
                  <c:v>23461</c:v>
                </c:pt>
                <c:pt idx="42170">
                  <c:v>23461</c:v>
                </c:pt>
                <c:pt idx="42171">
                  <c:v>23461</c:v>
                </c:pt>
                <c:pt idx="42172">
                  <c:v>23461</c:v>
                </c:pt>
                <c:pt idx="42173">
                  <c:v>23460</c:v>
                </c:pt>
                <c:pt idx="42174">
                  <c:v>23460</c:v>
                </c:pt>
                <c:pt idx="42175">
                  <c:v>23459</c:v>
                </c:pt>
                <c:pt idx="42176">
                  <c:v>23459</c:v>
                </c:pt>
                <c:pt idx="42177">
                  <c:v>23459</c:v>
                </c:pt>
                <c:pt idx="42178">
                  <c:v>23459</c:v>
                </c:pt>
                <c:pt idx="42179">
                  <c:v>23457</c:v>
                </c:pt>
                <c:pt idx="42180">
                  <c:v>23457</c:v>
                </c:pt>
                <c:pt idx="42181">
                  <c:v>23457</c:v>
                </c:pt>
                <c:pt idx="42182">
                  <c:v>23456</c:v>
                </c:pt>
                <c:pt idx="42183">
                  <c:v>23456</c:v>
                </c:pt>
                <c:pt idx="42184">
                  <c:v>23456</c:v>
                </c:pt>
                <c:pt idx="42185">
                  <c:v>23456</c:v>
                </c:pt>
                <c:pt idx="42186">
                  <c:v>23455</c:v>
                </c:pt>
                <c:pt idx="42187">
                  <c:v>23455</c:v>
                </c:pt>
                <c:pt idx="42188">
                  <c:v>23455</c:v>
                </c:pt>
                <c:pt idx="42189">
                  <c:v>23454</c:v>
                </c:pt>
                <c:pt idx="42190">
                  <c:v>23454</c:v>
                </c:pt>
                <c:pt idx="42191">
                  <c:v>23454</c:v>
                </c:pt>
                <c:pt idx="42192">
                  <c:v>23453</c:v>
                </c:pt>
                <c:pt idx="42193">
                  <c:v>23453</c:v>
                </c:pt>
                <c:pt idx="42194">
                  <c:v>23453</c:v>
                </c:pt>
                <c:pt idx="42195">
                  <c:v>23453</c:v>
                </c:pt>
                <c:pt idx="42196">
                  <c:v>23453</c:v>
                </c:pt>
                <c:pt idx="42197">
                  <c:v>23453</c:v>
                </c:pt>
                <c:pt idx="42198">
                  <c:v>23451</c:v>
                </c:pt>
                <c:pt idx="42199">
                  <c:v>23450</c:v>
                </c:pt>
                <c:pt idx="42200">
                  <c:v>23450</c:v>
                </c:pt>
                <c:pt idx="42201">
                  <c:v>23450</c:v>
                </c:pt>
                <c:pt idx="42202">
                  <c:v>23449</c:v>
                </c:pt>
                <c:pt idx="42203">
                  <c:v>23449</c:v>
                </c:pt>
                <c:pt idx="42204">
                  <c:v>23448</c:v>
                </c:pt>
                <c:pt idx="42205">
                  <c:v>23447</c:v>
                </c:pt>
                <c:pt idx="42206">
                  <c:v>23447</c:v>
                </c:pt>
                <c:pt idx="42207">
                  <c:v>23446</c:v>
                </c:pt>
                <c:pt idx="42208">
                  <c:v>23446</c:v>
                </c:pt>
                <c:pt idx="42209">
                  <c:v>23445</c:v>
                </c:pt>
                <c:pt idx="42210">
                  <c:v>23445</c:v>
                </c:pt>
                <c:pt idx="42211">
                  <c:v>23445</c:v>
                </c:pt>
                <c:pt idx="42212">
                  <c:v>23444</c:v>
                </c:pt>
                <c:pt idx="42213">
                  <c:v>23444</c:v>
                </c:pt>
                <c:pt idx="42214">
                  <c:v>23444</c:v>
                </c:pt>
                <c:pt idx="42215">
                  <c:v>23443</c:v>
                </c:pt>
                <c:pt idx="42216">
                  <c:v>23442</c:v>
                </c:pt>
                <c:pt idx="42217">
                  <c:v>23440</c:v>
                </c:pt>
                <c:pt idx="42218">
                  <c:v>23440</c:v>
                </c:pt>
                <c:pt idx="42219">
                  <c:v>23439</c:v>
                </c:pt>
                <c:pt idx="42220">
                  <c:v>23439</c:v>
                </c:pt>
                <c:pt idx="42221">
                  <c:v>23439</c:v>
                </c:pt>
                <c:pt idx="42222">
                  <c:v>23439</c:v>
                </c:pt>
                <c:pt idx="42223">
                  <c:v>23438</c:v>
                </c:pt>
                <c:pt idx="42224">
                  <c:v>23438</c:v>
                </c:pt>
                <c:pt idx="42225">
                  <c:v>23438</c:v>
                </c:pt>
                <c:pt idx="42226">
                  <c:v>23437</c:v>
                </c:pt>
                <c:pt idx="42227">
                  <c:v>23436</c:v>
                </c:pt>
                <c:pt idx="42228">
                  <c:v>23435</c:v>
                </c:pt>
                <c:pt idx="42229">
                  <c:v>23435</c:v>
                </c:pt>
                <c:pt idx="42230">
                  <c:v>23435</c:v>
                </c:pt>
                <c:pt idx="42231">
                  <c:v>23435</c:v>
                </c:pt>
                <c:pt idx="42232">
                  <c:v>23434</c:v>
                </c:pt>
                <c:pt idx="42233">
                  <c:v>23434</c:v>
                </c:pt>
                <c:pt idx="42234">
                  <c:v>23433</c:v>
                </c:pt>
                <c:pt idx="42235">
                  <c:v>23433</c:v>
                </c:pt>
                <c:pt idx="42236">
                  <c:v>23433</c:v>
                </c:pt>
                <c:pt idx="42237">
                  <c:v>23433</c:v>
                </c:pt>
                <c:pt idx="42238">
                  <c:v>23432</c:v>
                </c:pt>
                <c:pt idx="42239">
                  <c:v>23432</c:v>
                </c:pt>
                <c:pt idx="42240">
                  <c:v>23431</c:v>
                </c:pt>
                <c:pt idx="42241">
                  <c:v>23431</c:v>
                </c:pt>
                <c:pt idx="42242">
                  <c:v>23431</c:v>
                </c:pt>
                <c:pt idx="42243">
                  <c:v>23431</c:v>
                </c:pt>
                <c:pt idx="42244">
                  <c:v>23430</c:v>
                </c:pt>
                <c:pt idx="42245">
                  <c:v>23430</c:v>
                </c:pt>
                <c:pt idx="42246">
                  <c:v>23430</c:v>
                </c:pt>
                <c:pt idx="42247">
                  <c:v>23429</c:v>
                </c:pt>
                <c:pt idx="42248">
                  <c:v>23429</c:v>
                </c:pt>
                <c:pt idx="42249">
                  <c:v>23429</c:v>
                </c:pt>
                <c:pt idx="42250">
                  <c:v>23429</c:v>
                </c:pt>
                <c:pt idx="42251">
                  <c:v>23428</c:v>
                </c:pt>
                <c:pt idx="42252">
                  <c:v>23428</c:v>
                </c:pt>
                <c:pt idx="42253">
                  <c:v>23428</c:v>
                </c:pt>
                <c:pt idx="42254">
                  <c:v>23428</c:v>
                </c:pt>
                <c:pt idx="42255">
                  <c:v>23428</c:v>
                </c:pt>
                <c:pt idx="42256">
                  <c:v>23427</c:v>
                </c:pt>
                <c:pt idx="42257">
                  <c:v>23427</c:v>
                </c:pt>
                <c:pt idx="42258">
                  <c:v>23427</c:v>
                </c:pt>
                <c:pt idx="42259">
                  <c:v>23426</c:v>
                </c:pt>
                <c:pt idx="42260">
                  <c:v>23426</c:v>
                </c:pt>
                <c:pt idx="42261">
                  <c:v>23425</c:v>
                </c:pt>
                <c:pt idx="42262">
                  <c:v>23425</c:v>
                </c:pt>
                <c:pt idx="42263">
                  <c:v>23425</c:v>
                </c:pt>
                <c:pt idx="42264">
                  <c:v>23425</c:v>
                </c:pt>
                <c:pt idx="42265">
                  <c:v>23425</c:v>
                </c:pt>
                <c:pt idx="42266">
                  <c:v>23425</c:v>
                </c:pt>
                <c:pt idx="42267">
                  <c:v>23425</c:v>
                </c:pt>
                <c:pt idx="42268">
                  <c:v>23425</c:v>
                </c:pt>
                <c:pt idx="42269">
                  <c:v>23424</c:v>
                </c:pt>
                <c:pt idx="42270">
                  <c:v>23424</c:v>
                </c:pt>
                <c:pt idx="42271">
                  <c:v>23423</c:v>
                </c:pt>
                <c:pt idx="42272">
                  <c:v>23423</c:v>
                </c:pt>
                <c:pt idx="42273">
                  <c:v>23423</c:v>
                </c:pt>
                <c:pt idx="42274">
                  <c:v>23421</c:v>
                </c:pt>
                <c:pt idx="42275">
                  <c:v>23421</c:v>
                </c:pt>
                <c:pt idx="42276">
                  <c:v>23420</c:v>
                </c:pt>
                <c:pt idx="42277">
                  <c:v>23419</c:v>
                </c:pt>
                <c:pt idx="42278">
                  <c:v>23419</c:v>
                </c:pt>
                <c:pt idx="42279">
                  <c:v>23417</c:v>
                </c:pt>
                <c:pt idx="42280">
                  <c:v>23417</c:v>
                </c:pt>
                <c:pt idx="42281">
                  <c:v>23416</c:v>
                </c:pt>
                <c:pt idx="42282">
                  <c:v>23416</c:v>
                </c:pt>
                <c:pt idx="42283">
                  <c:v>23415</c:v>
                </c:pt>
                <c:pt idx="42284">
                  <c:v>23415</c:v>
                </c:pt>
                <c:pt idx="42285">
                  <c:v>23414</c:v>
                </c:pt>
                <c:pt idx="42286">
                  <c:v>23412</c:v>
                </c:pt>
                <c:pt idx="42287">
                  <c:v>23412</c:v>
                </c:pt>
                <c:pt idx="42288">
                  <c:v>23412</c:v>
                </c:pt>
                <c:pt idx="42289">
                  <c:v>23412</c:v>
                </c:pt>
                <c:pt idx="42290">
                  <c:v>23412</c:v>
                </c:pt>
                <c:pt idx="42291">
                  <c:v>23412</c:v>
                </c:pt>
                <c:pt idx="42292">
                  <c:v>23412</c:v>
                </c:pt>
                <c:pt idx="42293">
                  <c:v>23411</c:v>
                </c:pt>
                <c:pt idx="42294">
                  <c:v>23411</c:v>
                </c:pt>
                <c:pt idx="42295">
                  <c:v>23411</c:v>
                </c:pt>
                <c:pt idx="42296">
                  <c:v>23411</c:v>
                </c:pt>
                <c:pt idx="42297">
                  <c:v>23410</c:v>
                </c:pt>
                <c:pt idx="42298">
                  <c:v>23409</c:v>
                </c:pt>
                <c:pt idx="42299">
                  <c:v>23409</c:v>
                </c:pt>
                <c:pt idx="42300">
                  <c:v>23409</c:v>
                </c:pt>
                <c:pt idx="42301">
                  <c:v>23408</c:v>
                </c:pt>
                <c:pt idx="42302">
                  <c:v>23408</c:v>
                </c:pt>
                <c:pt idx="42303">
                  <c:v>23408</c:v>
                </c:pt>
                <c:pt idx="42304">
                  <c:v>23408</c:v>
                </c:pt>
                <c:pt idx="42305">
                  <c:v>23408</c:v>
                </c:pt>
                <c:pt idx="42306">
                  <c:v>23407</c:v>
                </c:pt>
                <c:pt idx="42307">
                  <c:v>23406</c:v>
                </c:pt>
                <c:pt idx="42308">
                  <c:v>23406</c:v>
                </c:pt>
                <c:pt idx="42309">
                  <c:v>23406</c:v>
                </c:pt>
                <c:pt idx="42310">
                  <c:v>23406</c:v>
                </c:pt>
                <c:pt idx="42311">
                  <c:v>23405</c:v>
                </c:pt>
                <c:pt idx="42312">
                  <c:v>23405</c:v>
                </c:pt>
                <c:pt idx="42313">
                  <c:v>23404</c:v>
                </c:pt>
                <c:pt idx="42314">
                  <c:v>23404</c:v>
                </c:pt>
                <c:pt idx="42315">
                  <c:v>23403</c:v>
                </c:pt>
                <c:pt idx="42316">
                  <c:v>23403</c:v>
                </c:pt>
                <c:pt idx="42317">
                  <c:v>23403</c:v>
                </c:pt>
                <c:pt idx="42318">
                  <c:v>23402</c:v>
                </c:pt>
                <c:pt idx="42319">
                  <c:v>23402</c:v>
                </c:pt>
                <c:pt idx="42320">
                  <c:v>23401</c:v>
                </c:pt>
                <c:pt idx="42321">
                  <c:v>23401</c:v>
                </c:pt>
                <c:pt idx="42322">
                  <c:v>23400</c:v>
                </c:pt>
                <c:pt idx="42323">
                  <c:v>23399</c:v>
                </c:pt>
                <c:pt idx="42324">
                  <c:v>23399</c:v>
                </c:pt>
                <c:pt idx="42325">
                  <c:v>23399</c:v>
                </c:pt>
                <c:pt idx="42326">
                  <c:v>23398</c:v>
                </c:pt>
                <c:pt idx="42327">
                  <c:v>23398</c:v>
                </c:pt>
                <c:pt idx="42328">
                  <c:v>23395</c:v>
                </c:pt>
                <c:pt idx="42329">
                  <c:v>23395</c:v>
                </c:pt>
                <c:pt idx="42330">
                  <c:v>23395</c:v>
                </c:pt>
                <c:pt idx="42331">
                  <c:v>23395</c:v>
                </c:pt>
                <c:pt idx="42332">
                  <c:v>23395</c:v>
                </c:pt>
                <c:pt idx="42333">
                  <c:v>23395</c:v>
                </c:pt>
                <c:pt idx="42334">
                  <c:v>23394</c:v>
                </c:pt>
                <c:pt idx="42335">
                  <c:v>23394</c:v>
                </c:pt>
                <c:pt idx="42336">
                  <c:v>23394</c:v>
                </c:pt>
                <c:pt idx="42337">
                  <c:v>23393</c:v>
                </c:pt>
                <c:pt idx="42338">
                  <c:v>23393</c:v>
                </c:pt>
                <c:pt idx="42339">
                  <c:v>23393</c:v>
                </c:pt>
                <c:pt idx="42340">
                  <c:v>23392</c:v>
                </c:pt>
                <c:pt idx="42341">
                  <c:v>23392</c:v>
                </c:pt>
                <c:pt idx="42342">
                  <c:v>23392</c:v>
                </c:pt>
                <c:pt idx="42343">
                  <c:v>23392</c:v>
                </c:pt>
                <c:pt idx="42344">
                  <c:v>23392</c:v>
                </c:pt>
                <c:pt idx="42345">
                  <c:v>23391</c:v>
                </c:pt>
                <c:pt idx="42346">
                  <c:v>23391</c:v>
                </c:pt>
                <c:pt idx="42347">
                  <c:v>23391</c:v>
                </c:pt>
                <c:pt idx="42348">
                  <c:v>23391</c:v>
                </c:pt>
                <c:pt idx="42349">
                  <c:v>23390</c:v>
                </c:pt>
                <c:pt idx="42350">
                  <c:v>23390</c:v>
                </c:pt>
                <c:pt idx="42351">
                  <c:v>23390</c:v>
                </c:pt>
                <c:pt idx="42352">
                  <c:v>23390</c:v>
                </c:pt>
                <c:pt idx="42353">
                  <c:v>23390</c:v>
                </c:pt>
                <c:pt idx="42354">
                  <c:v>23389</c:v>
                </c:pt>
                <c:pt idx="42355">
                  <c:v>23389</c:v>
                </c:pt>
                <c:pt idx="42356">
                  <c:v>23388</c:v>
                </c:pt>
                <c:pt idx="42357">
                  <c:v>23388</c:v>
                </c:pt>
                <c:pt idx="42358">
                  <c:v>23387</c:v>
                </c:pt>
                <c:pt idx="42359">
                  <c:v>23387</c:v>
                </c:pt>
                <c:pt idx="42360">
                  <c:v>23387</c:v>
                </c:pt>
                <c:pt idx="42361">
                  <c:v>23387</c:v>
                </c:pt>
                <c:pt idx="42362">
                  <c:v>23387</c:v>
                </c:pt>
                <c:pt idx="42363">
                  <c:v>23386</c:v>
                </c:pt>
                <c:pt idx="42364">
                  <c:v>23386</c:v>
                </c:pt>
                <c:pt idx="42365">
                  <c:v>23386</c:v>
                </c:pt>
                <c:pt idx="42366">
                  <c:v>23385</c:v>
                </c:pt>
                <c:pt idx="42367">
                  <c:v>23384</c:v>
                </c:pt>
                <c:pt idx="42368">
                  <c:v>23384</c:v>
                </c:pt>
                <c:pt idx="42369">
                  <c:v>23383</c:v>
                </c:pt>
                <c:pt idx="42370">
                  <c:v>23383</c:v>
                </c:pt>
                <c:pt idx="42371">
                  <c:v>23382</c:v>
                </c:pt>
                <c:pt idx="42372">
                  <c:v>23382</c:v>
                </c:pt>
                <c:pt idx="42373">
                  <c:v>23382</c:v>
                </c:pt>
                <c:pt idx="42374">
                  <c:v>23382</c:v>
                </c:pt>
                <c:pt idx="42375">
                  <c:v>23381</c:v>
                </c:pt>
                <c:pt idx="42376">
                  <c:v>23381</c:v>
                </c:pt>
                <c:pt idx="42377">
                  <c:v>23381</c:v>
                </c:pt>
                <c:pt idx="42378">
                  <c:v>23381</c:v>
                </c:pt>
                <c:pt idx="42379">
                  <c:v>23381</c:v>
                </c:pt>
                <c:pt idx="42380">
                  <c:v>23381</c:v>
                </c:pt>
                <c:pt idx="42381">
                  <c:v>23380</c:v>
                </c:pt>
                <c:pt idx="42382">
                  <c:v>23379</c:v>
                </c:pt>
                <c:pt idx="42383">
                  <c:v>23379</c:v>
                </c:pt>
                <c:pt idx="42384">
                  <c:v>23379</c:v>
                </c:pt>
                <c:pt idx="42385">
                  <c:v>23378</c:v>
                </c:pt>
                <c:pt idx="42386">
                  <c:v>23378</c:v>
                </c:pt>
                <c:pt idx="42387">
                  <c:v>23377</c:v>
                </c:pt>
                <c:pt idx="42388">
                  <c:v>23377</c:v>
                </c:pt>
                <c:pt idx="42389">
                  <c:v>23377</c:v>
                </c:pt>
                <c:pt idx="42390">
                  <c:v>23376</c:v>
                </c:pt>
                <c:pt idx="42391">
                  <c:v>23376</c:v>
                </c:pt>
                <c:pt idx="42392">
                  <c:v>23375</c:v>
                </c:pt>
                <c:pt idx="42393">
                  <c:v>23375</c:v>
                </c:pt>
                <c:pt idx="42394">
                  <c:v>23374</c:v>
                </c:pt>
                <c:pt idx="42395">
                  <c:v>23374</c:v>
                </c:pt>
                <c:pt idx="42396">
                  <c:v>23374</c:v>
                </c:pt>
                <c:pt idx="42397">
                  <c:v>23373</c:v>
                </c:pt>
                <c:pt idx="42398">
                  <c:v>23373</c:v>
                </c:pt>
                <c:pt idx="42399">
                  <c:v>23372</c:v>
                </c:pt>
                <c:pt idx="42400">
                  <c:v>23372</c:v>
                </c:pt>
                <c:pt idx="42401">
                  <c:v>23372</c:v>
                </c:pt>
                <c:pt idx="42402">
                  <c:v>23372</c:v>
                </c:pt>
                <c:pt idx="42403">
                  <c:v>23371</c:v>
                </c:pt>
                <c:pt idx="42404">
                  <c:v>23371</c:v>
                </c:pt>
                <c:pt idx="42405">
                  <c:v>23370</c:v>
                </c:pt>
                <c:pt idx="42406">
                  <c:v>23370</c:v>
                </c:pt>
                <c:pt idx="42407">
                  <c:v>23369</c:v>
                </c:pt>
                <c:pt idx="42408">
                  <c:v>23369</c:v>
                </c:pt>
                <c:pt idx="42409">
                  <c:v>23368</c:v>
                </c:pt>
                <c:pt idx="42410">
                  <c:v>23368</c:v>
                </c:pt>
                <c:pt idx="42411">
                  <c:v>23368</c:v>
                </c:pt>
                <c:pt idx="42412">
                  <c:v>23368</c:v>
                </c:pt>
                <c:pt idx="42413">
                  <c:v>23368</c:v>
                </c:pt>
                <c:pt idx="42414">
                  <c:v>23368</c:v>
                </c:pt>
                <c:pt idx="42415">
                  <c:v>23368</c:v>
                </c:pt>
                <c:pt idx="42416">
                  <c:v>23367</c:v>
                </c:pt>
                <c:pt idx="42417">
                  <c:v>23367</c:v>
                </c:pt>
                <c:pt idx="42418">
                  <c:v>23367</c:v>
                </c:pt>
                <c:pt idx="42419">
                  <c:v>23366</c:v>
                </c:pt>
                <c:pt idx="42420">
                  <c:v>23366</c:v>
                </c:pt>
                <c:pt idx="42421">
                  <c:v>23365</c:v>
                </c:pt>
                <c:pt idx="42422">
                  <c:v>23365</c:v>
                </c:pt>
                <c:pt idx="42423">
                  <c:v>23364</c:v>
                </c:pt>
                <c:pt idx="42424">
                  <c:v>23364</c:v>
                </c:pt>
                <c:pt idx="42425">
                  <c:v>23364</c:v>
                </c:pt>
                <c:pt idx="42426">
                  <c:v>23364</c:v>
                </c:pt>
                <c:pt idx="42427">
                  <c:v>23364</c:v>
                </c:pt>
                <c:pt idx="42428">
                  <c:v>23364</c:v>
                </c:pt>
                <c:pt idx="42429">
                  <c:v>23364</c:v>
                </c:pt>
                <c:pt idx="42430">
                  <c:v>23363</c:v>
                </c:pt>
                <c:pt idx="42431">
                  <c:v>23363</c:v>
                </c:pt>
                <c:pt idx="42432">
                  <c:v>23362</c:v>
                </c:pt>
                <c:pt idx="42433">
                  <c:v>23362</c:v>
                </c:pt>
                <c:pt idx="42434">
                  <c:v>23362</c:v>
                </c:pt>
                <c:pt idx="42435">
                  <c:v>23362</c:v>
                </c:pt>
                <c:pt idx="42436">
                  <c:v>23362</c:v>
                </c:pt>
                <c:pt idx="42437">
                  <c:v>23361</c:v>
                </c:pt>
                <c:pt idx="42438">
                  <c:v>23361</c:v>
                </c:pt>
                <c:pt idx="42439">
                  <c:v>23360</c:v>
                </c:pt>
                <c:pt idx="42440">
                  <c:v>23360</c:v>
                </c:pt>
                <c:pt idx="42441">
                  <c:v>23359</c:v>
                </c:pt>
                <c:pt idx="42442">
                  <c:v>23359</c:v>
                </c:pt>
                <c:pt idx="42443">
                  <c:v>23359</c:v>
                </c:pt>
                <c:pt idx="42444">
                  <c:v>23359</c:v>
                </c:pt>
                <c:pt idx="42445">
                  <c:v>23359</c:v>
                </c:pt>
                <c:pt idx="42446">
                  <c:v>23358</c:v>
                </c:pt>
                <c:pt idx="42447">
                  <c:v>23358</c:v>
                </c:pt>
                <c:pt idx="42448">
                  <c:v>23357</c:v>
                </c:pt>
                <c:pt idx="42449">
                  <c:v>23357</c:v>
                </c:pt>
                <c:pt idx="42450">
                  <c:v>23356</c:v>
                </c:pt>
                <c:pt idx="42451">
                  <c:v>23356</c:v>
                </c:pt>
                <c:pt idx="42452">
                  <c:v>23356</c:v>
                </c:pt>
                <c:pt idx="42453">
                  <c:v>23356</c:v>
                </c:pt>
                <c:pt idx="42454">
                  <c:v>23356</c:v>
                </c:pt>
                <c:pt idx="42455">
                  <c:v>23355</c:v>
                </c:pt>
                <c:pt idx="42456">
                  <c:v>23354</c:v>
                </c:pt>
                <c:pt idx="42457">
                  <c:v>23354</c:v>
                </c:pt>
                <c:pt idx="42458">
                  <c:v>23353</c:v>
                </c:pt>
                <c:pt idx="42459">
                  <c:v>23352</c:v>
                </c:pt>
                <c:pt idx="42460">
                  <c:v>23352</c:v>
                </c:pt>
                <c:pt idx="42461">
                  <c:v>23351</c:v>
                </c:pt>
                <c:pt idx="42462">
                  <c:v>23350</c:v>
                </c:pt>
                <c:pt idx="42463">
                  <c:v>23350</c:v>
                </c:pt>
                <c:pt idx="42464">
                  <c:v>23349</c:v>
                </c:pt>
                <c:pt idx="42465">
                  <c:v>23349</c:v>
                </c:pt>
                <c:pt idx="42466">
                  <c:v>23349</c:v>
                </c:pt>
                <c:pt idx="42467">
                  <c:v>23349</c:v>
                </c:pt>
                <c:pt idx="42468">
                  <c:v>23349</c:v>
                </c:pt>
                <c:pt idx="42469">
                  <c:v>23348</c:v>
                </c:pt>
                <c:pt idx="42470">
                  <c:v>23348</c:v>
                </c:pt>
                <c:pt idx="42471">
                  <c:v>23348</c:v>
                </c:pt>
                <c:pt idx="42472">
                  <c:v>23348</c:v>
                </c:pt>
                <c:pt idx="42473">
                  <c:v>23347</c:v>
                </c:pt>
                <c:pt idx="42474">
                  <c:v>23347</c:v>
                </c:pt>
                <c:pt idx="42475">
                  <c:v>23347</c:v>
                </c:pt>
                <c:pt idx="42476">
                  <c:v>23347</c:v>
                </c:pt>
                <c:pt idx="42477">
                  <c:v>23346</c:v>
                </c:pt>
                <c:pt idx="42478">
                  <c:v>23346</c:v>
                </c:pt>
                <c:pt idx="42479">
                  <c:v>23346</c:v>
                </c:pt>
                <c:pt idx="42480">
                  <c:v>23346</c:v>
                </c:pt>
                <c:pt idx="42481">
                  <c:v>23345</c:v>
                </c:pt>
                <c:pt idx="42482">
                  <c:v>23345</c:v>
                </c:pt>
                <c:pt idx="42483">
                  <c:v>23344</c:v>
                </c:pt>
                <c:pt idx="42484">
                  <c:v>23343</c:v>
                </c:pt>
                <c:pt idx="42485">
                  <c:v>23343</c:v>
                </c:pt>
                <c:pt idx="42486">
                  <c:v>23343</c:v>
                </c:pt>
                <c:pt idx="42487">
                  <c:v>23342</c:v>
                </c:pt>
                <c:pt idx="42488">
                  <c:v>23341</c:v>
                </c:pt>
                <c:pt idx="42489">
                  <c:v>23341</c:v>
                </c:pt>
                <c:pt idx="42490">
                  <c:v>23341</c:v>
                </c:pt>
                <c:pt idx="42491">
                  <c:v>23341</c:v>
                </c:pt>
                <c:pt idx="42492">
                  <c:v>23340</c:v>
                </c:pt>
                <c:pt idx="42493">
                  <c:v>23340</c:v>
                </c:pt>
                <c:pt idx="42494">
                  <c:v>23340</c:v>
                </c:pt>
                <c:pt idx="42495">
                  <c:v>23340</c:v>
                </c:pt>
                <c:pt idx="42496">
                  <c:v>23339</c:v>
                </c:pt>
                <c:pt idx="42497">
                  <c:v>23339</c:v>
                </c:pt>
                <c:pt idx="42498">
                  <c:v>23339</c:v>
                </c:pt>
                <c:pt idx="42499">
                  <c:v>23339</c:v>
                </c:pt>
                <c:pt idx="42500">
                  <c:v>23339</c:v>
                </c:pt>
                <c:pt idx="42501">
                  <c:v>23339</c:v>
                </c:pt>
                <c:pt idx="42502">
                  <c:v>23338</c:v>
                </c:pt>
                <c:pt idx="42503">
                  <c:v>23338</c:v>
                </c:pt>
                <c:pt idx="42504">
                  <c:v>23338</c:v>
                </c:pt>
                <c:pt idx="42505">
                  <c:v>23338</c:v>
                </c:pt>
                <c:pt idx="42506">
                  <c:v>23338</c:v>
                </c:pt>
                <c:pt idx="42507">
                  <c:v>23337</c:v>
                </c:pt>
                <c:pt idx="42508">
                  <c:v>23337</c:v>
                </c:pt>
                <c:pt idx="42509">
                  <c:v>23337</c:v>
                </c:pt>
                <c:pt idx="42510">
                  <c:v>23337</c:v>
                </c:pt>
                <c:pt idx="42511">
                  <c:v>23336</c:v>
                </c:pt>
                <c:pt idx="42512">
                  <c:v>23335</c:v>
                </c:pt>
                <c:pt idx="42513">
                  <c:v>23335</c:v>
                </c:pt>
                <c:pt idx="42514">
                  <c:v>23335</c:v>
                </c:pt>
                <c:pt idx="42515">
                  <c:v>23334</c:v>
                </c:pt>
                <c:pt idx="42516">
                  <c:v>23334</c:v>
                </c:pt>
                <c:pt idx="42517">
                  <c:v>23334</c:v>
                </c:pt>
                <c:pt idx="42518">
                  <c:v>23334</c:v>
                </c:pt>
                <c:pt idx="42519">
                  <c:v>23333</c:v>
                </c:pt>
                <c:pt idx="42520">
                  <c:v>23333</c:v>
                </c:pt>
                <c:pt idx="42521">
                  <c:v>23333</c:v>
                </c:pt>
                <c:pt idx="42522">
                  <c:v>23333</c:v>
                </c:pt>
                <c:pt idx="42523">
                  <c:v>23332</c:v>
                </c:pt>
                <c:pt idx="42524">
                  <c:v>23332</c:v>
                </c:pt>
                <c:pt idx="42525">
                  <c:v>23331</c:v>
                </c:pt>
                <c:pt idx="42526">
                  <c:v>23331</c:v>
                </c:pt>
                <c:pt idx="42527">
                  <c:v>23330</c:v>
                </c:pt>
                <c:pt idx="42528">
                  <c:v>23330</c:v>
                </c:pt>
                <c:pt idx="42529">
                  <c:v>23330</c:v>
                </c:pt>
                <c:pt idx="42530">
                  <c:v>23329</c:v>
                </c:pt>
                <c:pt idx="42531">
                  <c:v>23328</c:v>
                </c:pt>
                <c:pt idx="42532">
                  <c:v>23327</c:v>
                </c:pt>
                <c:pt idx="42533">
                  <c:v>23327</c:v>
                </c:pt>
                <c:pt idx="42534">
                  <c:v>23326</c:v>
                </c:pt>
                <c:pt idx="42535">
                  <c:v>23325</c:v>
                </c:pt>
                <c:pt idx="42536">
                  <c:v>23325</c:v>
                </c:pt>
                <c:pt idx="42537">
                  <c:v>23325</c:v>
                </c:pt>
                <c:pt idx="42538">
                  <c:v>23324</c:v>
                </c:pt>
                <c:pt idx="42539">
                  <c:v>23323</c:v>
                </c:pt>
                <c:pt idx="42540">
                  <c:v>23323</c:v>
                </c:pt>
                <c:pt idx="42541">
                  <c:v>23323</c:v>
                </c:pt>
                <c:pt idx="42542">
                  <c:v>23322</c:v>
                </c:pt>
                <c:pt idx="42543">
                  <c:v>23322</c:v>
                </c:pt>
                <c:pt idx="42544">
                  <c:v>23322</c:v>
                </c:pt>
                <c:pt idx="42545">
                  <c:v>23322</c:v>
                </c:pt>
                <c:pt idx="42546">
                  <c:v>23322</c:v>
                </c:pt>
                <c:pt idx="42547">
                  <c:v>23321</c:v>
                </c:pt>
                <c:pt idx="42548">
                  <c:v>23321</c:v>
                </c:pt>
                <c:pt idx="42549">
                  <c:v>23321</c:v>
                </c:pt>
                <c:pt idx="42550">
                  <c:v>23321</c:v>
                </c:pt>
                <c:pt idx="42551">
                  <c:v>23320</c:v>
                </c:pt>
                <c:pt idx="42552">
                  <c:v>23320</c:v>
                </c:pt>
                <c:pt idx="42553">
                  <c:v>23319</c:v>
                </c:pt>
                <c:pt idx="42554">
                  <c:v>23319</c:v>
                </c:pt>
                <c:pt idx="42555">
                  <c:v>23319</c:v>
                </c:pt>
                <c:pt idx="42556">
                  <c:v>23319</c:v>
                </c:pt>
                <c:pt idx="42557">
                  <c:v>23318</c:v>
                </c:pt>
                <c:pt idx="42558">
                  <c:v>23317</c:v>
                </c:pt>
                <c:pt idx="42559">
                  <c:v>23317</c:v>
                </c:pt>
                <c:pt idx="42560">
                  <c:v>23317</c:v>
                </c:pt>
                <c:pt idx="42561">
                  <c:v>23316</c:v>
                </c:pt>
                <c:pt idx="42562">
                  <c:v>23316</c:v>
                </c:pt>
                <c:pt idx="42563">
                  <c:v>23316</c:v>
                </c:pt>
                <c:pt idx="42564">
                  <c:v>23316</c:v>
                </c:pt>
                <c:pt idx="42565">
                  <c:v>23316</c:v>
                </c:pt>
                <c:pt idx="42566">
                  <c:v>23315</c:v>
                </c:pt>
                <c:pt idx="42567">
                  <c:v>23314</c:v>
                </c:pt>
                <c:pt idx="42568">
                  <c:v>23314</c:v>
                </c:pt>
                <c:pt idx="42569">
                  <c:v>23314</c:v>
                </c:pt>
                <c:pt idx="42570">
                  <c:v>23314</c:v>
                </c:pt>
                <c:pt idx="42571">
                  <c:v>23313</c:v>
                </c:pt>
                <c:pt idx="42572">
                  <c:v>23313</c:v>
                </c:pt>
                <c:pt idx="42573">
                  <c:v>23312</c:v>
                </c:pt>
                <c:pt idx="42574">
                  <c:v>23312</c:v>
                </c:pt>
                <c:pt idx="42575">
                  <c:v>23312</c:v>
                </c:pt>
                <c:pt idx="42576">
                  <c:v>23310</c:v>
                </c:pt>
                <c:pt idx="42577">
                  <c:v>23310</c:v>
                </c:pt>
                <c:pt idx="42578">
                  <c:v>23310</c:v>
                </c:pt>
                <c:pt idx="42579">
                  <c:v>23309</c:v>
                </c:pt>
                <c:pt idx="42580">
                  <c:v>23308</c:v>
                </c:pt>
                <c:pt idx="42581">
                  <c:v>23308</c:v>
                </c:pt>
                <c:pt idx="42582">
                  <c:v>23308</c:v>
                </c:pt>
                <c:pt idx="42583">
                  <c:v>23307</c:v>
                </c:pt>
                <c:pt idx="42584">
                  <c:v>23307</c:v>
                </c:pt>
                <c:pt idx="42585">
                  <c:v>23307</c:v>
                </c:pt>
                <c:pt idx="42586">
                  <c:v>23307</c:v>
                </c:pt>
                <c:pt idx="42587">
                  <c:v>23306</c:v>
                </c:pt>
                <c:pt idx="42588">
                  <c:v>23306</c:v>
                </c:pt>
                <c:pt idx="42589">
                  <c:v>23306</c:v>
                </c:pt>
                <c:pt idx="42590">
                  <c:v>23306</c:v>
                </c:pt>
                <c:pt idx="42591">
                  <c:v>23305</c:v>
                </c:pt>
                <c:pt idx="42592">
                  <c:v>23305</c:v>
                </c:pt>
                <c:pt idx="42593">
                  <c:v>23305</c:v>
                </c:pt>
                <c:pt idx="42594">
                  <c:v>23305</c:v>
                </c:pt>
                <c:pt idx="42595">
                  <c:v>23305</c:v>
                </c:pt>
                <c:pt idx="42596">
                  <c:v>23304</c:v>
                </c:pt>
                <c:pt idx="42597">
                  <c:v>23304</c:v>
                </c:pt>
                <c:pt idx="42598">
                  <c:v>23304</c:v>
                </c:pt>
                <c:pt idx="42599">
                  <c:v>23303</c:v>
                </c:pt>
                <c:pt idx="42600">
                  <c:v>23303</c:v>
                </c:pt>
                <c:pt idx="42601">
                  <c:v>23303</c:v>
                </c:pt>
                <c:pt idx="42602">
                  <c:v>23303</c:v>
                </c:pt>
                <c:pt idx="42603">
                  <c:v>23302</c:v>
                </c:pt>
                <c:pt idx="42604">
                  <c:v>23302</c:v>
                </c:pt>
                <c:pt idx="42605">
                  <c:v>23301</c:v>
                </c:pt>
                <c:pt idx="42606">
                  <c:v>23301</c:v>
                </c:pt>
                <c:pt idx="42607">
                  <c:v>23300</c:v>
                </c:pt>
                <c:pt idx="42608">
                  <c:v>23300</c:v>
                </c:pt>
                <c:pt idx="42609">
                  <c:v>23299</c:v>
                </c:pt>
                <c:pt idx="42610">
                  <c:v>23299</c:v>
                </c:pt>
                <c:pt idx="42611">
                  <c:v>23298</c:v>
                </c:pt>
                <c:pt idx="42612">
                  <c:v>23298</c:v>
                </c:pt>
                <c:pt idx="42613">
                  <c:v>23298</c:v>
                </c:pt>
                <c:pt idx="42614">
                  <c:v>23297</c:v>
                </c:pt>
                <c:pt idx="42615">
                  <c:v>23297</c:v>
                </c:pt>
                <c:pt idx="42616">
                  <c:v>23297</c:v>
                </c:pt>
                <c:pt idx="42617">
                  <c:v>23296</c:v>
                </c:pt>
                <c:pt idx="42618">
                  <c:v>23295</c:v>
                </c:pt>
                <c:pt idx="42619">
                  <c:v>23295</c:v>
                </c:pt>
                <c:pt idx="42620">
                  <c:v>23295</c:v>
                </c:pt>
                <c:pt idx="42621">
                  <c:v>23294</c:v>
                </c:pt>
                <c:pt idx="42622">
                  <c:v>23294</c:v>
                </c:pt>
                <c:pt idx="42623">
                  <c:v>23294</c:v>
                </c:pt>
                <c:pt idx="42624">
                  <c:v>23293</c:v>
                </c:pt>
                <c:pt idx="42625">
                  <c:v>23293</c:v>
                </c:pt>
                <c:pt idx="42626">
                  <c:v>23293</c:v>
                </c:pt>
                <c:pt idx="42627">
                  <c:v>23292</c:v>
                </c:pt>
                <c:pt idx="42628">
                  <c:v>23292</c:v>
                </c:pt>
                <c:pt idx="42629">
                  <c:v>23292</c:v>
                </c:pt>
                <c:pt idx="42630">
                  <c:v>23292</c:v>
                </c:pt>
                <c:pt idx="42631">
                  <c:v>23291</c:v>
                </c:pt>
                <c:pt idx="42632">
                  <c:v>23291</c:v>
                </c:pt>
                <c:pt idx="42633">
                  <c:v>23290</c:v>
                </c:pt>
                <c:pt idx="42634">
                  <c:v>23289</c:v>
                </c:pt>
                <c:pt idx="42635">
                  <c:v>23288</c:v>
                </c:pt>
                <c:pt idx="42636">
                  <c:v>23288</c:v>
                </c:pt>
                <c:pt idx="42637">
                  <c:v>23288</c:v>
                </c:pt>
                <c:pt idx="42638">
                  <c:v>23288</c:v>
                </c:pt>
                <c:pt idx="42639">
                  <c:v>23287</c:v>
                </c:pt>
                <c:pt idx="42640">
                  <c:v>23287</c:v>
                </c:pt>
                <c:pt idx="42641">
                  <c:v>23287</c:v>
                </c:pt>
                <c:pt idx="42642">
                  <c:v>23286</c:v>
                </c:pt>
                <c:pt idx="42643">
                  <c:v>23286</c:v>
                </c:pt>
                <c:pt idx="42644">
                  <c:v>23286</c:v>
                </c:pt>
                <c:pt idx="42645">
                  <c:v>23286</c:v>
                </c:pt>
                <c:pt idx="42646">
                  <c:v>23286</c:v>
                </c:pt>
                <c:pt idx="42647">
                  <c:v>23286</c:v>
                </c:pt>
                <c:pt idx="42648">
                  <c:v>23285</c:v>
                </c:pt>
                <c:pt idx="42649">
                  <c:v>23285</c:v>
                </c:pt>
                <c:pt idx="42650">
                  <c:v>23285</c:v>
                </c:pt>
                <c:pt idx="42651">
                  <c:v>23285</c:v>
                </c:pt>
                <c:pt idx="42652">
                  <c:v>23285</c:v>
                </c:pt>
                <c:pt idx="42653">
                  <c:v>23284</c:v>
                </c:pt>
                <c:pt idx="42654">
                  <c:v>23284</c:v>
                </c:pt>
                <c:pt idx="42655">
                  <c:v>23284</c:v>
                </c:pt>
                <c:pt idx="42656">
                  <c:v>23284</c:v>
                </c:pt>
                <c:pt idx="42657">
                  <c:v>23284</c:v>
                </c:pt>
                <c:pt idx="42658">
                  <c:v>23283</c:v>
                </c:pt>
                <c:pt idx="42659">
                  <c:v>23283</c:v>
                </c:pt>
                <c:pt idx="42660">
                  <c:v>23282</c:v>
                </c:pt>
                <c:pt idx="42661">
                  <c:v>23282</c:v>
                </c:pt>
                <c:pt idx="42662">
                  <c:v>23281</c:v>
                </c:pt>
                <c:pt idx="42663">
                  <c:v>23280</c:v>
                </c:pt>
                <c:pt idx="42664">
                  <c:v>23280</c:v>
                </c:pt>
                <c:pt idx="42665">
                  <c:v>23279</c:v>
                </c:pt>
                <c:pt idx="42666">
                  <c:v>23279</c:v>
                </c:pt>
                <c:pt idx="42667">
                  <c:v>23279</c:v>
                </c:pt>
                <c:pt idx="42668">
                  <c:v>23279</c:v>
                </c:pt>
                <c:pt idx="42669">
                  <c:v>23278</c:v>
                </c:pt>
                <c:pt idx="42670">
                  <c:v>23278</c:v>
                </c:pt>
                <c:pt idx="42671">
                  <c:v>23278</c:v>
                </c:pt>
                <c:pt idx="42672">
                  <c:v>23277</c:v>
                </c:pt>
                <c:pt idx="42673">
                  <c:v>23277</c:v>
                </c:pt>
                <c:pt idx="42674">
                  <c:v>23277</c:v>
                </c:pt>
                <c:pt idx="42675">
                  <c:v>23276</c:v>
                </c:pt>
                <c:pt idx="42676">
                  <c:v>23276</c:v>
                </c:pt>
                <c:pt idx="42677">
                  <c:v>23276</c:v>
                </c:pt>
                <c:pt idx="42678">
                  <c:v>23275</c:v>
                </c:pt>
                <c:pt idx="42679">
                  <c:v>23275</c:v>
                </c:pt>
                <c:pt idx="42680">
                  <c:v>23275</c:v>
                </c:pt>
                <c:pt idx="42681">
                  <c:v>23275</c:v>
                </c:pt>
                <c:pt idx="42682">
                  <c:v>23273</c:v>
                </c:pt>
                <c:pt idx="42683">
                  <c:v>23272</c:v>
                </c:pt>
                <c:pt idx="42684">
                  <c:v>23272</c:v>
                </c:pt>
                <c:pt idx="42685">
                  <c:v>23271</c:v>
                </c:pt>
                <c:pt idx="42686">
                  <c:v>23271</c:v>
                </c:pt>
                <c:pt idx="42687">
                  <c:v>23271</c:v>
                </c:pt>
                <c:pt idx="42688">
                  <c:v>23271</c:v>
                </c:pt>
                <c:pt idx="42689">
                  <c:v>23270</c:v>
                </c:pt>
                <c:pt idx="42690">
                  <c:v>23270</c:v>
                </c:pt>
                <c:pt idx="42691">
                  <c:v>23269</c:v>
                </c:pt>
                <c:pt idx="42692">
                  <c:v>23269</c:v>
                </c:pt>
                <c:pt idx="42693">
                  <c:v>23269</c:v>
                </c:pt>
                <c:pt idx="42694">
                  <c:v>23268</c:v>
                </c:pt>
                <c:pt idx="42695">
                  <c:v>23268</c:v>
                </c:pt>
                <c:pt idx="42696">
                  <c:v>23268</c:v>
                </c:pt>
                <c:pt idx="42697">
                  <c:v>23268</c:v>
                </c:pt>
                <c:pt idx="42698">
                  <c:v>23268</c:v>
                </c:pt>
                <c:pt idx="42699">
                  <c:v>23267</c:v>
                </c:pt>
                <c:pt idx="42700">
                  <c:v>23267</c:v>
                </c:pt>
                <c:pt idx="42701">
                  <c:v>23265</c:v>
                </c:pt>
                <c:pt idx="42702">
                  <c:v>23265</c:v>
                </c:pt>
                <c:pt idx="42703">
                  <c:v>23265</c:v>
                </c:pt>
                <c:pt idx="42704">
                  <c:v>23265</c:v>
                </c:pt>
                <c:pt idx="42705">
                  <c:v>23264</c:v>
                </c:pt>
                <c:pt idx="42706">
                  <c:v>23264</c:v>
                </c:pt>
                <c:pt idx="42707">
                  <c:v>23263</c:v>
                </c:pt>
                <c:pt idx="42708">
                  <c:v>23263</c:v>
                </c:pt>
                <c:pt idx="42709">
                  <c:v>23263</c:v>
                </c:pt>
                <c:pt idx="42710">
                  <c:v>23262</c:v>
                </c:pt>
                <c:pt idx="42711">
                  <c:v>23262</c:v>
                </c:pt>
                <c:pt idx="42712">
                  <c:v>23262</c:v>
                </c:pt>
                <c:pt idx="42713">
                  <c:v>23260</c:v>
                </c:pt>
                <c:pt idx="42714">
                  <c:v>23260</c:v>
                </c:pt>
                <c:pt idx="42715">
                  <c:v>23260</c:v>
                </c:pt>
                <c:pt idx="42716">
                  <c:v>23260</c:v>
                </c:pt>
                <c:pt idx="42717">
                  <c:v>23259</c:v>
                </c:pt>
                <c:pt idx="42718">
                  <c:v>23259</c:v>
                </c:pt>
                <c:pt idx="42719">
                  <c:v>23258</c:v>
                </c:pt>
                <c:pt idx="42720">
                  <c:v>23258</c:v>
                </c:pt>
                <c:pt idx="42721">
                  <c:v>23257</c:v>
                </c:pt>
                <c:pt idx="42722">
                  <c:v>23257</c:v>
                </c:pt>
                <c:pt idx="42723">
                  <c:v>23257</c:v>
                </c:pt>
                <c:pt idx="42724">
                  <c:v>23255</c:v>
                </c:pt>
                <c:pt idx="42725">
                  <c:v>23255</c:v>
                </c:pt>
                <c:pt idx="42726">
                  <c:v>23255</c:v>
                </c:pt>
                <c:pt idx="42727">
                  <c:v>23254</c:v>
                </c:pt>
                <c:pt idx="42728">
                  <c:v>23254</c:v>
                </c:pt>
                <c:pt idx="42729">
                  <c:v>23253</c:v>
                </c:pt>
                <c:pt idx="42730">
                  <c:v>23253</c:v>
                </c:pt>
                <c:pt idx="42731">
                  <c:v>23253</c:v>
                </c:pt>
                <c:pt idx="42732">
                  <c:v>23252</c:v>
                </c:pt>
                <c:pt idx="42733">
                  <c:v>23252</c:v>
                </c:pt>
                <c:pt idx="42734">
                  <c:v>23251</c:v>
                </c:pt>
                <c:pt idx="42735">
                  <c:v>23251</c:v>
                </c:pt>
                <c:pt idx="42736">
                  <c:v>23251</c:v>
                </c:pt>
                <c:pt idx="42737">
                  <c:v>23250</c:v>
                </c:pt>
                <c:pt idx="42738">
                  <c:v>23250</c:v>
                </c:pt>
                <c:pt idx="42739">
                  <c:v>23250</c:v>
                </c:pt>
                <c:pt idx="42740">
                  <c:v>23250</c:v>
                </c:pt>
                <c:pt idx="42741">
                  <c:v>23249</c:v>
                </c:pt>
                <c:pt idx="42742">
                  <c:v>23249</c:v>
                </c:pt>
                <c:pt idx="42743">
                  <c:v>23249</c:v>
                </c:pt>
                <c:pt idx="42744">
                  <c:v>23248</c:v>
                </c:pt>
                <c:pt idx="42745">
                  <c:v>23248</c:v>
                </c:pt>
                <c:pt idx="42746">
                  <c:v>23248</c:v>
                </c:pt>
                <c:pt idx="42747">
                  <c:v>23247</c:v>
                </c:pt>
                <c:pt idx="42748">
                  <c:v>23247</c:v>
                </c:pt>
                <c:pt idx="42749">
                  <c:v>23246</c:v>
                </c:pt>
                <c:pt idx="42750">
                  <c:v>23246</c:v>
                </c:pt>
                <c:pt idx="42751">
                  <c:v>23246</c:v>
                </c:pt>
                <c:pt idx="42752">
                  <c:v>23246</c:v>
                </c:pt>
                <c:pt idx="42753">
                  <c:v>23246</c:v>
                </c:pt>
                <c:pt idx="42754">
                  <c:v>23246</c:v>
                </c:pt>
                <c:pt idx="42755">
                  <c:v>23245</c:v>
                </c:pt>
                <c:pt idx="42756">
                  <c:v>23245</c:v>
                </c:pt>
                <c:pt idx="42757">
                  <c:v>23245</c:v>
                </c:pt>
                <c:pt idx="42758">
                  <c:v>23245</c:v>
                </c:pt>
                <c:pt idx="42759">
                  <c:v>23245</c:v>
                </c:pt>
                <c:pt idx="42760">
                  <c:v>23244</c:v>
                </c:pt>
                <c:pt idx="42761">
                  <c:v>23244</c:v>
                </c:pt>
                <c:pt idx="42762">
                  <c:v>23244</c:v>
                </c:pt>
                <c:pt idx="42763">
                  <c:v>23243</c:v>
                </c:pt>
                <c:pt idx="42764">
                  <c:v>23243</c:v>
                </c:pt>
                <c:pt idx="42765">
                  <c:v>23243</c:v>
                </c:pt>
                <c:pt idx="42766">
                  <c:v>23242</c:v>
                </c:pt>
                <c:pt idx="42767">
                  <c:v>23242</c:v>
                </c:pt>
                <c:pt idx="42768">
                  <c:v>23241</c:v>
                </c:pt>
                <c:pt idx="42769">
                  <c:v>23241</c:v>
                </c:pt>
                <c:pt idx="42770">
                  <c:v>23241</c:v>
                </c:pt>
                <c:pt idx="42771">
                  <c:v>23241</c:v>
                </c:pt>
                <c:pt idx="42772">
                  <c:v>23241</c:v>
                </c:pt>
                <c:pt idx="42773">
                  <c:v>23241</c:v>
                </c:pt>
                <c:pt idx="42774">
                  <c:v>23240</c:v>
                </c:pt>
                <c:pt idx="42775">
                  <c:v>23239</c:v>
                </c:pt>
                <c:pt idx="42776">
                  <c:v>23239</c:v>
                </c:pt>
                <c:pt idx="42777">
                  <c:v>23239</c:v>
                </c:pt>
                <c:pt idx="42778">
                  <c:v>23239</c:v>
                </c:pt>
                <c:pt idx="42779">
                  <c:v>23239</c:v>
                </c:pt>
                <c:pt idx="42780">
                  <c:v>23238</c:v>
                </c:pt>
                <c:pt idx="42781">
                  <c:v>23238</c:v>
                </c:pt>
                <c:pt idx="42782">
                  <c:v>23237</c:v>
                </c:pt>
                <c:pt idx="42783">
                  <c:v>23236</c:v>
                </c:pt>
                <c:pt idx="42784">
                  <c:v>23236</c:v>
                </c:pt>
                <c:pt idx="42785">
                  <c:v>23236</c:v>
                </c:pt>
                <c:pt idx="42786">
                  <c:v>23235</c:v>
                </c:pt>
                <c:pt idx="42787">
                  <c:v>23235</c:v>
                </c:pt>
                <c:pt idx="42788">
                  <c:v>23235</c:v>
                </c:pt>
                <c:pt idx="42789">
                  <c:v>23235</c:v>
                </c:pt>
                <c:pt idx="42790">
                  <c:v>23235</c:v>
                </c:pt>
                <c:pt idx="42791">
                  <c:v>23235</c:v>
                </c:pt>
                <c:pt idx="42792">
                  <c:v>23234</c:v>
                </c:pt>
                <c:pt idx="42793">
                  <c:v>23234</c:v>
                </c:pt>
                <c:pt idx="42794">
                  <c:v>23234</c:v>
                </c:pt>
                <c:pt idx="42795">
                  <c:v>23233</c:v>
                </c:pt>
                <c:pt idx="42796">
                  <c:v>23233</c:v>
                </c:pt>
                <c:pt idx="42797">
                  <c:v>23233</c:v>
                </c:pt>
                <c:pt idx="42798">
                  <c:v>23233</c:v>
                </c:pt>
                <c:pt idx="42799">
                  <c:v>23233</c:v>
                </c:pt>
                <c:pt idx="42800">
                  <c:v>23232</c:v>
                </c:pt>
                <c:pt idx="42801">
                  <c:v>23231</c:v>
                </c:pt>
                <c:pt idx="42802">
                  <c:v>23231</c:v>
                </c:pt>
                <c:pt idx="42803">
                  <c:v>23231</c:v>
                </c:pt>
                <c:pt idx="42804">
                  <c:v>23230</c:v>
                </c:pt>
                <c:pt idx="42805">
                  <c:v>23230</c:v>
                </c:pt>
                <c:pt idx="42806">
                  <c:v>23229</c:v>
                </c:pt>
                <c:pt idx="42807">
                  <c:v>23229</c:v>
                </c:pt>
                <c:pt idx="42808">
                  <c:v>23228</c:v>
                </c:pt>
                <c:pt idx="42809">
                  <c:v>23228</c:v>
                </c:pt>
                <c:pt idx="42810">
                  <c:v>23228</c:v>
                </c:pt>
                <c:pt idx="42811">
                  <c:v>23228</c:v>
                </c:pt>
                <c:pt idx="42812">
                  <c:v>23228</c:v>
                </c:pt>
                <c:pt idx="42813">
                  <c:v>23227</c:v>
                </c:pt>
                <c:pt idx="42814">
                  <c:v>23226</c:v>
                </c:pt>
                <c:pt idx="42815">
                  <c:v>23226</c:v>
                </c:pt>
                <c:pt idx="42816">
                  <c:v>23226</c:v>
                </c:pt>
                <c:pt idx="42817">
                  <c:v>23225</c:v>
                </c:pt>
                <c:pt idx="42818">
                  <c:v>23225</c:v>
                </c:pt>
                <c:pt idx="42819">
                  <c:v>23225</c:v>
                </c:pt>
                <c:pt idx="42820">
                  <c:v>23225</c:v>
                </c:pt>
                <c:pt idx="42821">
                  <c:v>23225</c:v>
                </c:pt>
                <c:pt idx="42822">
                  <c:v>23224</c:v>
                </c:pt>
                <c:pt idx="42823">
                  <c:v>23224</c:v>
                </c:pt>
                <c:pt idx="42824">
                  <c:v>23223</c:v>
                </c:pt>
                <c:pt idx="42825">
                  <c:v>23223</c:v>
                </c:pt>
                <c:pt idx="42826">
                  <c:v>23223</c:v>
                </c:pt>
                <c:pt idx="42827">
                  <c:v>23223</c:v>
                </c:pt>
                <c:pt idx="42828">
                  <c:v>23223</c:v>
                </c:pt>
                <c:pt idx="42829">
                  <c:v>23222</c:v>
                </c:pt>
                <c:pt idx="42830">
                  <c:v>23221</c:v>
                </c:pt>
                <c:pt idx="42831">
                  <c:v>23221</c:v>
                </c:pt>
                <c:pt idx="42832">
                  <c:v>23221</c:v>
                </c:pt>
                <c:pt idx="42833">
                  <c:v>23221</c:v>
                </c:pt>
                <c:pt idx="42834">
                  <c:v>23220</c:v>
                </c:pt>
                <c:pt idx="42835">
                  <c:v>23220</c:v>
                </c:pt>
                <c:pt idx="42836">
                  <c:v>23220</c:v>
                </c:pt>
                <c:pt idx="42837">
                  <c:v>23220</c:v>
                </c:pt>
                <c:pt idx="42838">
                  <c:v>23220</c:v>
                </c:pt>
                <c:pt idx="42839">
                  <c:v>23219</c:v>
                </c:pt>
                <c:pt idx="42840">
                  <c:v>23219</c:v>
                </c:pt>
                <c:pt idx="42841">
                  <c:v>23219</c:v>
                </c:pt>
                <c:pt idx="42842">
                  <c:v>23218</c:v>
                </c:pt>
                <c:pt idx="42843">
                  <c:v>23218</c:v>
                </c:pt>
                <c:pt idx="42844">
                  <c:v>23218</c:v>
                </c:pt>
                <c:pt idx="42845">
                  <c:v>23217</c:v>
                </c:pt>
                <c:pt idx="42846">
                  <c:v>23217</c:v>
                </c:pt>
                <c:pt idx="42847">
                  <c:v>23217</c:v>
                </c:pt>
                <c:pt idx="42848">
                  <c:v>23217</c:v>
                </c:pt>
                <c:pt idx="42849">
                  <c:v>23217</c:v>
                </c:pt>
                <c:pt idx="42850">
                  <c:v>23217</c:v>
                </c:pt>
                <c:pt idx="42851">
                  <c:v>23217</c:v>
                </c:pt>
                <c:pt idx="42852">
                  <c:v>23216</c:v>
                </c:pt>
                <c:pt idx="42853">
                  <c:v>23216</c:v>
                </c:pt>
                <c:pt idx="42854">
                  <c:v>23214</c:v>
                </c:pt>
                <c:pt idx="42855">
                  <c:v>23213</c:v>
                </c:pt>
                <c:pt idx="42856">
                  <c:v>23212</c:v>
                </c:pt>
                <c:pt idx="42857">
                  <c:v>23212</c:v>
                </c:pt>
                <c:pt idx="42858">
                  <c:v>23212</c:v>
                </c:pt>
                <c:pt idx="42859">
                  <c:v>23212</c:v>
                </c:pt>
                <c:pt idx="42860">
                  <c:v>23211</c:v>
                </c:pt>
                <c:pt idx="42861">
                  <c:v>23209</c:v>
                </c:pt>
                <c:pt idx="42862">
                  <c:v>23209</c:v>
                </c:pt>
                <c:pt idx="42863">
                  <c:v>23209</c:v>
                </c:pt>
                <c:pt idx="42864">
                  <c:v>23209</c:v>
                </c:pt>
                <c:pt idx="42865">
                  <c:v>23208</c:v>
                </c:pt>
                <c:pt idx="42866">
                  <c:v>23208</c:v>
                </c:pt>
                <c:pt idx="42867">
                  <c:v>23208</c:v>
                </c:pt>
                <c:pt idx="42868">
                  <c:v>23207</c:v>
                </c:pt>
                <c:pt idx="42869">
                  <c:v>23207</c:v>
                </c:pt>
                <c:pt idx="42870">
                  <c:v>23206</c:v>
                </c:pt>
                <c:pt idx="42871">
                  <c:v>23206</c:v>
                </c:pt>
                <c:pt idx="42872">
                  <c:v>23206</c:v>
                </c:pt>
                <c:pt idx="42873">
                  <c:v>23205</c:v>
                </c:pt>
                <c:pt idx="42874">
                  <c:v>23204</c:v>
                </c:pt>
                <c:pt idx="42875">
                  <c:v>23204</c:v>
                </c:pt>
                <c:pt idx="42876">
                  <c:v>23203</c:v>
                </c:pt>
                <c:pt idx="42877">
                  <c:v>23203</c:v>
                </c:pt>
                <c:pt idx="42878">
                  <c:v>23203</c:v>
                </c:pt>
                <c:pt idx="42879">
                  <c:v>23203</c:v>
                </c:pt>
                <c:pt idx="42880">
                  <c:v>23202</c:v>
                </c:pt>
                <c:pt idx="42881">
                  <c:v>23202</c:v>
                </c:pt>
                <c:pt idx="42882">
                  <c:v>23202</c:v>
                </c:pt>
                <c:pt idx="42883">
                  <c:v>23202</c:v>
                </c:pt>
                <c:pt idx="42884">
                  <c:v>23201</c:v>
                </c:pt>
                <c:pt idx="42885">
                  <c:v>23201</c:v>
                </c:pt>
                <c:pt idx="42886">
                  <c:v>23201</c:v>
                </c:pt>
                <c:pt idx="42887">
                  <c:v>23201</c:v>
                </c:pt>
                <c:pt idx="42888">
                  <c:v>23200</c:v>
                </c:pt>
                <c:pt idx="42889">
                  <c:v>23200</c:v>
                </c:pt>
                <c:pt idx="42890">
                  <c:v>23199</c:v>
                </c:pt>
                <c:pt idx="42891">
                  <c:v>23199</c:v>
                </c:pt>
                <c:pt idx="42892">
                  <c:v>23199</c:v>
                </c:pt>
                <c:pt idx="42893">
                  <c:v>23199</c:v>
                </c:pt>
                <c:pt idx="42894">
                  <c:v>23199</c:v>
                </c:pt>
                <c:pt idx="42895">
                  <c:v>23198</c:v>
                </c:pt>
                <c:pt idx="42896">
                  <c:v>23198</c:v>
                </c:pt>
                <c:pt idx="42897">
                  <c:v>23198</c:v>
                </c:pt>
                <c:pt idx="42898">
                  <c:v>23198</c:v>
                </c:pt>
                <c:pt idx="42899">
                  <c:v>23198</c:v>
                </c:pt>
                <c:pt idx="42900">
                  <c:v>23197</c:v>
                </c:pt>
                <c:pt idx="42901">
                  <c:v>23197</c:v>
                </c:pt>
                <c:pt idx="42902">
                  <c:v>23197</c:v>
                </c:pt>
                <c:pt idx="42903">
                  <c:v>23196</c:v>
                </c:pt>
                <c:pt idx="42904">
                  <c:v>23196</c:v>
                </c:pt>
                <c:pt idx="42905">
                  <c:v>23195</c:v>
                </c:pt>
                <c:pt idx="42906">
                  <c:v>23195</c:v>
                </c:pt>
                <c:pt idx="42907">
                  <c:v>23194</c:v>
                </c:pt>
                <c:pt idx="42908">
                  <c:v>23193</c:v>
                </c:pt>
                <c:pt idx="42909">
                  <c:v>23192</c:v>
                </c:pt>
                <c:pt idx="42910">
                  <c:v>23192</c:v>
                </c:pt>
                <c:pt idx="42911">
                  <c:v>23192</c:v>
                </c:pt>
                <c:pt idx="42912">
                  <c:v>23192</c:v>
                </c:pt>
                <c:pt idx="42913">
                  <c:v>23191</c:v>
                </c:pt>
                <c:pt idx="42914">
                  <c:v>23191</c:v>
                </c:pt>
                <c:pt idx="42915">
                  <c:v>23190</c:v>
                </c:pt>
                <c:pt idx="42916">
                  <c:v>23190</c:v>
                </c:pt>
                <c:pt idx="42917">
                  <c:v>23190</c:v>
                </c:pt>
                <c:pt idx="42918">
                  <c:v>23188</c:v>
                </c:pt>
                <c:pt idx="42919">
                  <c:v>23188</c:v>
                </c:pt>
                <c:pt idx="42920">
                  <c:v>23187</c:v>
                </c:pt>
                <c:pt idx="42921">
                  <c:v>23187</c:v>
                </c:pt>
                <c:pt idx="42922">
                  <c:v>23186</c:v>
                </c:pt>
                <c:pt idx="42923">
                  <c:v>23186</c:v>
                </c:pt>
                <c:pt idx="42924">
                  <c:v>23185</c:v>
                </c:pt>
                <c:pt idx="42925">
                  <c:v>23185</c:v>
                </c:pt>
                <c:pt idx="42926">
                  <c:v>23185</c:v>
                </c:pt>
                <c:pt idx="42927">
                  <c:v>23185</c:v>
                </c:pt>
                <c:pt idx="42928">
                  <c:v>23184</c:v>
                </c:pt>
                <c:pt idx="42929">
                  <c:v>23184</c:v>
                </c:pt>
                <c:pt idx="42930">
                  <c:v>23184</c:v>
                </c:pt>
                <c:pt idx="42931">
                  <c:v>23183</c:v>
                </c:pt>
                <c:pt idx="42932">
                  <c:v>23182</c:v>
                </c:pt>
                <c:pt idx="42933">
                  <c:v>23182</c:v>
                </c:pt>
                <c:pt idx="42934">
                  <c:v>23182</c:v>
                </c:pt>
                <c:pt idx="42935">
                  <c:v>23182</c:v>
                </c:pt>
                <c:pt idx="42936">
                  <c:v>23181</c:v>
                </c:pt>
                <c:pt idx="42937">
                  <c:v>23181</c:v>
                </c:pt>
                <c:pt idx="42938">
                  <c:v>23181</c:v>
                </c:pt>
                <c:pt idx="42939">
                  <c:v>23181</c:v>
                </c:pt>
                <c:pt idx="42940">
                  <c:v>23181</c:v>
                </c:pt>
                <c:pt idx="42941">
                  <c:v>23180</c:v>
                </c:pt>
                <c:pt idx="42942">
                  <c:v>23180</c:v>
                </c:pt>
                <c:pt idx="42943">
                  <c:v>23179</c:v>
                </c:pt>
                <c:pt idx="42944">
                  <c:v>23178</c:v>
                </c:pt>
                <c:pt idx="42945">
                  <c:v>23177</c:v>
                </c:pt>
                <c:pt idx="42946">
                  <c:v>23177</c:v>
                </c:pt>
                <c:pt idx="42947">
                  <c:v>23177</c:v>
                </c:pt>
                <c:pt idx="42948">
                  <c:v>23177</c:v>
                </c:pt>
                <c:pt idx="42949">
                  <c:v>23176</c:v>
                </c:pt>
                <c:pt idx="42950">
                  <c:v>23176</c:v>
                </c:pt>
                <c:pt idx="42951">
                  <c:v>23176</c:v>
                </c:pt>
                <c:pt idx="42952">
                  <c:v>23176</c:v>
                </c:pt>
                <c:pt idx="42953">
                  <c:v>23176</c:v>
                </c:pt>
                <c:pt idx="42954">
                  <c:v>23175</c:v>
                </c:pt>
                <c:pt idx="42955">
                  <c:v>23175</c:v>
                </c:pt>
                <c:pt idx="42956">
                  <c:v>23175</c:v>
                </c:pt>
                <c:pt idx="42957">
                  <c:v>23175</c:v>
                </c:pt>
                <c:pt idx="42958">
                  <c:v>23174</c:v>
                </c:pt>
                <c:pt idx="42959">
                  <c:v>23174</c:v>
                </c:pt>
                <c:pt idx="42960">
                  <c:v>23174</c:v>
                </c:pt>
                <c:pt idx="42961">
                  <c:v>23173</c:v>
                </c:pt>
                <c:pt idx="42962">
                  <c:v>23173</c:v>
                </c:pt>
                <c:pt idx="42963">
                  <c:v>23173</c:v>
                </c:pt>
                <c:pt idx="42964">
                  <c:v>23173</c:v>
                </c:pt>
                <c:pt idx="42965">
                  <c:v>23172</c:v>
                </c:pt>
                <c:pt idx="42966">
                  <c:v>23172</c:v>
                </c:pt>
                <c:pt idx="42967">
                  <c:v>23172</c:v>
                </c:pt>
                <c:pt idx="42968">
                  <c:v>23172</c:v>
                </c:pt>
                <c:pt idx="42969">
                  <c:v>23171</c:v>
                </c:pt>
                <c:pt idx="42970">
                  <c:v>23171</c:v>
                </c:pt>
                <c:pt idx="42971">
                  <c:v>23170</c:v>
                </c:pt>
                <c:pt idx="42972">
                  <c:v>23170</c:v>
                </c:pt>
                <c:pt idx="42973">
                  <c:v>23170</c:v>
                </c:pt>
                <c:pt idx="42974">
                  <c:v>23170</c:v>
                </c:pt>
                <c:pt idx="42975">
                  <c:v>23170</c:v>
                </c:pt>
                <c:pt idx="42976">
                  <c:v>23170</c:v>
                </c:pt>
                <c:pt idx="42977">
                  <c:v>23170</c:v>
                </c:pt>
                <c:pt idx="42978">
                  <c:v>23169</c:v>
                </c:pt>
                <c:pt idx="42979">
                  <c:v>23169</c:v>
                </c:pt>
                <c:pt idx="42980">
                  <c:v>23169</c:v>
                </c:pt>
                <c:pt idx="42981">
                  <c:v>23169</c:v>
                </c:pt>
                <c:pt idx="42982">
                  <c:v>23169</c:v>
                </c:pt>
                <c:pt idx="42983">
                  <c:v>23168</c:v>
                </c:pt>
                <c:pt idx="42984">
                  <c:v>23168</c:v>
                </c:pt>
                <c:pt idx="42985">
                  <c:v>23167</c:v>
                </c:pt>
                <c:pt idx="42986">
                  <c:v>23167</c:v>
                </c:pt>
                <c:pt idx="42987">
                  <c:v>23167</c:v>
                </c:pt>
                <c:pt idx="42988">
                  <c:v>23165</c:v>
                </c:pt>
                <c:pt idx="42989">
                  <c:v>23165</c:v>
                </c:pt>
                <c:pt idx="42990">
                  <c:v>23165</c:v>
                </c:pt>
                <c:pt idx="42991">
                  <c:v>23165</c:v>
                </c:pt>
                <c:pt idx="42992">
                  <c:v>23164</c:v>
                </c:pt>
                <c:pt idx="42993">
                  <c:v>23164</c:v>
                </c:pt>
                <c:pt idx="42994">
                  <c:v>23164</c:v>
                </c:pt>
                <c:pt idx="42995">
                  <c:v>23164</c:v>
                </c:pt>
                <c:pt idx="42996">
                  <c:v>23164</c:v>
                </c:pt>
                <c:pt idx="42997">
                  <c:v>23163</c:v>
                </c:pt>
                <c:pt idx="42998">
                  <c:v>23163</c:v>
                </c:pt>
                <c:pt idx="42999">
                  <c:v>23163</c:v>
                </c:pt>
                <c:pt idx="43000">
                  <c:v>23162</c:v>
                </c:pt>
                <c:pt idx="43001">
                  <c:v>23162</c:v>
                </c:pt>
                <c:pt idx="43002">
                  <c:v>23161</c:v>
                </c:pt>
                <c:pt idx="43003">
                  <c:v>23161</c:v>
                </c:pt>
                <c:pt idx="43004">
                  <c:v>23160</c:v>
                </c:pt>
                <c:pt idx="43005">
                  <c:v>23160</c:v>
                </c:pt>
                <c:pt idx="43006">
                  <c:v>23160</c:v>
                </c:pt>
                <c:pt idx="43007">
                  <c:v>23159</c:v>
                </c:pt>
                <c:pt idx="43008">
                  <c:v>23159</c:v>
                </c:pt>
                <c:pt idx="43009">
                  <c:v>23159</c:v>
                </c:pt>
                <c:pt idx="43010">
                  <c:v>23159</c:v>
                </c:pt>
                <c:pt idx="43011">
                  <c:v>23159</c:v>
                </c:pt>
                <c:pt idx="43012">
                  <c:v>23159</c:v>
                </c:pt>
                <c:pt idx="43013">
                  <c:v>23159</c:v>
                </c:pt>
                <c:pt idx="43014">
                  <c:v>23158</c:v>
                </c:pt>
                <c:pt idx="43015">
                  <c:v>23158</c:v>
                </c:pt>
                <c:pt idx="43016">
                  <c:v>23157</c:v>
                </c:pt>
                <c:pt idx="43017">
                  <c:v>23156</c:v>
                </c:pt>
                <c:pt idx="43018">
                  <c:v>23156</c:v>
                </c:pt>
                <c:pt idx="43019">
                  <c:v>23155</c:v>
                </c:pt>
                <c:pt idx="43020">
                  <c:v>23155</c:v>
                </c:pt>
                <c:pt idx="43021">
                  <c:v>23155</c:v>
                </c:pt>
                <c:pt idx="43022">
                  <c:v>23155</c:v>
                </c:pt>
                <c:pt idx="43023">
                  <c:v>23154</c:v>
                </c:pt>
                <c:pt idx="43024">
                  <c:v>23154</c:v>
                </c:pt>
                <c:pt idx="43025">
                  <c:v>23154</c:v>
                </c:pt>
                <c:pt idx="43026">
                  <c:v>23153</c:v>
                </c:pt>
                <c:pt idx="43027">
                  <c:v>23153</c:v>
                </c:pt>
                <c:pt idx="43028">
                  <c:v>23153</c:v>
                </c:pt>
                <c:pt idx="43029">
                  <c:v>23153</c:v>
                </c:pt>
                <c:pt idx="43030">
                  <c:v>23153</c:v>
                </c:pt>
                <c:pt idx="43031">
                  <c:v>23152</c:v>
                </c:pt>
                <c:pt idx="43032">
                  <c:v>23152</c:v>
                </c:pt>
                <c:pt idx="43033">
                  <c:v>23151</c:v>
                </c:pt>
                <c:pt idx="43034">
                  <c:v>23151</c:v>
                </c:pt>
                <c:pt idx="43035">
                  <c:v>23151</c:v>
                </c:pt>
                <c:pt idx="43036">
                  <c:v>23150</c:v>
                </c:pt>
                <c:pt idx="43037">
                  <c:v>23150</c:v>
                </c:pt>
                <c:pt idx="43038">
                  <c:v>23150</c:v>
                </c:pt>
                <c:pt idx="43039">
                  <c:v>23150</c:v>
                </c:pt>
                <c:pt idx="43040">
                  <c:v>23150</c:v>
                </c:pt>
                <c:pt idx="43041">
                  <c:v>23150</c:v>
                </c:pt>
                <c:pt idx="43042">
                  <c:v>23149</c:v>
                </c:pt>
                <c:pt idx="43043">
                  <c:v>23148</c:v>
                </c:pt>
                <c:pt idx="43044">
                  <c:v>23148</c:v>
                </c:pt>
                <c:pt idx="43045">
                  <c:v>23148</c:v>
                </c:pt>
                <c:pt idx="43046">
                  <c:v>23147</c:v>
                </c:pt>
                <c:pt idx="43047">
                  <c:v>23146</c:v>
                </c:pt>
                <c:pt idx="43048">
                  <c:v>23146</c:v>
                </c:pt>
                <c:pt idx="43049">
                  <c:v>23146</c:v>
                </c:pt>
                <c:pt idx="43050">
                  <c:v>23146</c:v>
                </c:pt>
                <c:pt idx="43051">
                  <c:v>23145</c:v>
                </c:pt>
                <c:pt idx="43052">
                  <c:v>23145</c:v>
                </c:pt>
                <c:pt idx="43053">
                  <c:v>23144</c:v>
                </c:pt>
                <c:pt idx="43054">
                  <c:v>23144</c:v>
                </c:pt>
                <c:pt idx="43055">
                  <c:v>23144</c:v>
                </c:pt>
                <c:pt idx="43056">
                  <c:v>23143</c:v>
                </c:pt>
                <c:pt idx="43057">
                  <c:v>23142</c:v>
                </c:pt>
                <c:pt idx="43058">
                  <c:v>23142</c:v>
                </c:pt>
                <c:pt idx="43059">
                  <c:v>23142</c:v>
                </c:pt>
                <c:pt idx="43060">
                  <c:v>23142</c:v>
                </c:pt>
                <c:pt idx="43061">
                  <c:v>23142</c:v>
                </c:pt>
                <c:pt idx="43062">
                  <c:v>23141</c:v>
                </c:pt>
                <c:pt idx="43063">
                  <c:v>23141</c:v>
                </c:pt>
                <c:pt idx="43064">
                  <c:v>23141</c:v>
                </c:pt>
                <c:pt idx="43065">
                  <c:v>23140</c:v>
                </c:pt>
                <c:pt idx="43066">
                  <c:v>23140</c:v>
                </c:pt>
                <c:pt idx="43067">
                  <c:v>23139</c:v>
                </c:pt>
                <c:pt idx="43068">
                  <c:v>23139</c:v>
                </c:pt>
                <c:pt idx="43069">
                  <c:v>23139</c:v>
                </c:pt>
                <c:pt idx="43070">
                  <c:v>23138</c:v>
                </c:pt>
                <c:pt idx="43071">
                  <c:v>23138</c:v>
                </c:pt>
                <c:pt idx="43072">
                  <c:v>23137</c:v>
                </c:pt>
                <c:pt idx="43073">
                  <c:v>23136</c:v>
                </c:pt>
                <c:pt idx="43074">
                  <c:v>23136</c:v>
                </c:pt>
                <c:pt idx="43075">
                  <c:v>23136</c:v>
                </c:pt>
                <c:pt idx="43076">
                  <c:v>23136</c:v>
                </c:pt>
                <c:pt idx="43077">
                  <c:v>23136</c:v>
                </c:pt>
                <c:pt idx="43078">
                  <c:v>23135</c:v>
                </c:pt>
                <c:pt idx="43079">
                  <c:v>23135</c:v>
                </c:pt>
                <c:pt idx="43080">
                  <c:v>23135</c:v>
                </c:pt>
                <c:pt idx="43081">
                  <c:v>23134</c:v>
                </c:pt>
                <c:pt idx="43082">
                  <c:v>23134</c:v>
                </c:pt>
                <c:pt idx="43083">
                  <c:v>23134</c:v>
                </c:pt>
                <c:pt idx="43084">
                  <c:v>23134</c:v>
                </c:pt>
                <c:pt idx="43085">
                  <c:v>23134</c:v>
                </c:pt>
                <c:pt idx="43086">
                  <c:v>23133</c:v>
                </c:pt>
                <c:pt idx="43087">
                  <c:v>23132</c:v>
                </c:pt>
                <c:pt idx="43088">
                  <c:v>23132</c:v>
                </c:pt>
                <c:pt idx="43089">
                  <c:v>23132</c:v>
                </c:pt>
                <c:pt idx="43090">
                  <c:v>23132</c:v>
                </c:pt>
                <c:pt idx="43091">
                  <c:v>23131</c:v>
                </c:pt>
                <c:pt idx="43092">
                  <c:v>23130</c:v>
                </c:pt>
                <c:pt idx="43093">
                  <c:v>23130</c:v>
                </c:pt>
                <c:pt idx="43094">
                  <c:v>23129</c:v>
                </c:pt>
                <c:pt idx="43095">
                  <c:v>23129</c:v>
                </c:pt>
                <c:pt idx="43096">
                  <c:v>23129</c:v>
                </c:pt>
                <c:pt idx="43097">
                  <c:v>23127</c:v>
                </c:pt>
                <c:pt idx="43098">
                  <c:v>23127</c:v>
                </c:pt>
                <c:pt idx="43099">
                  <c:v>23127</c:v>
                </c:pt>
                <c:pt idx="43100">
                  <c:v>23126</c:v>
                </c:pt>
                <c:pt idx="43101">
                  <c:v>23126</c:v>
                </c:pt>
                <c:pt idx="43102">
                  <c:v>23126</c:v>
                </c:pt>
                <c:pt idx="43103">
                  <c:v>23126</c:v>
                </c:pt>
                <c:pt idx="43104">
                  <c:v>23126</c:v>
                </c:pt>
                <c:pt idx="43105">
                  <c:v>23126</c:v>
                </c:pt>
                <c:pt idx="43106">
                  <c:v>23126</c:v>
                </c:pt>
                <c:pt idx="43107">
                  <c:v>23125</c:v>
                </c:pt>
                <c:pt idx="43108">
                  <c:v>23125</c:v>
                </c:pt>
                <c:pt idx="43109">
                  <c:v>23125</c:v>
                </c:pt>
                <c:pt idx="43110">
                  <c:v>23125</c:v>
                </c:pt>
                <c:pt idx="43111">
                  <c:v>23125</c:v>
                </c:pt>
                <c:pt idx="43112">
                  <c:v>23124</c:v>
                </c:pt>
                <c:pt idx="43113">
                  <c:v>23124</c:v>
                </c:pt>
                <c:pt idx="43114">
                  <c:v>23124</c:v>
                </c:pt>
                <c:pt idx="43115">
                  <c:v>23124</c:v>
                </c:pt>
                <c:pt idx="43116">
                  <c:v>23123</c:v>
                </c:pt>
                <c:pt idx="43117">
                  <c:v>23123</c:v>
                </c:pt>
                <c:pt idx="43118">
                  <c:v>23122</c:v>
                </c:pt>
                <c:pt idx="43119">
                  <c:v>23122</c:v>
                </c:pt>
                <c:pt idx="43120">
                  <c:v>23122</c:v>
                </c:pt>
                <c:pt idx="43121">
                  <c:v>23122</c:v>
                </c:pt>
                <c:pt idx="43122">
                  <c:v>23122</c:v>
                </c:pt>
                <c:pt idx="43123">
                  <c:v>23120</c:v>
                </c:pt>
                <c:pt idx="43124">
                  <c:v>23120</c:v>
                </c:pt>
                <c:pt idx="43125">
                  <c:v>23119</c:v>
                </c:pt>
                <c:pt idx="43126">
                  <c:v>23118</c:v>
                </c:pt>
                <c:pt idx="43127">
                  <c:v>23118</c:v>
                </c:pt>
                <c:pt idx="43128">
                  <c:v>23118</c:v>
                </c:pt>
                <c:pt idx="43129">
                  <c:v>23118</c:v>
                </c:pt>
                <c:pt idx="43130">
                  <c:v>23118</c:v>
                </c:pt>
                <c:pt idx="43131">
                  <c:v>23118</c:v>
                </c:pt>
                <c:pt idx="43132">
                  <c:v>23118</c:v>
                </c:pt>
                <c:pt idx="43133">
                  <c:v>23117</c:v>
                </c:pt>
                <c:pt idx="43134">
                  <c:v>23117</c:v>
                </c:pt>
                <c:pt idx="43135">
                  <c:v>23117</c:v>
                </c:pt>
                <c:pt idx="43136">
                  <c:v>23115</c:v>
                </c:pt>
                <c:pt idx="43137">
                  <c:v>23115</c:v>
                </c:pt>
                <c:pt idx="43138">
                  <c:v>23115</c:v>
                </c:pt>
                <c:pt idx="43139">
                  <c:v>23115</c:v>
                </c:pt>
                <c:pt idx="43140">
                  <c:v>23114</c:v>
                </c:pt>
                <c:pt idx="43141">
                  <c:v>23114</c:v>
                </c:pt>
                <c:pt idx="43142">
                  <c:v>23113</c:v>
                </c:pt>
                <c:pt idx="43143">
                  <c:v>23113</c:v>
                </c:pt>
                <c:pt idx="43144">
                  <c:v>23113</c:v>
                </c:pt>
                <c:pt idx="43145">
                  <c:v>23112</c:v>
                </c:pt>
                <c:pt idx="43146">
                  <c:v>23112</c:v>
                </c:pt>
                <c:pt idx="43147">
                  <c:v>23111</c:v>
                </c:pt>
                <c:pt idx="43148">
                  <c:v>23111</c:v>
                </c:pt>
                <c:pt idx="43149">
                  <c:v>23111</c:v>
                </c:pt>
                <c:pt idx="43150">
                  <c:v>23111</c:v>
                </c:pt>
                <c:pt idx="43151">
                  <c:v>23111</c:v>
                </c:pt>
                <c:pt idx="43152">
                  <c:v>23110</c:v>
                </c:pt>
                <c:pt idx="43153">
                  <c:v>23109</c:v>
                </c:pt>
                <c:pt idx="43154">
                  <c:v>23109</c:v>
                </c:pt>
                <c:pt idx="43155">
                  <c:v>23109</c:v>
                </c:pt>
                <c:pt idx="43156">
                  <c:v>23108</c:v>
                </c:pt>
                <c:pt idx="43157">
                  <c:v>23107</c:v>
                </c:pt>
                <c:pt idx="43158">
                  <c:v>23107</c:v>
                </c:pt>
                <c:pt idx="43159">
                  <c:v>23106</c:v>
                </c:pt>
                <c:pt idx="43160">
                  <c:v>23106</c:v>
                </c:pt>
                <c:pt idx="43161">
                  <c:v>23105</c:v>
                </c:pt>
                <c:pt idx="43162">
                  <c:v>23105</c:v>
                </c:pt>
                <c:pt idx="43163">
                  <c:v>23105</c:v>
                </c:pt>
                <c:pt idx="43164">
                  <c:v>23104</c:v>
                </c:pt>
                <c:pt idx="43165">
                  <c:v>23104</c:v>
                </c:pt>
                <c:pt idx="43166">
                  <c:v>23104</c:v>
                </c:pt>
                <c:pt idx="43167">
                  <c:v>23104</c:v>
                </c:pt>
                <c:pt idx="43168">
                  <c:v>23104</c:v>
                </c:pt>
                <c:pt idx="43169">
                  <c:v>23103</c:v>
                </c:pt>
                <c:pt idx="43170">
                  <c:v>23102</c:v>
                </c:pt>
                <c:pt idx="43171">
                  <c:v>23102</c:v>
                </c:pt>
                <c:pt idx="43172">
                  <c:v>23102</c:v>
                </c:pt>
                <c:pt idx="43173">
                  <c:v>23101</c:v>
                </c:pt>
                <c:pt idx="43174">
                  <c:v>23101</c:v>
                </c:pt>
                <c:pt idx="43175">
                  <c:v>23101</c:v>
                </c:pt>
                <c:pt idx="43176">
                  <c:v>23100</c:v>
                </c:pt>
                <c:pt idx="43177">
                  <c:v>23100</c:v>
                </c:pt>
                <c:pt idx="43178">
                  <c:v>23099</c:v>
                </c:pt>
                <c:pt idx="43179">
                  <c:v>23099</c:v>
                </c:pt>
                <c:pt idx="43180">
                  <c:v>23099</c:v>
                </c:pt>
                <c:pt idx="43181">
                  <c:v>23099</c:v>
                </c:pt>
                <c:pt idx="43182">
                  <c:v>23099</c:v>
                </c:pt>
                <c:pt idx="43183">
                  <c:v>23099</c:v>
                </c:pt>
                <c:pt idx="43184">
                  <c:v>23099</c:v>
                </c:pt>
                <c:pt idx="43185">
                  <c:v>23099</c:v>
                </c:pt>
                <c:pt idx="43186">
                  <c:v>23099</c:v>
                </c:pt>
                <c:pt idx="43187">
                  <c:v>23098</c:v>
                </c:pt>
                <c:pt idx="43188">
                  <c:v>23098</c:v>
                </c:pt>
                <c:pt idx="43189">
                  <c:v>23097</c:v>
                </c:pt>
                <c:pt idx="43190">
                  <c:v>23097</c:v>
                </c:pt>
                <c:pt idx="43191">
                  <c:v>23097</c:v>
                </c:pt>
                <c:pt idx="43192">
                  <c:v>23097</c:v>
                </c:pt>
                <c:pt idx="43193">
                  <c:v>23096</c:v>
                </c:pt>
                <c:pt idx="43194">
                  <c:v>23095</c:v>
                </c:pt>
                <c:pt idx="43195">
                  <c:v>23095</c:v>
                </c:pt>
                <c:pt idx="43196">
                  <c:v>23095</c:v>
                </c:pt>
                <c:pt idx="43197">
                  <c:v>23095</c:v>
                </c:pt>
                <c:pt idx="43198">
                  <c:v>23094</c:v>
                </c:pt>
                <c:pt idx="43199">
                  <c:v>23094</c:v>
                </c:pt>
                <c:pt idx="43200">
                  <c:v>23094</c:v>
                </c:pt>
                <c:pt idx="43201">
                  <c:v>23094</c:v>
                </c:pt>
                <c:pt idx="43202">
                  <c:v>23093</c:v>
                </c:pt>
                <c:pt idx="43203">
                  <c:v>23093</c:v>
                </c:pt>
                <c:pt idx="43204">
                  <c:v>23093</c:v>
                </c:pt>
                <c:pt idx="43205">
                  <c:v>23093</c:v>
                </c:pt>
                <c:pt idx="43206">
                  <c:v>23093</c:v>
                </c:pt>
                <c:pt idx="43207">
                  <c:v>23092</c:v>
                </c:pt>
                <c:pt idx="43208">
                  <c:v>23092</c:v>
                </c:pt>
                <c:pt idx="43209">
                  <c:v>23092</c:v>
                </c:pt>
                <c:pt idx="43210">
                  <c:v>23091</c:v>
                </c:pt>
                <c:pt idx="43211">
                  <c:v>23091</c:v>
                </c:pt>
                <c:pt idx="43212">
                  <c:v>23091</c:v>
                </c:pt>
                <c:pt idx="43213">
                  <c:v>23091</c:v>
                </c:pt>
                <c:pt idx="43214">
                  <c:v>23091</c:v>
                </c:pt>
                <c:pt idx="43215">
                  <c:v>23090</c:v>
                </c:pt>
                <c:pt idx="43216">
                  <c:v>23090</c:v>
                </c:pt>
                <c:pt idx="43217">
                  <c:v>23090</c:v>
                </c:pt>
                <c:pt idx="43218">
                  <c:v>23090</c:v>
                </c:pt>
                <c:pt idx="43219">
                  <c:v>23090</c:v>
                </c:pt>
                <c:pt idx="43220">
                  <c:v>23089</c:v>
                </c:pt>
                <c:pt idx="43221">
                  <c:v>23088</c:v>
                </c:pt>
                <c:pt idx="43222">
                  <c:v>23088</c:v>
                </c:pt>
                <c:pt idx="43223">
                  <c:v>23087</c:v>
                </c:pt>
                <c:pt idx="43224">
                  <c:v>23087</c:v>
                </c:pt>
                <c:pt idx="43225">
                  <c:v>23086</c:v>
                </c:pt>
                <c:pt idx="43226">
                  <c:v>23086</c:v>
                </c:pt>
                <c:pt idx="43227">
                  <c:v>23086</c:v>
                </c:pt>
                <c:pt idx="43228">
                  <c:v>23085</c:v>
                </c:pt>
                <c:pt idx="43229">
                  <c:v>23084</c:v>
                </c:pt>
                <c:pt idx="43230">
                  <c:v>23084</c:v>
                </c:pt>
                <c:pt idx="43231">
                  <c:v>23083</c:v>
                </c:pt>
                <c:pt idx="43232">
                  <c:v>23083</c:v>
                </c:pt>
                <c:pt idx="43233">
                  <c:v>23083</c:v>
                </c:pt>
                <c:pt idx="43234">
                  <c:v>23082</c:v>
                </c:pt>
                <c:pt idx="43235">
                  <c:v>23082</c:v>
                </c:pt>
                <c:pt idx="43236">
                  <c:v>23082</c:v>
                </c:pt>
                <c:pt idx="43237">
                  <c:v>23082</c:v>
                </c:pt>
                <c:pt idx="43238">
                  <c:v>23082</c:v>
                </c:pt>
                <c:pt idx="43239">
                  <c:v>23081</c:v>
                </c:pt>
                <c:pt idx="43240">
                  <c:v>23081</c:v>
                </c:pt>
                <c:pt idx="43241">
                  <c:v>23081</c:v>
                </c:pt>
                <c:pt idx="43242">
                  <c:v>23081</c:v>
                </c:pt>
                <c:pt idx="43243">
                  <c:v>23080</c:v>
                </c:pt>
                <c:pt idx="43244">
                  <c:v>23080</c:v>
                </c:pt>
                <c:pt idx="43245">
                  <c:v>23080</c:v>
                </c:pt>
                <c:pt idx="43246">
                  <c:v>23080</c:v>
                </c:pt>
                <c:pt idx="43247">
                  <c:v>23079</c:v>
                </c:pt>
                <c:pt idx="43248">
                  <c:v>23079</c:v>
                </c:pt>
                <c:pt idx="43249">
                  <c:v>23079</c:v>
                </c:pt>
                <c:pt idx="43250">
                  <c:v>23078</c:v>
                </c:pt>
                <c:pt idx="43251">
                  <c:v>23078</c:v>
                </c:pt>
                <c:pt idx="43252">
                  <c:v>23078</c:v>
                </c:pt>
                <c:pt idx="43253">
                  <c:v>23077</c:v>
                </c:pt>
                <c:pt idx="43254">
                  <c:v>23077</c:v>
                </c:pt>
                <c:pt idx="43255">
                  <c:v>23076</c:v>
                </c:pt>
                <c:pt idx="43256">
                  <c:v>23076</c:v>
                </c:pt>
                <c:pt idx="43257">
                  <c:v>23076</c:v>
                </c:pt>
                <c:pt idx="43258">
                  <c:v>23075</c:v>
                </c:pt>
                <c:pt idx="43259">
                  <c:v>23075</c:v>
                </c:pt>
                <c:pt idx="43260">
                  <c:v>23075</c:v>
                </c:pt>
                <c:pt idx="43261">
                  <c:v>23075</c:v>
                </c:pt>
                <c:pt idx="43262">
                  <c:v>23074</c:v>
                </c:pt>
                <c:pt idx="43263">
                  <c:v>23073</c:v>
                </c:pt>
                <c:pt idx="43264">
                  <c:v>23072</c:v>
                </c:pt>
                <c:pt idx="43265">
                  <c:v>23072</c:v>
                </c:pt>
                <c:pt idx="43266">
                  <c:v>23072</c:v>
                </c:pt>
                <c:pt idx="43267">
                  <c:v>23071</c:v>
                </c:pt>
                <c:pt idx="43268">
                  <c:v>23071</c:v>
                </c:pt>
                <c:pt idx="43269">
                  <c:v>23071</c:v>
                </c:pt>
                <c:pt idx="43270">
                  <c:v>23070</c:v>
                </c:pt>
                <c:pt idx="43271">
                  <c:v>23069</c:v>
                </c:pt>
                <c:pt idx="43272">
                  <c:v>23069</c:v>
                </c:pt>
                <c:pt idx="43273">
                  <c:v>23069</c:v>
                </c:pt>
                <c:pt idx="43274">
                  <c:v>23068</c:v>
                </c:pt>
                <c:pt idx="43275">
                  <c:v>23068</c:v>
                </c:pt>
                <c:pt idx="43276">
                  <c:v>23067</c:v>
                </c:pt>
                <c:pt idx="43277">
                  <c:v>23066</c:v>
                </c:pt>
                <c:pt idx="43278">
                  <c:v>23065</c:v>
                </c:pt>
                <c:pt idx="43279">
                  <c:v>23065</c:v>
                </c:pt>
                <c:pt idx="43280">
                  <c:v>23065</c:v>
                </c:pt>
                <c:pt idx="43281">
                  <c:v>23065</c:v>
                </c:pt>
                <c:pt idx="43282">
                  <c:v>23064</c:v>
                </c:pt>
                <c:pt idx="43283">
                  <c:v>23064</c:v>
                </c:pt>
                <c:pt idx="43284">
                  <c:v>23064</c:v>
                </c:pt>
                <c:pt idx="43285">
                  <c:v>23064</c:v>
                </c:pt>
                <c:pt idx="43286">
                  <c:v>23064</c:v>
                </c:pt>
                <c:pt idx="43287">
                  <c:v>23064</c:v>
                </c:pt>
                <c:pt idx="43288">
                  <c:v>23063</c:v>
                </c:pt>
                <c:pt idx="43289">
                  <c:v>23063</c:v>
                </c:pt>
                <c:pt idx="43290">
                  <c:v>23063</c:v>
                </c:pt>
                <c:pt idx="43291">
                  <c:v>23063</c:v>
                </c:pt>
                <c:pt idx="43292">
                  <c:v>23062</c:v>
                </c:pt>
                <c:pt idx="43293">
                  <c:v>23062</c:v>
                </c:pt>
                <c:pt idx="43294">
                  <c:v>23062</c:v>
                </c:pt>
                <c:pt idx="43295">
                  <c:v>23061</c:v>
                </c:pt>
                <c:pt idx="43296">
                  <c:v>23061</c:v>
                </c:pt>
                <c:pt idx="43297">
                  <c:v>23061</c:v>
                </c:pt>
                <c:pt idx="43298">
                  <c:v>23061</c:v>
                </c:pt>
                <c:pt idx="43299">
                  <c:v>23061</c:v>
                </c:pt>
                <c:pt idx="43300">
                  <c:v>23061</c:v>
                </c:pt>
                <c:pt idx="43301">
                  <c:v>23061</c:v>
                </c:pt>
                <c:pt idx="43302">
                  <c:v>23061</c:v>
                </c:pt>
                <c:pt idx="43303">
                  <c:v>23061</c:v>
                </c:pt>
                <c:pt idx="43304">
                  <c:v>23060</c:v>
                </c:pt>
                <c:pt idx="43305">
                  <c:v>23059</c:v>
                </c:pt>
                <c:pt idx="43306">
                  <c:v>23059</c:v>
                </c:pt>
                <c:pt idx="43307">
                  <c:v>23059</c:v>
                </c:pt>
                <c:pt idx="43308">
                  <c:v>23058</c:v>
                </c:pt>
                <c:pt idx="43309">
                  <c:v>23058</c:v>
                </c:pt>
                <c:pt idx="43310">
                  <c:v>23058</c:v>
                </c:pt>
                <c:pt idx="43311">
                  <c:v>23058</c:v>
                </c:pt>
                <c:pt idx="43312">
                  <c:v>23058</c:v>
                </c:pt>
                <c:pt idx="43313">
                  <c:v>23058</c:v>
                </c:pt>
                <c:pt idx="43314">
                  <c:v>23057</c:v>
                </c:pt>
                <c:pt idx="43315">
                  <c:v>23057</c:v>
                </c:pt>
                <c:pt idx="43316">
                  <c:v>23057</c:v>
                </c:pt>
                <c:pt idx="43317">
                  <c:v>23057</c:v>
                </c:pt>
                <c:pt idx="43318">
                  <c:v>23057</c:v>
                </c:pt>
                <c:pt idx="43319">
                  <c:v>23057</c:v>
                </c:pt>
                <c:pt idx="43320">
                  <c:v>23056</c:v>
                </c:pt>
                <c:pt idx="43321">
                  <c:v>23055</c:v>
                </c:pt>
                <c:pt idx="43322">
                  <c:v>23054</c:v>
                </c:pt>
                <c:pt idx="43323">
                  <c:v>23054</c:v>
                </c:pt>
                <c:pt idx="43324">
                  <c:v>23054</c:v>
                </c:pt>
                <c:pt idx="43325">
                  <c:v>23053</c:v>
                </c:pt>
                <c:pt idx="43326">
                  <c:v>23053</c:v>
                </c:pt>
                <c:pt idx="43327">
                  <c:v>23053</c:v>
                </c:pt>
                <c:pt idx="43328">
                  <c:v>23052</c:v>
                </c:pt>
                <c:pt idx="43329">
                  <c:v>23051</c:v>
                </c:pt>
                <c:pt idx="43330">
                  <c:v>23050</c:v>
                </c:pt>
                <c:pt idx="43331">
                  <c:v>23050</c:v>
                </c:pt>
                <c:pt idx="43332">
                  <c:v>23050</c:v>
                </c:pt>
                <c:pt idx="43333">
                  <c:v>23049</c:v>
                </c:pt>
                <c:pt idx="43334">
                  <c:v>23049</c:v>
                </c:pt>
                <c:pt idx="43335">
                  <c:v>23048</c:v>
                </c:pt>
                <c:pt idx="43336">
                  <c:v>23048</c:v>
                </c:pt>
                <c:pt idx="43337">
                  <c:v>23048</c:v>
                </c:pt>
                <c:pt idx="43338">
                  <c:v>23047</c:v>
                </c:pt>
                <c:pt idx="43339">
                  <c:v>23046</c:v>
                </c:pt>
                <c:pt idx="43340">
                  <c:v>23046</c:v>
                </c:pt>
                <c:pt idx="43341">
                  <c:v>23046</c:v>
                </c:pt>
                <c:pt idx="43342">
                  <c:v>23046</c:v>
                </c:pt>
                <c:pt idx="43343">
                  <c:v>23046</c:v>
                </c:pt>
                <c:pt idx="43344">
                  <c:v>23045</c:v>
                </c:pt>
                <c:pt idx="43345">
                  <c:v>23045</c:v>
                </c:pt>
                <c:pt idx="43346">
                  <c:v>23045</c:v>
                </c:pt>
                <c:pt idx="43347">
                  <c:v>23045</c:v>
                </c:pt>
                <c:pt idx="43348">
                  <c:v>23045</c:v>
                </c:pt>
                <c:pt idx="43349">
                  <c:v>23044</c:v>
                </c:pt>
                <c:pt idx="43350">
                  <c:v>23044</c:v>
                </c:pt>
                <c:pt idx="43351">
                  <c:v>23044</c:v>
                </c:pt>
                <c:pt idx="43352">
                  <c:v>23043</c:v>
                </c:pt>
                <c:pt idx="43353">
                  <c:v>23043</c:v>
                </c:pt>
                <c:pt idx="43354">
                  <c:v>23043</c:v>
                </c:pt>
                <c:pt idx="43355">
                  <c:v>23042</c:v>
                </c:pt>
                <c:pt idx="43356">
                  <c:v>23042</c:v>
                </c:pt>
                <c:pt idx="43357">
                  <c:v>23042</c:v>
                </c:pt>
                <c:pt idx="43358">
                  <c:v>23042</c:v>
                </c:pt>
                <c:pt idx="43359">
                  <c:v>23042</c:v>
                </c:pt>
                <c:pt idx="43360">
                  <c:v>23041</c:v>
                </c:pt>
                <c:pt idx="43361">
                  <c:v>23041</c:v>
                </c:pt>
                <c:pt idx="43362">
                  <c:v>23040</c:v>
                </c:pt>
                <c:pt idx="43363">
                  <c:v>23040</c:v>
                </c:pt>
                <c:pt idx="43364">
                  <c:v>23039</c:v>
                </c:pt>
                <c:pt idx="43365">
                  <c:v>23039</c:v>
                </c:pt>
                <c:pt idx="43366">
                  <c:v>23038</c:v>
                </c:pt>
                <c:pt idx="43367">
                  <c:v>23038</c:v>
                </c:pt>
                <c:pt idx="43368">
                  <c:v>23037</c:v>
                </c:pt>
                <c:pt idx="43369">
                  <c:v>23037</c:v>
                </c:pt>
                <c:pt idx="43370">
                  <c:v>23037</c:v>
                </c:pt>
                <c:pt idx="43371">
                  <c:v>23036</c:v>
                </c:pt>
                <c:pt idx="43372">
                  <c:v>23036</c:v>
                </c:pt>
                <c:pt idx="43373">
                  <c:v>23036</c:v>
                </c:pt>
                <c:pt idx="43374">
                  <c:v>23036</c:v>
                </c:pt>
                <c:pt idx="43375">
                  <c:v>23035</c:v>
                </c:pt>
                <c:pt idx="43376">
                  <c:v>23035</c:v>
                </c:pt>
                <c:pt idx="43377">
                  <c:v>23035</c:v>
                </c:pt>
                <c:pt idx="43378">
                  <c:v>23035</c:v>
                </c:pt>
                <c:pt idx="43379">
                  <c:v>23034</c:v>
                </c:pt>
                <c:pt idx="43380">
                  <c:v>23034</c:v>
                </c:pt>
                <c:pt idx="43381">
                  <c:v>23034</c:v>
                </c:pt>
                <c:pt idx="43382">
                  <c:v>23034</c:v>
                </c:pt>
                <c:pt idx="43383">
                  <c:v>23032</c:v>
                </c:pt>
                <c:pt idx="43384">
                  <c:v>23032</c:v>
                </c:pt>
                <c:pt idx="43385">
                  <c:v>23032</c:v>
                </c:pt>
                <c:pt idx="43386">
                  <c:v>23030</c:v>
                </c:pt>
                <c:pt idx="43387">
                  <c:v>23030</c:v>
                </c:pt>
                <c:pt idx="43388">
                  <c:v>23029</c:v>
                </c:pt>
                <c:pt idx="43389">
                  <c:v>23029</c:v>
                </c:pt>
                <c:pt idx="43390">
                  <c:v>23029</c:v>
                </c:pt>
                <c:pt idx="43391">
                  <c:v>23029</c:v>
                </c:pt>
                <c:pt idx="43392">
                  <c:v>23029</c:v>
                </c:pt>
                <c:pt idx="43393">
                  <c:v>23029</c:v>
                </c:pt>
                <c:pt idx="43394">
                  <c:v>23029</c:v>
                </c:pt>
                <c:pt idx="43395">
                  <c:v>23028</c:v>
                </c:pt>
                <c:pt idx="43396">
                  <c:v>23028</c:v>
                </c:pt>
                <c:pt idx="43397">
                  <c:v>23028</c:v>
                </c:pt>
                <c:pt idx="43398">
                  <c:v>23028</c:v>
                </c:pt>
                <c:pt idx="43399">
                  <c:v>23027</c:v>
                </c:pt>
                <c:pt idx="43400">
                  <c:v>23027</c:v>
                </c:pt>
                <c:pt idx="43401">
                  <c:v>23027</c:v>
                </c:pt>
                <c:pt idx="43402">
                  <c:v>23027</c:v>
                </c:pt>
                <c:pt idx="43403">
                  <c:v>23027</c:v>
                </c:pt>
                <c:pt idx="43404">
                  <c:v>23026</c:v>
                </c:pt>
                <c:pt idx="43405">
                  <c:v>23026</c:v>
                </c:pt>
                <c:pt idx="43406">
                  <c:v>23026</c:v>
                </c:pt>
                <c:pt idx="43407">
                  <c:v>23026</c:v>
                </c:pt>
                <c:pt idx="43408">
                  <c:v>23026</c:v>
                </c:pt>
                <c:pt idx="43409">
                  <c:v>23025</c:v>
                </c:pt>
                <c:pt idx="43410">
                  <c:v>23025</c:v>
                </c:pt>
                <c:pt idx="43411">
                  <c:v>23024</c:v>
                </c:pt>
                <c:pt idx="43412">
                  <c:v>23024</c:v>
                </c:pt>
                <c:pt idx="43413">
                  <c:v>23024</c:v>
                </c:pt>
                <c:pt idx="43414">
                  <c:v>23023</c:v>
                </c:pt>
                <c:pt idx="43415">
                  <c:v>23022</c:v>
                </c:pt>
                <c:pt idx="43416">
                  <c:v>23022</c:v>
                </c:pt>
                <c:pt idx="43417">
                  <c:v>23022</c:v>
                </c:pt>
                <c:pt idx="43418">
                  <c:v>23022</c:v>
                </c:pt>
                <c:pt idx="43419">
                  <c:v>23021</c:v>
                </c:pt>
                <c:pt idx="43420">
                  <c:v>23020</c:v>
                </c:pt>
                <c:pt idx="43421">
                  <c:v>23020</c:v>
                </c:pt>
                <c:pt idx="43422">
                  <c:v>23020</c:v>
                </c:pt>
                <c:pt idx="43423">
                  <c:v>23019</c:v>
                </c:pt>
                <c:pt idx="43424">
                  <c:v>23019</c:v>
                </c:pt>
                <c:pt idx="43425">
                  <c:v>23019</c:v>
                </c:pt>
                <c:pt idx="43426">
                  <c:v>23018</c:v>
                </c:pt>
                <c:pt idx="43427">
                  <c:v>23018</c:v>
                </c:pt>
                <c:pt idx="43428">
                  <c:v>23018</c:v>
                </c:pt>
                <c:pt idx="43429">
                  <c:v>23017</c:v>
                </c:pt>
                <c:pt idx="43430">
                  <c:v>23016</c:v>
                </c:pt>
                <c:pt idx="43431">
                  <c:v>23015</c:v>
                </c:pt>
                <c:pt idx="43432">
                  <c:v>23014</c:v>
                </c:pt>
                <c:pt idx="43433">
                  <c:v>23013</c:v>
                </c:pt>
                <c:pt idx="43434">
                  <c:v>23013</c:v>
                </c:pt>
                <c:pt idx="43435">
                  <c:v>23013</c:v>
                </c:pt>
                <c:pt idx="43436">
                  <c:v>23012</c:v>
                </c:pt>
                <c:pt idx="43437">
                  <c:v>23012</c:v>
                </c:pt>
                <c:pt idx="43438">
                  <c:v>23012</c:v>
                </c:pt>
                <c:pt idx="43439">
                  <c:v>23012</c:v>
                </c:pt>
                <c:pt idx="43440">
                  <c:v>23012</c:v>
                </c:pt>
                <c:pt idx="43441">
                  <c:v>23011</c:v>
                </c:pt>
                <c:pt idx="43442">
                  <c:v>23010</c:v>
                </c:pt>
                <c:pt idx="43443">
                  <c:v>23009</c:v>
                </c:pt>
                <c:pt idx="43444">
                  <c:v>23009</c:v>
                </c:pt>
                <c:pt idx="43445">
                  <c:v>23009</c:v>
                </c:pt>
                <c:pt idx="43446">
                  <c:v>23008</c:v>
                </c:pt>
                <c:pt idx="43447">
                  <c:v>23008</c:v>
                </c:pt>
                <c:pt idx="43448">
                  <c:v>23007</c:v>
                </c:pt>
                <c:pt idx="43449">
                  <c:v>23007</c:v>
                </c:pt>
                <c:pt idx="43450">
                  <c:v>23007</c:v>
                </c:pt>
                <c:pt idx="43451">
                  <c:v>23007</c:v>
                </c:pt>
                <c:pt idx="43452">
                  <c:v>23007</c:v>
                </c:pt>
                <c:pt idx="43453">
                  <c:v>23006</c:v>
                </c:pt>
                <c:pt idx="43454">
                  <c:v>23006</c:v>
                </c:pt>
                <c:pt idx="43455">
                  <c:v>23006</c:v>
                </c:pt>
                <c:pt idx="43456">
                  <c:v>23006</c:v>
                </c:pt>
                <c:pt idx="43457">
                  <c:v>23005</c:v>
                </c:pt>
                <c:pt idx="43458">
                  <c:v>23005</c:v>
                </c:pt>
                <c:pt idx="43459">
                  <c:v>23005</c:v>
                </c:pt>
                <c:pt idx="43460">
                  <c:v>23003</c:v>
                </c:pt>
                <c:pt idx="43461">
                  <c:v>23003</c:v>
                </c:pt>
                <c:pt idx="43462">
                  <c:v>23003</c:v>
                </c:pt>
                <c:pt idx="43463">
                  <c:v>23003</c:v>
                </c:pt>
                <c:pt idx="43464">
                  <c:v>23003</c:v>
                </c:pt>
                <c:pt idx="43465">
                  <c:v>23002</c:v>
                </c:pt>
                <c:pt idx="43466">
                  <c:v>23002</c:v>
                </c:pt>
                <c:pt idx="43467">
                  <c:v>23001</c:v>
                </c:pt>
                <c:pt idx="43468">
                  <c:v>23001</c:v>
                </c:pt>
                <c:pt idx="43469">
                  <c:v>23000</c:v>
                </c:pt>
                <c:pt idx="43470">
                  <c:v>22999</c:v>
                </c:pt>
                <c:pt idx="43471">
                  <c:v>22999</c:v>
                </c:pt>
                <c:pt idx="43472">
                  <c:v>22998</c:v>
                </c:pt>
                <c:pt idx="43473">
                  <c:v>22998</c:v>
                </c:pt>
                <c:pt idx="43474">
                  <c:v>22998</c:v>
                </c:pt>
                <c:pt idx="43475">
                  <c:v>22997</c:v>
                </c:pt>
                <c:pt idx="43476">
                  <c:v>22997</c:v>
                </c:pt>
                <c:pt idx="43477">
                  <c:v>22997</c:v>
                </c:pt>
                <c:pt idx="43478">
                  <c:v>22997</c:v>
                </c:pt>
                <c:pt idx="43479">
                  <c:v>22996</c:v>
                </c:pt>
                <c:pt idx="43480">
                  <c:v>22996</c:v>
                </c:pt>
                <c:pt idx="43481">
                  <c:v>22996</c:v>
                </c:pt>
                <c:pt idx="43482">
                  <c:v>22996</c:v>
                </c:pt>
                <c:pt idx="43483">
                  <c:v>22995</c:v>
                </c:pt>
                <c:pt idx="43484">
                  <c:v>22995</c:v>
                </c:pt>
                <c:pt idx="43485">
                  <c:v>22995</c:v>
                </c:pt>
                <c:pt idx="43486">
                  <c:v>22995</c:v>
                </c:pt>
                <c:pt idx="43487">
                  <c:v>22995</c:v>
                </c:pt>
                <c:pt idx="43488">
                  <c:v>22994</c:v>
                </c:pt>
                <c:pt idx="43489">
                  <c:v>22994</c:v>
                </c:pt>
                <c:pt idx="43490">
                  <c:v>22994</c:v>
                </c:pt>
                <c:pt idx="43491">
                  <c:v>22994</c:v>
                </c:pt>
                <c:pt idx="43492">
                  <c:v>22993</c:v>
                </c:pt>
                <c:pt idx="43493">
                  <c:v>22993</c:v>
                </c:pt>
                <c:pt idx="43494">
                  <c:v>22993</c:v>
                </c:pt>
                <c:pt idx="43495">
                  <c:v>22992</c:v>
                </c:pt>
                <c:pt idx="43496">
                  <c:v>22992</c:v>
                </c:pt>
                <c:pt idx="43497">
                  <c:v>22992</c:v>
                </c:pt>
                <c:pt idx="43498">
                  <c:v>22991</c:v>
                </c:pt>
                <c:pt idx="43499">
                  <c:v>22991</c:v>
                </c:pt>
                <c:pt idx="43500">
                  <c:v>22991</c:v>
                </c:pt>
                <c:pt idx="43501">
                  <c:v>22991</c:v>
                </c:pt>
                <c:pt idx="43502">
                  <c:v>22991</c:v>
                </c:pt>
                <c:pt idx="43503">
                  <c:v>22991</c:v>
                </c:pt>
                <c:pt idx="43504">
                  <c:v>22991</c:v>
                </c:pt>
                <c:pt idx="43505">
                  <c:v>22990</c:v>
                </c:pt>
                <c:pt idx="43506">
                  <c:v>22990</c:v>
                </c:pt>
                <c:pt idx="43507">
                  <c:v>22989</c:v>
                </c:pt>
                <c:pt idx="43508">
                  <c:v>22989</c:v>
                </c:pt>
                <c:pt idx="43509">
                  <c:v>22989</c:v>
                </c:pt>
                <c:pt idx="43510">
                  <c:v>22989</c:v>
                </c:pt>
                <c:pt idx="43511">
                  <c:v>22989</c:v>
                </c:pt>
                <c:pt idx="43512">
                  <c:v>22988</c:v>
                </c:pt>
                <c:pt idx="43513">
                  <c:v>22988</c:v>
                </c:pt>
                <c:pt idx="43514">
                  <c:v>22988</c:v>
                </c:pt>
                <c:pt idx="43515">
                  <c:v>22988</c:v>
                </c:pt>
                <c:pt idx="43516">
                  <c:v>22988</c:v>
                </c:pt>
                <c:pt idx="43517">
                  <c:v>22988</c:v>
                </c:pt>
                <c:pt idx="43518">
                  <c:v>22987</c:v>
                </c:pt>
                <c:pt idx="43519">
                  <c:v>22986</c:v>
                </c:pt>
                <c:pt idx="43520">
                  <c:v>22986</c:v>
                </c:pt>
                <c:pt idx="43521">
                  <c:v>22986</c:v>
                </c:pt>
                <c:pt idx="43522">
                  <c:v>22985</c:v>
                </c:pt>
                <c:pt idx="43523">
                  <c:v>22985</c:v>
                </c:pt>
                <c:pt idx="43524">
                  <c:v>22985</c:v>
                </c:pt>
                <c:pt idx="43525">
                  <c:v>22985</c:v>
                </c:pt>
                <c:pt idx="43526">
                  <c:v>22985</c:v>
                </c:pt>
                <c:pt idx="43527">
                  <c:v>22984</c:v>
                </c:pt>
                <c:pt idx="43528">
                  <c:v>22984</c:v>
                </c:pt>
                <c:pt idx="43529">
                  <c:v>22984</c:v>
                </c:pt>
                <c:pt idx="43530">
                  <c:v>22983</c:v>
                </c:pt>
                <c:pt idx="43531">
                  <c:v>22982</c:v>
                </c:pt>
                <c:pt idx="43532">
                  <c:v>22982</c:v>
                </c:pt>
                <c:pt idx="43533">
                  <c:v>22982</c:v>
                </c:pt>
                <c:pt idx="43534">
                  <c:v>22982</c:v>
                </c:pt>
                <c:pt idx="43535">
                  <c:v>22981</c:v>
                </c:pt>
                <c:pt idx="43536">
                  <c:v>22981</c:v>
                </c:pt>
                <c:pt idx="43537">
                  <c:v>22981</c:v>
                </c:pt>
                <c:pt idx="43538">
                  <c:v>22981</c:v>
                </c:pt>
                <c:pt idx="43539">
                  <c:v>22981</c:v>
                </c:pt>
                <c:pt idx="43540">
                  <c:v>22980</c:v>
                </c:pt>
                <c:pt idx="43541">
                  <c:v>22980</c:v>
                </c:pt>
                <c:pt idx="43542">
                  <c:v>22980</c:v>
                </c:pt>
                <c:pt idx="43543">
                  <c:v>22979</c:v>
                </c:pt>
                <c:pt idx="43544">
                  <c:v>22979</c:v>
                </c:pt>
                <c:pt idx="43545">
                  <c:v>22979</c:v>
                </c:pt>
                <c:pt idx="43546">
                  <c:v>22978</c:v>
                </c:pt>
                <c:pt idx="43547">
                  <c:v>22978</c:v>
                </c:pt>
                <c:pt idx="43548">
                  <c:v>22978</c:v>
                </c:pt>
                <c:pt idx="43549">
                  <c:v>22977</c:v>
                </c:pt>
                <c:pt idx="43550">
                  <c:v>22977</c:v>
                </c:pt>
                <c:pt idx="43551">
                  <c:v>22976</c:v>
                </c:pt>
                <c:pt idx="43552">
                  <c:v>22976</c:v>
                </c:pt>
                <c:pt idx="43553">
                  <c:v>22975</c:v>
                </c:pt>
                <c:pt idx="43554">
                  <c:v>22974</c:v>
                </c:pt>
                <c:pt idx="43555">
                  <c:v>22974</c:v>
                </c:pt>
                <c:pt idx="43556">
                  <c:v>22974</c:v>
                </c:pt>
                <c:pt idx="43557">
                  <c:v>22973</c:v>
                </c:pt>
                <c:pt idx="43558">
                  <c:v>22973</c:v>
                </c:pt>
                <c:pt idx="43559">
                  <c:v>22973</c:v>
                </c:pt>
                <c:pt idx="43560">
                  <c:v>22972</c:v>
                </c:pt>
                <c:pt idx="43561">
                  <c:v>22971</c:v>
                </c:pt>
                <c:pt idx="43562">
                  <c:v>22971</c:v>
                </c:pt>
                <c:pt idx="43563">
                  <c:v>22970</c:v>
                </c:pt>
                <c:pt idx="43564">
                  <c:v>22970</c:v>
                </c:pt>
                <c:pt idx="43565">
                  <c:v>22969</c:v>
                </c:pt>
                <c:pt idx="43566">
                  <c:v>22969</c:v>
                </c:pt>
                <c:pt idx="43567">
                  <c:v>22968</c:v>
                </c:pt>
                <c:pt idx="43568">
                  <c:v>22968</c:v>
                </c:pt>
                <c:pt idx="43569">
                  <c:v>22967</c:v>
                </c:pt>
                <c:pt idx="43570">
                  <c:v>22967</c:v>
                </c:pt>
                <c:pt idx="43571">
                  <c:v>22966</c:v>
                </c:pt>
                <c:pt idx="43572">
                  <c:v>22966</c:v>
                </c:pt>
                <c:pt idx="43573">
                  <c:v>22966</c:v>
                </c:pt>
                <c:pt idx="43574">
                  <c:v>22966</c:v>
                </c:pt>
                <c:pt idx="43575">
                  <c:v>22965</c:v>
                </c:pt>
                <c:pt idx="43576">
                  <c:v>22965</c:v>
                </c:pt>
                <c:pt idx="43577">
                  <c:v>22965</c:v>
                </c:pt>
                <c:pt idx="43578">
                  <c:v>22965</c:v>
                </c:pt>
                <c:pt idx="43579">
                  <c:v>22964</c:v>
                </c:pt>
                <c:pt idx="43580">
                  <c:v>22964</c:v>
                </c:pt>
                <c:pt idx="43581">
                  <c:v>22964</c:v>
                </c:pt>
                <c:pt idx="43582">
                  <c:v>22964</c:v>
                </c:pt>
                <c:pt idx="43583">
                  <c:v>22963</c:v>
                </c:pt>
                <c:pt idx="43584">
                  <c:v>22963</c:v>
                </c:pt>
                <c:pt idx="43585">
                  <c:v>22963</c:v>
                </c:pt>
                <c:pt idx="43586">
                  <c:v>22962</c:v>
                </c:pt>
                <c:pt idx="43587">
                  <c:v>22961</c:v>
                </c:pt>
                <c:pt idx="43588">
                  <c:v>22961</c:v>
                </c:pt>
                <c:pt idx="43589">
                  <c:v>22961</c:v>
                </c:pt>
                <c:pt idx="43590">
                  <c:v>22960</c:v>
                </c:pt>
                <c:pt idx="43591">
                  <c:v>22960</c:v>
                </c:pt>
                <c:pt idx="43592">
                  <c:v>22960</c:v>
                </c:pt>
                <c:pt idx="43593">
                  <c:v>22959</c:v>
                </c:pt>
                <c:pt idx="43594">
                  <c:v>22958</c:v>
                </c:pt>
                <c:pt idx="43595">
                  <c:v>22958</c:v>
                </c:pt>
                <c:pt idx="43596">
                  <c:v>22958</c:v>
                </c:pt>
                <c:pt idx="43597">
                  <c:v>22957</c:v>
                </c:pt>
                <c:pt idx="43598">
                  <c:v>22957</c:v>
                </c:pt>
                <c:pt idx="43599">
                  <c:v>22956</c:v>
                </c:pt>
                <c:pt idx="43600">
                  <c:v>22956</c:v>
                </c:pt>
                <c:pt idx="43601">
                  <c:v>22955</c:v>
                </c:pt>
                <c:pt idx="43602">
                  <c:v>22954</c:v>
                </c:pt>
                <c:pt idx="43603">
                  <c:v>22954</c:v>
                </c:pt>
                <c:pt idx="43604">
                  <c:v>22954</c:v>
                </c:pt>
                <c:pt idx="43605">
                  <c:v>22954</c:v>
                </c:pt>
                <c:pt idx="43606">
                  <c:v>22953</c:v>
                </c:pt>
                <c:pt idx="43607">
                  <c:v>22952</c:v>
                </c:pt>
                <c:pt idx="43608">
                  <c:v>22951</c:v>
                </c:pt>
                <c:pt idx="43609">
                  <c:v>22951</c:v>
                </c:pt>
                <c:pt idx="43610">
                  <c:v>22951</c:v>
                </c:pt>
                <c:pt idx="43611">
                  <c:v>22951</c:v>
                </c:pt>
                <c:pt idx="43612">
                  <c:v>22950</c:v>
                </c:pt>
                <c:pt idx="43613">
                  <c:v>22950</c:v>
                </c:pt>
                <c:pt idx="43614">
                  <c:v>22950</c:v>
                </c:pt>
                <c:pt idx="43615">
                  <c:v>22950</c:v>
                </c:pt>
                <c:pt idx="43616">
                  <c:v>22950</c:v>
                </c:pt>
                <c:pt idx="43617">
                  <c:v>22950</c:v>
                </c:pt>
                <c:pt idx="43618">
                  <c:v>22949</c:v>
                </c:pt>
                <c:pt idx="43619">
                  <c:v>22948</c:v>
                </c:pt>
                <c:pt idx="43620">
                  <c:v>22948</c:v>
                </c:pt>
                <c:pt idx="43621">
                  <c:v>22948</c:v>
                </c:pt>
                <c:pt idx="43622">
                  <c:v>22948</c:v>
                </c:pt>
                <c:pt idx="43623">
                  <c:v>22946</c:v>
                </c:pt>
                <c:pt idx="43624">
                  <c:v>22946</c:v>
                </c:pt>
                <c:pt idx="43625">
                  <c:v>22946</c:v>
                </c:pt>
                <c:pt idx="43626">
                  <c:v>22945</c:v>
                </c:pt>
                <c:pt idx="43627">
                  <c:v>22945</c:v>
                </c:pt>
                <c:pt idx="43628">
                  <c:v>22945</c:v>
                </c:pt>
                <c:pt idx="43629">
                  <c:v>22945</c:v>
                </c:pt>
                <c:pt idx="43630">
                  <c:v>22945</c:v>
                </c:pt>
                <c:pt idx="43631">
                  <c:v>22944</c:v>
                </c:pt>
                <c:pt idx="43632">
                  <c:v>22943</c:v>
                </c:pt>
                <c:pt idx="43633">
                  <c:v>22942</c:v>
                </c:pt>
                <c:pt idx="43634">
                  <c:v>22941</c:v>
                </c:pt>
                <c:pt idx="43635">
                  <c:v>22941</c:v>
                </c:pt>
                <c:pt idx="43636">
                  <c:v>22940</c:v>
                </c:pt>
                <c:pt idx="43637">
                  <c:v>22940</c:v>
                </c:pt>
                <c:pt idx="43638">
                  <c:v>22939</c:v>
                </c:pt>
                <c:pt idx="43639">
                  <c:v>22939</c:v>
                </c:pt>
                <c:pt idx="43640">
                  <c:v>22938</c:v>
                </c:pt>
                <c:pt idx="43641">
                  <c:v>22938</c:v>
                </c:pt>
                <c:pt idx="43642">
                  <c:v>22938</c:v>
                </c:pt>
                <c:pt idx="43643">
                  <c:v>22938</c:v>
                </c:pt>
                <c:pt idx="43644">
                  <c:v>22938</c:v>
                </c:pt>
                <c:pt idx="43645">
                  <c:v>22938</c:v>
                </c:pt>
                <c:pt idx="43646">
                  <c:v>22938</c:v>
                </c:pt>
                <c:pt idx="43647">
                  <c:v>22937</c:v>
                </c:pt>
                <c:pt idx="43648">
                  <c:v>22936</c:v>
                </c:pt>
                <c:pt idx="43649">
                  <c:v>22936</c:v>
                </c:pt>
                <c:pt idx="43650">
                  <c:v>22936</c:v>
                </c:pt>
                <c:pt idx="43651">
                  <c:v>22935</c:v>
                </c:pt>
                <c:pt idx="43652">
                  <c:v>22935</c:v>
                </c:pt>
                <c:pt idx="43653">
                  <c:v>22934</c:v>
                </c:pt>
                <c:pt idx="43654">
                  <c:v>22933</c:v>
                </c:pt>
                <c:pt idx="43655">
                  <c:v>22933</c:v>
                </c:pt>
                <c:pt idx="43656">
                  <c:v>22933</c:v>
                </c:pt>
                <c:pt idx="43657">
                  <c:v>22933</c:v>
                </c:pt>
                <c:pt idx="43658">
                  <c:v>22932</c:v>
                </c:pt>
                <c:pt idx="43659">
                  <c:v>22932</c:v>
                </c:pt>
                <c:pt idx="43660">
                  <c:v>22931</c:v>
                </c:pt>
                <c:pt idx="43661">
                  <c:v>22931</c:v>
                </c:pt>
                <c:pt idx="43662">
                  <c:v>22930</c:v>
                </c:pt>
                <c:pt idx="43663">
                  <c:v>22930</c:v>
                </c:pt>
                <c:pt idx="43664">
                  <c:v>22930</c:v>
                </c:pt>
                <c:pt idx="43665">
                  <c:v>22930</c:v>
                </c:pt>
                <c:pt idx="43666">
                  <c:v>22930</c:v>
                </c:pt>
                <c:pt idx="43667">
                  <c:v>22929</c:v>
                </c:pt>
                <c:pt idx="43668">
                  <c:v>22929</c:v>
                </c:pt>
                <c:pt idx="43669">
                  <c:v>22929</c:v>
                </c:pt>
                <c:pt idx="43670">
                  <c:v>22928</c:v>
                </c:pt>
                <c:pt idx="43671">
                  <c:v>22928</c:v>
                </c:pt>
                <c:pt idx="43672">
                  <c:v>22928</c:v>
                </c:pt>
                <c:pt idx="43673">
                  <c:v>22927</c:v>
                </c:pt>
                <c:pt idx="43674">
                  <c:v>22927</c:v>
                </c:pt>
                <c:pt idx="43675">
                  <c:v>22926</c:v>
                </c:pt>
                <c:pt idx="43676">
                  <c:v>22926</c:v>
                </c:pt>
                <c:pt idx="43677">
                  <c:v>22925</c:v>
                </c:pt>
                <c:pt idx="43678">
                  <c:v>22925</c:v>
                </c:pt>
                <c:pt idx="43679">
                  <c:v>22925</c:v>
                </c:pt>
                <c:pt idx="43680">
                  <c:v>22925</c:v>
                </c:pt>
                <c:pt idx="43681">
                  <c:v>22924</c:v>
                </c:pt>
                <c:pt idx="43682">
                  <c:v>22924</c:v>
                </c:pt>
                <c:pt idx="43683">
                  <c:v>22923</c:v>
                </c:pt>
                <c:pt idx="43684">
                  <c:v>22923</c:v>
                </c:pt>
                <c:pt idx="43685">
                  <c:v>22923</c:v>
                </c:pt>
                <c:pt idx="43686">
                  <c:v>22923</c:v>
                </c:pt>
                <c:pt idx="43687">
                  <c:v>22922</c:v>
                </c:pt>
                <c:pt idx="43688">
                  <c:v>22922</c:v>
                </c:pt>
                <c:pt idx="43689">
                  <c:v>22922</c:v>
                </c:pt>
                <c:pt idx="43690">
                  <c:v>22922</c:v>
                </c:pt>
                <c:pt idx="43691">
                  <c:v>22921</c:v>
                </c:pt>
                <c:pt idx="43692">
                  <c:v>22920</c:v>
                </c:pt>
                <c:pt idx="43693">
                  <c:v>22920</c:v>
                </c:pt>
                <c:pt idx="43694">
                  <c:v>22920</c:v>
                </c:pt>
                <c:pt idx="43695">
                  <c:v>22920</c:v>
                </c:pt>
                <c:pt idx="43696">
                  <c:v>22920</c:v>
                </c:pt>
                <c:pt idx="43697">
                  <c:v>22920</c:v>
                </c:pt>
                <c:pt idx="43698">
                  <c:v>22919</c:v>
                </c:pt>
                <c:pt idx="43699">
                  <c:v>22919</c:v>
                </c:pt>
                <c:pt idx="43700">
                  <c:v>22918</c:v>
                </c:pt>
                <c:pt idx="43701">
                  <c:v>22918</c:v>
                </c:pt>
                <c:pt idx="43702">
                  <c:v>22918</c:v>
                </c:pt>
                <c:pt idx="43703">
                  <c:v>22917</c:v>
                </c:pt>
                <c:pt idx="43704">
                  <c:v>22916</c:v>
                </c:pt>
                <c:pt idx="43705">
                  <c:v>22916</c:v>
                </c:pt>
                <c:pt idx="43706">
                  <c:v>22916</c:v>
                </c:pt>
                <c:pt idx="43707">
                  <c:v>22916</c:v>
                </c:pt>
                <c:pt idx="43708">
                  <c:v>22916</c:v>
                </c:pt>
                <c:pt idx="43709">
                  <c:v>22916</c:v>
                </c:pt>
                <c:pt idx="43710">
                  <c:v>22916</c:v>
                </c:pt>
                <c:pt idx="43711">
                  <c:v>22916</c:v>
                </c:pt>
                <c:pt idx="43712">
                  <c:v>22915</c:v>
                </c:pt>
                <c:pt idx="43713">
                  <c:v>22915</c:v>
                </c:pt>
                <c:pt idx="43714">
                  <c:v>22914</c:v>
                </c:pt>
                <c:pt idx="43715">
                  <c:v>22913</c:v>
                </c:pt>
                <c:pt idx="43716">
                  <c:v>22912</c:v>
                </c:pt>
                <c:pt idx="43717">
                  <c:v>22911</c:v>
                </c:pt>
                <c:pt idx="43718">
                  <c:v>22911</c:v>
                </c:pt>
                <c:pt idx="43719">
                  <c:v>22911</c:v>
                </c:pt>
                <c:pt idx="43720">
                  <c:v>22911</c:v>
                </c:pt>
                <c:pt idx="43721">
                  <c:v>22911</c:v>
                </c:pt>
                <c:pt idx="43722">
                  <c:v>22911</c:v>
                </c:pt>
                <c:pt idx="43723">
                  <c:v>22911</c:v>
                </c:pt>
                <c:pt idx="43724">
                  <c:v>22910</c:v>
                </c:pt>
                <c:pt idx="43725">
                  <c:v>22909</c:v>
                </c:pt>
                <c:pt idx="43726">
                  <c:v>22909</c:v>
                </c:pt>
                <c:pt idx="43727">
                  <c:v>22909</c:v>
                </c:pt>
                <c:pt idx="43728">
                  <c:v>22908</c:v>
                </c:pt>
                <c:pt idx="43729">
                  <c:v>22907</c:v>
                </c:pt>
                <c:pt idx="43730">
                  <c:v>22907</c:v>
                </c:pt>
                <c:pt idx="43731">
                  <c:v>22907</c:v>
                </c:pt>
                <c:pt idx="43732">
                  <c:v>22906</c:v>
                </c:pt>
                <c:pt idx="43733">
                  <c:v>22906</c:v>
                </c:pt>
                <c:pt idx="43734">
                  <c:v>22905</c:v>
                </c:pt>
                <c:pt idx="43735">
                  <c:v>22905</c:v>
                </c:pt>
                <c:pt idx="43736">
                  <c:v>22905</c:v>
                </c:pt>
                <c:pt idx="43737">
                  <c:v>22905</c:v>
                </c:pt>
                <c:pt idx="43738">
                  <c:v>22905</c:v>
                </c:pt>
                <c:pt idx="43739">
                  <c:v>22904</c:v>
                </c:pt>
                <c:pt idx="43740">
                  <c:v>22904</c:v>
                </c:pt>
                <c:pt idx="43741">
                  <c:v>22904</c:v>
                </c:pt>
                <c:pt idx="43742">
                  <c:v>22903</c:v>
                </c:pt>
                <c:pt idx="43743">
                  <c:v>22903</c:v>
                </c:pt>
                <c:pt idx="43744">
                  <c:v>22903</c:v>
                </c:pt>
                <c:pt idx="43745">
                  <c:v>22902</c:v>
                </c:pt>
                <c:pt idx="43746">
                  <c:v>22902</c:v>
                </c:pt>
                <c:pt idx="43747">
                  <c:v>22901</c:v>
                </c:pt>
                <c:pt idx="43748">
                  <c:v>22901</c:v>
                </c:pt>
                <c:pt idx="43749">
                  <c:v>22900</c:v>
                </c:pt>
                <c:pt idx="43750">
                  <c:v>22900</c:v>
                </c:pt>
                <c:pt idx="43751">
                  <c:v>22900</c:v>
                </c:pt>
                <c:pt idx="43752">
                  <c:v>22899</c:v>
                </c:pt>
                <c:pt idx="43753">
                  <c:v>22899</c:v>
                </c:pt>
                <c:pt idx="43754">
                  <c:v>22898</c:v>
                </c:pt>
                <c:pt idx="43755">
                  <c:v>22898</c:v>
                </c:pt>
                <c:pt idx="43756">
                  <c:v>22898</c:v>
                </c:pt>
                <c:pt idx="43757">
                  <c:v>22897</c:v>
                </c:pt>
                <c:pt idx="43758">
                  <c:v>22896</c:v>
                </c:pt>
                <c:pt idx="43759">
                  <c:v>22896</c:v>
                </c:pt>
                <c:pt idx="43760">
                  <c:v>22896</c:v>
                </c:pt>
                <c:pt idx="43761">
                  <c:v>22895</c:v>
                </c:pt>
                <c:pt idx="43762">
                  <c:v>22895</c:v>
                </c:pt>
                <c:pt idx="43763">
                  <c:v>22894</c:v>
                </c:pt>
                <c:pt idx="43764">
                  <c:v>22894</c:v>
                </c:pt>
                <c:pt idx="43765">
                  <c:v>22893</c:v>
                </c:pt>
                <c:pt idx="43766">
                  <c:v>22891</c:v>
                </c:pt>
                <c:pt idx="43767">
                  <c:v>22891</c:v>
                </c:pt>
                <c:pt idx="43768">
                  <c:v>22891</c:v>
                </c:pt>
                <c:pt idx="43769">
                  <c:v>22890</c:v>
                </c:pt>
                <c:pt idx="43770">
                  <c:v>22890</c:v>
                </c:pt>
                <c:pt idx="43771">
                  <c:v>22890</c:v>
                </c:pt>
                <c:pt idx="43772">
                  <c:v>22890</c:v>
                </c:pt>
                <c:pt idx="43773">
                  <c:v>22889</c:v>
                </c:pt>
                <c:pt idx="43774">
                  <c:v>22889</c:v>
                </c:pt>
                <c:pt idx="43775">
                  <c:v>22889</c:v>
                </c:pt>
                <c:pt idx="43776">
                  <c:v>22889</c:v>
                </c:pt>
                <c:pt idx="43777">
                  <c:v>22887</c:v>
                </c:pt>
                <c:pt idx="43778">
                  <c:v>22887</c:v>
                </c:pt>
                <c:pt idx="43779">
                  <c:v>22887</c:v>
                </c:pt>
                <c:pt idx="43780">
                  <c:v>22886</c:v>
                </c:pt>
                <c:pt idx="43781">
                  <c:v>22886</c:v>
                </c:pt>
                <c:pt idx="43782">
                  <c:v>22886</c:v>
                </c:pt>
                <c:pt idx="43783">
                  <c:v>22886</c:v>
                </c:pt>
                <c:pt idx="43784">
                  <c:v>22886</c:v>
                </c:pt>
                <c:pt idx="43785">
                  <c:v>22886</c:v>
                </c:pt>
                <c:pt idx="43786">
                  <c:v>22886</c:v>
                </c:pt>
                <c:pt idx="43787">
                  <c:v>22885</c:v>
                </c:pt>
                <c:pt idx="43788">
                  <c:v>22885</c:v>
                </c:pt>
                <c:pt idx="43789">
                  <c:v>22884</c:v>
                </c:pt>
                <c:pt idx="43790">
                  <c:v>22884</c:v>
                </c:pt>
                <c:pt idx="43791">
                  <c:v>22883</c:v>
                </c:pt>
                <c:pt idx="43792">
                  <c:v>22882</c:v>
                </c:pt>
                <c:pt idx="43793">
                  <c:v>22881</c:v>
                </c:pt>
                <c:pt idx="43794">
                  <c:v>22881</c:v>
                </c:pt>
                <c:pt idx="43795">
                  <c:v>22880</c:v>
                </c:pt>
                <c:pt idx="43796">
                  <c:v>22879</c:v>
                </c:pt>
                <c:pt idx="43797">
                  <c:v>22879</c:v>
                </c:pt>
                <c:pt idx="43798">
                  <c:v>22879</c:v>
                </c:pt>
                <c:pt idx="43799">
                  <c:v>22879</c:v>
                </c:pt>
                <c:pt idx="43800">
                  <c:v>22878</c:v>
                </c:pt>
                <c:pt idx="43801">
                  <c:v>22878</c:v>
                </c:pt>
                <c:pt idx="43802">
                  <c:v>22877</c:v>
                </c:pt>
                <c:pt idx="43803">
                  <c:v>22877</c:v>
                </c:pt>
                <c:pt idx="43804">
                  <c:v>22877</c:v>
                </c:pt>
                <c:pt idx="43805">
                  <c:v>22877</c:v>
                </c:pt>
                <c:pt idx="43806">
                  <c:v>22877</c:v>
                </c:pt>
                <c:pt idx="43807">
                  <c:v>22877</c:v>
                </c:pt>
                <c:pt idx="43808">
                  <c:v>22876</c:v>
                </c:pt>
                <c:pt idx="43809">
                  <c:v>22876</c:v>
                </c:pt>
                <c:pt idx="43810">
                  <c:v>22876</c:v>
                </c:pt>
                <c:pt idx="43811">
                  <c:v>22875</c:v>
                </c:pt>
                <c:pt idx="43812">
                  <c:v>22875</c:v>
                </c:pt>
                <c:pt idx="43813">
                  <c:v>22875</c:v>
                </c:pt>
                <c:pt idx="43814">
                  <c:v>22874</c:v>
                </c:pt>
                <c:pt idx="43815">
                  <c:v>22874</c:v>
                </c:pt>
                <c:pt idx="43816">
                  <c:v>22873</c:v>
                </c:pt>
                <c:pt idx="43817">
                  <c:v>22873</c:v>
                </c:pt>
                <c:pt idx="43818">
                  <c:v>22872</c:v>
                </c:pt>
                <c:pt idx="43819">
                  <c:v>22872</c:v>
                </c:pt>
                <c:pt idx="43820">
                  <c:v>22872</c:v>
                </c:pt>
                <c:pt idx="43821">
                  <c:v>22871</c:v>
                </c:pt>
                <c:pt idx="43822">
                  <c:v>22871</c:v>
                </c:pt>
                <c:pt idx="43823">
                  <c:v>22871</c:v>
                </c:pt>
                <c:pt idx="43824">
                  <c:v>22871</c:v>
                </c:pt>
                <c:pt idx="43825">
                  <c:v>22870</c:v>
                </c:pt>
                <c:pt idx="43826">
                  <c:v>22869</c:v>
                </c:pt>
                <c:pt idx="43827">
                  <c:v>22869</c:v>
                </c:pt>
                <c:pt idx="43828">
                  <c:v>22869</c:v>
                </c:pt>
                <c:pt idx="43829">
                  <c:v>22868</c:v>
                </c:pt>
                <c:pt idx="43830">
                  <c:v>22868</c:v>
                </c:pt>
                <c:pt idx="43831">
                  <c:v>22867</c:v>
                </c:pt>
                <c:pt idx="43832">
                  <c:v>22866</c:v>
                </c:pt>
                <c:pt idx="43833">
                  <c:v>22866</c:v>
                </c:pt>
                <c:pt idx="43834">
                  <c:v>22866</c:v>
                </c:pt>
                <c:pt idx="43835">
                  <c:v>22864</c:v>
                </c:pt>
                <c:pt idx="43836">
                  <c:v>22864</c:v>
                </c:pt>
                <c:pt idx="43837">
                  <c:v>22864</c:v>
                </c:pt>
                <c:pt idx="43838">
                  <c:v>22864</c:v>
                </c:pt>
                <c:pt idx="43839">
                  <c:v>22863</c:v>
                </c:pt>
                <c:pt idx="43840">
                  <c:v>22863</c:v>
                </c:pt>
                <c:pt idx="43841">
                  <c:v>22862</c:v>
                </c:pt>
                <c:pt idx="43842">
                  <c:v>22862</c:v>
                </c:pt>
                <c:pt idx="43843">
                  <c:v>22862</c:v>
                </c:pt>
                <c:pt idx="43844">
                  <c:v>22862</c:v>
                </c:pt>
                <c:pt idx="43845">
                  <c:v>22862</c:v>
                </c:pt>
                <c:pt idx="43846">
                  <c:v>22861</c:v>
                </c:pt>
                <c:pt idx="43847">
                  <c:v>22861</c:v>
                </c:pt>
                <c:pt idx="43848">
                  <c:v>22861</c:v>
                </c:pt>
                <c:pt idx="43849">
                  <c:v>22861</c:v>
                </c:pt>
                <c:pt idx="43850">
                  <c:v>22861</c:v>
                </c:pt>
                <c:pt idx="43851">
                  <c:v>22860</c:v>
                </c:pt>
                <c:pt idx="43852">
                  <c:v>22860</c:v>
                </c:pt>
                <c:pt idx="43853">
                  <c:v>22860</c:v>
                </c:pt>
                <c:pt idx="43854">
                  <c:v>22860</c:v>
                </c:pt>
                <c:pt idx="43855">
                  <c:v>22859</c:v>
                </c:pt>
                <c:pt idx="43856">
                  <c:v>22859</c:v>
                </c:pt>
                <c:pt idx="43857">
                  <c:v>22859</c:v>
                </c:pt>
                <c:pt idx="43858">
                  <c:v>22858</c:v>
                </c:pt>
                <c:pt idx="43859">
                  <c:v>22858</c:v>
                </c:pt>
                <c:pt idx="43860">
                  <c:v>22858</c:v>
                </c:pt>
                <c:pt idx="43861">
                  <c:v>22856</c:v>
                </c:pt>
                <c:pt idx="43862">
                  <c:v>22856</c:v>
                </c:pt>
                <c:pt idx="43863">
                  <c:v>22855</c:v>
                </c:pt>
                <c:pt idx="43864">
                  <c:v>22853</c:v>
                </c:pt>
                <c:pt idx="43865">
                  <c:v>22853</c:v>
                </c:pt>
                <c:pt idx="43866">
                  <c:v>22852</c:v>
                </c:pt>
                <c:pt idx="43867">
                  <c:v>22852</c:v>
                </c:pt>
                <c:pt idx="43868">
                  <c:v>22852</c:v>
                </c:pt>
                <c:pt idx="43869">
                  <c:v>22851</c:v>
                </c:pt>
                <c:pt idx="43870">
                  <c:v>22851</c:v>
                </c:pt>
                <c:pt idx="43871">
                  <c:v>22851</c:v>
                </c:pt>
                <c:pt idx="43872">
                  <c:v>22851</c:v>
                </c:pt>
                <c:pt idx="43873">
                  <c:v>22851</c:v>
                </c:pt>
                <c:pt idx="43874">
                  <c:v>22851</c:v>
                </c:pt>
                <c:pt idx="43875">
                  <c:v>22851</c:v>
                </c:pt>
                <c:pt idx="43876">
                  <c:v>22850</c:v>
                </c:pt>
                <c:pt idx="43877">
                  <c:v>22850</c:v>
                </c:pt>
                <c:pt idx="43878">
                  <c:v>22850</c:v>
                </c:pt>
                <c:pt idx="43879">
                  <c:v>22849</c:v>
                </c:pt>
                <c:pt idx="43880">
                  <c:v>22849</c:v>
                </c:pt>
                <c:pt idx="43881">
                  <c:v>22849</c:v>
                </c:pt>
                <c:pt idx="43882">
                  <c:v>22848</c:v>
                </c:pt>
                <c:pt idx="43883">
                  <c:v>22847</c:v>
                </c:pt>
                <c:pt idx="43884">
                  <c:v>22845</c:v>
                </c:pt>
                <c:pt idx="43885">
                  <c:v>22845</c:v>
                </c:pt>
                <c:pt idx="43886">
                  <c:v>22845</c:v>
                </c:pt>
                <c:pt idx="43887">
                  <c:v>22845</c:v>
                </c:pt>
                <c:pt idx="43888">
                  <c:v>22845</c:v>
                </c:pt>
                <c:pt idx="43889">
                  <c:v>22845</c:v>
                </c:pt>
                <c:pt idx="43890">
                  <c:v>22844</c:v>
                </c:pt>
                <c:pt idx="43891">
                  <c:v>22842</c:v>
                </c:pt>
                <c:pt idx="43892">
                  <c:v>22842</c:v>
                </c:pt>
                <c:pt idx="43893">
                  <c:v>22842</c:v>
                </c:pt>
                <c:pt idx="43894">
                  <c:v>22841</c:v>
                </c:pt>
                <c:pt idx="43895">
                  <c:v>22841</c:v>
                </c:pt>
                <c:pt idx="43896">
                  <c:v>22841</c:v>
                </c:pt>
                <c:pt idx="43897">
                  <c:v>22840</c:v>
                </c:pt>
                <c:pt idx="43898">
                  <c:v>22840</c:v>
                </c:pt>
                <c:pt idx="43899">
                  <c:v>22840</c:v>
                </c:pt>
                <c:pt idx="43900">
                  <c:v>22840</c:v>
                </c:pt>
                <c:pt idx="43901">
                  <c:v>22839</c:v>
                </c:pt>
                <c:pt idx="43902">
                  <c:v>22839</c:v>
                </c:pt>
                <c:pt idx="43903">
                  <c:v>22839</c:v>
                </c:pt>
                <c:pt idx="43904">
                  <c:v>22837</c:v>
                </c:pt>
                <c:pt idx="43905">
                  <c:v>22837</c:v>
                </c:pt>
                <c:pt idx="43906">
                  <c:v>22836</c:v>
                </c:pt>
                <c:pt idx="43907">
                  <c:v>22836</c:v>
                </c:pt>
                <c:pt idx="43908">
                  <c:v>22836</c:v>
                </c:pt>
                <c:pt idx="43909">
                  <c:v>22836</c:v>
                </c:pt>
                <c:pt idx="43910">
                  <c:v>22836</c:v>
                </c:pt>
                <c:pt idx="43911">
                  <c:v>22836</c:v>
                </c:pt>
                <c:pt idx="43912">
                  <c:v>22835</c:v>
                </c:pt>
                <c:pt idx="43913">
                  <c:v>22835</c:v>
                </c:pt>
                <c:pt idx="43914">
                  <c:v>22835</c:v>
                </c:pt>
                <c:pt idx="43915">
                  <c:v>22835</c:v>
                </c:pt>
                <c:pt idx="43916">
                  <c:v>22834</c:v>
                </c:pt>
                <c:pt idx="43917">
                  <c:v>22834</c:v>
                </c:pt>
                <c:pt idx="43918">
                  <c:v>22834</c:v>
                </c:pt>
                <c:pt idx="43919">
                  <c:v>22834</c:v>
                </c:pt>
                <c:pt idx="43920">
                  <c:v>22834</c:v>
                </c:pt>
                <c:pt idx="43921">
                  <c:v>22834</c:v>
                </c:pt>
                <c:pt idx="43922">
                  <c:v>22833</c:v>
                </c:pt>
                <c:pt idx="43923">
                  <c:v>22833</c:v>
                </c:pt>
                <c:pt idx="43924">
                  <c:v>22833</c:v>
                </c:pt>
                <c:pt idx="43925">
                  <c:v>22832</c:v>
                </c:pt>
                <c:pt idx="43926">
                  <c:v>22832</c:v>
                </c:pt>
                <c:pt idx="43927">
                  <c:v>22831</c:v>
                </c:pt>
                <c:pt idx="43928">
                  <c:v>22831</c:v>
                </c:pt>
                <c:pt idx="43929">
                  <c:v>22831</c:v>
                </c:pt>
                <c:pt idx="43930">
                  <c:v>22830</c:v>
                </c:pt>
                <c:pt idx="43931">
                  <c:v>22829</c:v>
                </c:pt>
                <c:pt idx="43932">
                  <c:v>22829</c:v>
                </c:pt>
                <c:pt idx="43933">
                  <c:v>22829</c:v>
                </c:pt>
                <c:pt idx="43934">
                  <c:v>22828</c:v>
                </c:pt>
                <c:pt idx="43935">
                  <c:v>22828</c:v>
                </c:pt>
                <c:pt idx="43936">
                  <c:v>22827</c:v>
                </c:pt>
                <c:pt idx="43937">
                  <c:v>22827</c:v>
                </c:pt>
                <c:pt idx="43938">
                  <c:v>22827</c:v>
                </c:pt>
                <c:pt idx="43939">
                  <c:v>22827</c:v>
                </c:pt>
                <c:pt idx="43940">
                  <c:v>22826</c:v>
                </c:pt>
                <c:pt idx="43941">
                  <c:v>22826</c:v>
                </c:pt>
                <c:pt idx="43942">
                  <c:v>22826</c:v>
                </c:pt>
                <c:pt idx="43943">
                  <c:v>22826</c:v>
                </c:pt>
                <c:pt idx="43944">
                  <c:v>22825</c:v>
                </c:pt>
                <c:pt idx="43945">
                  <c:v>22824</c:v>
                </c:pt>
                <c:pt idx="43946">
                  <c:v>22824</c:v>
                </c:pt>
                <c:pt idx="43947">
                  <c:v>22823</c:v>
                </c:pt>
                <c:pt idx="43948">
                  <c:v>22822</c:v>
                </c:pt>
                <c:pt idx="43949">
                  <c:v>22822</c:v>
                </c:pt>
                <c:pt idx="43950">
                  <c:v>22822</c:v>
                </c:pt>
                <c:pt idx="43951">
                  <c:v>22822</c:v>
                </c:pt>
                <c:pt idx="43952">
                  <c:v>22822</c:v>
                </c:pt>
                <c:pt idx="43953">
                  <c:v>22821</c:v>
                </c:pt>
                <c:pt idx="43954">
                  <c:v>22821</c:v>
                </c:pt>
                <c:pt idx="43955">
                  <c:v>22820</c:v>
                </c:pt>
                <c:pt idx="43956">
                  <c:v>22820</c:v>
                </c:pt>
                <c:pt idx="43957">
                  <c:v>22820</c:v>
                </c:pt>
                <c:pt idx="43958">
                  <c:v>22819</c:v>
                </c:pt>
                <c:pt idx="43959">
                  <c:v>22818</c:v>
                </c:pt>
                <c:pt idx="43960">
                  <c:v>22818</c:v>
                </c:pt>
                <c:pt idx="43961">
                  <c:v>22818</c:v>
                </c:pt>
                <c:pt idx="43962">
                  <c:v>22818</c:v>
                </c:pt>
                <c:pt idx="43963">
                  <c:v>22817</c:v>
                </c:pt>
                <c:pt idx="43964">
                  <c:v>22817</c:v>
                </c:pt>
                <c:pt idx="43965">
                  <c:v>22817</c:v>
                </c:pt>
                <c:pt idx="43966">
                  <c:v>22815</c:v>
                </c:pt>
                <c:pt idx="43967">
                  <c:v>22815</c:v>
                </c:pt>
                <c:pt idx="43968">
                  <c:v>22814</c:v>
                </c:pt>
                <c:pt idx="43969">
                  <c:v>22814</c:v>
                </c:pt>
                <c:pt idx="43970">
                  <c:v>22814</c:v>
                </c:pt>
                <c:pt idx="43971">
                  <c:v>22812</c:v>
                </c:pt>
                <c:pt idx="43972">
                  <c:v>22812</c:v>
                </c:pt>
                <c:pt idx="43973">
                  <c:v>22810</c:v>
                </c:pt>
                <c:pt idx="43974">
                  <c:v>22809</c:v>
                </c:pt>
                <c:pt idx="43975">
                  <c:v>22809</c:v>
                </c:pt>
                <c:pt idx="43976">
                  <c:v>22809</c:v>
                </c:pt>
                <c:pt idx="43977">
                  <c:v>22809</c:v>
                </c:pt>
                <c:pt idx="43978">
                  <c:v>22809</c:v>
                </c:pt>
                <c:pt idx="43979">
                  <c:v>22807</c:v>
                </c:pt>
                <c:pt idx="43980">
                  <c:v>22807</c:v>
                </c:pt>
                <c:pt idx="43981">
                  <c:v>22807</c:v>
                </c:pt>
                <c:pt idx="43982">
                  <c:v>22806</c:v>
                </c:pt>
                <c:pt idx="43983">
                  <c:v>22806</c:v>
                </c:pt>
                <c:pt idx="43984">
                  <c:v>22804</c:v>
                </c:pt>
                <c:pt idx="43985">
                  <c:v>22804</c:v>
                </c:pt>
                <c:pt idx="43986">
                  <c:v>22803</c:v>
                </c:pt>
                <c:pt idx="43987">
                  <c:v>22802</c:v>
                </c:pt>
                <c:pt idx="43988">
                  <c:v>22802</c:v>
                </c:pt>
                <c:pt idx="43989">
                  <c:v>22802</c:v>
                </c:pt>
                <c:pt idx="43990">
                  <c:v>22801</c:v>
                </c:pt>
                <c:pt idx="43991">
                  <c:v>22800</c:v>
                </c:pt>
                <c:pt idx="43992">
                  <c:v>22800</c:v>
                </c:pt>
                <c:pt idx="43993">
                  <c:v>22799</c:v>
                </c:pt>
                <c:pt idx="43994">
                  <c:v>22799</c:v>
                </c:pt>
                <c:pt idx="43995">
                  <c:v>22799</c:v>
                </c:pt>
                <c:pt idx="43996">
                  <c:v>22796</c:v>
                </c:pt>
                <c:pt idx="43997">
                  <c:v>22796</c:v>
                </c:pt>
                <c:pt idx="43998">
                  <c:v>22795</c:v>
                </c:pt>
                <c:pt idx="43999">
                  <c:v>22795</c:v>
                </c:pt>
                <c:pt idx="44000">
                  <c:v>22795</c:v>
                </c:pt>
                <c:pt idx="44001">
                  <c:v>22795</c:v>
                </c:pt>
                <c:pt idx="44002">
                  <c:v>22794</c:v>
                </c:pt>
                <c:pt idx="44003">
                  <c:v>22794</c:v>
                </c:pt>
                <c:pt idx="44004">
                  <c:v>22794</c:v>
                </c:pt>
                <c:pt idx="44005">
                  <c:v>22793</c:v>
                </c:pt>
                <c:pt idx="44006">
                  <c:v>22793</c:v>
                </c:pt>
                <c:pt idx="44007">
                  <c:v>22792</c:v>
                </c:pt>
                <c:pt idx="44008">
                  <c:v>22792</c:v>
                </c:pt>
                <c:pt idx="44009">
                  <c:v>22792</c:v>
                </c:pt>
                <c:pt idx="44010">
                  <c:v>22792</c:v>
                </c:pt>
                <c:pt idx="44011">
                  <c:v>22791</c:v>
                </c:pt>
                <c:pt idx="44012">
                  <c:v>22790</c:v>
                </c:pt>
                <c:pt idx="44013">
                  <c:v>22790</c:v>
                </c:pt>
                <c:pt idx="44014">
                  <c:v>22790</c:v>
                </c:pt>
                <c:pt idx="44015">
                  <c:v>22790</c:v>
                </c:pt>
                <c:pt idx="44016">
                  <c:v>22789</c:v>
                </c:pt>
                <c:pt idx="44017">
                  <c:v>22789</c:v>
                </c:pt>
                <c:pt idx="44018">
                  <c:v>22788</c:v>
                </c:pt>
                <c:pt idx="44019">
                  <c:v>22787</c:v>
                </c:pt>
                <c:pt idx="44020">
                  <c:v>22787</c:v>
                </c:pt>
                <c:pt idx="44021">
                  <c:v>22787</c:v>
                </c:pt>
                <c:pt idx="44022">
                  <c:v>22786</c:v>
                </c:pt>
                <c:pt idx="44023">
                  <c:v>22786</c:v>
                </c:pt>
                <c:pt idx="44024">
                  <c:v>22786</c:v>
                </c:pt>
                <c:pt idx="44025">
                  <c:v>22785</c:v>
                </c:pt>
                <c:pt idx="44026">
                  <c:v>22785</c:v>
                </c:pt>
                <c:pt idx="44027">
                  <c:v>22784</c:v>
                </c:pt>
                <c:pt idx="44028">
                  <c:v>22784</c:v>
                </c:pt>
                <c:pt idx="44029">
                  <c:v>22784</c:v>
                </c:pt>
                <c:pt idx="44030">
                  <c:v>22784</c:v>
                </c:pt>
                <c:pt idx="44031">
                  <c:v>22784</c:v>
                </c:pt>
                <c:pt idx="44032">
                  <c:v>22783</c:v>
                </c:pt>
                <c:pt idx="44033">
                  <c:v>22783</c:v>
                </c:pt>
                <c:pt idx="44034">
                  <c:v>22783</c:v>
                </c:pt>
                <c:pt idx="44035">
                  <c:v>22783</c:v>
                </c:pt>
                <c:pt idx="44036">
                  <c:v>22782</c:v>
                </c:pt>
                <c:pt idx="44037">
                  <c:v>22782</c:v>
                </c:pt>
                <c:pt idx="44038">
                  <c:v>22782</c:v>
                </c:pt>
                <c:pt idx="44039">
                  <c:v>22781</c:v>
                </c:pt>
                <c:pt idx="44040">
                  <c:v>22781</c:v>
                </c:pt>
                <c:pt idx="44041">
                  <c:v>22781</c:v>
                </c:pt>
                <c:pt idx="44042">
                  <c:v>22781</c:v>
                </c:pt>
                <c:pt idx="44043">
                  <c:v>22780</c:v>
                </c:pt>
                <c:pt idx="44044">
                  <c:v>22780</c:v>
                </c:pt>
                <c:pt idx="44045">
                  <c:v>22780</c:v>
                </c:pt>
                <c:pt idx="44046">
                  <c:v>22780</c:v>
                </c:pt>
                <c:pt idx="44047">
                  <c:v>22779</c:v>
                </c:pt>
                <c:pt idx="44048">
                  <c:v>22779</c:v>
                </c:pt>
                <c:pt idx="44049">
                  <c:v>22779</c:v>
                </c:pt>
                <c:pt idx="44050">
                  <c:v>22778</c:v>
                </c:pt>
                <c:pt idx="44051">
                  <c:v>22778</c:v>
                </c:pt>
                <c:pt idx="44052">
                  <c:v>22777</c:v>
                </c:pt>
                <c:pt idx="44053">
                  <c:v>22777</c:v>
                </c:pt>
                <c:pt idx="44054">
                  <c:v>22777</c:v>
                </c:pt>
                <c:pt idx="44055">
                  <c:v>22777</c:v>
                </c:pt>
                <c:pt idx="44056">
                  <c:v>22776</c:v>
                </c:pt>
                <c:pt idx="44057">
                  <c:v>22776</c:v>
                </c:pt>
                <c:pt idx="44058">
                  <c:v>22776</c:v>
                </c:pt>
                <c:pt idx="44059">
                  <c:v>22776</c:v>
                </c:pt>
                <c:pt idx="44060">
                  <c:v>22775</c:v>
                </c:pt>
                <c:pt idx="44061">
                  <c:v>22775</c:v>
                </c:pt>
                <c:pt idx="44062">
                  <c:v>22774</c:v>
                </c:pt>
                <c:pt idx="44063">
                  <c:v>22774</c:v>
                </c:pt>
                <c:pt idx="44064">
                  <c:v>22774</c:v>
                </c:pt>
                <c:pt idx="44065">
                  <c:v>22774</c:v>
                </c:pt>
                <c:pt idx="44066">
                  <c:v>22773</c:v>
                </c:pt>
                <c:pt idx="44067">
                  <c:v>22773</c:v>
                </c:pt>
                <c:pt idx="44068">
                  <c:v>22773</c:v>
                </c:pt>
                <c:pt idx="44069">
                  <c:v>22773</c:v>
                </c:pt>
                <c:pt idx="44070">
                  <c:v>22772</c:v>
                </c:pt>
                <c:pt idx="44071">
                  <c:v>22772</c:v>
                </c:pt>
                <c:pt idx="44072">
                  <c:v>22771</c:v>
                </c:pt>
                <c:pt idx="44073">
                  <c:v>22771</c:v>
                </c:pt>
                <c:pt idx="44074">
                  <c:v>22771</c:v>
                </c:pt>
                <c:pt idx="44075">
                  <c:v>22770</c:v>
                </c:pt>
                <c:pt idx="44076">
                  <c:v>22769</c:v>
                </c:pt>
                <c:pt idx="44077">
                  <c:v>22769</c:v>
                </c:pt>
                <c:pt idx="44078">
                  <c:v>22768</c:v>
                </c:pt>
                <c:pt idx="44079">
                  <c:v>22768</c:v>
                </c:pt>
                <c:pt idx="44080">
                  <c:v>22768</c:v>
                </c:pt>
                <c:pt idx="44081">
                  <c:v>22768</c:v>
                </c:pt>
                <c:pt idx="44082">
                  <c:v>22767</c:v>
                </c:pt>
                <c:pt idx="44083">
                  <c:v>22767</c:v>
                </c:pt>
                <c:pt idx="44084">
                  <c:v>22766</c:v>
                </c:pt>
                <c:pt idx="44085">
                  <c:v>22766</c:v>
                </c:pt>
                <c:pt idx="44086">
                  <c:v>22765</c:v>
                </c:pt>
                <c:pt idx="44087">
                  <c:v>22764</c:v>
                </c:pt>
                <c:pt idx="44088">
                  <c:v>22764</c:v>
                </c:pt>
                <c:pt idx="44089">
                  <c:v>22764</c:v>
                </c:pt>
                <c:pt idx="44090">
                  <c:v>22764</c:v>
                </c:pt>
                <c:pt idx="44091">
                  <c:v>22764</c:v>
                </c:pt>
                <c:pt idx="44092">
                  <c:v>22764</c:v>
                </c:pt>
                <c:pt idx="44093">
                  <c:v>22763</c:v>
                </c:pt>
                <c:pt idx="44094">
                  <c:v>22763</c:v>
                </c:pt>
                <c:pt idx="44095">
                  <c:v>22763</c:v>
                </c:pt>
                <c:pt idx="44096">
                  <c:v>22762</c:v>
                </c:pt>
                <c:pt idx="44097">
                  <c:v>22761</c:v>
                </c:pt>
                <c:pt idx="44098">
                  <c:v>22760</c:v>
                </c:pt>
                <c:pt idx="44099">
                  <c:v>22760</c:v>
                </c:pt>
                <c:pt idx="44100">
                  <c:v>22759</c:v>
                </c:pt>
                <c:pt idx="44101">
                  <c:v>22759</c:v>
                </c:pt>
                <c:pt idx="44102">
                  <c:v>22759</c:v>
                </c:pt>
                <c:pt idx="44103">
                  <c:v>22759</c:v>
                </c:pt>
                <c:pt idx="44104">
                  <c:v>22759</c:v>
                </c:pt>
                <c:pt idx="44105">
                  <c:v>22758</c:v>
                </c:pt>
                <c:pt idx="44106">
                  <c:v>22758</c:v>
                </c:pt>
                <c:pt idx="44107">
                  <c:v>22758</c:v>
                </c:pt>
                <c:pt idx="44108">
                  <c:v>22757</c:v>
                </c:pt>
                <c:pt idx="44109">
                  <c:v>22757</c:v>
                </c:pt>
                <c:pt idx="44110">
                  <c:v>22757</c:v>
                </c:pt>
                <c:pt idx="44111">
                  <c:v>22757</c:v>
                </c:pt>
                <c:pt idx="44112">
                  <c:v>22757</c:v>
                </c:pt>
                <c:pt idx="44113">
                  <c:v>22756</c:v>
                </c:pt>
                <c:pt idx="44114">
                  <c:v>22756</c:v>
                </c:pt>
                <c:pt idx="44115">
                  <c:v>22756</c:v>
                </c:pt>
                <c:pt idx="44116">
                  <c:v>22755</c:v>
                </c:pt>
                <c:pt idx="44117">
                  <c:v>22755</c:v>
                </c:pt>
                <c:pt idx="44118">
                  <c:v>22755</c:v>
                </c:pt>
                <c:pt idx="44119">
                  <c:v>22755</c:v>
                </c:pt>
                <c:pt idx="44120">
                  <c:v>22755</c:v>
                </c:pt>
                <c:pt idx="44121">
                  <c:v>22755</c:v>
                </c:pt>
                <c:pt idx="44122">
                  <c:v>22755</c:v>
                </c:pt>
                <c:pt idx="44123">
                  <c:v>22755</c:v>
                </c:pt>
                <c:pt idx="44124">
                  <c:v>22754</c:v>
                </c:pt>
                <c:pt idx="44125">
                  <c:v>22754</c:v>
                </c:pt>
                <c:pt idx="44126">
                  <c:v>22754</c:v>
                </c:pt>
                <c:pt idx="44127">
                  <c:v>22754</c:v>
                </c:pt>
                <c:pt idx="44128">
                  <c:v>22753</c:v>
                </c:pt>
                <c:pt idx="44129">
                  <c:v>22753</c:v>
                </c:pt>
                <c:pt idx="44130">
                  <c:v>22751</c:v>
                </c:pt>
                <c:pt idx="44131">
                  <c:v>22751</c:v>
                </c:pt>
                <c:pt idx="44132">
                  <c:v>22751</c:v>
                </c:pt>
                <c:pt idx="44133">
                  <c:v>22750</c:v>
                </c:pt>
                <c:pt idx="44134">
                  <c:v>22750</c:v>
                </c:pt>
                <c:pt idx="44135">
                  <c:v>22750</c:v>
                </c:pt>
                <c:pt idx="44136">
                  <c:v>22750</c:v>
                </c:pt>
                <c:pt idx="44137">
                  <c:v>22749</c:v>
                </c:pt>
                <c:pt idx="44138">
                  <c:v>22748</c:v>
                </c:pt>
                <c:pt idx="44139">
                  <c:v>22748</c:v>
                </c:pt>
                <c:pt idx="44140">
                  <c:v>22748</c:v>
                </c:pt>
                <c:pt idx="44141">
                  <c:v>22748</c:v>
                </c:pt>
                <c:pt idx="44142">
                  <c:v>22748</c:v>
                </c:pt>
                <c:pt idx="44143">
                  <c:v>22747</c:v>
                </c:pt>
                <c:pt idx="44144">
                  <c:v>22746</c:v>
                </c:pt>
                <c:pt idx="44145">
                  <c:v>22746</c:v>
                </c:pt>
                <c:pt idx="44146">
                  <c:v>22745</c:v>
                </c:pt>
                <c:pt idx="44147">
                  <c:v>22745</c:v>
                </c:pt>
                <c:pt idx="44148">
                  <c:v>22744</c:v>
                </c:pt>
                <c:pt idx="44149">
                  <c:v>22744</c:v>
                </c:pt>
                <c:pt idx="44150">
                  <c:v>22744</c:v>
                </c:pt>
                <c:pt idx="44151">
                  <c:v>22744</c:v>
                </c:pt>
                <c:pt idx="44152">
                  <c:v>22744</c:v>
                </c:pt>
                <c:pt idx="44153">
                  <c:v>22743</c:v>
                </c:pt>
                <c:pt idx="44154">
                  <c:v>22743</c:v>
                </c:pt>
                <c:pt idx="44155">
                  <c:v>22743</c:v>
                </c:pt>
                <c:pt idx="44156">
                  <c:v>22742</c:v>
                </c:pt>
                <c:pt idx="44157">
                  <c:v>22742</c:v>
                </c:pt>
                <c:pt idx="44158">
                  <c:v>22741</c:v>
                </c:pt>
                <c:pt idx="44159">
                  <c:v>22741</c:v>
                </c:pt>
                <c:pt idx="44160">
                  <c:v>22741</c:v>
                </c:pt>
                <c:pt idx="44161">
                  <c:v>22741</c:v>
                </c:pt>
                <c:pt idx="44162">
                  <c:v>22740</c:v>
                </c:pt>
                <c:pt idx="44163">
                  <c:v>22739</c:v>
                </c:pt>
                <c:pt idx="44164">
                  <c:v>22739</c:v>
                </c:pt>
                <c:pt idx="44165">
                  <c:v>22738</c:v>
                </c:pt>
                <c:pt idx="44166">
                  <c:v>22738</c:v>
                </c:pt>
                <c:pt idx="44167">
                  <c:v>22738</c:v>
                </c:pt>
                <c:pt idx="44168">
                  <c:v>22737</c:v>
                </c:pt>
                <c:pt idx="44169">
                  <c:v>22737</c:v>
                </c:pt>
                <c:pt idx="44170">
                  <c:v>22737</c:v>
                </c:pt>
                <c:pt idx="44171">
                  <c:v>22737</c:v>
                </c:pt>
                <c:pt idx="44172">
                  <c:v>22737</c:v>
                </c:pt>
                <c:pt idx="44173">
                  <c:v>22736</c:v>
                </c:pt>
                <c:pt idx="44174">
                  <c:v>22736</c:v>
                </c:pt>
                <c:pt idx="44175">
                  <c:v>22736</c:v>
                </c:pt>
                <c:pt idx="44176">
                  <c:v>22736</c:v>
                </c:pt>
                <c:pt idx="44177">
                  <c:v>22735</c:v>
                </c:pt>
                <c:pt idx="44178">
                  <c:v>22735</c:v>
                </c:pt>
                <c:pt idx="44179">
                  <c:v>22735</c:v>
                </c:pt>
                <c:pt idx="44180">
                  <c:v>22735</c:v>
                </c:pt>
                <c:pt idx="44181">
                  <c:v>22734</c:v>
                </c:pt>
                <c:pt idx="44182">
                  <c:v>22734</c:v>
                </c:pt>
                <c:pt idx="44183">
                  <c:v>22734</c:v>
                </c:pt>
                <c:pt idx="44184">
                  <c:v>22734</c:v>
                </c:pt>
                <c:pt idx="44185">
                  <c:v>22734</c:v>
                </c:pt>
                <c:pt idx="44186">
                  <c:v>22733</c:v>
                </c:pt>
                <c:pt idx="44187">
                  <c:v>22733</c:v>
                </c:pt>
                <c:pt idx="44188">
                  <c:v>22733</c:v>
                </c:pt>
                <c:pt idx="44189">
                  <c:v>22732</c:v>
                </c:pt>
                <c:pt idx="44190">
                  <c:v>22732</c:v>
                </c:pt>
                <c:pt idx="44191">
                  <c:v>22732</c:v>
                </c:pt>
                <c:pt idx="44192">
                  <c:v>22732</c:v>
                </c:pt>
                <c:pt idx="44193">
                  <c:v>22731</c:v>
                </c:pt>
                <c:pt idx="44194">
                  <c:v>22731</c:v>
                </c:pt>
                <c:pt idx="44195">
                  <c:v>22730</c:v>
                </c:pt>
                <c:pt idx="44196">
                  <c:v>22730</c:v>
                </c:pt>
                <c:pt idx="44197">
                  <c:v>22730</c:v>
                </c:pt>
                <c:pt idx="44198">
                  <c:v>22730</c:v>
                </c:pt>
                <c:pt idx="44199">
                  <c:v>22729</c:v>
                </c:pt>
                <c:pt idx="44200">
                  <c:v>22729</c:v>
                </c:pt>
                <c:pt idx="44201">
                  <c:v>22729</c:v>
                </c:pt>
                <c:pt idx="44202">
                  <c:v>22729</c:v>
                </c:pt>
                <c:pt idx="44203">
                  <c:v>22728</c:v>
                </c:pt>
                <c:pt idx="44204">
                  <c:v>22728</c:v>
                </c:pt>
                <c:pt idx="44205">
                  <c:v>22728</c:v>
                </c:pt>
                <c:pt idx="44206">
                  <c:v>22728</c:v>
                </c:pt>
                <c:pt idx="44207">
                  <c:v>22727</c:v>
                </c:pt>
                <c:pt idx="44208">
                  <c:v>22727</c:v>
                </c:pt>
                <c:pt idx="44209">
                  <c:v>22727</c:v>
                </c:pt>
                <c:pt idx="44210">
                  <c:v>22726</c:v>
                </c:pt>
                <c:pt idx="44211">
                  <c:v>22725</c:v>
                </c:pt>
                <c:pt idx="44212">
                  <c:v>22725</c:v>
                </c:pt>
                <c:pt idx="44213">
                  <c:v>22725</c:v>
                </c:pt>
                <c:pt idx="44214">
                  <c:v>22724</c:v>
                </c:pt>
                <c:pt idx="44215">
                  <c:v>22723</c:v>
                </c:pt>
                <c:pt idx="44216">
                  <c:v>22723</c:v>
                </c:pt>
                <c:pt idx="44217">
                  <c:v>22723</c:v>
                </c:pt>
                <c:pt idx="44218">
                  <c:v>22723</c:v>
                </c:pt>
                <c:pt idx="44219">
                  <c:v>22723</c:v>
                </c:pt>
                <c:pt idx="44220">
                  <c:v>22722</c:v>
                </c:pt>
                <c:pt idx="44221">
                  <c:v>22722</c:v>
                </c:pt>
                <c:pt idx="44222">
                  <c:v>22721</c:v>
                </c:pt>
                <c:pt idx="44223">
                  <c:v>22721</c:v>
                </c:pt>
                <c:pt idx="44224">
                  <c:v>22721</c:v>
                </c:pt>
                <c:pt idx="44225">
                  <c:v>22721</c:v>
                </c:pt>
                <c:pt idx="44226">
                  <c:v>22721</c:v>
                </c:pt>
                <c:pt idx="44227">
                  <c:v>22720</c:v>
                </c:pt>
                <c:pt idx="44228">
                  <c:v>22720</c:v>
                </c:pt>
                <c:pt idx="44229">
                  <c:v>22720</c:v>
                </c:pt>
                <c:pt idx="44230">
                  <c:v>22720</c:v>
                </c:pt>
                <c:pt idx="44231">
                  <c:v>22720</c:v>
                </c:pt>
                <c:pt idx="44232">
                  <c:v>22719</c:v>
                </c:pt>
                <c:pt idx="44233">
                  <c:v>22719</c:v>
                </c:pt>
                <c:pt idx="44234">
                  <c:v>22718</c:v>
                </c:pt>
                <c:pt idx="44235">
                  <c:v>22718</c:v>
                </c:pt>
                <c:pt idx="44236">
                  <c:v>22717</c:v>
                </c:pt>
                <c:pt idx="44237">
                  <c:v>22717</c:v>
                </c:pt>
                <c:pt idx="44238">
                  <c:v>22717</c:v>
                </c:pt>
                <c:pt idx="44239">
                  <c:v>22716</c:v>
                </c:pt>
                <c:pt idx="44240">
                  <c:v>22716</c:v>
                </c:pt>
                <c:pt idx="44241">
                  <c:v>22716</c:v>
                </c:pt>
                <c:pt idx="44242">
                  <c:v>22716</c:v>
                </c:pt>
                <c:pt idx="44243">
                  <c:v>22716</c:v>
                </c:pt>
                <c:pt idx="44244">
                  <c:v>22715</c:v>
                </c:pt>
                <c:pt idx="44245">
                  <c:v>22715</c:v>
                </c:pt>
                <c:pt idx="44246">
                  <c:v>22715</c:v>
                </c:pt>
                <c:pt idx="44247">
                  <c:v>22714</c:v>
                </c:pt>
                <c:pt idx="44248">
                  <c:v>22714</c:v>
                </c:pt>
                <c:pt idx="44249">
                  <c:v>22713</c:v>
                </c:pt>
                <c:pt idx="44250">
                  <c:v>22712</c:v>
                </c:pt>
                <c:pt idx="44251">
                  <c:v>22712</c:v>
                </c:pt>
                <c:pt idx="44252">
                  <c:v>22712</c:v>
                </c:pt>
                <c:pt idx="44253">
                  <c:v>22712</c:v>
                </c:pt>
                <c:pt idx="44254">
                  <c:v>22711</c:v>
                </c:pt>
                <c:pt idx="44255">
                  <c:v>22711</c:v>
                </c:pt>
                <c:pt idx="44256">
                  <c:v>22711</c:v>
                </c:pt>
                <c:pt idx="44257">
                  <c:v>22711</c:v>
                </c:pt>
                <c:pt idx="44258">
                  <c:v>22710</c:v>
                </c:pt>
                <c:pt idx="44259">
                  <c:v>22710</c:v>
                </c:pt>
                <c:pt idx="44260">
                  <c:v>22709</c:v>
                </c:pt>
                <c:pt idx="44261">
                  <c:v>22709</c:v>
                </c:pt>
                <c:pt idx="44262">
                  <c:v>22709</c:v>
                </c:pt>
                <c:pt idx="44263">
                  <c:v>22709</c:v>
                </c:pt>
                <c:pt idx="44264">
                  <c:v>22709</c:v>
                </c:pt>
                <c:pt idx="44265">
                  <c:v>22708</c:v>
                </c:pt>
                <c:pt idx="44266">
                  <c:v>22708</c:v>
                </c:pt>
                <c:pt idx="44267">
                  <c:v>22708</c:v>
                </c:pt>
                <c:pt idx="44268">
                  <c:v>22707</c:v>
                </c:pt>
                <c:pt idx="44269">
                  <c:v>22707</c:v>
                </c:pt>
                <c:pt idx="44270">
                  <c:v>22707</c:v>
                </c:pt>
                <c:pt idx="44271">
                  <c:v>22707</c:v>
                </c:pt>
                <c:pt idx="44272">
                  <c:v>22706</c:v>
                </c:pt>
                <c:pt idx="44273">
                  <c:v>22706</c:v>
                </c:pt>
                <c:pt idx="44274">
                  <c:v>22706</c:v>
                </c:pt>
                <c:pt idx="44275">
                  <c:v>22706</c:v>
                </c:pt>
                <c:pt idx="44276">
                  <c:v>22706</c:v>
                </c:pt>
                <c:pt idx="44277">
                  <c:v>22705</c:v>
                </c:pt>
                <c:pt idx="44278">
                  <c:v>22705</c:v>
                </c:pt>
                <c:pt idx="44279">
                  <c:v>22704</c:v>
                </c:pt>
                <c:pt idx="44280">
                  <c:v>22704</c:v>
                </c:pt>
                <c:pt idx="44281">
                  <c:v>22704</c:v>
                </c:pt>
                <c:pt idx="44282">
                  <c:v>22703</c:v>
                </c:pt>
                <c:pt idx="44283">
                  <c:v>22703</c:v>
                </c:pt>
                <c:pt idx="44284">
                  <c:v>22702</c:v>
                </c:pt>
                <c:pt idx="44285">
                  <c:v>22702</c:v>
                </c:pt>
                <c:pt idx="44286">
                  <c:v>22702</c:v>
                </c:pt>
                <c:pt idx="44287">
                  <c:v>22702</c:v>
                </c:pt>
                <c:pt idx="44288">
                  <c:v>22701</c:v>
                </c:pt>
                <c:pt idx="44289">
                  <c:v>22701</c:v>
                </c:pt>
                <c:pt idx="44290">
                  <c:v>22701</c:v>
                </c:pt>
                <c:pt idx="44291">
                  <c:v>22701</c:v>
                </c:pt>
                <c:pt idx="44292">
                  <c:v>22700</c:v>
                </c:pt>
                <c:pt idx="44293">
                  <c:v>22700</c:v>
                </c:pt>
                <c:pt idx="44294">
                  <c:v>22700</c:v>
                </c:pt>
                <c:pt idx="44295">
                  <c:v>22700</c:v>
                </c:pt>
                <c:pt idx="44296">
                  <c:v>22700</c:v>
                </c:pt>
                <c:pt idx="44297">
                  <c:v>22699</c:v>
                </c:pt>
                <c:pt idx="44298">
                  <c:v>22699</c:v>
                </c:pt>
                <c:pt idx="44299">
                  <c:v>22699</c:v>
                </c:pt>
                <c:pt idx="44300">
                  <c:v>22698</c:v>
                </c:pt>
                <c:pt idx="44301">
                  <c:v>22697</c:v>
                </c:pt>
                <c:pt idx="44302">
                  <c:v>22697</c:v>
                </c:pt>
                <c:pt idx="44303">
                  <c:v>22697</c:v>
                </c:pt>
                <c:pt idx="44304">
                  <c:v>22697</c:v>
                </c:pt>
                <c:pt idx="44305">
                  <c:v>22697</c:v>
                </c:pt>
                <c:pt idx="44306">
                  <c:v>22696</c:v>
                </c:pt>
                <c:pt idx="44307">
                  <c:v>22696</c:v>
                </c:pt>
                <c:pt idx="44308">
                  <c:v>22696</c:v>
                </c:pt>
                <c:pt idx="44309">
                  <c:v>22696</c:v>
                </c:pt>
                <c:pt idx="44310">
                  <c:v>22696</c:v>
                </c:pt>
                <c:pt idx="44311">
                  <c:v>22696</c:v>
                </c:pt>
                <c:pt idx="44312">
                  <c:v>22695</c:v>
                </c:pt>
                <c:pt idx="44313">
                  <c:v>22694</c:v>
                </c:pt>
                <c:pt idx="44314">
                  <c:v>22694</c:v>
                </c:pt>
                <c:pt idx="44315">
                  <c:v>22694</c:v>
                </c:pt>
                <c:pt idx="44316">
                  <c:v>22692</c:v>
                </c:pt>
                <c:pt idx="44317">
                  <c:v>22691</c:v>
                </c:pt>
                <c:pt idx="44318">
                  <c:v>22691</c:v>
                </c:pt>
                <c:pt idx="44319">
                  <c:v>22690</c:v>
                </c:pt>
                <c:pt idx="44320">
                  <c:v>22690</c:v>
                </c:pt>
                <c:pt idx="44321">
                  <c:v>22689</c:v>
                </c:pt>
                <c:pt idx="44322">
                  <c:v>22689</c:v>
                </c:pt>
                <c:pt idx="44323">
                  <c:v>22689</c:v>
                </c:pt>
                <c:pt idx="44324">
                  <c:v>22689</c:v>
                </c:pt>
                <c:pt idx="44325">
                  <c:v>22688</c:v>
                </c:pt>
                <c:pt idx="44326">
                  <c:v>22688</c:v>
                </c:pt>
                <c:pt idx="44327">
                  <c:v>22687</c:v>
                </c:pt>
                <c:pt idx="44328">
                  <c:v>22687</c:v>
                </c:pt>
                <c:pt idx="44329">
                  <c:v>22687</c:v>
                </c:pt>
                <c:pt idx="44330">
                  <c:v>22687</c:v>
                </c:pt>
                <c:pt idx="44331">
                  <c:v>22687</c:v>
                </c:pt>
                <c:pt idx="44332">
                  <c:v>22685</c:v>
                </c:pt>
                <c:pt idx="44333">
                  <c:v>22685</c:v>
                </c:pt>
                <c:pt idx="44334">
                  <c:v>22685</c:v>
                </c:pt>
                <c:pt idx="44335">
                  <c:v>22685</c:v>
                </c:pt>
                <c:pt idx="44336">
                  <c:v>22684</c:v>
                </c:pt>
                <c:pt idx="44337">
                  <c:v>22684</c:v>
                </c:pt>
                <c:pt idx="44338">
                  <c:v>22684</c:v>
                </c:pt>
                <c:pt idx="44339">
                  <c:v>22683</c:v>
                </c:pt>
                <c:pt idx="44340">
                  <c:v>22683</c:v>
                </c:pt>
                <c:pt idx="44341">
                  <c:v>22683</c:v>
                </c:pt>
                <c:pt idx="44342">
                  <c:v>22682</c:v>
                </c:pt>
                <c:pt idx="44343">
                  <c:v>22682</c:v>
                </c:pt>
                <c:pt idx="44344">
                  <c:v>22682</c:v>
                </c:pt>
                <c:pt idx="44345">
                  <c:v>22682</c:v>
                </c:pt>
                <c:pt idx="44346">
                  <c:v>22681</c:v>
                </c:pt>
                <c:pt idx="44347">
                  <c:v>22681</c:v>
                </c:pt>
                <c:pt idx="44348">
                  <c:v>22681</c:v>
                </c:pt>
                <c:pt idx="44349">
                  <c:v>22681</c:v>
                </c:pt>
                <c:pt idx="44350">
                  <c:v>22681</c:v>
                </c:pt>
                <c:pt idx="44351">
                  <c:v>22680</c:v>
                </c:pt>
                <c:pt idx="44352">
                  <c:v>22680</c:v>
                </c:pt>
                <c:pt idx="44353">
                  <c:v>22679</c:v>
                </c:pt>
                <c:pt idx="44354">
                  <c:v>22678</c:v>
                </c:pt>
                <c:pt idx="44355">
                  <c:v>22677</c:v>
                </c:pt>
                <c:pt idx="44356">
                  <c:v>22677</c:v>
                </c:pt>
                <c:pt idx="44357">
                  <c:v>22677</c:v>
                </c:pt>
                <c:pt idx="44358">
                  <c:v>22676</c:v>
                </c:pt>
                <c:pt idx="44359">
                  <c:v>22676</c:v>
                </c:pt>
                <c:pt idx="44360">
                  <c:v>22676</c:v>
                </c:pt>
                <c:pt idx="44361">
                  <c:v>22676</c:v>
                </c:pt>
                <c:pt idx="44362">
                  <c:v>22675</c:v>
                </c:pt>
                <c:pt idx="44363">
                  <c:v>22675</c:v>
                </c:pt>
                <c:pt idx="44364">
                  <c:v>22675</c:v>
                </c:pt>
                <c:pt idx="44365">
                  <c:v>22674</c:v>
                </c:pt>
                <c:pt idx="44366">
                  <c:v>22674</c:v>
                </c:pt>
                <c:pt idx="44367">
                  <c:v>22673</c:v>
                </c:pt>
                <c:pt idx="44368">
                  <c:v>22673</c:v>
                </c:pt>
                <c:pt idx="44369">
                  <c:v>22672</c:v>
                </c:pt>
                <c:pt idx="44370">
                  <c:v>22672</c:v>
                </c:pt>
                <c:pt idx="44371">
                  <c:v>22671</c:v>
                </c:pt>
                <c:pt idx="44372">
                  <c:v>22671</c:v>
                </c:pt>
                <c:pt idx="44373">
                  <c:v>22671</c:v>
                </c:pt>
                <c:pt idx="44374">
                  <c:v>22670</c:v>
                </c:pt>
                <c:pt idx="44375">
                  <c:v>22670</c:v>
                </c:pt>
                <c:pt idx="44376">
                  <c:v>22670</c:v>
                </c:pt>
                <c:pt idx="44377">
                  <c:v>22669</c:v>
                </c:pt>
                <c:pt idx="44378">
                  <c:v>22669</c:v>
                </c:pt>
                <c:pt idx="44379">
                  <c:v>22669</c:v>
                </c:pt>
                <c:pt idx="44380">
                  <c:v>22669</c:v>
                </c:pt>
                <c:pt idx="44381">
                  <c:v>22669</c:v>
                </c:pt>
                <c:pt idx="44382">
                  <c:v>22668</c:v>
                </c:pt>
                <c:pt idx="44383">
                  <c:v>22668</c:v>
                </c:pt>
                <c:pt idx="44384">
                  <c:v>22668</c:v>
                </c:pt>
                <c:pt idx="44385">
                  <c:v>22668</c:v>
                </c:pt>
                <c:pt idx="44386">
                  <c:v>22668</c:v>
                </c:pt>
                <c:pt idx="44387">
                  <c:v>22667</c:v>
                </c:pt>
                <c:pt idx="44388">
                  <c:v>22667</c:v>
                </c:pt>
                <c:pt idx="44389">
                  <c:v>22667</c:v>
                </c:pt>
                <c:pt idx="44390">
                  <c:v>22667</c:v>
                </c:pt>
                <c:pt idx="44391">
                  <c:v>22666</c:v>
                </c:pt>
                <c:pt idx="44392">
                  <c:v>22666</c:v>
                </c:pt>
                <c:pt idx="44393">
                  <c:v>22666</c:v>
                </c:pt>
                <c:pt idx="44394">
                  <c:v>22665</c:v>
                </c:pt>
                <c:pt idx="44395">
                  <c:v>22665</c:v>
                </c:pt>
                <c:pt idx="44396">
                  <c:v>22664</c:v>
                </c:pt>
                <c:pt idx="44397">
                  <c:v>22664</c:v>
                </c:pt>
                <c:pt idx="44398">
                  <c:v>22664</c:v>
                </c:pt>
                <c:pt idx="44399">
                  <c:v>22664</c:v>
                </c:pt>
                <c:pt idx="44400">
                  <c:v>22664</c:v>
                </c:pt>
                <c:pt idx="44401">
                  <c:v>22663</c:v>
                </c:pt>
                <c:pt idx="44402">
                  <c:v>22663</c:v>
                </c:pt>
                <c:pt idx="44403">
                  <c:v>22663</c:v>
                </c:pt>
                <c:pt idx="44404">
                  <c:v>22663</c:v>
                </c:pt>
                <c:pt idx="44405">
                  <c:v>22663</c:v>
                </c:pt>
                <c:pt idx="44406">
                  <c:v>22662</c:v>
                </c:pt>
                <c:pt idx="44407">
                  <c:v>22662</c:v>
                </c:pt>
                <c:pt idx="44408">
                  <c:v>22662</c:v>
                </c:pt>
                <c:pt idx="44409">
                  <c:v>22662</c:v>
                </c:pt>
                <c:pt idx="44410">
                  <c:v>22662</c:v>
                </c:pt>
                <c:pt idx="44411">
                  <c:v>22661</c:v>
                </c:pt>
                <c:pt idx="44412">
                  <c:v>22661</c:v>
                </c:pt>
                <c:pt idx="44413">
                  <c:v>22660</c:v>
                </c:pt>
                <c:pt idx="44414">
                  <c:v>22660</c:v>
                </c:pt>
                <c:pt idx="44415">
                  <c:v>22660</c:v>
                </c:pt>
                <c:pt idx="44416">
                  <c:v>22660</c:v>
                </c:pt>
                <c:pt idx="44417">
                  <c:v>22659</c:v>
                </c:pt>
                <c:pt idx="44418">
                  <c:v>22658</c:v>
                </c:pt>
                <c:pt idx="44419">
                  <c:v>22658</c:v>
                </c:pt>
                <c:pt idx="44420">
                  <c:v>22657</c:v>
                </c:pt>
                <c:pt idx="44421">
                  <c:v>22655</c:v>
                </c:pt>
                <c:pt idx="44422">
                  <c:v>22655</c:v>
                </c:pt>
                <c:pt idx="44423">
                  <c:v>22654</c:v>
                </c:pt>
                <c:pt idx="44424">
                  <c:v>22654</c:v>
                </c:pt>
                <c:pt idx="44425">
                  <c:v>22654</c:v>
                </c:pt>
                <c:pt idx="44426">
                  <c:v>22654</c:v>
                </c:pt>
                <c:pt idx="44427">
                  <c:v>22653</c:v>
                </c:pt>
                <c:pt idx="44428">
                  <c:v>22653</c:v>
                </c:pt>
                <c:pt idx="44429">
                  <c:v>22652</c:v>
                </c:pt>
                <c:pt idx="44430">
                  <c:v>22652</c:v>
                </c:pt>
                <c:pt idx="44431">
                  <c:v>22651</c:v>
                </c:pt>
                <c:pt idx="44432">
                  <c:v>22650</c:v>
                </c:pt>
                <c:pt idx="44433">
                  <c:v>22650</c:v>
                </c:pt>
                <c:pt idx="44434">
                  <c:v>22650</c:v>
                </c:pt>
                <c:pt idx="44435">
                  <c:v>22650</c:v>
                </c:pt>
                <c:pt idx="44436">
                  <c:v>22649</c:v>
                </c:pt>
                <c:pt idx="44437">
                  <c:v>22649</c:v>
                </c:pt>
                <c:pt idx="44438">
                  <c:v>22649</c:v>
                </c:pt>
                <c:pt idx="44439">
                  <c:v>22648</c:v>
                </c:pt>
                <c:pt idx="44440">
                  <c:v>22648</c:v>
                </c:pt>
                <c:pt idx="44441">
                  <c:v>22647</c:v>
                </c:pt>
                <c:pt idx="44442">
                  <c:v>22647</c:v>
                </c:pt>
                <c:pt idx="44443">
                  <c:v>22647</c:v>
                </c:pt>
                <c:pt idx="44444">
                  <c:v>22646</c:v>
                </c:pt>
                <c:pt idx="44445">
                  <c:v>22646</c:v>
                </c:pt>
                <c:pt idx="44446">
                  <c:v>22644</c:v>
                </c:pt>
                <c:pt idx="44447">
                  <c:v>22644</c:v>
                </c:pt>
                <c:pt idx="44448">
                  <c:v>22644</c:v>
                </c:pt>
                <c:pt idx="44449">
                  <c:v>22644</c:v>
                </c:pt>
                <c:pt idx="44450">
                  <c:v>22644</c:v>
                </c:pt>
                <c:pt idx="44451">
                  <c:v>22644</c:v>
                </c:pt>
                <c:pt idx="44452">
                  <c:v>22644</c:v>
                </c:pt>
                <c:pt idx="44453">
                  <c:v>22643</c:v>
                </c:pt>
                <c:pt idx="44454">
                  <c:v>22642</c:v>
                </c:pt>
                <c:pt idx="44455">
                  <c:v>22642</c:v>
                </c:pt>
                <c:pt idx="44456">
                  <c:v>22641</c:v>
                </c:pt>
                <c:pt idx="44457">
                  <c:v>22641</c:v>
                </c:pt>
                <c:pt idx="44458">
                  <c:v>22641</c:v>
                </c:pt>
                <c:pt idx="44459">
                  <c:v>22641</c:v>
                </c:pt>
                <c:pt idx="44460">
                  <c:v>22641</c:v>
                </c:pt>
                <c:pt idx="44461">
                  <c:v>22640</c:v>
                </c:pt>
                <c:pt idx="44462">
                  <c:v>22640</c:v>
                </c:pt>
                <c:pt idx="44463">
                  <c:v>22639</c:v>
                </c:pt>
                <c:pt idx="44464">
                  <c:v>22639</c:v>
                </c:pt>
                <c:pt idx="44465">
                  <c:v>22639</c:v>
                </c:pt>
                <c:pt idx="44466">
                  <c:v>22638</c:v>
                </c:pt>
                <c:pt idx="44467">
                  <c:v>22638</c:v>
                </c:pt>
                <c:pt idx="44468">
                  <c:v>22638</c:v>
                </c:pt>
                <c:pt idx="44469">
                  <c:v>22638</c:v>
                </c:pt>
                <c:pt idx="44470">
                  <c:v>22637</c:v>
                </c:pt>
                <c:pt idx="44471">
                  <c:v>22637</c:v>
                </c:pt>
                <c:pt idx="44472">
                  <c:v>22637</c:v>
                </c:pt>
                <c:pt idx="44473">
                  <c:v>22637</c:v>
                </c:pt>
                <c:pt idx="44474">
                  <c:v>22637</c:v>
                </c:pt>
                <c:pt idx="44475">
                  <c:v>22635</c:v>
                </c:pt>
                <c:pt idx="44476">
                  <c:v>22635</c:v>
                </c:pt>
                <c:pt idx="44477">
                  <c:v>22634</c:v>
                </c:pt>
                <c:pt idx="44478">
                  <c:v>22634</c:v>
                </c:pt>
                <c:pt idx="44479">
                  <c:v>22634</c:v>
                </c:pt>
                <c:pt idx="44480">
                  <c:v>22633</c:v>
                </c:pt>
                <c:pt idx="44481">
                  <c:v>22633</c:v>
                </c:pt>
                <c:pt idx="44482">
                  <c:v>22633</c:v>
                </c:pt>
                <c:pt idx="44483">
                  <c:v>22632</c:v>
                </c:pt>
                <c:pt idx="44484">
                  <c:v>22632</c:v>
                </c:pt>
                <c:pt idx="44485">
                  <c:v>22632</c:v>
                </c:pt>
                <c:pt idx="44486">
                  <c:v>22631</c:v>
                </c:pt>
                <c:pt idx="44487">
                  <c:v>22630</c:v>
                </c:pt>
                <c:pt idx="44488">
                  <c:v>22630</c:v>
                </c:pt>
                <c:pt idx="44489">
                  <c:v>22629</c:v>
                </c:pt>
                <c:pt idx="44490">
                  <c:v>22629</c:v>
                </c:pt>
                <c:pt idx="44491">
                  <c:v>22629</c:v>
                </c:pt>
                <c:pt idx="44492">
                  <c:v>22629</c:v>
                </c:pt>
                <c:pt idx="44493">
                  <c:v>22629</c:v>
                </c:pt>
                <c:pt idx="44494">
                  <c:v>22629</c:v>
                </c:pt>
                <c:pt idx="44495">
                  <c:v>22628</c:v>
                </c:pt>
                <c:pt idx="44496">
                  <c:v>22628</c:v>
                </c:pt>
                <c:pt idx="44497">
                  <c:v>22628</c:v>
                </c:pt>
                <c:pt idx="44498">
                  <c:v>22628</c:v>
                </c:pt>
                <c:pt idx="44499">
                  <c:v>22628</c:v>
                </c:pt>
                <c:pt idx="44500">
                  <c:v>22627</c:v>
                </c:pt>
                <c:pt idx="44501">
                  <c:v>22627</c:v>
                </c:pt>
                <c:pt idx="44502">
                  <c:v>22627</c:v>
                </c:pt>
                <c:pt idx="44503">
                  <c:v>22627</c:v>
                </c:pt>
                <c:pt idx="44504">
                  <c:v>22626</c:v>
                </c:pt>
                <c:pt idx="44505">
                  <c:v>22626</c:v>
                </c:pt>
                <c:pt idx="44506">
                  <c:v>22626</c:v>
                </c:pt>
                <c:pt idx="44507">
                  <c:v>22626</c:v>
                </c:pt>
                <c:pt idx="44508">
                  <c:v>22626</c:v>
                </c:pt>
                <c:pt idx="44509">
                  <c:v>22626</c:v>
                </c:pt>
                <c:pt idx="44510">
                  <c:v>22623</c:v>
                </c:pt>
                <c:pt idx="44511">
                  <c:v>22623</c:v>
                </c:pt>
                <c:pt idx="44512">
                  <c:v>22622</c:v>
                </c:pt>
                <c:pt idx="44513">
                  <c:v>22622</c:v>
                </c:pt>
                <c:pt idx="44514">
                  <c:v>22621</c:v>
                </c:pt>
                <c:pt idx="44515">
                  <c:v>22621</c:v>
                </c:pt>
                <c:pt idx="44516">
                  <c:v>22620</c:v>
                </c:pt>
                <c:pt idx="44517">
                  <c:v>22619</c:v>
                </c:pt>
                <c:pt idx="44518">
                  <c:v>22619</c:v>
                </c:pt>
                <c:pt idx="44519">
                  <c:v>22619</c:v>
                </c:pt>
                <c:pt idx="44520">
                  <c:v>22619</c:v>
                </c:pt>
                <c:pt idx="44521">
                  <c:v>22618</c:v>
                </c:pt>
                <c:pt idx="44522">
                  <c:v>22618</c:v>
                </c:pt>
                <c:pt idx="44523">
                  <c:v>22618</c:v>
                </c:pt>
                <c:pt idx="44524">
                  <c:v>22618</c:v>
                </c:pt>
                <c:pt idx="44525">
                  <c:v>22618</c:v>
                </c:pt>
                <c:pt idx="44526">
                  <c:v>22617</c:v>
                </c:pt>
                <c:pt idx="44527">
                  <c:v>22617</c:v>
                </c:pt>
                <c:pt idx="44528">
                  <c:v>22616</c:v>
                </c:pt>
                <c:pt idx="44529">
                  <c:v>22616</c:v>
                </c:pt>
                <c:pt idx="44530">
                  <c:v>22616</c:v>
                </c:pt>
                <c:pt idx="44531">
                  <c:v>22615</c:v>
                </c:pt>
                <c:pt idx="44532">
                  <c:v>22615</c:v>
                </c:pt>
                <c:pt idx="44533">
                  <c:v>22615</c:v>
                </c:pt>
                <c:pt idx="44534">
                  <c:v>22614</c:v>
                </c:pt>
                <c:pt idx="44535">
                  <c:v>22614</c:v>
                </c:pt>
                <c:pt idx="44536">
                  <c:v>22614</c:v>
                </c:pt>
                <c:pt idx="44537">
                  <c:v>22613</c:v>
                </c:pt>
                <c:pt idx="44538">
                  <c:v>22613</c:v>
                </c:pt>
                <c:pt idx="44539">
                  <c:v>22613</c:v>
                </c:pt>
                <c:pt idx="44540">
                  <c:v>22613</c:v>
                </c:pt>
                <c:pt idx="44541">
                  <c:v>22612</c:v>
                </c:pt>
                <c:pt idx="44542">
                  <c:v>22612</c:v>
                </c:pt>
                <c:pt idx="44543">
                  <c:v>22611</c:v>
                </c:pt>
                <c:pt idx="44544">
                  <c:v>22611</c:v>
                </c:pt>
                <c:pt idx="44545">
                  <c:v>22611</c:v>
                </c:pt>
                <c:pt idx="44546">
                  <c:v>22610</c:v>
                </c:pt>
                <c:pt idx="44547">
                  <c:v>22610</c:v>
                </c:pt>
                <c:pt idx="44548">
                  <c:v>22610</c:v>
                </c:pt>
                <c:pt idx="44549">
                  <c:v>22609</c:v>
                </c:pt>
                <c:pt idx="44550">
                  <c:v>22608</c:v>
                </c:pt>
                <c:pt idx="44551">
                  <c:v>22608</c:v>
                </c:pt>
                <c:pt idx="44552">
                  <c:v>22608</c:v>
                </c:pt>
                <c:pt idx="44553">
                  <c:v>22608</c:v>
                </c:pt>
                <c:pt idx="44554">
                  <c:v>22608</c:v>
                </c:pt>
                <c:pt idx="44555">
                  <c:v>22608</c:v>
                </c:pt>
                <c:pt idx="44556">
                  <c:v>22607</c:v>
                </c:pt>
                <c:pt idx="44557">
                  <c:v>22607</c:v>
                </c:pt>
                <c:pt idx="44558">
                  <c:v>22607</c:v>
                </c:pt>
                <c:pt idx="44559">
                  <c:v>22607</c:v>
                </c:pt>
                <c:pt idx="44560">
                  <c:v>22607</c:v>
                </c:pt>
                <c:pt idx="44561">
                  <c:v>22607</c:v>
                </c:pt>
                <c:pt idx="44562">
                  <c:v>22605</c:v>
                </c:pt>
                <c:pt idx="44563">
                  <c:v>22605</c:v>
                </c:pt>
                <c:pt idx="44564">
                  <c:v>22604</c:v>
                </c:pt>
                <c:pt idx="44565">
                  <c:v>22604</c:v>
                </c:pt>
                <c:pt idx="44566">
                  <c:v>22603</c:v>
                </c:pt>
                <c:pt idx="44567">
                  <c:v>22603</c:v>
                </c:pt>
                <c:pt idx="44568">
                  <c:v>22602</c:v>
                </c:pt>
                <c:pt idx="44569">
                  <c:v>22602</c:v>
                </c:pt>
                <c:pt idx="44570">
                  <c:v>22602</c:v>
                </c:pt>
                <c:pt idx="44571">
                  <c:v>22602</c:v>
                </c:pt>
                <c:pt idx="44572">
                  <c:v>22601</c:v>
                </c:pt>
                <c:pt idx="44573">
                  <c:v>22601</c:v>
                </c:pt>
                <c:pt idx="44574">
                  <c:v>22601</c:v>
                </c:pt>
                <c:pt idx="44575">
                  <c:v>22600</c:v>
                </c:pt>
                <c:pt idx="44576">
                  <c:v>22600</c:v>
                </c:pt>
                <c:pt idx="44577">
                  <c:v>22600</c:v>
                </c:pt>
                <c:pt idx="44578">
                  <c:v>22600</c:v>
                </c:pt>
                <c:pt idx="44579">
                  <c:v>22599</c:v>
                </c:pt>
                <c:pt idx="44580">
                  <c:v>22599</c:v>
                </c:pt>
                <c:pt idx="44581">
                  <c:v>22599</c:v>
                </c:pt>
                <c:pt idx="44582">
                  <c:v>22599</c:v>
                </c:pt>
                <c:pt idx="44583">
                  <c:v>22598</c:v>
                </c:pt>
                <c:pt idx="44584">
                  <c:v>22598</c:v>
                </c:pt>
                <c:pt idx="44585">
                  <c:v>22598</c:v>
                </c:pt>
                <c:pt idx="44586">
                  <c:v>22598</c:v>
                </c:pt>
                <c:pt idx="44587">
                  <c:v>22598</c:v>
                </c:pt>
                <c:pt idx="44588">
                  <c:v>22598</c:v>
                </c:pt>
                <c:pt idx="44589">
                  <c:v>22598</c:v>
                </c:pt>
                <c:pt idx="44590">
                  <c:v>22598</c:v>
                </c:pt>
                <c:pt idx="44591">
                  <c:v>22597</c:v>
                </c:pt>
                <c:pt idx="44592">
                  <c:v>22597</c:v>
                </c:pt>
                <c:pt idx="44593">
                  <c:v>22597</c:v>
                </c:pt>
                <c:pt idx="44594">
                  <c:v>22597</c:v>
                </c:pt>
                <c:pt idx="44595">
                  <c:v>22596</c:v>
                </c:pt>
                <c:pt idx="44596">
                  <c:v>22596</c:v>
                </c:pt>
                <c:pt idx="44597">
                  <c:v>22596</c:v>
                </c:pt>
                <c:pt idx="44598">
                  <c:v>22595</c:v>
                </c:pt>
                <c:pt idx="44599">
                  <c:v>22594</c:v>
                </c:pt>
                <c:pt idx="44600">
                  <c:v>22594</c:v>
                </c:pt>
                <c:pt idx="44601">
                  <c:v>22594</c:v>
                </c:pt>
                <c:pt idx="44602">
                  <c:v>22594</c:v>
                </c:pt>
                <c:pt idx="44603">
                  <c:v>22594</c:v>
                </c:pt>
                <c:pt idx="44604">
                  <c:v>22594</c:v>
                </c:pt>
                <c:pt idx="44605">
                  <c:v>22593</c:v>
                </c:pt>
                <c:pt idx="44606">
                  <c:v>22593</c:v>
                </c:pt>
                <c:pt idx="44607">
                  <c:v>22593</c:v>
                </c:pt>
                <c:pt idx="44608">
                  <c:v>22593</c:v>
                </c:pt>
                <c:pt idx="44609">
                  <c:v>22593</c:v>
                </c:pt>
                <c:pt idx="44610">
                  <c:v>22593</c:v>
                </c:pt>
                <c:pt idx="44611">
                  <c:v>22593</c:v>
                </c:pt>
                <c:pt idx="44612">
                  <c:v>22593</c:v>
                </c:pt>
                <c:pt idx="44613">
                  <c:v>22592</c:v>
                </c:pt>
                <c:pt idx="44614">
                  <c:v>22591</c:v>
                </c:pt>
                <c:pt idx="44615">
                  <c:v>22591</c:v>
                </c:pt>
                <c:pt idx="44616">
                  <c:v>22590</c:v>
                </c:pt>
                <c:pt idx="44617">
                  <c:v>22589</c:v>
                </c:pt>
                <c:pt idx="44618">
                  <c:v>22589</c:v>
                </c:pt>
                <c:pt idx="44619">
                  <c:v>22588</c:v>
                </c:pt>
                <c:pt idx="44620">
                  <c:v>22587</c:v>
                </c:pt>
                <c:pt idx="44621">
                  <c:v>22587</c:v>
                </c:pt>
                <c:pt idx="44622">
                  <c:v>22587</c:v>
                </c:pt>
                <c:pt idx="44623">
                  <c:v>22587</c:v>
                </c:pt>
                <c:pt idx="44624">
                  <c:v>22587</c:v>
                </c:pt>
                <c:pt idx="44625">
                  <c:v>22586</c:v>
                </c:pt>
                <c:pt idx="44626">
                  <c:v>22585</c:v>
                </c:pt>
                <c:pt idx="44627">
                  <c:v>22585</c:v>
                </c:pt>
                <c:pt idx="44628">
                  <c:v>22584</c:v>
                </c:pt>
                <c:pt idx="44629">
                  <c:v>22584</c:v>
                </c:pt>
                <c:pt idx="44630">
                  <c:v>22583</c:v>
                </c:pt>
                <c:pt idx="44631">
                  <c:v>22583</c:v>
                </c:pt>
                <c:pt idx="44632">
                  <c:v>22583</c:v>
                </c:pt>
                <c:pt idx="44633">
                  <c:v>22582</c:v>
                </c:pt>
                <c:pt idx="44634">
                  <c:v>22582</c:v>
                </c:pt>
                <c:pt idx="44635">
                  <c:v>22581</c:v>
                </c:pt>
                <c:pt idx="44636">
                  <c:v>22581</c:v>
                </c:pt>
                <c:pt idx="44637">
                  <c:v>22581</c:v>
                </c:pt>
                <c:pt idx="44638">
                  <c:v>22581</c:v>
                </c:pt>
                <c:pt idx="44639">
                  <c:v>22580</c:v>
                </c:pt>
                <c:pt idx="44640">
                  <c:v>22580</c:v>
                </c:pt>
                <c:pt idx="44641">
                  <c:v>22580</c:v>
                </c:pt>
                <c:pt idx="44642">
                  <c:v>22580</c:v>
                </c:pt>
                <c:pt idx="44643">
                  <c:v>22580</c:v>
                </c:pt>
                <c:pt idx="44644">
                  <c:v>22580</c:v>
                </c:pt>
                <c:pt idx="44645">
                  <c:v>22579</c:v>
                </c:pt>
                <c:pt idx="44646">
                  <c:v>22577</c:v>
                </c:pt>
                <c:pt idx="44647">
                  <c:v>22577</c:v>
                </c:pt>
                <c:pt idx="44648">
                  <c:v>22577</c:v>
                </c:pt>
                <c:pt idx="44649">
                  <c:v>22577</c:v>
                </c:pt>
                <c:pt idx="44650">
                  <c:v>22577</c:v>
                </c:pt>
                <c:pt idx="44651">
                  <c:v>22576</c:v>
                </c:pt>
                <c:pt idx="44652">
                  <c:v>22576</c:v>
                </c:pt>
                <c:pt idx="44653">
                  <c:v>22576</c:v>
                </c:pt>
                <c:pt idx="44654">
                  <c:v>22575</c:v>
                </c:pt>
                <c:pt idx="44655">
                  <c:v>22575</c:v>
                </c:pt>
                <c:pt idx="44656">
                  <c:v>22574</c:v>
                </c:pt>
                <c:pt idx="44657">
                  <c:v>22574</c:v>
                </c:pt>
                <c:pt idx="44658">
                  <c:v>22574</c:v>
                </c:pt>
                <c:pt idx="44659">
                  <c:v>22574</c:v>
                </c:pt>
                <c:pt idx="44660">
                  <c:v>22573</c:v>
                </c:pt>
                <c:pt idx="44661">
                  <c:v>22573</c:v>
                </c:pt>
                <c:pt idx="44662">
                  <c:v>22571</c:v>
                </c:pt>
                <c:pt idx="44663">
                  <c:v>22571</c:v>
                </c:pt>
                <c:pt idx="44664">
                  <c:v>22571</c:v>
                </c:pt>
                <c:pt idx="44665">
                  <c:v>22570</c:v>
                </c:pt>
                <c:pt idx="44666">
                  <c:v>22570</c:v>
                </c:pt>
                <c:pt idx="44667">
                  <c:v>22569</c:v>
                </c:pt>
                <c:pt idx="44668">
                  <c:v>22569</c:v>
                </c:pt>
                <c:pt idx="44669">
                  <c:v>22569</c:v>
                </c:pt>
                <c:pt idx="44670">
                  <c:v>22568</c:v>
                </c:pt>
                <c:pt idx="44671">
                  <c:v>22568</c:v>
                </c:pt>
                <c:pt idx="44672">
                  <c:v>22568</c:v>
                </c:pt>
                <c:pt idx="44673">
                  <c:v>22567</c:v>
                </c:pt>
                <c:pt idx="44674">
                  <c:v>22567</c:v>
                </c:pt>
                <c:pt idx="44675">
                  <c:v>22567</c:v>
                </c:pt>
                <c:pt idx="44676">
                  <c:v>22565</c:v>
                </c:pt>
                <c:pt idx="44677">
                  <c:v>22565</c:v>
                </c:pt>
                <c:pt idx="44678">
                  <c:v>22565</c:v>
                </c:pt>
                <c:pt idx="44679">
                  <c:v>22565</c:v>
                </c:pt>
                <c:pt idx="44680">
                  <c:v>22564</c:v>
                </c:pt>
                <c:pt idx="44681">
                  <c:v>22564</c:v>
                </c:pt>
                <c:pt idx="44682">
                  <c:v>22564</c:v>
                </c:pt>
                <c:pt idx="44683">
                  <c:v>22563</c:v>
                </c:pt>
                <c:pt idx="44684">
                  <c:v>22563</c:v>
                </c:pt>
                <c:pt idx="44685">
                  <c:v>22563</c:v>
                </c:pt>
                <c:pt idx="44686">
                  <c:v>22562</c:v>
                </c:pt>
                <c:pt idx="44687">
                  <c:v>22562</c:v>
                </c:pt>
                <c:pt idx="44688">
                  <c:v>22561</c:v>
                </c:pt>
                <c:pt idx="44689">
                  <c:v>22561</c:v>
                </c:pt>
                <c:pt idx="44690">
                  <c:v>22561</c:v>
                </c:pt>
                <c:pt idx="44691">
                  <c:v>22561</c:v>
                </c:pt>
                <c:pt idx="44692">
                  <c:v>22561</c:v>
                </c:pt>
                <c:pt idx="44693">
                  <c:v>22560</c:v>
                </c:pt>
                <c:pt idx="44694">
                  <c:v>22560</c:v>
                </c:pt>
                <c:pt idx="44695">
                  <c:v>22559</c:v>
                </c:pt>
                <c:pt idx="44696">
                  <c:v>22559</c:v>
                </c:pt>
                <c:pt idx="44697">
                  <c:v>22558</c:v>
                </c:pt>
                <c:pt idx="44698">
                  <c:v>22558</c:v>
                </c:pt>
                <c:pt idx="44699">
                  <c:v>22557</c:v>
                </c:pt>
                <c:pt idx="44700">
                  <c:v>22557</c:v>
                </c:pt>
                <c:pt idx="44701">
                  <c:v>22557</c:v>
                </c:pt>
                <c:pt idx="44702">
                  <c:v>22556</c:v>
                </c:pt>
                <c:pt idx="44703">
                  <c:v>22556</c:v>
                </c:pt>
                <c:pt idx="44704">
                  <c:v>22556</c:v>
                </c:pt>
                <c:pt idx="44705">
                  <c:v>22556</c:v>
                </c:pt>
                <c:pt idx="44706">
                  <c:v>22555</c:v>
                </c:pt>
                <c:pt idx="44707">
                  <c:v>22555</c:v>
                </c:pt>
                <c:pt idx="44708">
                  <c:v>22554</c:v>
                </c:pt>
                <c:pt idx="44709">
                  <c:v>22554</c:v>
                </c:pt>
                <c:pt idx="44710">
                  <c:v>22554</c:v>
                </c:pt>
                <c:pt idx="44711">
                  <c:v>22554</c:v>
                </c:pt>
                <c:pt idx="44712">
                  <c:v>22553</c:v>
                </c:pt>
                <c:pt idx="44713">
                  <c:v>22553</c:v>
                </c:pt>
                <c:pt idx="44714">
                  <c:v>22553</c:v>
                </c:pt>
                <c:pt idx="44715">
                  <c:v>22553</c:v>
                </c:pt>
                <c:pt idx="44716">
                  <c:v>22552</c:v>
                </c:pt>
                <c:pt idx="44717">
                  <c:v>22552</c:v>
                </c:pt>
                <c:pt idx="44718">
                  <c:v>22552</c:v>
                </c:pt>
                <c:pt idx="44719">
                  <c:v>22551</c:v>
                </c:pt>
                <c:pt idx="44720">
                  <c:v>22551</c:v>
                </c:pt>
                <c:pt idx="44721">
                  <c:v>22551</c:v>
                </c:pt>
                <c:pt idx="44722">
                  <c:v>22551</c:v>
                </c:pt>
                <c:pt idx="44723">
                  <c:v>22550</c:v>
                </c:pt>
                <c:pt idx="44724">
                  <c:v>22550</c:v>
                </c:pt>
                <c:pt idx="44725">
                  <c:v>22549</c:v>
                </c:pt>
                <c:pt idx="44726">
                  <c:v>22549</c:v>
                </c:pt>
                <c:pt idx="44727">
                  <c:v>22549</c:v>
                </c:pt>
                <c:pt idx="44728">
                  <c:v>22549</c:v>
                </c:pt>
                <c:pt idx="44729">
                  <c:v>22549</c:v>
                </c:pt>
                <c:pt idx="44730">
                  <c:v>22548</c:v>
                </c:pt>
                <c:pt idx="44731">
                  <c:v>22548</c:v>
                </c:pt>
                <c:pt idx="44732">
                  <c:v>22548</c:v>
                </c:pt>
                <c:pt idx="44733">
                  <c:v>22548</c:v>
                </c:pt>
                <c:pt idx="44734">
                  <c:v>22548</c:v>
                </c:pt>
                <c:pt idx="44735">
                  <c:v>22547</c:v>
                </c:pt>
                <c:pt idx="44736">
                  <c:v>22547</c:v>
                </c:pt>
                <c:pt idx="44737">
                  <c:v>22547</c:v>
                </c:pt>
                <c:pt idx="44738">
                  <c:v>22547</c:v>
                </c:pt>
                <c:pt idx="44739">
                  <c:v>22547</c:v>
                </c:pt>
                <c:pt idx="44740">
                  <c:v>22546</c:v>
                </c:pt>
                <c:pt idx="44741">
                  <c:v>22546</c:v>
                </c:pt>
                <c:pt idx="44742">
                  <c:v>22546</c:v>
                </c:pt>
                <c:pt idx="44743">
                  <c:v>22545</c:v>
                </c:pt>
                <c:pt idx="44744">
                  <c:v>22545</c:v>
                </c:pt>
                <c:pt idx="44745">
                  <c:v>22544</c:v>
                </c:pt>
                <c:pt idx="44746">
                  <c:v>22544</c:v>
                </c:pt>
                <c:pt idx="44747">
                  <c:v>22544</c:v>
                </c:pt>
                <c:pt idx="44748">
                  <c:v>22544</c:v>
                </c:pt>
                <c:pt idx="44749">
                  <c:v>22543</c:v>
                </c:pt>
                <c:pt idx="44750">
                  <c:v>22543</c:v>
                </c:pt>
                <c:pt idx="44751">
                  <c:v>22542</c:v>
                </c:pt>
                <c:pt idx="44752">
                  <c:v>22542</c:v>
                </c:pt>
                <c:pt idx="44753">
                  <c:v>22541</c:v>
                </c:pt>
                <c:pt idx="44754">
                  <c:v>22541</c:v>
                </c:pt>
                <c:pt idx="44755">
                  <c:v>22540</c:v>
                </c:pt>
                <c:pt idx="44756">
                  <c:v>22540</c:v>
                </c:pt>
                <c:pt idx="44757">
                  <c:v>22540</c:v>
                </c:pt>
                <c:pt idx="44758">
                  <c:v>22540</c:v>
                </c:pt>
                <c:pt idx="44759">
                  <c:v>22539</c:v>
                </c:pt>
                <c:pt idx="44760">
                  <c:v>22539</c:v>
                </c:pt>
                <c:pt idx="44761">
                  <c:v>22539</c:v>
                </c:pt>
                <c:pt idx="44762">
                  <c:v>22537</c:v>
                </c:pt>
                <c:pt idx="44763">
                  <c:v>22536</c:v>
                </c:pt>
                <c:pt idx="44764">
                  <c:v>22535</c:v>
                </c:pt>
                <c:pt idx="44765">
                  <c:v>22535</c:v>
                </c:pt>
                <c:pt idx="44766">
                  <c:v>22535</c:v>
                </c:pt>
                <c:pt idx="44767">
                  <c:v>22535</c:v>
                </c:pt>
                <c:pt idx="44768">
                  <c:v>22535</c:v>
                </c:pt>
                <c:pt idx="44769">
                  <c:v>22534</c:v>
                </c:pt>
                <c:pt idx="44770">
                  <c:v>22534</c:v>
                </c:pt>
                <c:pt idx="44771">
                  <c:v>22534</c:v>
                </c:pt>
                <c:pt idx="44772">
                  <c:v>22534</c:v>
                </c:pt>
                <c:pt idx="44773">
                  <c:v>22533</c:v>
                </c:pt>
                <c:pt idx="44774">
                  <c:v>22533</c:v>
                </c:pt>
                <c:pt idx="44775">
                  <c:v>22533</c:v>
                </c:pt>
                <c:pt idx="44776">
                  <c:v>22532</c:v>
                </c:pt>
                <c:pt idx="44777">
                  <c:v>22532</c:v>
                </c:pt>
                <c:pt idx="44778">
                  <c:v>22532</c:v>
                </c:pt>
                <c:pt idx="44779">
                  <c:v>22532</c:v>
                </c:pt>
                <c:pt idx="44780">
                  <c:v>22531</c:v>
                </c:pt>
                <c:pt idx="44781">
                  <c:v>22531</c:v>
                </c:pt>
                <c:pt idx="44782">
                  <c:v>22531</c:v>
                </c:pt>
                <c:pt idx="44783">
                  <c:v>22531</c:v>
                </c:pt>
                <c:pt idx="44784">
                  <c:v>22530</c:v>
                </c:pt>
                <c:pt idx="44785">
                  <c:v>22530</c:v>
                </c:pt>
                <c:pt idx="44786">
                  <c:v>22529</c:v>
                </c:pt>
                <c:pt idx="44787">
                  <c:v>22528</c:v>
                </c:pt>
                <c:pt idx="44788">
                  <c:v>22528</c:v>
                </c:pt>
                <c:pt idx="44789">
                  <c:v>22528</c:v>
                </c:pt>
                <c:pt idx="44790">
                  <c:v>22527</c:v>
                </c:pt>
                <c:pt idx="44791">
                  <c:v>22527</c:v>
                </c:pt>
                <c:pt idx="44792">
                  <c:v>22527</c:v>
                </c:pt>
                <c:pt idx="44793">
                  <c:v>22527</c:v>
                </c:pt>
                <c:pt idx="44794">
                  <c:v>22527</c:v>
                </c:pt>
                <c:pt idx="44795">
                  <c:v>22526</c:v>
                </c:pt>
                <c:pt idx="44796">
                  <c:v>22526</c:v>
                </c:pt>
                <c:pt idx="44797">
                  <c:v>22526</c:v>
                </c:pt>
                <c:pt idx="44798">
                  <c:v>22526</c:v>
                </c:pt>
                <c:pt idx="44799">
                  <c:v>22526</c:v>
                </c:pt>
                <c:pt idx="44800">
                  <c:v>22526</c:v>
                </c:pt>
                <c:pt idx="44801">
                  <c:v>22526</c:v>
                </c:pt>
                <c:pt idx="44802">
                  <c:v>22525</c:v>
                </c:pt>
                <c:pt idx="44803">
                  <c:v>22525</c:v>
                </c:pt>
                <c:pt idx="44804">
                  <c:v>22525</c:v>
                </c:pt>
                <c:pt idx="44805">
                  <c:v>22525</c:v>
                </c:pt>
                <c:pt idx="44806">
                  <c:v>22524</c:v>
                </c:pt>
                <c:pt idx="44807">
                  <c:v>22524</c:v>
                </c:pt>
                <c:pt idx="44808">
                  <c:v>22524</c:v>
                </c:pt>
                <c:pt idx="44809">
                  <c:v>22524</c:v>
                </c:pt>
                <c:pt idx="44810">
                  <c:v>22524</c:v>
                </c:pt>
                <c:pt idx="44811">
                  <c:v>22524</c:v>
                </c:pt>
                <c:pt idx="44812">
                  <c:v>22524</c:v>
                </c:pt>
                <c:pt idx="44813">
                  <c:v>22524</c:v>
                </c:pt>
                <c:pt idx="44814">
                  <c:v>22524</c:v>
                </c:pt>
                <c:pt idx="44815">
                  <c:v>22523</c:v>
                </c:pt>
                <c:pt idx="44816">
                  <c:v>22523</c:v>
                </c:pt>
                <c:pt idx="44817">
                  <c:v>22523</c:v>
                </c:pt>
                <c:pt idx="44818">
                  <c:v>22523</c:v>
                </c:pt>
                <c:pt idx="44819">
                  <c:v>22522</c:v>
                </c:pt>
                <c:pt idx="44820">
                  <c:v>22522</c:v>
                </c:pt>
                <c:pt idx="44821">
                  <c:v>22522</c:v>
                </c:pt>
                <c:pt idx="44822">
                  <c:v>22521</c:v>
                </c:pt>
                <c:pt idx="44823">
                  <c:v>22521</c:v>
                </c:pt>
                <c:pt idx="44824">
                  <c:v>22521</c:v>
                </c:pt>
                <c:pt idx="44825">
                  <c:v>22520</c:v>
                </c:pt>
                <c:pt idx="44826">
                  <c:v>22520</c:v>
                </c:pt>
                <c:pt idx="44827">
                  <c:v>22519</c:v>
                </c:pt>
                <c:pt idx="44828">
                  <c:v>22519</c:v>
                </c:pt>
                <c:pt idx="44829">
                  <c:v>22519</c:v>
                </c:pt>
                <c:pt idx="44830">
                  <c:v>22518</c:v>
                </c:pt>
                <c:pt idx="44831">
                  <c:v>22518</c:v>
                </c:pt>
                <c:pt idx="44832">
                  <c:v>22516</c:v>
                </c:pt>
                <c:pt idx="44833">
                  <c:v>22516</c:v>
                </c:pt>
                <c:pt idx="44834">
                  <c:v>22516</c:v>
                </c:pt>
                <c:pt idx="44835">
                  <c:v>22515</c:v>
                </c:pt>
                <c:pt idx="44836">
                  <c:v>22515</c:v>
                </c:pt>
                <c:pt idx="44837">
                  <c:v>22514</c:v>
                </c:pt>
                <c:pt idx="44838">
                  <c:v>22514</c:v>
                </c:pt>
                <c:pt idx="44839">
                  <c:v>22514</c:v>
                </c:pt>
                <c:pt idx="44840">
                  <c:v>22514</c:v>
                </c:pt>
                <c:pt idx="44841">
                  <c:v>22513</c:v>
                </c:pt>
                <c:pt idx="44842">
                  <c:v>22513</c:v>
                </c:pt>
                <c:pt idx="44843">
                  <c:v>22513</c:v>
                </c:pt>
                <c:pt idx="44844">
                  <c:v>22512</c:v>
                </c:pt>
                <c:pt idx="44845">
                  <c:v>22512</c:v>
                </c:pt>
                <c:pt idx="44846">
                  <c:v>22512</c:v>
                </c:pt>
                <c:pt idx="44847">
                  <c:v>22510</c:v>
                </c:pt>
                <c:pt idx="44848">
                  <c:v>22510</c:v>
                </c:pt>
                <c:pt idx="44849">
                  <c:v>22510</c:v>
                </c:pt>
                <c:pt idx="44850">
                  <c:v>22509</c:v>
                </c:pt>
                <c:pt idx="44851">
                  <c:v>22508</c:v>
                </c:pt>
                <c:pt idx="44852">
                  <c:v>22508</c:v>
                </c:pt>
                <c:pt idx="44853">
                  <c:v>22508</c:v>
                </c:pt>
                <c:pt idx="44854">
                  <c:v>22507</c:v>
                </c:pt>
                <c:pt idx="44855">
                  <c:v>22507</c:v>
                </c:pt>
                <c:pt idx="44856">
                  <c:v>22507</c:v>
                </c:pt>
                <c:pt idx="44857">
                  <c:v>22507</c:v>
                </c:pt>
                <c:pt idx="44858">
                  <c:v>22507</c:v>
                </c:pt>
                <c:pt idx="44859">
                  <c:v>22507</c:v>
                </c:pt>
                <c:pt idx="44860">
                  <c:v>22506</c:v>
                </c:pt>
                <c:pt idx="44861">
                  <c:v>22505</c:v>
                </c:pt>
                <c:pt idx="44862">
                  <c:v>22505</c:v>
                </c:pt>
                <c:pt idx="44863">
                  <c:v>22505</c:v>
                </c:pt>
                <c:pt idx="44864">
                  <c:v>22503</c:v>
                </c:pt>
                <c:pt idx="44865">
                  <c:v>22502</c:v>
                </c:pt>
                <c:pt idx="44866">
                  <c:v>22502</c:v>
                </c:pt>
                <c:pt idx="44867">
                  <c:v>22502</c:v>
                </c:pt>
                <c:pt idx="44868">
                  <c:v>22502</c:v>
                </c:pt>
                <c:pt idx="44869">
                  <c:v>22502</c:v>
                </c:pt>
                <c:pt idx="44870">
                  <c:v>22501</c:v>
                </c:pt>
                <c:pt idx="44871">
                  <c:v>22501</c:v>
                </c:pt>
                <c:pt idx="44872">
                  <c:v>22500</c:v>
                </c:pt>
                <c:pt idx="44873">
                  <c:v>22500</c:v>
                </c:pt>
                <c:pt idx="44874">
                  <c:v>22500</c:v>
                </c:pt>
                <c:pt idx="44875">
                  <c:v>22500</c:v>
                </c:pt>
                <c:pt idx="44876">
                  <c:v>22499</c:v>
                </c:pt>
                <c:pt idx="44877">
                  <c:v>22499</c:v>
                </c:pt>
                <c:pt idx="44878">
                  <c:v>22499</c:v>
                </c:pt>
                <c:pt idx="44879">
                  <c:v>22499</c:v>
                </c:pt>
                <c:pt idx="44880">
                  <c:v>22498</c:v>
                </c:pt>
                <c:pt idx="44881">
                  <c:v>22498</c:v>
                </c:pt>
                <c:pt idx="44882">
                  <c:v>22495</c:v>
                </c:pt>
                <c:pt idx="44883">
                  <c:v>22495</c:v>
                </c:pt>
                <c:pt idx="44884">
                  <c:v>22495</c:v>
                </c:pt>
                <c:pt idx="44885">
                  <c:v>22495</c:v>
                </c:pt>
                <c:pt idx="44886">
                  <c:v>22494</c:v>
                </c:pt>
                <c:pt idx="44887">
                  <c:v>22494</c:v>
                </c:pt>
                <c:pt idx="44888">
                  <c:v>22493</c:v>
                </c:pt>
                <c:pt idx="44889">
                  <c:v>22493</c:v>
                </c:pt>
                <c:pt idx="44890">
                  <c:v>22493</c:v>
                </c:pt>
                <c:pt idx="44891">
                  <c:v>22493</c:v>
                </c:pt>
                <c:pt idx="44892">
                  <c:v>22493</c:v>
                </c:pt>
                <c:pt idx="44893">
                  <c:v>22492</c:v>
                </c:pt>
                <c:pt idx="44894">
                  <c:v>22492</c:v>
                </c:pt>
                <c:pt idx="44895">
                  <c:v>22491</c:v>
                </c:pt>
                <c:pt idx="44896">
                  <c:v>22491</c:v>
                </c:pt>
                <c:pt idx="44897">
                  <c:v>22491</c:v>
                </c:pt>
                <c:pt idx="44898">
                  <c:v>22491</c:v>
                </c:pt>
                <c:pt idx="44899">
                  <c:v>22491</c:v>
                </c:pt>
                <c:pt idx="44900">
                  <c:v>22490</c:v>
                </c:pt>
                <c:pt idx="44901">
                  <c:v>22490</c:v>
                </c:pt>
                <c:pt idx="44902">
                  <c:v>22490</c:v>
                </c:pt>
                <c:pt idx="44903">
                  <c:v>22489</c:v>
                </c:pt>
                <c:pt idx="44904">
                  <c:v>22489</c:v>
                </c:pt>
                <c:pt idx="44905">
                  <c:v>22489</c:v>
                </c:pt>
                <c:pt idx="44906">
                  <c:v>22489</c:v>
                </c:pt>
                <c:pt idx="44907">
                  <c:v>22488</c:v>
                </c:pt>
                <c:pt idx="44908">
                  <c:v>22488</c:v>
                </c:pt>
                <c:pt idx="44909">
                  <c:v>22488</c:v>
                </c:pt>
                <c:pt idx="44910">
                  <c:v>22488</c:v>
                </c:pt>
                <c:pt idx="44911">
                  <c:v>22487</c:v>
                </c:pt>
                <c:pt idx="44912">
                  <c:v>22487</c:v>
                </c:pt>
                <c:pt idx="44913">
                  <c:v>22487</c:v>
                </c:pt>
                <c:pt idx="44914">
                  <c:v>22486</c:v>
                </c:pt>
                <c:pt idx="44915">
                  <c:v>22486</c:v>
                </c:pt>
                <c:pt idx="44916">
                  <c:v>22485</c:v>
                </c:pt>
                <c:pt idx="44917">
                  <c:v>22485</c:v>
                </c:pt>
                <c:pt idx="44918">
                  <c:v>22485</c:v>
                </c:pt>
                <c:pt idx="44919">
                  <c:v>22485</c:v>
                </c:pt>
                <c:pt idx="44920">
                  <c:v>22485</c:v>
                </c:pt>
                <c:pt idx="44921">
                  <c:v>22485</c:v>
                </c:pt>
                <c:pt idx="44922">
                  <c:v>22484</c:v>
                </c:pt>
                <c:pt idx="44923">
                  <c:v>22484</c:v>
                </c:pt>
                <c:pt idx="44924">
                  <c:v>22483</c:v>
                </c:pt>
                <c:pt idx="44925">
                  <c:v>22483</c:v>
                </c:pt>
                <c:pt idx="44926">
                  <c:v>22483</c:v>
                </c:pt>
                <c:pt idx="44927">
                  <c:v>22482</c:v>
                </c:pt>
                <c:pt idx="44928">
                  <c:v>22482</c:v>
                </c:pt>
                <c:pt idx="44929">
                  <c:v>22481</c:v>
                </c:pt>
                <c:pt idx="44930">
                  <c:v>22481</c:v>
                </c:pt>
                <c:pt idx="44931">
                  <c:v>22480</c:v>
                </c:pt>
                <c:pt idx="44932">
                  <c:v>22478</c:v>
                </c:pt>
                <c:pt idx="44933">
                  <c:v>22478</c:v>
                </c:pt>
                <c:pt idx="44934">
                  <c:v>22477</c:v>
                </c:pt>
                <c:pt idx="44935">
                  <c:v>22477</c:v>
                </c:pt>
                <c:pt idx="44936">
                  <c:v>22477</c:v>
                </c:pt>
                <c:pt idx="44937">
                  <c:v>22477</c:v>
                </c:pt>
                <c:pt idx="44938">
                  <c:v>22477</c:v>
                </c:pt>
                <c:pt idx="44939">
                  <c:v>22476</c:v>
                </c:pt>
                <c:pt idx="44940">
                  <c:v>22476</c:v>
                </c:pt>
                <c:pt idx="44941">
                  <c:v>22475</c:v>
                </c:pt>
                <c:pt idx="44942">
                  <c:v>22474</c:v>
                </c:pt>
                <c:pt idx="44943">
                  <c:v>22474</c:v>
                </c:pt>
                <c:pt idx="44944">
                  <c:v>22474</c:v>
                </c:pt>
                <c:pt idx="44945">
                  <c:v>22474</c:v>
                </c:pt>
                <c:pt idx="44946">
                  <c:v>22474</c:v>
                </c:pt>
                <c:pt idx="44947">
                  <c:v>22473</c:v>
                </c:pt>
                <c:pt idx="44948">
                  <c:v>22473</c:v>
                </c:pt>
                <c:pt idx="44949">
                  <c:v>22473</c:v>
                </c:pt>
                <c:pt idx="44950">
                  <c:v>22472</c:v>
                </c:pt>
                <c:pt idx="44951">
                  <c:v>22471</c:v>
                </c:pt>
                <c:pt idx="44952">
                  <c:v>22471</c:v>
                </c:pt>
                <c:pt idx="44953">
                  <c:v>22470</c:v>
                </c:pt>
                <c:pt idx="44954">
                  <c:v>22470</c:v>
                </c:pt>
                <c:pt idx="44955">
                  <c:v>22469</c:v>
                </c:pt>
                <c:pt idx="44956">
                  <c:v>22469</c:v>
                </c:pt>
                <c:pt idx="44957">
                  <c:v>22469</c:v>
                </c:pt>
                <c:pt idx="44958">
                  <c:v>22468</c:v>
                </c:pt>
                <c:pt idx="44959">
                  <c:v>22468</c:v>
                </c:pt>
                <c:pt idx="44960">
                  <c:v>22467</c:v>
                </c:pt>
                <c:pt idx="44961">
                  <c:v>22466</c:v>
                </c:pt>
                <c:pt idx="44962">
                  <c:v>22466</c:v>
                </c:pt>
                <c:pt idx="44963">
                  <c:v>22466</c:v>
                </c:pt>
                <c:pt idx="44964">
                  <c:v>22466</c:v>
                </c:pt>
                <c:pt idx="44965">
                  <c:v>22466</c:v>
                </c:pt>
                <c:pt idx="44966">
                  <c:v>22465</c:v>
                </c:pt>
                <c:pt idx="44967">
                  <c:v>22465</c:v>
                </c:pt>
                <c:pt idx="44968">
                  <c:v>22464</c:v>
                </c:pt>
                <c:pt idx="44969">
                  <c:v>22464</c:v>
                </c:pt>
                <c:pt idx="44970">
                  <c:v>22464</c:v>
                </c:pt>
                <c:pt idx="44971">
                  <c:v>22464</c:v>
                </c:pt>
                <c:pt idx="44972">
                  <c:v>22464</c:v>
                </c:pt>
                <c:pt idx="44973">
                  <c:v>22464</c:v>
                </c:pt>
                <c:pt idx="44974">
                  <c:v>22463</c:v>
                </c:pt>
                <c:pt idx="44975">
                  <c:v>22463</c:v>
                </c:pt>
                <c:pt idx="44976">
                  <c:v>22463</c:v>
                </c:pt>
                <c:pt idx="44977">
                  <c:v>22462</c:v>
                </c:pt>
                <c:pt idx="44978">
                  <c:v>22462</c:v>
                </c:pt>
                <c:pt idx="44979">
                  <c:v>22461</c:v>
                </c:pt>
                <c:pt idx="44980">
                  <c:v>22461</c:v>
                </c:pt>
                <c:pt idx="44981">
                  <c:v>22461</c:v>
                </c:pt>
                <c:pt idx="44982">
                  <c:v>22461</c:v>
                </c:pt>
                <c:pt idx="44983">
                  <c:v>22460</c:v>
                </c:pt>
                <c:pt idx="44984">
                  <c:v>22460</c:v>
                </c:pt>
                <c:pt idx="44985">
                  <c:v>22460</c:v>
                </c:pt>
                <c:pt idx="44986">
                  <c:v>22460</c:v>
                </c:pt>
                <c:pt idx="44987">
                  <c:v>22460</c:v>
                </c:pt>
                <c:pt idx="44988">
                  <c:v>22460</c:v>
                </c:pt>
                <c:pt idx="44989">
                  <c:v>22459</c:v>
                </c:pt>
                <c:pt idx="44990">
                  <c:v>22458</c:v>
                </c:pt>
                <c:pt idx="44991">
                  <c:v>22458</c:v>
                </c:pt>
                <c:pt idx="44992">
                  <c:v>22458</c:v>
                </c:pt>
                <c:pt idx="44993">
                  <c:v>22457</c:v>
                </c:pt>
                <c:pt idx="44994">
                  <c:v>22457</c:v>
                </c:pt>
                <c:pt idx="44995">
                  <c:v>22457</c:v>
                </c:pt>
                <c:pt idx="44996">
                  <c:v>22456</c:v>
                </c:pt>
                <c:pt idx="44997">
                  <c:v>22456</c:v>
                </c:pt>
                <c:pt idx="44998">
                  <c:v>22456</c:v>
                </c:pt>
                <c:pt idx="44999">
                  <c:v>22455</c:v>
                </c:pt>
                <c:pt idx="45000">
                  <c:v>22454</c:v>
                </c:pt>
                <c:pt idx="45001">
                  <c:v>22454</c:v>
                </c:pt>
                <c:pt idx="45002">
                  <c:v>22454</c:v>
                </c:pt>
                <c:pt idx="45003">
                  <c:v>22454</c:v>
                </c:pt>
                <c:pt idx="45004">
                  <c:v>22453</c:v>
                </c:pt>
                <c:pt idx="45005">
                  <c:v>22453</c:v>
                </c:pt>
                <c:pt idx="45006">
                  <c:v>22452</c:v>
                </c:pt>
                <c:pt idx="45007">
                  <c:v>22452</c:v>
                </c:pt>
                <c:pt idx="45008">
                  <c:v>22452</c:v>
                </c:pt>
                <c:pt idx="45009">
                  <c:v>22451</c:v>
                </c:pt>
                <c:pt idx="45010">
                  <c:v>22451</c:v>
                </c:pt>
                <c:pt idx="45011">
                  <c:v>22450</c:v>
                </c:pt>
                <c:pt idx="45012">
                  <c:v>22449</c:v>
                </c:pt>
                <c:pt idx="45013">
                  <c:v>22449</c:v>
                </c:pt>
                <c:pt idx="45014">
                  <c:v>22449</c:v>
                </c:pt>
                <c:pt idx="45015">
                  <c:v>22449</c:v>
                </c:pt>
                <c:pt idx="45016">
                  <c:v>22449</c:v>
                </c:pt>
                <c:pt idx="45017">
                  <c:v>22449</c:v>
                </c:pt>
                <c:pt idx="45018">
                  <c:v>22448</c:v>
                </c:pt>
                <c:pt idx="45019">
                  <c:v>22448</c:v>
                </c:pt>
                <c:pt idx="45020">
                  <c:v>22447</c:v>
                </c:pt>
                <c:pt idx="45021">
                  <c:v>22447</c:v>
                </c:pt>
                <c:pt idx="45022">
                  <c:v>22447</c:v>
                </c:pt>
                <c:pt idx="45023">
                  <c:v>22447</c:v>
                </c:pt>
                <c:pt idx="45024">
                  <c:v>22447</c:v>
                </c:pt>
                <c:pt idx="45025">
                  <c:v>22446</c:v>
                </c:pt>
                <c:pt idx="45026">
                  <c:v>22446</c:v>
                </c:pt>
                <c:pt idx="45027">
                  <c:v>22445</c:v>
                </c:pt>
                <c:pt idx="45028">
                  <c:v>22445</c:v>
                </c:pt>
                <c:pt idx="45029">
                  <c:v>22445</c:v>
                </c:pt>
                <c:pt idx="45030">
                  <c:v>22444</c:v>
                </c:pt>
                <c:pt idx="45031">
                  <c:v>22444</c:v>
                </c:pt>
                <c:pt idx="45032">
                  <c:v>22444</c:v>
                </c:pt>
                <c:pt idx="45033">
                  <c:v>22444</c:v>
                </c:pt>
                <c:pt idx="45034">
                  <c:v>22443</c:v>
                </c:pt>
                <c:pt idx="45035">
                  <c:v>22443</c:v>
                </c:pt>
                <c:pt idx="45036">
                  <c:v>22443</c:v>
                </c:pt>
                <c:pt idx="45037">
                  <c:v>22442</c:v>
                </c:pt>
                <c:pt idx="45038">
                  <c:v>22442</c:v>
                </c:pt>
                <c:pt idx="45039">
                  <c:v>22442</c:v>
                </c:pt>
                <c:pt idx="45040">
                  <c:v>22442</c:v>
                </c:pt>
                <c:pt idx="45041">
                  <c:v>22442</c:v>
                </c:pt>
                <c:pt idx="45042">
                  <c:v>22442</c:v>
                </c:pt>
                <c:pt idx="45043">
                  <c:v>22440</c:v>
                </c:pt>
                <c:pt idx="45044">
                  <c:v>22440</c:v>
                </c:pt>
                <c:pt idx="45045">
                  <c:v>22440</c:v>
                </c:pt>
                <c:pt idx="45046">
                  <c:v>22440</c:v>
                </c:pt>
                <c:pt idx="45047">
                  <c:v>22439</c:v>
                </c:pt>
                <c:pt idx="45048">
                  <c:v>22439</c:v>
                </c:pt>
                <c:pt idx="45049">
                  <c:v>22439</c:v>
                </c:pt>
                <c:pt idx="45050">
                  <c:v>22438</c:v>
                </c:pt>
                <c:pt idx="45051">
                  <c:v>22438</c:v>
                </c:pt>
                <c:pt idx="45052">
                  <c:v>22438</c:v>
                </c:pt>
                <c:pt idx="45053">
                  <c:v>22438</c:v>
                </c:pt>
                <c:pt idx="45054">
                  <c:v>22437</c:v>
                </c:pt>
                <c:pt idx="45055">
                  <c:v>22437</c:v>
                </c:pt>
                <c:pt idx="45056">
                  <c:v>22436</c:v>
                </c:pt>
                <c:pt idx="45057">
                  <c:v>22436</c:v>
                </c:pt>
                <c:pt idx="45058">
                  <c:v>22436</c:v>
                </c:pt>
                <c:pt idx="45059">
                  <c:v>22435</c:v>
                </c:pt>
                <c:pt idx="45060">
                  <c:v>22435</c:v>
                </c:pt>
                <c:pt idx="45061">
                  <c:v>22435</c:v>
                </c:pt>
                <c:pt idx="45062">
                  <c:v>22435</c:v>
                </c:pt>
                <c:pt idx="45063">
                  <c:v>22434</c:v>
                </c:pt>
                <c:pt idx="45064">
                  <c:v>22434</c:v>
                </c:pt>
                <c:pt idx="45065">
                  <c:v>22434</c:v>
                </c:pt>
                <c:pt idx="45066">
                  <c:v>22434</c:v>
                </c:pt>
                <c:pt idx="45067">
                  <c:v>22433</c:v>
                </c:pt>
                <c:pt idx="45068">
                  <c:v>22433</c:v>
                </c:pt>
                <c:pt idx="45069">
                  <c:v>22433</c:v>
                </c:pt>
                <c:pt idx="45070">
                  <c:v>22433</c:v>
                </c:pt>
                <c:pt idx="45071">
                  <c:v>22433</c:v>
                </c:pt>
                <c:pt idx="45072">
                  <c:v>22433</c:v>
                </c:pt>
                <c:pt idx="45073">
                  <c:v>22432</c:v>
                </c:pt>
                <c:pt idx="45074">
                  <c:v>22432</c:v>
                </c:pt>
                <c:pt idx="45075">
                  <c:v>22432</c:v>
                </c:pt>
                <c:pt idx="45076">
                  <c:v>22432</c:v>
                </c:pt>
                <c:pt idx="45077">
                  <c:v>22432</c:v>
                </c:pt>
                <c:pt idx="45078">
                  <c:v>22432</c:v>
                </c:pt>
                <c:pt idx="45079">
                  <c:v>22432</c:v>
                </c:pt>
                <c:pt idx="45080">
                  <c:v>22431</c:v>
                </c:pt>
                <c:pt idx="45081">
                  <c:v>22431</c:v>
                </c:pt>
                <c:pt idx="45082">
                  <c:v>22430</c:v>
                </c:pt>
                <c:pt idx="45083">
                  <c:v>22430</c:v>
                </c:pt>
                <c:pt idx="45084">
                  <c:v>22430</c:v>
                </c:pt>
                <c:pt idx="45085">
                  <c:v>22430</c:v>
                </c:pt>
                <c:pt idx="45086">
                  <c:v>22429</c:v>
                </c:pt>
                <c:pt idx="45087">
                  <c:v>22429</c:v>
                </c:pt>
                <c:pt idx="45088">
                  <c:v>22429</c:v>
                </c:pt>
                <c:pt idx="45089">
                  <c:v>22428</c:v>
                </c:pt>
                <c:pt idx="45090">
                  <c:v>22428</c:v>
                </c:pt>
                <c:pt idx="45091">
                  <c:v>22427</c:v>
                </c:pt>
                <c:pt idx="45092">
                  <c:v>22427</c:v>
                </c:pt>
                <c:pt idx="45093">
                  <c:v>22427</c:v>
                </c:pt>
                <c:pt idx="45094">
                  <c:v>22427</c:v>
                </c:pt>
                <c:pt idx="45095">
                  <c:v>22427</c:v>
                </c:pt>
                <c:pt idx="45096">
                  <c:v>22426</c:v>
                </c:pt>
                <c:pt idx="45097">
                  <c:v>22426</c:v>
                </c:pt>
                <c:pt idx="45098">
                  <c:v>22426</c:v>
                </c:pt>
                <c:pt idx="45099">
                  <c:v>22426</c:v>
                </c:pt>
                <c:pt idx="45100">
                  <c:v>22425</c:v>
                </c:pt>
                <c:pt idx="45101">
                  <c:v>22425</c:v>
                </c:pt>
                <c:pt idx="45102">
                  <c:v>22425</c:v>
                </c:pt>
                <c:pt idx="45103">
                  <c:v>22425</c:v>
                </c:pt>
                <c:pt idx="45104">
                  <c:v>22424</c:v>
                </c:pt>
                <c:pt idx="45105">
                  <c:v>22423</c:v>
                </c:pt>
                <c:pt idx="45106">
                  <c:v>22423</c:v>
                </c:pt>
                <c:pt idx="45107">
                  <c:v>22423</c:v>
                </c:pt>
                <c:pt idx="45108">
                  <c:v>22423</c:v>
                </c:pt>
                <c:pt idx="45109">
                  <c:v>22422</c:v>
                </c:pt>
                <c:pt idx="45110">
                  <c:v>22421</c:v>
                </c:pt>
                <c:pt idx="45111">
                  <c:v>22421</c:v>
                </c:pt>
                <c:pt idx="45112">
                  <c:v>22421</c:v>
                </c:pt>
                <c:pt idx="45113">
                  <c:v>22420</c:v>
                </c:pt>
                <c:pt idx="45114">
                  <c:v>22420</c:v>
                </c:pt>
                <c:pt idx="45115">
                  <c:v>22420</c:v>
                </c:pt>
                <c:pt idx="45116">
                  <c:v>22420</c:v>
                </c:pt>
                <c:pt idx="45117">
                  <c:v>22420</c:v>
                </c:pt>
                <c:pt idx="45118">
                  <c:v>22419</c:v>
                </c:pt>
                <c:pt idx="45119">
                  <c:v>22419</c:v>
                </c:pt>
                <c:pt idx="45120">
                  <c:v>22419</c:v>
                </c:pt>
                <c:pt idx="45121">
                  <c:v>22418</c:v>
                </c:pt>
                <c:pt idx="45122">
                  <c:v>22418</c:v>
                </c:pt>
                <c:pt idx="45123">
                  <c:v>22418</c:v>
                </c:pt>
                <c:pt idx="45124">
                  <c:v>22418</c:v>
                </c:pt>
                <c:pt idx="45125">
                  <c:v>22418</c:v>
                </c:pt>
                <c:pt idx="45126">
                  <c:v>22418</c:v>
                </c:pt>
                <c:pt idx="45127">
                  <c:v>22418</c:v>
                </c:pt>
                <c:pt idx="45128">
                  <c:v>22417</c:v>
                </c:pt>
                <c:pt idx="45129">
                  <c:v>22417</c:v>
                </c:pt>
                <c:pt idx="45130">
                  <c:v>22416</c:v>
                </c:pt>
                <c:pt idx="45131">
                  <c:v>22416</c:v>
                </c:pt>
                <c:pt idx="45132">
                  <c:v>22414</c:v>
                </c:pt>
                <c:pt idx="45133">
                  <c:v>22414</c:v>
                </c:pt>
                <c:pt idx="45134">
                  <c:v>22413</c:v>
                </c:pt>
                <c:pt idx="45135">
                  <c:v>22412</c:v>
                </c:pt>
                <c:pt idx="45136">
                  <c:v>22411</c:v>
                </c:pt>
                <c:pt idx="45137">
                  <c:v>22411</c:v>
                </c:pt>
                <c:pt idx="45138">
                  <c:v>22411</c:v>
                </c:pt>
                <c:pt idx="45139">
                  <c:v>22410</c:v>
                </c:pt>
                <c:pt idx="45140">
                  <c:v>22410</c:v>
                </c:pt>
                <c:pt idx="45141">
                  <c:v>22410</c:v>
                </c:pt>
                <c:pt idx="45142">
                  <c:v>22410</c:v>
                </c:pt>
                <c:pt idx="45143">
                  <c:v>22409</c:v>
                </c:pt>
                <c:pt idx="45144">
                  <c:v>22409</c:v>
                </c:pt>
                <c:pt idx="45145">
                  <c:v>22409</c:v>
                </c:pt>
                <c:pt idx="45146">
                  <c:v>22408</c:v>
                </c:pt>
                <c:pt idx="45147">
                  <c:v>22408</c:v>
                </c:pt>
                <c:pt idx="45148">
                  <c:v>22408</c:v>
                </c:pt>
                <c:pt idx="45149">
                  <c:v>22408</c:v>
                </c:pt>
                <c:pt idx="45150">
                  <c:v>22407</c:v>
                </c:pt>
                <c:pt idx="45151">
                  <c:v>22406</c:v>
                </c:pt>
                <c:pt idx="45152">
                  <c:v>22406</c:v>
                </c:pt>
                <c:pt idx="45153">
                  <c:v>22406</c:v>
                </c:pt>
                <c:pt idx="45154">
                  <c:v>22405</c:v>
                </c:pt>
                <c:pt idx="45155">
                  <c:v>22405</c:v>
                </c:pt>
                <c:pt idx="45156">
                  <c:v>22405</c:v>
                </c:pt>
                <c:pt idx="45157">
                  <c:v>22405</c:v>
                </c:pt>
                <c:pt idx="45158">
                  <c:v>22405</c:v>
                </c:pt>
                <c:pt idx="45159">
                  <c:v>22405</c:v>
                </c:pt>
                <c:pt idx="45160">
                  <c:v>22404</c:v>
                </c:pt>
                <c:pt idx="45161">
                  <c:v>22404</c:v>
                </c:pt>
                <c:pt idx="45162">
                  <c:v>22402</c:v>
                </c:pt>
                <c:pt idx="45163">
                  <c:v>22402</c:v>
                </c:pt>
                <c:pt idx="45164">
                  <c:v>22402</c:v>
                </c:pt>
                <c:pt idx="45165">
                  <c:v>22401</c:v>
                </c:pt>
                <c:pt idx="45166">
                  <c:v>22401</c:v>
                </c:pt>
                <c:pt idx="45167">
                  <c:v>22401</c:v>
                </c:pt>
                <c:pt idx="45168">
                  <c:v>22401</c:v>
                </c:pt>
                <c:pt idx="45169">
                  <c:v>22400</c:v>
                </c:pt>
                <c:pt idx="45170">
                  <c:v>22400</c:v>
                </c:pt>
                <c:pt idx="45171">
                  <c:v>22400</c:v>
                </c:pt>
                <c:pt idx="45172">
                  <c:v>22400</c:v>
                </c:pt>
                <c:pt idx="45173">
                  <c:v>22400</c:v>
                </c:pt>
                <c:pt idx="45174">
                  <c:v>22400</c:v>
                </c:pt>
                <c:pt idx="45175">
                  <c:v>22400</c:v>
                </c:pt>
                <c:pt idx="45176">
                  <c:v>22400</c:v>
                </c:pt>
                <c:pt idx="45177">
                  <c:v>22400</c:v>
                </c:pt>
                <c:pt idx="45178">
                  <c:v>22399</c:v>
                </c:pt>
                <c:pt idx="45179">
                  <c:v>22399</c:v>
                </c:pt>
                <c:pt idx="45180">
                  <c:v>22399</c:v>
                </c:pt>
                <c:pt idx="45181">
                  <c:v>22399</c:v>
                </c:pt>
                <c:pt idx="45182">
                  <c:v>22399</c:v>
                </c:pt>
                <c:pt idx="45183">
                  <c:v>22398</c:v>
                </c:pt>
                <c:pt idx="45184">
                  <c:v>22398</c:v>
                </c:pt>
                <c:pt idx="45185">
                  <c:v>22398</c:v>
                </c:pt>
                <c:pt idx="45186">
                  <c:v>22398</c:v>
                </c:pt>
                <c:pt idx="45187">
                  <c:v>22397</c:v>
                </c:pt>
                <c:pt idx="45188">
                  <c:v>22397</c:v>
                </c:pt>
                <c:pt idx="45189">
                  <c:v>22397</c:v>
                </c:pt>
                <c:pt idx="45190">
                  <c:v>22397</c:v>
                </c:pt>
                <c:pt idx="45191">
                  <c:v>22396</c:v>
                </c:pt>
                <c:pt idx="45192">
                  <c:v>22396</c:v>
                </c:pt>
                <c:pt idx="45193">
                  <c:v>22396</c:v>
                </c:pt>
                <c:pt idx="45194">
                  <c:v>22396</c:v>
                </c:pt>
                <c:pt idx="45195">
                  <c:v>22395</c:v>
                </c:pt>
                <c:pt idx="45196">
                  <c:v>22395</c:v>
                </c:pt>
                <c:pt idx="45197">
                  <c:v>22395</c:v>
                </c:pt>
                <c:pt idx="45198">
                  <c:v>22394</c:v>
                </c:pt>
                <c:pt idx="45199">
                  <c:v>22394</c:v>
                </c:pt>
                <c:pt idx="45200">
                  <c:v>22394</c:v>
                </c:pt>
                <c:pt idx="45201">
                  <c:v>22394</c:v>
                </c:pt>
                <c:pt idx="45202">
                  <c:v>22393</c:v>
                </c:pt>
                <c:pt idx="45203">
                  <c:v>22393</c:v>
                </c:pt>
                <c:pt idx="45204">
                  <c:v>22392</c:v>
                </c:pt>
                <c:pt idx="45205">
                  <c:v>22392</c:v>
                </c:pt>
                <c:pt idx="45206">
                  <c:v>22391</c:v>
                </c:pt>
                <c:pt idx="45207">
                  <c:v>22391</c:v>
                </c:pt>
                <c:pt idx="45208">
                  <c:v>22391</c:v>
                </c:pt>
                <c:pt idx="45209">
                  <c:v>22391</c:v>
                </c:pt>
                <c:pt idx="45210">
                  <c:v>22391</c:v>
                </c:pt>
                <c:pt idx="45211">
                  <c:v>22391</c:v>
                </c:pt>
                <c:pt idx="45212">
                  <c:v>22391</c:v>
                </c:pt>
                <c:pt idx="45213">
                  <c:v>22390</c:v>
                </c:pt>
                <c:pt idx="45214">
                  <c:v>22389</c:v>
                </c:pt>
                <c:pt idx="45215">
                  <c:v>22389</c:v>
                </c:pt>
                <c:pt idx="45216">
                  <c:v>22389</c:v>
                </c:pt>
                <c:pt idx="45217">
                  <c:v>22389</c:v>
                </c:pt>
                <c:pt idx="45218">
                  <c:v>22389</c:v>
                </c:pt>
                <c:pt idx="45219">
                  <c:v>22388</c:v>
                </c:pt>
                <c:pt idx="45220">
                  <c:v>22388</c:v>
                </c:pt>
                <c:pt idx="45221">
                  <c:v>22388</c:v>
                </c:pt>
                <c:pt idx="45222">
                  <c:v>22388</c:v>
                </c:pt>
                <c:pt idx="45223">
                  <c:v>22387</c:v>
                </c:pt>
                <c:pt idx="45224">
                  <c:v>22387</c:v>
                </c:pt>
                <c:pt idx="45225">
                  <c:v>22387</c:v>
                </c:pt>
                <c:pt idx="45226">
                  <c:v>22387</c:v>
                </c:pt>
                <c:pt idx="45227">
                  <c:v>22387</c:v>
                </c:pt>
                <c:pt idx="45228">
                  <c:v>22386</c:v>
                </c:pt>
                <c:pt idx="45229">
                  <c:v>22386</c:v>
                </c:pt>
                <c:pt idx="45230">
                  <c:v>22386</c:v>
                </c:pt>
                <c:pt idx="45231">
                  <c:v>22386</c:v>
                </c:pt>
                <c:pt idx="45232">
                  <c:v>22385</c:v>
                </c:pt>
                <c:pt idx="45233">
                  <c:v>22384</c:v>
                </c:pt>
                <c:pt idx="45234">
                  <c:v>22384</c:v>
                </c:pt>
                <c:pt idx="45235">
                  <c:v>22383</c:v>
                </c:pt>
                <c:pt idx="45236">
                  <c:v>22383</c:v>
                </c:pt>
                <c:pt idx="45237">
                  <c:v>22382</c:v>
                </c:pt>
                <c:pt idx="45238">
                  <c:v>22382</c:v>
                </c:pt>
                <c:pt idx="45239">
                  <c:v>22382</c:v>
                </c:pt>
                <c:pt idx="45240">
                  <c:v>22381</c:v>
                </c:pt>
                <c:pt idx="45241">
                  <c:v>22381</c:v>
                </c:pt>
                <c:pt idx="45242">
                  <c:v>22380</c:v>
                </c:pt>
                <c:pt idx="45243">
                  <c:v>22380</c:v>
                </c:pt>
                <c:pt idx="45244">
                  <c:v>22380</c:v>
                </c:pt>
                <c:pt idx="45245">
                  <c:v>22380</c:v>
                </c:pt>
                <c:pt idx="45246">
                  <c:v>22379</c:v>
                </c:pt>
                <c:pt idx="45247">
                  <c:v>22379</c:v>
                </c:pt>
                <c:pt idx="45248">
                  <c:v>22378</c:v>
                </c:pt>
                <c:pt idx="45249">
                  <c:v>22378</c:v>
                </c:pt>
                <c:pt idx="45250">
                  <c:v>22378</c:v>
                </c:pt>
                <c:pt idx="45251">
                  <c:v>22378</c:v>
                </c:pt>
                <c:pt idx="45252">
                  <c:v>22378</c:v>
                </c:pt>
                <c:pt idx="45253">
                  <c:v>22378</c:v>
                </c:pt>
                <c:pt idx="45254">
                  <c:v>22377</c:v>
                </c:pt>
                <c:pt idx="45255">
                  <c:v>22377</c:v>
                </c:pt>
                <c:pt idx="45256">
                  <c:v>22376</c:v>
                </c:pt>
                <c:pt idx="45257">
                  <c:v>22375</c:v>
                </c:pt>
                <c:pt idx="45258">
                  <c:v>22375</c:v>
                </c:pt>
                <c:pt idx="45259">
                  <c:v>22375</c:v>
                </c:pt>
                <c:pt idx="45260">
                  <c:v>22375</c:v>
                </c:pt>
                <c:pt idx="45261">
                  <c:v>22375</c:v>
                </c:pt>
                <c:pt idx="45262">
                  <c:v>22374</c:v>
                </c:pt>
                <c:pt idx="45263">
                  <c:v>22374</c:v>
                </c:pt>
                <c:pt idx="45264">
                  <c:v>22374</c:v>
                </c:pt>
                <c:pt idx="45265">
                  <c:v>22374</c:v>
                </c:pt>
                <c:pt idx="45266">
                  <c:v>22373</c:v>
                </c:pt>
                <c:pt idx="45267">
                  <c:v>22373</c:v>
                </c:pt>
                <c:pt idx="45268">
                  <c:v>22373</c:v>
                </c:pt>
                <c:pt idx="45269">
                  <c:v>22372</c:v>
                </c:pt>
                <c:pt idx="45270">
                  <c:v>22372</c:v>
                </c:pt>
                <c:pt idx="45271">
                  <c:v>22371</c:v>
                </c:pt>
                <c:pt idx="45272">
                  <c:v>22371</c:v>
                </c:pt>
                <c:pt idx="45273">
                  <c:v>22371</c:v>
                </c:pt>
                <c:pt idx="45274">
                  <c:v>22371</c:v>
                </c:pt>
                <c:pt idx="45275">
                  <c:v>22371</c:v>
                </c:pt>
                <c:pt idx="45276">
                  <c:v>22370</c:v>
                </c:pt>
                <c:pt idx="45277">
                  <c:v>22370</c:v>
                </c:pt>
                <c:pt idx="45278">
                  <c:v>22369</c:v>
                </c:pt>
                <c:pt idx="45279">
                  <c:v>22369</c:v>
                </c:pt>
                <c:pt idx="45280">
                  <c:v>22368</c:v>
                </c:pt>
                <c:pt idx="45281">
                  <c:v>22368</c:v>
                </c:pt>
                <c:pt idx="45282">
                  <c:v>22368</c:v>
                </c:pt>
                <c:pt idx="45283">
                  <c:v>22367</c:v>
                </c:pt>
                <c:pt idx="45284">
                  <c:v>22367</c:v>
                </c:pt>
                <c:pt idx="45285">
                  <c:v>22367</c:v>
                </c:pt>
                <c:pt idx="45286">
                  <c:v>22366</c:v>
                </c:pt>
                <c:pt idx="45287">
                  <c:v>22366</c:v>
                </c:pt>
                <c:pt idx="45288">
                  <c:v>22366</c:v>
                </c:pt>
                <c:pt idx="45289">
                  <c:v>22366</c:v>
                </c:pt>
                <c:pt idx="45290">
                  <c:v>22366</c:v>
                </c:pt>
                <c:pt idx="45291">
                  <c:v>22365</c:v>
                </c:pt>
                <c:pt idx="45292">
                  <c:v>22365</c:v>
                </c:pt>
                <c:pt idx="45293">
                  <c:v>22364</c:v>
                </c:pt>
                <c:pt idx="45294">
                  <c:v>22364</c:v>
                </c:pt>
                <c:pt idx="45295">
                  <c:v>22363</c:v>
                </c:pt>
                <c:pt idx="45296">
                  <c:v>22363</c:v>
                </c:pt>
                <c:pt idx="45297">
                  <c:v>22363</c:v>
                </c:pt>
                <c:pt idx="45298">
                  <c:v>22363</c:v>
                </c:pt>
                <c:pt idx="45299">
                  <c:v>22363</c:v>
                </c:pt>
                <c:pt idx="45300">
                  <c:v>22362</c:v>
                </c:pt>
                <c:pt idx="45301">
                  <c:v>22362</c:v>
                </c:pt>
                <c:pt idx="45302">
                  <c:v>22361</c:v>
                </c:pt>
                <c:pt idx="45303">
                  <c:v>22361</c:v>
                </c:pt>
                <c:pt idx="45304">
                  <c:v>22361</c:v>
                </c:pt>
                <c:pt idx="45305">
                  <c:v>22361</c:v>
                </c:pt>
                <c:pt idx="45306">
                  <c:v>22361</c:v>
                </c:pt>
                <c:pt idx="45307">
                  <c:v>22360</c:v>
                </c:pt>
                <c:pt idx="45308">
                  <c:v>22360</c:v>
                </c:pt>
                <c:pt idx="45309">
                  <c:v>22360</c:v>
                </c:pt>
                <c:pt idx="45310">
                  <c:v>22359</c:v>
                </c:pt>
                <c:pt idx="45311">
                  <c:v>22359</c:v>
                </c:pt>
                <c:pt idx="45312">
                  <c:v>22359</c:v>
                </c:pt>
                <c:pt idx="45313">
                  <c:v>22359</c:v>
                </c:pt>
                <c:pt idx="45314">
                  <c:v>22358</c:v>
                </c:pt>
                <c:pt idx="45315">
                  <c:v>22358</c:v>
                </c:pt>
                <c:pt idx="45316">
                  <c:v>22357</c:v>
                </c:pt>
                <c:pt idx="45317">
                  <c:v>22357</c:v>
                </c:pt>
                <c:pt idx="45318">
                  <c:v>22356</c:v>
                </c:pt>
                <c:pt idx="45319">
                  <c:v>22355</c:v>
                </c:pt>
                <c:pt idx="45320">
                  <c:v>22355</c:v>
                </c:pt>
                <c:pt idx="45321">
                  <c:v>22355</c:v>
                </c:pt>
                <c:pt idx="45322">
                  <c:v>22354</c:v>
                </c:pt>
                <c:pt idx="45323">
                  <c:v>22354</c:v>
                </c:pt>
                <c:pt idx="45324">
                  <c:v>22353</c:v>
                </c:pt>
                <c:pt idx="45325">
                  <c:v>22353</c:v>
                </c:pt>
                <c:pt idx="45326">
                  <c:v>22352</c:v>
                </c:pt>
                <c:pt idx="45327">
                  <c:v>22352</c:v>
                </c:pt>
                <c:pt idx="45328">
                  <c:v>22352</c:v>
                </c:pt>
                <c:pt idx="45329">
                  <c:v>22351</c:v>
                </c:pt>
                <c:pt idx="45330">
                  <c:v>22351</c:v>
                </c:pt>
                <c:pt idx="45331">
                  <c:v>22351</c:v>
                </c:pt>
                <c:pt idx="45332">
                  <c:v>22350</c:v>
                </c:pt>
                <c:pt idx="45333">
                  <c:v>22350</c:v>
                </c:pt>
                <c:pt idx="45334">
                  <c:v>22349</c:v>
                </c:pt>
                <c:pt idx="45335">
                  <c:v>22349</c:v>
                </c:pt>
                <c:pt idx="45336">
                  <c:v>22349</c:v>
                </c:pt>
                <c:pt idx="45337">
                  <c:v>22348</c:v>
                </c:pt>
                <c:pt idx="45338">
                  <c:v>22348</c:v>
                </c:pt>
                <c:pt idx="45339">
                  <c:v>22348</c:v>
                </c:pt>
                <c:pt idx="45340">
                  <c:v>22348</c:v>
                </c:pt>
                <c:pt idx="45341">
                  <c:v>22348</c:v>
                </c:pt>
                <c:pt idx="45342">
                  <c:v>22347</c:v>
                </c:pt>
                <c:pt idx="45343">
                  <c:v>22347</c:v>
                </c:pt>
                <c:pt idx="45344">
                  <c:v>22347</c:v>
                </c:pt>
                <c:pt idx="45345">
                  <c:v>22346</c:v>
                </c:pt>
                <c:pt idx="45346">
                  <c:v>22346</c:v>
                </c:pt>
                <c:pt idx="45347">
                  <c:v>22346</c:v>
                </c:pt>
                <c:pt idx="45348">
                  <c:v>22345</c:v>
                </c:pt>
                <c:pt idx="45349">
                  <c:v>22345</c:v>
                </c:pt>
                <c:pt idx="45350">
                  <c:v>22344</c:v>
                </c:pt>
                <c:pt idx="45351">
                  <c:v>22344</c:v>
                </c:pt>
                <c:pt idx="45352">
                  <c:v>22343</c:v>
                </c:pt>
                <c:pt idx="45353">
                  <c:v>22343</c:v>
                </c:pt>
                <c:pt idx="45354">
                  <c:v>22343</c:v>
                </c:pt>
                <c:pt idx="45355">
                  <c:v>22343</c:v>
                </c:pt>
                <c:pt idx="45356">
                  <c:v>22342</c:v>
                </c:pt>
                <c:pt idx="45357">
                  <c:v>22342</c:v>
                </c:pt>
                <c:pt idx="45358">
                  <c:v>22341</c:v>
                </c:pt>
                <c:pt idx="45359">
                  <c:v>22341</c:v>
                </c:pt>
                <c:pt idx="45360">
                  <c:v>22341</c:v>
                </c:pt>
                <c:pt idx="45361">
                  <c:v>22340</c:v>
                </c:pt>
                <c:pt idx="45362">
                  <c:v>22339</c:v>
                </c:pt>
                <c:pt idx="45363">
                  <c:v>22339</c:v>
                </c:pt>
                <c:pt idx="45364">
                  <c:v>22338</c:v>
                </c:pt>
                <c:pt idx="45365">
                  <c:v>22338</c:v>
                </c:pt>
                <c:pt idx="45366">
                  <c:v>22338</c:v>
                </c:pt>
                <c:pt idx="45367">
                  <c:v>22338</c:v>
                </c:pt>
                <c:pt idx="45368">
                  <c:v>22338</c:v>
                </c:pt>
                <c:pt idx="45369">
                  <c:v>22337</c:v>
                </c:pt>
                <c:pt idx="45370">
                  <c:v>22337</c:v>
                </c:pt>
                <c:pt idx="45371">
                  <c:v>22337</c:v>
                </c:pt>
                <c:pt idx="45372">
                  <c:v>22336</c:v>
                </c:pt>
                <c:pt idx="45373">
                  <c:v>22336</c:v>
                </c:pt>
                <c:pt idx="45374">
                  <c:v>22335</c:v>
                </c:pt>
                <c:pt idx="45375">
                  <c:v>22333</c:v>
                </c:pt>
                <c:pt idx="45376">
                  <c:v>22333</c:v>
                </c:pt>
                <c:pt idx="45377">
                  <c:v>22333</c:v>
                </c:pt>
                <c:pt idx="45378">
                  <c:v>22333</c:v>
                </c:pt>
                <c:pt idx="45379">
                  <c:v>22333</c:v>
                </c:pt>
                <c:pt idx="45380">
                  <c:v>22332</c:v>
                </c:pt>
                <c:pt idx="45381">
                  <c:v>22332</c:v>
                </c:pt>
                <c:pt idx="45382">
                  <c:v>22332</c:v>
                </c:pt>
                <c:pt idx="45383">
                  <c:v>22332</c:v>
                </c:pt>
                <c:pt idx="45384">
                  <c:v>22332</c:v>
                </c:pt>
                <c:pt idx="45385">
                  <c:v>22331</c:v>
                </c:pt>
                <c:pt idx="45386">
                  <c:v>22331</c:v>
                </c:pt>
                <c:pt idx="45387">
                  <c:v>22330</c:v>
                </c:pt>
                <c:pt idx="45388">
                  <c:v>22330</c:v>
                </c:pt>
                <c:pt idx="45389">
                  <c:v>22330</c:v>
                </c:pt>
                <c:pt idx="45390">
                  <c:v>22330</c:v>
                </c:pt>
                <c:pt idx="45391">
                  <c:v>22330</c:v>
                </c:pt>
                <c:pt idx="45392">
                  <c:v>22329</c:v>
                </c:pt>
                <c:pt idx="45393">
                  <c:v>22329</c:v>
                </c:pt>
                <c:pt idx="45394">
                  <c:v>22329</c:v>
                </c:pt>
                <c:pt idx="45395">
                  <c:v>22329</c:v>
                </c:pt>
                <c:pt idx="45396">
                  <c:v>22329</c:v>
                </c:pt>
                <c:pt idx="45397">
                  <c:v>22328</c:v>
                </c:pt>
                <c:pt idx="45398">
                  <c:v>22327</c:v>
                </c:pt>
                <c:pt idx="45399">
                  <c:v>22327</c:v>
                </c:pt>
                <c:pt idx="45400">
                  <c:v>22327</c:v>
                </c:pt>
                <c:pt idx="45401">
                  <c:v>22327</c:v>
                </c:pt>
                <c:pt idx="45402">
                  <c:v>22326</c:v>
                </c:pt>
                <c:pt idx="45403">
                  <c:v>22326</c:v>
                </c:pt>
                <c:pt idx="45404">
                  <c:v>22325</c:v>
                </c:pt>
                <c:pt idx="45405">
                  <c:v>22325</c:v>
                </c:pt>
                <c:pt idx="45406">
                  <c:v>22325</c:v>
                </c:pt>
                <c:pt idx="45407">
                  <c:v>22323</c:v>
                </c:pt>
                <c:pt idx="45408">
                  <c:v>22321</c:v>
                </c:pt>
                <c:pt idx="45409">
                  <c:v>22321</c:v>
                </c:pt>
                <c:pt idx="45410">
                  <c:v>22321</c:v>
                </c:pt>
                <c:pt idx="45411">
                  <c:v>22320</c:v>
                </c:pt>
                <c:pt idx="45412">
                  <c:v>22320</c:v>
                </c:pt>
                <c:pt idx="45413">
                  <c:v>22320</c:v>
                </c:pt>
                <c:pt idx="45414">
                  <c:v>22320</c:v>
                </c:pt>
                <c:pt idx="45415">
                  <c:v>22320</c:v>
                </c:pt>
                <c:pt idx="45416">
                  <c:v>22319</c:v>
                </c:pt>
                <c:pt idx="45417">
                  <c:v>22319</c:v>
                </c:pt>
                <c:pt idx="45418">
                  <c:v>22319</c:v>
                </c:pt>
                <c:pt idx="45419">
                  <c:v>22318</c:v>
                </c:pt>
                <c:pt idx="45420">
                  <c:v>22317</c:v>
                </c:pt>
                <c:pt idx="45421">
                  <c:v>22317</c:v>
                </c:pt>
                <c:pt idx="45422">
                  <c:v>22316</c:v>
                </c:pt>
                <c:pt idx="45423">
                  <c:v>22314</c:v>
                </c:pt>
                <c:pt idx="45424">
                  <c:v>22314</c:v>
                </c:pt>
                <c:pt idx="45425">
                  <c:v>22314</c:v>
                </c:pt>
                <c:pt idx="45426">
                  <c:v>22314</c:v>
                </c:pt>
                <c:pt idx="45427">
                  <c:v>22314</c:v>
                </c:pt>
                <c:pt idx="45428">
                  <c:v>22313</c:v>
                </c:pt>
                <c:pt idx="45429">
                  <c:v>22313</c:v>
                </c:pt>
                <c:pt idx="45430">
                  <c:v>22312</c:v>
                </c:pt>
                <c:pt idx="45431">
                  <c:v>22312</c:v>
                </c:pt>
                <c:pt idx="45432">
                  <c:v>22312</c:v>
                </c:pt>
                <c:pt idx="45433">
                  <c:v>22312</c:v>
                </c:pt>
                <c:pt idx="45434">
                  <c:v>22312</c:v>
                </c:pt>
                <c:pt idx="45435">
                  <c:v>22312</c:v>
                </c:pt>
                <c:pt idx="45436">
                  <c:v>22311</c:v>
                </c:pt>
                <c:pt idx="45437">
                  <c:v>22311</c:v>
                </c:pt>
                <c:pt idx="45438">
                  <c:v>22311</c:v>
                </c:pt>
                <c:pt idx="45439">
                  <c:v>22311</c:v>
                </c:pt>
                <c:pt idx="45440">
                  <c:v>22310</c:v>
                </c:pt>
                <c:pt idx="45441">
                  <c:v>22310</c:v>
                </c:pt>
                <c:pt idx="45442">
                  <c:v>22310</c:v>
                </c:pt>
                <c:pt idx="45443">
                  <c:v>22310</c:v>
                </c:pt>
                <c:pt idx="45444">
                  <c:v>22309</c:v>
                </c:pt>
                <c:pt idx="45445">
                  <c:v>22309</c:v>
                </c:pt>
                <c:pt idx="45446">
                  <c:v>22308</c:v>
                </c:pt>
                <c:pt idx="45447">
                  <c:v>22308</c:v>
                </c:pt>
                <c:pt idx="45448">
                  <c:v>22308</c:v>
                </c:pt>
                <c:pt idx="45449">
                  <c:v>22308</c:v>
                </c:pt>
                <c:pt idx="45450">
                  <c:v>22307</c:v>
                </c:pt>
                <c:pt idx="45451">
                  <c:v>22307</c:v>
                </c:pt>
                <c:pt idx="45452">
                  <c:v>22307</c:v>
                </c:pt>
                <c:pt idx="45453">
                  <c:v>22307</c:v>
                </c:pt>
                <c:pt idx="45454">
                  <c:v>22307</c:v>
                </c:pt>
                <c:pt idx="45455">
                  <c:v>22306</c:v>
                </c:pt>
                <c:pt idx="45456">
                  <c:v>22306</c:v>
                </c:pt>
                <c:pt idx="45457">
                  <c:v>22306</c:v>
                </c:pt>
                <c:pt idx="45458">
                  <c:v>22305</c:v>
                </c:pt>
                <c:pt idx="45459">
                  <c:v>22305</c:v>
                </c:pt>
                <c:pt idx="45460">
                  <c:v>22305</c:v>
                </c:pt>
                <c:pt idx="45461">
                  <c:v>22305</c:v>
                </c:pt>
                <c:pt idx="45462">
                  <c:v>22304</c:v>
                </c:pt>
                <c:pt idx="45463">
                  <c:v>22304</c:v>
                </c:pt>
                <c:pt idx="45464">
                  <c:v>22303</c:v>
                </c:pt>
                <c:pt idx="45465">
                  <c:v>22303</c:v>
                </c:pt>
                <c:pt idx="45466">
                  <c:v>22302</c:v>
                </c:pt>
                <c:pt idx="45467">
                  <c:v>22302</c:v>
                </c:pt>
                <c:pt idx="45468">
                  <c:v>22302</c:v>
                </c:pt>
                <c:pt idx="45469">
                  <c:v>22302</c:v>
                </c:pt>
                <c:pt idx="45470">
                  <c:v>22301</c:v>
                </c:pt>
                <c:pt idx="45471">
                  <c:v>22301</c:v>
                </c:pt>
                <c:pt idx="45472">
                  <c:v>22301</c:v>
                </c:pt>
                <c:pt idx="45473">
                  <c:v>22301</c:v>
                </c:pt>
                <c:pt idx="45474">
                  <c:v>22300</c:v>
                </c:pt>
                <c:pt idx="45475">
                  <c:v>22299</c:v>
                </c:pt>
                <c:pt idx="45476">
                  <c:v>22299</c:v>
                </c:pt>
                <c:pt idx="45477">
                  <c:v>22298</c:v>
                </c:pt>
                <c:pt idx="45478">
                  <c:v>22298</c:v>
                </c:pt>
                <c:pt idx="45479">
                  <c:v>22298</c:v>
                </c:pt>
                <c:pt idx="45480">
                  <c:v>22298</c:v>
                </c:pt>
                <c:pt idx="45481">
                  <c:v>22297</c:v>
                </c:pt>
                <c:pt idx="45482">
                  <c:v>22297</c:v>
                </c:pt>
                <c:pt idx="45483">
                  <c:v>22297</c:v>
                </c:pt>
                <c:pt idx="45484">
                  <c:v>22297</c:v>
                </c:pt>
                <c:pt idx="45485">
                  <c:v>22296</c:v>
                </c:pt>
                <c:pt idx="45486">
                  <c:v>22296</c:v>
                </c:pt>
                <c:pt idx="45487">
                  <c:v>22296</c:v>
                </c:pt>
                <c:pt idx="45488">
                  <c:v>22296</c:v>
                </c:pt>
                <c:pt idx="45489">
                  <c:v>22295</c:v>
                </c:pt>
                <c:pt idx="45490">
                  <c:v>22295</c:v>
                </c:pt>
                <c:pt idx="45491">
                  <c:v>22295</c:v>
                </c:pt>
                <c:pt idx="45492">
                  <c:v>22295</c:v>
                </c:pt>
                <c:pt idx="45493">
                  <c:v>22294</c:v>
                </c:pt>
                <c:pt idx="45494">
                  <c:v>22294</c:v>
                </c:pt>
                <c:pt idx="45495">
                  <c:v>22294</c:v>
                </c:pt>
                <c:pt idx="45496">
                  <c:v>22293</c:v>
                </c:pt>
                <c:pt idx="45497">
                  <c:v>22293</c:v>
                </c:pt>
                <c:pt idx="45498">
                  <c:v>22293</c:v>
                </c:pt>
                <c:pt idx="45499">
                  <c:v>22293</c:v>
                </c:pt>
                <c:pt idx="45500">
                  <c:v>22293</c:v>
                </c:pt>
                <c:pt idx="45501">
                  <c:v>22293</c:v>
                </c:pt>
                <c:pt idx="45502">
                  <c:v>22292</c:v>
                </c:pt>
                <c:pt idx="45503">
                  <c:v>22292</c:v>
                </c:pt>
                <c:pt idx="45504">
                  <c:v>22291</c:v>
                </c:pt>
                <c:pt idx="45505">
                  <c:v>22291</c:v>
                </c:pt>
                <c:pt idx="45506">
                  <c:v>22291</c:v>
                </c:pt>
                <c:pt idx="45507">
                  <c:v>22291</c:v>
                </c:pt>
                <c:pt idx="45508">
                  <c:v>22290</c:v>
                </c:pt>
                <c:pt idx="45509">
                  <c:v>22290</c:v>
                </c:pt>
                <c:pt idx="45510">
                  <c:v>22290</c:v>
                </c:pt>
                <c:pt idx="45511">
                  <c:v>22290</c:v>
                </c:pt>
                <c:pt idx="45512">
                  <c:v>22290</c:v>
                </c:pt>
                <c:pt idx="45513">
                  <c:v>22290</c:v>
                </c:pt>
                <c:pt idx="45514">
                  <c:v>22289</c:v>
                </c:pt>
                <c:pt idx="45515">
                  <c:v>22289</c:v>
                </c:pt>
                <c:pt idx="45516">
                  <c:v>22288</c:v>
                </c:pt>
                <c:pt idx="45517">
                  <c:v>22288</c:v>
                </c:pt>
                <c:pt idx="45518">
                  <c:v>22287</c:v>
                </c:pt>
                <c:pt idx="45519">
                  <c:v>22287</c:v>
                </c:pt>
                <c:pt idx="45520">
                  <c:v>22287</c:v>
                </c:pt>
                <c:pt idx="45521">
                  <c:v>22287</c:v>
                </c:pt>
                <c:pt idx="45522">
                  <c:v>22286</c:v>
                </c:pt>
                <c:pt idx="45523">
                  <c:v>22286</c:v>
                </c:pt>
                <c:pt idx="45524">
                  <c:v>22285</c:v>
                </c:pt>
                <c:pt idx="45525">
                  <c:v>22285</c:v>
                </c:pt>
                <c:pt idx="45526">
                  <c:v>22285</c:v>
                </c:pt>
                <c:pt idx="45527">
                  <c:v>22285</c:v>
                </c:pt>
                <c:pt idx="45528">
                  <c:v>22285</c:v>
                </c:pt>
                <c:pt idx="45529">
                  <c:v>22285</c:v>
                </c:pt>
                <c:pt idx="45530">
                  <c:v>22285</c:v>
                </c:pt>
                <c:pt idx="45531">
                  <c:v>22284</c:v>
                </c:pt>
                <c:pt idx="45532">
                  <c:v>22284</c:v>
                </c:pt>
                <c:pt idx="45533">
                  <c:v>22282</c:v>
                </c:pt>
                <c:pt idx="45534">
                  <c:v>22281</c:v>
                </c:pt>
                <c:pt idx="45535">
                  <c:v>22281</c:v>
                </c:pt>
                <c:pt idx="45536">
                  <c:v>22281</c:v>
                </c:pt>
                <c:pt idx="45537">
                  <c:v>22281</c:v>
                </c:pt>
                <c:pt idx="45538">
                  <c:v>22280</c:v>
                </c:pt>
                <c:pt idx="45539">
                  <c:v>22279</c:v>
                </c:pt>
                <c:pt idx="45540">
                  <c:v>22279</c:v>
                </c:pt>
                <c:pt idx="45541">
                  <c:v>22278</c:v>
                </c:pt>
                <c:pt idx="45542">
                  <c:v>22278</c:v>
                </c:pt>
                <c:pt idx="45543">
                  <c:v>22278</c:v>
                </c:pt>
                <c:pt idx="45544">
                  <c:v>22278</c:v>
                </c:pt>
                <c:pt idx="45545">
                  <c:v>22278</c:v>
                </c:pt>
                <c:pt idx="45546">
                  <c:v>22277</c:v>
                </c:pt>
                <c:pt idx="45547">
                  <c:v>22277</c:v>
                </c:pt>
                <c:pt idx="45548">
                  <c:v>22276</c:v>
                </c:pt>
                <c:pt idx="45549">
                  <c:v>22276</c:v>
                </c:pt>
                <c:pt idx="45550">
                  <c:v>22276</c:v>
                </c:pt>
                <c:pt idx="45551">
                  <c:v>22274</c:v>
                </c:pt>
                <c:pt idx="45552">
                  <c:v>22274</c:v>
                </c:pt>
                <c:pt idx="45553">
                  <c:v>22274</c:v>
                </c:pt>
                <c:pt idx="45554">
                  <c:v>22274</c:v>
                </c:pt>
                <c:pt idx="45555">
                  <c:v>22274</c:v>
                </c:pt>
                <c:pt idx="45556">
                  <c:v>22274</c:v>
                </c:pt>
                <c:pt idx="45557">
                  <c:v>22273</c:v>
                </c:pt>
                <c:pt idx="45558">
                  <c:v>22273</c:v>
                </c:pt>
                <c:pt idx="45559">
                  <c:v>22273</c:v>
                </c:pt>
                <c:pt idx="45560">
                  <c:v>22272</c:v>
                </c:pt>
                <c:pt idx="45561">
                  <c:v>22271</c:v>
                </c:pt>
                <c:pt idx="45562">
                  <c:v>22271</c:v>
                </c:pt>
                <c:pt idx="45563">
                  <c:v>22271</c:v>
                </c:pt>
                <c:pt idx="45564">
                  <c:v>22271</c:v>
                </c:pt>
                <c:pt idx="45565">
                  <c:v>22270</c:v>
                </c:pt>
                <c:pt idx="45566">
                  <c:v>22270</c:v>
                </c:pt>
                <c:pt idx="45567">
                  <c:v>22269</c:v>
                </c:pt>
                <c:pt idx="45568">
                  <c:v>22269</c:v>
                </c:pt>
                <c:pt idx="45569">
                  <c:v>22269</c:v>
                </c:pt>
                <c:pt idx="45570">
                  <c:v>22269</c:v>
                </c:pt>
                <c:pt idx="45571">
                  <c:v>22269</c:v>
                </c:pt>
                <c:pt idx="45572">
                  <c:v>22268</c:v>
                </c:pt>
                <c:pt idx="45573">
                  <c:v>22268</c:v>
                </c:pt>
                <c:pt idx="45574">
                  <c:v>22266</c:v>
                </c:pt>
                <c:pt idx="45575">
                  <c:v>22266</c:v>
                </c:pt>
                <c:pt idx="45576">
                  <c:v>22266</c:v>
                </c:pt>
                <c:pt idx="45577">
                  <c:v>22266</c:v>
                </c:pt>
                <c:pt idx="45578">
                  <c:v>22265</c:v>
                </c:pt>
                <c:pt idx="45579">
                  <c:v>22265</c:v>
                </c:pt>
                <c:pt idx="45580">
                  <c:v>22265</c:v>
                </c:pt>
                <c:pt idx="45581">
                  <c:v>22265</c:v>
                </c:pt>
                <c:pt idx="45582">
                  <c:v>22264</c:v>
                </c:pt>
                <c:pt idx="45583">
                  <c:v>22264</c:v>
                </c:pt>
                <c:pt idx="45584">
                  <c:v>22263</c:v>
                </c:pt>
                <c:pt idx="45585">
                  <c:v>22263</c:v>
                </c:pt>
                <c:pt idx="45586">
                  <c:v>22263</c:v>
                </c:pt>
                <c:pt idx="45587">
                  <c:v>22263</c:v>
                </c:pt>
                <c:pt idx="45588">
                  <c:v>22263</c:v>
                </c:pt>
                <c:pt idx="45589">
                  <c:v>22263</c:v>
                </c:pt>
                <c:pt idx="45590">
                  <c:v>22262</c:v>
                </c:pt>
                <c:pt idx="45591">
                  <c:v>22262</c:v>
                </c:pt>
                <c:pt idx="45592">
                  <c:v>22262</c:v>
                </c:pt>
                <c:pt idx="45593">
                  <c:v>22262</c:v>
                </c:pt>
                <c:pt idx="45594">
                  <c:v>22262</c:v>
                </c:pt>
                <c:pt idx="45595">
                  <c:v>22261</c:v>
                </c:pt>
                <c:pt idx="45596">
                  <c:v>22261</c:v>
                </c:pt>
                <c:pt idx="45597">
                  <c:v>22261</c:v>
                </c:pt>
                <c:pt idx="45598">
                  <c:v>22261</c:v>
                </c:pt>
                <c:pt idx="45599">
                  <c:v>22261</c:v>
                </c:pt>
                <c:pt idx="45600">
                  <c:v>22260</c:v>
                </c:pt>
                <c:pt idx="45601">
                  <c:v>22259</c:v>
                </c:pt>
                <c:pt idx="45602">
                  <c:v>22259</c:v>
                </c:pt>
                <c:pt idx="45603">
                  <c:v>22258</c:v>
                </c:pt>
                <c:pt idx="45604">
                  <c:v>22258</c:v>
                </c:pt>
                <c:pt idx="45605">
                  <c:v>22258</c:v>
                </c:pt>
                <c:pt idx="45606">
                  <c:v>22258</c:v>
                </c:pt>
                <c:pt idx="45607">
                  <c:v>22257</c:v>
                </c:pt>
                <c:pt idx="45608">
                  <c:v>22257</c:v>
                </c:pt>
                <c:pt idx="45609">
                  <c:v>22257</c:v>
                </c:pt>
                <c:pt idx="45610">
                  <c:v>22257</c:v>
                </c:pt>
                <c:pt idx="45611">
                  <c:v>22256</c:v>
                </c:pt>
                <c:pt idx="45612">
                  <c:v>22256</c:v>
                </c:pt>
                <c:pt idx="45613">
                  <c:v>22256</c:v>
                </c:pt>
                <c:pt idx="45614">
                  <c:v>22256</c:v>
                </c:pt>
                <c:pt idx="45615">
                  <c:v>22255</c:v>
                </c:pt>
                <c:pt idx="45616">
                  <c:v>22255</c:v>
                </c:pt>
                <c:pt idx="45617">
                  <c:v>22255</c:v>
                </c:pt>
                <c:pt idx="45618">
                  <c:v>22255</c:v>
                </c:pt>
                <c:pt idx="45619">
                  <c:v>22254</c:v>
                </c:pt>
                <c:pt idx="45620">
                  <c:v>22253</c:v>
                </c:pt>
                <c:pt idx="45621">
                  <c:v>22253</c:v>
                </c:pt>
                <c:pt idx="45622">
                  <c:v>22253</c:v>
                </c:pt>
                <c:pt idx="45623">
                  <c:v>22253</c:v>
                </c:pt>
                <c:pt idx="45624">
                  <c:v>22252</c:v>
                </c:pt>
                <c:pt idx="45625">
                  <c:v>22252</c:v>
                </c:pt>
                <c:pt idx="45626">
                  <c:v>22252</c:v>
                </c:pt>
                <c:pt idx="45627">
                  <c:v>22251</c:v>
                </c:pt>
                <c:pt idx="45628">
                  <c:v>22251</c:v>
                </c:pt>
                <c:pt idx="45629">
                  <c:v>22251</c:v>
                </c:pt>
                <c:pt idx="45630">
                  <c:v>22250</c:v>
                </c:pt>
                <c:pt idx="45631">
                  <c:v>22250</c:v>
                </c:pt>
                <c:pt idx="45632">
                  <c:v>22250</c:v>
                </c:pt>
                <c:pt idx="45633">
                  <c:v>22250</c:v>
                </c:pt>
                <c:pt idx="45634">
                  <c:v>22249</c:v>
                </c:pt>
                <c:pt idx="45635">
                  <c:v>22249</c:v>
                </c:pt>
                <c:pt idx="45636">
                  <c:v>22249</c:v>
                </c:pt>
                <c:pt idx="45637">
                  <c:v>22248</c:v>
                </c:pt>
                <c:pt idx="45638">
                  <c:v>22247</c:v>
                </c:pt>
                <c:pt idx="45639">
                  <c:v>22247</c:v>
                </c:pt>
                <c:pt idx="45640">
                  <c:v>22247</c:v>
                </c:pt>
                <c:pt idx="45641">
                  <c:v>22247</c:v>
                </c:pt>
                <c:pt idx="45642">
                  <c:v>22246</c:v>
                </c:pt>
                <c:pt idx="45643">
                  <c:v>22246</c:v>
                </c:pt>
                <c:pt idx="45644">
                  <c:v>22245</c:v>
                </c:pt>
                <c:pt idx="45645">
                  <c:v>22245</c:v>
                </c:pt>
                <c:pt idx="45646">
                  <c:v>22245</c:v>
                </c:pt>
                <c:pt idx="45647">
                  <c:v>22245</c:v>
                </c:pt>
                <c:pt idx="45648">
                  <c:v>22244</c:v>
                </c:pt>
                <c:pt idx="45649">
                  <c:v>22244</c:v>
                </c:pt>
                <c:pt idx="45650">
                  <c:v>22244</c:v>
                </c:pt>
                <c:pt idx="45651">
                  <c:v>22244</c:v>
                </c:pt>
                <c:pt idx="45652">
                  <c:v>22244</c:v>
                </c:pt>
                <c:pt idx="45653">
                  <c:v>22243</c:v>
                </c:pt>
                <c:pt idx="45654">
                  <c:v>22243</c:v>
                </c:pt>
                <c:pt idx="45655">
                  <c:v>22243</c:v>
                </c:pt>
                <c:pt idx="45656">
                  <c:v>22243</c:v>
                </c:pt>
                <c:pt idx="45657">
                  <c:v>22242</c:v>
                </c:pt>
                <c:pt idx="45658">
                  <c:v>22242</c:v>
                </c:pt>
                <c:pt idx="45659">
                  <c:v>22242</c:v>
                </c:pt>
                <c:pt idx="45660">
                  <c:v>22242</c:v>
                </c:pt>
                <c:pt idx="45661">
                  <c:v>22242</c:v>
                </c:pt>
                <c:pt idx="45662">
                  <c:v>22242</c:v>
                </c:pt>
                <c:pt idx="45663">
                  <c:v>22241</c:v>
                </c:pt>
                <c:pt idx="45664">
                  <c:v>22241</c:v>
                </c:pt>
                <c:pt idx="45665">
                  <c:v>22240</c:v>
                </c:pt>
                <c:pt idx="45666">
                  <c:v>22240</c:v>
                </c:pt>
                <c:pt idx="45667">
                  <c:v>22240</c:v>
                </c:pt>
                <c:pt idx="45668">
                  <c:v>22240</c:v>
                </c:pt>
                <c:pt idx="45669">
                  <c:v>22239</c:v>
                </c:pt>
                <c:pt idx="45670">
                  <c:v>22239</c:v>
                </c:pt>
                <c:pt idx="45671">
                  <c:v>22239</c:v>
                </c:pt>
                <c:pt idx="45672">
                  <c:v>22239</c:v>
                </c:pt>
                <c:pt idx="45673">
                  <c:v>22239</c:v>
                </c:pt>
                <c:pt idx="45674">
                  <c:v>22238</c:v>
                </c:pt>
                <c:pt idx="45675">
                  <c:v>22238</c:v>
                </c:pt>
                <c:pt idx="45676">
                  <c:v>22238</c:v>
                </c:pt>
                <c:pt idx="45677">
                  <c:v>22237</c:v>
                </c:pt>
                <c:pt idx="45678">
                  <c:v>22237</c:v>
                </c:pt>
                <c:pt idx="45679">
                  <c:v>22237</c:v>
                </c:pt>
                <c:pt idx="45680">
                  <c:v>22237</c:v>
                </c:pt>
                <c:pt idx="45681">
                  <c:v>22237</c:v>
                </c:pt>
                <c:pt idx="45682">
                  <c:v>22236</c:v>
                </c:pt>
                <c:pt idx="45683">
                  <c:v>22236</c:v>
                </c:pt>
                <c:pt idx="45684">
                  <c:v>22235</c:v>
                </c:pt>
                <c:pt idx="45685">
                  <c:v>22235</c:v>
                </c:pt>
                <c:pt idx="45686">
                  <c:v>22234</c:v>
                </c:pt>
                <c:pt idx="45687">
                  <c:v>22234</c:v>
                </c:pt>
                <c:pt idx="45688">
                  <c:v>22234</c:v>
                </c:pt>
                <c:pt idx="45689">
                  <c:v>22233</c:v>
                </c:pt>
                <c:pt idx="45690">
                  <c:v>22232</c:v>
                </c:pt>
                <c:pt idx="45691">
                  <c:v>22232</c:v>
                </c:pt>
                <c:pt idx="45692">
                  <c:v>22232</c:v>
                </c:pt>
                <c:pt idx="45693">
                  <c:v>22231</c:v>
                </c:pt>
                <c:pt idx="45694">
                  <c:v>22231</c:v>
                </c:pt>
                <c:pt idx="45695">
                  <c:v>22231</c:v>
                </c:pt>
                <c:pt idx="45696">
                  <c:v>22231</c:v>
                </c:pt>
                <c:pt idx="45697">
                  <c:v>22231</c:v>
                </c:pt>
                <c:pt idx="45698">
                  <c:v>22230</c:v>
                </c:pt>
                <c:pt idx="45699">
                  <c:v>22229</c:v>
                </c:pt>
                <c:pt idx="45700">
                  <c:v>22229</c:v>
                </c:pt>
                <c:pt idx="45701">
                  <c:v>22228</c:v>
                </c:pt>
                <c:pt idx="45702">
                  <c:v>22228</c:v>
                </c:pt>
                <c:pt idx="45703">
                  <c:v>22228</c:v>
                </c:pt>
                <c:pt idx="45704">
                  <c:v>22228</c:v>
                </c:pt>
                <c:pt idx="45705">
                  <c:v>22228</c:v>
                </c:pt>
                <c:pt idx="45706">
                  <c:v>22228</c:v>
                </c:pt>
                <c:pt idx="45707">
                  <c:v>22227</c:v>
                </c:pt>
                <c:pt idx="45708">
                  <c:v>22226</c:v>
                </c:pt>
                <c:pt idx="45709">
                  <c:v>22225</c:v>
                </c:pt>
                <c:pt idx="45710">
                  <c:v>22225</c:v>
                </c:pt>
                <c:pt idx="45711">
                  <c:v>22225</c:v>
                </c:pt>
                <c:pt idx="45712">
                  <c:v>22224</c:v>
                </c:pt>
                <c:pt idx="45713">
                  <c:v>22224</c:v>
                </c:pt>
                <c:pt idx="45714">
                  <c:v>22224</c:v>
                </c:pt>
                <c:pt idx="45715">
                  <c:v>22224</c:v>
                </c:pt>
                <c:pt idx="45716">
                  <c:v>22224</c:v>
                </c:pt>
                <c:pt idx="45717">
                  <c:v>22224</c:v>
                </c:pt>
                <c:pt idx="45718">
                  <c:v>22223</c:v>
                </c:pt>
                <c:pt idx="45719">
                  <c:v>22223</c:v>
                </c:pt>
                <c:pt idx="45720">
                  <c:v>22223</c:v>
                </c:pt>
                <c:pt idx="45721">
                  <c:v>22223</c:v>
                </c:pt>
                <c:pt idx="45722">
                  <c:v>22223</c:v>
                </c:pt>
                <c:pt idx="45723">
                  <c:v>22222</c:v>
                </c:pt>
                <c:pt idx="45724">
                  <c:v>22222</c:v>
                </c:pt>
                <c:pt idx="45725">
                  <c:v>22221</c:v>
                </c:pt>
                <c:pt idx="45726">
                  <c:v>22221</c:v>
                </c:pt>
                <c:pt idx="45727">
                  <c:v>22219</c:v>
                </c:pt>
                <c:pt idx="45728">
                  <c:v>22219</c:v>
                </c:pt>
                <c:pt idx="45729">
                  <c:v>22219</c:v>
                </c:pt>
                <c:pt idx="45730">
                  <c:v>22218</c:v>
                </c:pt>
                <c:pt idx="45731">
                  <c:v>22218</c:v>
                </c:pt>
                <c:pt idx="45732">
                  <c:v>22218</c:v>
                </c:pt>
                <c:pt idx="45733">
                  <c:v>22217</c:v>
                </c:pt>
                <c:pt idx="45734">
                  <c:v>22216</c:v>
                </c:pt>
                <c:pt idx="45735">
                  <c:v>22216</c:v>
                </c:pt>
                <c:pt idx="45736">
                  <c:v>22216</c:v>
                </c:pt>
                <c:pt idx="45737">
                  <c:v>22216</c:v>
                </c:pt>
                <c:pt idx="45738">
                  <c:v>22216</c:v>
                </c:pt>
                <c:pt idx="45739">
                  <c:v>22215</c:v>
                </c:pt>
                <c:pt idx="45740">
                  <c:v>22215</c:v>
                </c:pt>
                <c:pt idx="45741">
                  <c:v>22215</c:v>
                </c:pt>
                <c:pt idx="45742">
                  <c:v>22215</c:v>
                </c:pt>
                <c:pt idx="45743">
                  <c:v>22214</c:v>
                </c:pt>
                <c:pt idx="45744">
                  <c:v>22214</c:v>
                </c:pt>
                <c:pt idx="45745">
                  <c:v>22213</c:v>
                </c:pt>
                <c:pt idx="45746">
                  <c:v>22212</c:v>
                </c:pt>
                <c:pt idx="45747">
                  <c:v>22212</c:v>
                </c:pt>
                <c:pt idx="45748">
                  <c:v>22211</c:v>
                </c:pt>
                <c:pt idx="45749">
                  <c:v>22211</c:v>
                </c:pt>
                <c:pt idx="45750">
                  <c:v>22211</c:v>
                </c:pt>
                <c:pt idx="45751">
                  <c:v>22210</c:v>
                </c:pt>
                <c:pt idx="45752">
                  <c:v>22210</c:v>
                </c:pt>
                <c:pt idx="45753">
                  <c:v>22210</c:v>
                </c:pt>
                <c:pt idx="45754">
                  <c:v>22210</c:v>
                </c:pt>
                <c:pt idx="45755">
                  <c:v>22209</c:v>
                </c:pt>
                <c:pt idx="45756">
                  <c:v>22209</c:v>
                </c:pt>
                <c:pt idx="45757">
                  <c:v>22209</c:v>
                </c:pt>
                <c:pt idx="45758">
                  <c:v>22208</c:v>
                </c:pt>
                <c:pt idx="45759">
                  <c:v>22208</c:v>
                </c:pt>
                <c:pt idx="45760">
                  <c:v>22208</c:v>
                </c:pt>
                <c:pt idx="45761">
                  <c:v>22208</c:v>
                </c:pt>
                <c:pt idx="45762">
                  <c:v>22207</c:v>
                </c:pt>
                <c:pt idx="45763">
                  <c:v>22207</c:v>
                </c:pt>
                <c:pt idx="45764">
                  <c:v>22207</c:v>
                </c:pt>
                <c:pt idx="45765">
                  <c:v>22207</c:v>
                </c:pt>
                <c:pt idx="45766">
                  <c:v>22207</c:v>
                </c:pt>
                <c:pt idx="45767">
                  <c:v>22206</c:v>
                </c:pt>
                <c:pt idx="45768">
                  <c:v>22206</c:v>
                </c:pt>
                <c:pt idx="45769">
                  <c:v>22206</c:v>
                </c:pt>
                <c:pt idx="45770">
                  <c:v>22206</c:v>
                </c:pt>
                <c:pt idx="45771">
                  <c:v>22206</c:v>
                </c:pt>
                <c:pt idx="45772">
                  <c:v>22205</c:v>
                </c:pt>
                <c:pt idx="45773">
                  <c:v>22204</c:v>
                </c:pt>
                <c:pt idx="45774">
                  <c:v>22202</c:v>
                </c:pt>
                <c:pt idx="45775">
                  <c:v>22202</c:v>
                </c:pt>
                <c:pt idx="45776">
                  <c:v>22202</c:v>
                </c:pt>
                <c:pt idx="45777">
                  <c:v>22201</c:v>
                </c:pt>
                <c:pt idx="45778">
                  <c:v>22201</c:v>
                </c:pt>
                <c:pt idx="45779">
                  <c:v>22200</c:v>
                </c:pt>
                <c:pt idx="45780">
                  <c:v>22200</c:v>
                </c:pt>
                <c:pt idx="45781">
                  <c:v>22200</c:v>
                </c:pt>
                <c:pt idx="45782">
                  <c:v>22199</c:v>
                </c:pt>
                <c:pt idx="45783">
                  <c:v>22199</c:v>
                </c:pt>
                <c:pt idx="45784">
                  <c:v>22199</c:v>
                </c:pt>
                <c:pt idx="45785">
                  <c:v>22199</c:v>
                </c:pt>
                <c:pt idx="45786">
                  <c:v>22198</c:v>
                </c:pt>
                <c:pt idx="45787">
                  <c:v>22198</c:v>
                </c:pt>
                <c:pt idx="45788">
                  <c:v>22198</c:v>
                </c:pt>
                <c:pt idx="45789">
                  <c:v>22198</c:v>
                </c:pt>
                <c:pt idx="45790">
                  <c:v>22197</c:v>
                </c:pt>
                <c:pt idx="45791">
                  <c:v>22197</c:v>
                </c:pt>
                <c:pt idx="45792">
                  <c:v>22197</c:v>
                </c:pt>
                <c:pt idx="45793">
                  <c:v>22196</c:v>
                </c:pt>
                <c:pt idx="45794">
                  <c:v>22196</c:v>
                </c:pt>
                <c:pt idx="45795">
                  <c:v>22195</c:v>
                </c:pt>
                <c:pt idx="45796">
                  <c:v>22195</c:v>
                </c:pt>
                <c:pt idx="45797">
                  <c:v>22195</c:v>
                </c:pt>
                <c:pt idx="45798">
                  <c:v>22194</c:v>
                </c:pt>
                <c:pt idx="45799">
                  <c:v>22193</c:v>
                </c:pt>
                <c:pt idx="45800">
                  <c:v>22193</c:v>
                </c:pt>
                <c:pt idx="45801">
                  <c:v>22193</c:v>
                </c:pt>
                <c:pt idx="45802">
                  <c:v>22192</c:v>
                </c:pt>
                <c:pt idx="45803">
                  <c:v>22192</c:v>
                </c:pt>
                <c:pt idx="45804">
                  <c:v>22192</c:v>
                </c:pt>
                <c:pt idx="45805">
                  <c:v>22191</c:v>
                </c:pt>
                <c:pt idx="45806">
                  <c:v>22190</c:v>
                </c:pt>
                <c:pt idx="45807">
                  <c:v>22189</c:v>
                </c:pt>
                <c:pt idx="45808">
                  <c:v>22189</c:v>
                </c:pt>
                <c:pt idx="45809">
                  <c:v>22188</c:v>
                </c:pt>
                <c:pt idx="45810">
                  <c:v>22188</c:v>
                </c:pt>
                <c:pt idx="45811">
                  <c:v>22188</c:v>
                </c:pt>
                <c:pt idx="45812">
                  <c:v>22187</c:v>
                </c:pt>
                <c:pt idx="45813">
                  <c:v>22187</c:v>
                </c:pt>
                <c:pt idx="45814">
                  <c:v>22187</c:v>
                </c:pt>
                <c:pt idx="45815">
                  <c:v>22186</c:v>
                </c:pt>
                <c:pt idx="45816">
                  <c:v>22186</c:v>
                </c:pt>
                <c:pt idx="45817">
                  <c:v>22186</c:v>
                </c:pt>
                <c:pt idx="45818">
                  <c:v>22185</c:v>
                </c:pt>
                <c:pt idx="45819">
                  <c:v>22184</c:v>
                </c:pt>
                <c:pt idx="45820">
                  <c:v>22184</c:v>
                </c:pt>
                <c:pt idx="45821">
                  <c:v>22183</c:v>
                </c:pt>
                <c:pt idx="45822">
                  <c:v>22182</c:v>
                </c:pt>
                <c:pt idx="45823">
                  <c:v>22182</c:v>
                </c:pt>
                <c:pt idx="45824">
                  <c:v>22181</c:v>
                </c:pt>
                <c:pt idx="45825">
                  <c:v>22181</c:v>
                </c:pt>
                <c:pt idx="45826">
                  <c:v>22181</c:v>
                </c:pt>
                <c:pt idx="45827">
                  <c:v>22180</c:v>
                </c:pt>
                <c:pt idx="45828">
                  <c:v>22180</c:v>
                </c:pt>
                <c:pt idx="45829">
                  <c:v>22179</c:v>
                </c:pt>
                <c:pt idx="45830">
                  <c:v>22179</c:v>
                </c:pt>
                <c:pt idx="45831">
                  <c:v>22179</c:v>
                </c:pt>
                <c:pt idx="45832">
                  <c:v>22179</c:v>
                </c:pt>
                <c:pt idx="45833">
                  <c:v>22178</c:v>
                </c:pt>
                <c:pt idx="45834">
                  <c:v>22178</c:v>
                </c:pt>
                <c:pt idx="45835">
                  <c:v>22178</c:v>
                </c:pt>
                <c:pt idx="45836">
                  <c:v>22178</c:v>
                </c:pt>
                <c:pt idx="45837">
                  <c:v>22177</c:v>
                </c:pt>
                <c:pt idx="45838">
                  <c:v>22177</c:v>
                </c:pt>
                <c:pt idx="45839">
                  <c:v>22176</c:v>
                </c:pt>
                <c:pt idx="45840">
                  <c:v>22176</c:v>
                </c:pt>
                <c:pt idx="45841">
                  <c:v>22176</c:v>
                </c:pt>
                <c:pt idx="45842">
                  <c:v>22176</c:v>
                </c:pt>
                <c:pt idx="45843">
                  <c:v>22175</c:v>
                </c:pt>
                <c:pt idx="45844">
                  <c:v>22174</c:v>
                </c:pt>
                <c:pt idx="45845">
                  <c:v>22174</c:v>
                </c:pt>
                <c:pt idx="45846">
                  <c:v>22173</c:v>
                </c:pt>
                <c:pt idx="45847">
                  <c:v>22173</c:v>
                </c:pt>
                <c:pt idx="45848">
                  <c:v>22172</c:v>
                </c:pt>
                <c:pt idx="45849">
                  <c:v>22172</c:v>
                </c:pt>
                <c:pt idx="45850">
                  <c:v>22172</c:v>
                </c:pt>
                <c:pt idx="45851">
                  <c:v>22171</c:v>
                </c:pt>
                <c:pt idx="45852">
                  <c:v>22171</c:v>
                </c:pt>
                <c:pt idx="45853">
                  <c:v>22171</c:v>
                </c:pt>
                <c:pt idx="45854">
                  <c:v>22171</c:v>
                </c:pt>
                <c:pt idx="45855">
                  <c:v>22171</c:v>
                </c:pt>
                <c:pt idx="45856">
                  <c:v>22170</c:v>
                </c:pt>
                <c:pt idx="45857">
                  <c:v>22170</c:v>
                </c:pt>
                <c:pt idx="45858">
                  <c:v>22170</c:v>
                </c:pt>
                <c:pt idx="45859">
                  <c:v>22169</c:v>
                </c:pt>
                <c:pt idx="45860">
                  <c:v>22169</c:v>
                </c:pt>
                <c:pt idx="45861">
                  <c:v>22168</c:v>
                </c:pt>
                <c:pt idx="45862">
                  <c:v>22168</c:v>
                </c:pt>
                <c:pt idx="45863">
                  <c:v>22168</c:v>
                </c:pt>
                <c:pt idx="45864">
                  <c:v>22167</c:v>
                </c:pt>
                <c:pt idx="45865">
                  <c:v>22167</c:v>
                </c:pt>
                <c:pt idx="45866">
                  <c:v>22167</c:v>
                </c:pt>
                <c:pt idx="45867">
                  <c:v>22167</c:v>
                </c:pt>
                <c:pt idx="45868">
                  <c:v>22166</c:v>
                </c:pt>
                <c:pt idx="45869">
                  <c:v>22166</c:v>
                </c:pt>
                <c:pt idx="45870">
                  <c:v>22166</c:v>
                </c:pt>
                <c:pt idx="45871">
                  <c:v>22166</c:v>
                </c:pt>
                <c:pt idx="45872">
                  <c:v>22166</c:v>
                </c:pt>
                <c:pt idx="45873">
                  <c:v>22165</c:v>
                </c:pt>
                <c:pt idx="45874">
                  <c:v>22165</c:v>
                </c:pt>
                <c:pt idx="45875">
                  <c:v>22164</c:v>
                </c:pt>
                <c:pt idx="45876">
                  <c:v>22164</c:v>
                </c:pt>
                <c:pt idx="45877">
                  <c:v>22164</c:v>
                </c:pt>
                <c:pt idx="45878">
                  <c:v>22163</c:v>
                </c:pt>
                <c:pt idx="45879">
                  <c:v>22163</c:v>
                </c:pt>
                <c:pt idx="45880">
                  <c:v>22163</c:v>
                </c:pt>
                <c:pt idx="45881">
                  <c:v>22162</c:v>
                </c:pt>
                <c:pt idx="45882">
                  <c:v>22162</c:v>
                </c:pt>
                <c:pt idx="45883">
                  <c:v>22160</c:v>
                </c:pt>
                <c:pt idx="45884">
                  <c:v>22160</c:v>
                </c:pt>
                <c:pt idx="45885">
                  <c:v>22160</c:v>
                </c:pt>
                <c:pt idx="45886">
                  <c:v>22159</c:v>
                </c:pt>
                <c:pt idx="45887">
                  <c:v>22159</c:v>
                </c:pt>
                <c:pt idx="45888">
                  <c:v>22159</c:v>
                </c:pt>
                <c:pt idx="45889">
                  <c:v>22159</c:v>
                </c:pt>
                <c:pt idx="45890">
                  <c:v>22158</c:v>
                </c:pt>
                <c:pt idx="45891">
                  <c:v>22158</c:v>
                </c:pt>
                <c:pt idx="45892">
                  <c:v>22158</c:v>
                </c:pt>
                <c:pt idx="45893">
                  <c:v>22158</c:v>
                </c:pt>
                <c:pt idx="45894">
                  <c:v>22157</c:v>
                </c:pt>
                <c:pt idx="45895">
                  <c:v>22157</c:v>
                </c:pt>
                <c:pt idx="45896">
                  <c:v>22157</c:v>
                </c:pt>
                <c:pt idx="45897">
                  <c:v>22156</c:v>
                </c:pt>
                <c:pt idx="45898">
                  <c:v>22156</c:v>
                </c:pt>
                <c:pt idx="45899">
                  <c:v>22156</c:v>
                </c:pt>
                <c:pt idx="45900">
                  <c:v>22156</c:v>
                </c:pt>
                <c:pt idx="45901">
                  <c:v>22156</c:v>
                </c:pt>
                <c:pt idx="45902">
                  <c:v>22155</c:v>
                </c:pt>
                <c:pt idx="45903">
                  <c:v>22155</c:v>
                </c:pt>
                <c:pt idx="45904">
                  <c:v>22154</c:v>
                </c:pt>
                <c:pt idx="45905">
                  <c:v>22154</c:v>
                </c:pt>
                <c:pt idx="45906">
                  <c:v>22154</c:v>
                </c:pt>
                <c:pt idx="45907">
                  <c:v>22153</c:v>
                </c:pt>
                <c:pt idx="45908">
                  <c:v>22152</c:v>
                </c:pt>
                <c:pt idx="45909">
                  <c:v>22152</c:v>
                </c:pt>
                <c:pt idx="45910">
                  <c:v>22152</c:v>
                </c:pt>
                <c:pt idx="45911">
                  <c:v>22152</c:v>
                </c:pt>
                <c:pt idx="45912">
                  <c:v>22152</c:v>
                </c:pt>
                <c:pt idx="45913">
                  <c:v>22151</c:v>
                </c:pt>
                <c:pt idx="45914">
                  <c:v>22151</c:v>
                </c:pt>
                <c:pt idx="45915">
                  <c:v>22150</c:v>
                </c:pt>
                <c:pt idx="45916">
                  <c:v>22150</c:v>
                </c:pt>
                <c:pt idx="45917">
                  <c:v>22149</c:v>
                </c:pt>
                <c:pt idx="45918">
                  <c:v>22149</c:v>
                </c:pt>
                <c:pt idx="45919">
                  <c:v>22148</c:v>
                </c:pt>
                <c:pt idx="45920">
                  <c:v>22148</c:v>
                </c:pt>
                <c:pt idx="45921">
                  <c:v>22147</c:v>
                </c:pt>
                <c:pt idx="45922">
                  <c:v>22147</c:v>
                </c:pt>
                <c:pt idx="45923">
                  <c:v>22147</c:v>
                </c:pt>
                <c:pt idx="45924">
                  <c:v>22147</c:v>
                </c:pt>
                <c:pt idx="45925">
                  <c:v>22146</c:v>
                </c:pt>
                <c:pt idx="45926">
                  <c:v>22146</c:v>
                </c:pt>
                <c:pt idx="45927">
                  <c:v>22146</c:v>
                </c:pt>
                <c:pt idx="45928">
                  <c:v>22145</c:v>
                </c:pt>
                <c:pt idx="45929">
                  <c:v>22145</c:v>
                </c:pt>
                <c:pt idx="45930">
                  <c:v>22144</c:v>
                </c:pt>
                <c:pt idx="45931">
                  <c:v>22144</c:v>
                </c:pt>
                <c:pt idx="45932">
                  <c:v>22144</c:v>
                </c:pt>
                <c:pt idx="45933">
                  <c:v>22143</c:v>
                </c:pt>
                <c:pt idx="45934">
                  <c:v>22143</c:v>
                </c:pt>
                <c:pt idx="45935">
                  <c:v>22143</c:v>
                </c:pt>
                <c:pt idx="45936">
                  <c:v>22143</c:v>
                </c:pt>
                <c:pt idx="45937">
                  <c:v>22142</c:v>
                </c:pt>
                <c:pt idx="45938">
                  <c:v>22142</c:v>
                </c:pt>
                <c:pt idx="45939">
                  <c:v>22142</c:v>
                </c:pt>
                <c:pt idx="45940">
                  <c:v>22142</c:v>
                </c:pt>
                <c:pt idx="45941">
                  <c:v>22141</c:v>
                </c:pt>
                <c:pt idx="45942">
                  <c:v>22141</c:v>
                </c:pt>
                <c:pt idx="45943">
                  <c:v>22139</c:v>
                </c:pt>
                <c:pt idx="45944">
                  <c:v>22139</c:v>
                </c:pt>
                <c:pt idx="45945">
                  <c:v>22139</c:v>
                </c:pt>
                <c:pt idx="45946">
                  <c:v>22138</c:v>
                </c:pt>
                <c:pt idx="45947">
                  <c:v>22137</c:v>
                </c:pt>
                <c:pt idx="45948">
                  <c:v>22137</c:v>
                </c:pt>
                <c:pt idx="45949">
                  <c:v>22136</c:v>
                </c:pt>
                <c:pt idx="45950">
                  <c:v>22136</c:v>
                </c:pt>
                <c:pt idx="45951">
                  <c:v>22136</c:v>
                </c:pt>
                <c:pt idx="45952">
                  <c:v>22136</c:v>
                </c:pt>
                <c:pt idx="45953">
                  <c:v>22135</c:v>
                </c:pt>
                <c:pt idx="45954">
                  <c:v>22134</c:v>
                </c:pt>
                <c:pt idx="45955">
                  <c:v>22133</c:v>
                </c:pt>
                <c:pt idx="45956">
                  <c:v>22132</c:v>
                </c:pt>
                <c:pt idx="45957">
                  <c:v>22132</c:v>
                </c:pt>
                <c:pt idx="45958">
                  <c:v>22132</c:v>
                </c:pt>
                <c:pt idx="45959">
                  <c:v>22132</c:v>
                </c:pt>
                <c:pt idx="45960">
                  <c:v>22132</c:v>
                </c:pt>
                <c:pt idx="45961">
                  <c:v>22131</c:v>
                </c:pt>
                <c:pt idx="45962">
                  <c:v>22131</c:v>
                </c:pt>
                <c:pt idx="45963">
                  <c:v>22131</c:v>
                </c:pt>
                <c:pt idx="45964">
                  <c:v>22131</c:v>
                </c:pt>
                <c:pt idx="45965">
                  <c:v>22131</c:v>
                </c:pt>
                <c:pt idx="45966">
                  <c:v>22130</c:v>
                </c:pt>
                <c:pt idx="45967">
                  <c:v>22130</c:v>
                </c:pt>
                <c:pt idx="45968">
                  <c:v>22130</c:v>
                </c:pt>
                <c:pt idx="45969">
                  <c:v>22129</c:v>
                </c:pt>
                <c:pt idx="45970">
                  <c:v>22128</c:v>
                </c:pt>
                <c:pt idx="45971">
                  <c:v>22128</c:v>
                </c:pt>
                <c:pt idx="45972">
                  <c:v>22128</c:v>
                </c:pt>
                <c:pt idx="45973">
                  <c:v>22127</c:v>
                </c:pt>
                <c:pt idx="45974">
                  <c:v>22127</c:v>
                </c:pt>
                <c:pt idx="45975">
                  <c:v>22127</c:v>
                </c:pt>
                <c:pt idx="45976">
                  <c:v>22125</c:v>
                </c:pt>
                <c:pt idx="45977">
                  <c:v>22125</c:v>
                </c:pt>
                <c:pt idx="45978">
                  <c:v>22125</c:v>
                </c:pt>
                <c:pt idx="45979">
                  <c:v>22125</c:v>
                </c:pt>
                <c:pt idx="45980">
                  <c:v>22125</c:v>
                </c:pt>
                <c:pt idx="45981">
                  <c:v>22124</c:v>
                </c:pt>
                <c:pt idx="45982">
                  <c:v>22124</c:v>
                </c:pt>
                <c:pt idx="45983">
                  <c:v>22123</c:v>
                </c:pt>
                <c:pt idx="45984">
                  <c:v>22123</c:v>
                </c:pt>
                <c:pt idx="45985">
                  <c:v>22123</c:v>
                </c:pt>
                <c:pt idx="45986">
                  <c:v>22122</c:v>
                </c:pt>
                <c:pt idx="45987">
                  <c:v>22122</c:v>
                </c:pt>
                <c:pt idx="45988">
                  <c:v>22121</c:v>
                </c:pt>
                <c:pt idx="45989">
                  <c:v>22121</c:v>
                </c:pt>
                <c:pt idx="45990">
                  <c:v>22121</c:v>
                </c:pt>
                <c:pt idx="45991">
                  <c:v>22121</c:v>
                </c:pt>
                <c:pt idx="45992">
                  <c:v>22121</c:v>
                </c:pt>
                <c:pt idx="45993">
                  <c:v>22120</c:v>
                </c:pt>
                <c:pt idx="45994">
                  <c:v>22120</c:v>
                </c:pt>
                <c:pt idx="45995">
                  <c:v>22120</c:v>
                </c:pt>
                <c:pt idx="45996">
                  <c:v>22119</c:v>
                </c:pt>
                <c:pt idx="45997">
                  <c:v>22118</c:v>
                </c:pt>
                <c:pt idx="45998">
                  <c:v>22118</c:v>
                </c:pt>
                <c:pt idx="45999">
                  <c:v>22118</c:v>
                </c:pt>
                <c:pt idx="46000">
                  <c:v>22118</c:v>
                </c:pt>
                <c:pt idx="46001">
                  <c:v>22117</c:v>
                </c:pt>
                <c:pt idx="46002">
                  <c:v>22116</c:v>
                </c:pt>
                <c:pt idx="46003">
                  <c:v>22115</c:v>
                </c:pt>
                <c:pt idx="46004">
                  <c:v>22114</c:v>
                </c:pt>
                <c:pt idx="46005">
                  <c:v>22114</c:v>
                </c:pt>
                <c:pt idx="46006">
                  <c:v>22114</c:v>
                </c:pt>
                <c:pt idx="46007">
                  <c:v>22113</c:v>
                </c:pt>
                <c:pt idx="46008">
                  <c:v>22112</c:v>
                </c:pt>
                <c:pt idx="46009">
                  <c:v>22112</c:v>
                </c:pt>
                <c:pt idx="46010">
                  <c:v>22111</c:v>
                </c:pt>
                <c:pt idx="46011">
                  <c:v>22111</c:v>
                </c:pt>
                <c:pt idx="46012">
                  <c:v>22110</c:v>
                </c:pt>
                <c:pt idx="46013">
                  <c:v>22109</c:v>
                </c:pt>
                <c:pt idx="46014">
                  <c:v>22109</c:v>
                </c:pt>
                <c:pt idx="46015">
                  <c:v>22109</c:v>
                </c:pt>
                <c:pt idx="46016">
                  <c:v>22109</c:v>
                </c:pt>
                <c:pt idx="46017">
                  <c:v>22107</c:v>
                </c:pt>
                <c:pt idx="46018">
                  <c:v>22107</c:v>
                </c:pt>
                <c:pt idx="46019">
                  <c:v>22106</c:v>
                </c:pt>
                <c:pt idx="46020">
                  <c:v>22105</c:v>
                </c:pt>
                <c:pt idx="46021">
                  <c:v>22105</c:v>
                </c:pt>
                <c:pt idx="46022">
                  <c:v>22105</c:v>
                </c:pt>
                <c:pt idx="46023">
                  <c:v>22104</c:v>
                </c:pt>
                <c:pt idx="46024">
                  <c:v>22104</c:v>
                </c:pt>
                <c:pt idx="46025">
                  <c:v>22104</c:v>
                </c:pt>
                <c:pt idx="46026">
                  <c:v>22104</c:v>
                </c:pt>
                <c:pt idx="46027">
                  <c:v>22103</c:v>
                </c:pt>
                <c:pt idx="46028">
                  <c:v>22103</c:v>
                </c:pt>
                <c:pt idx="46029">
                  <c:v>22102</c:v>
                </c:pt>
                <c:pt idx="46030">
                  <c:v>22102</c:v>
                </c:pt>
                <c:pt idx="46031">
                  <c:v>22101</c:v>
                </c:pt>
                <c:pt idx="46032">
                  <c:v>22101</c:v>
                </c:pt>
                <c:pt idx="46033">
                  <c:v>22101</c:v>
                </c:pt>
                <c:pt idx="46034">
                  <c:v>22100</c:v>
                </c:pt>
                <c:pt idx="46035">
                  <c:v>22099</c:v>
                </c:pt>
                <c:pt idx="46036">
                  <c:v>22099</c:v>
                </c:pt>
                <c:pt idx="46037">
                  <c:v>22099</c:v>
                </c:pt>
                <c:pt idx="46038">
                  <c:v>22098</c:v>
                </c:pt>
                <c:pt idx="46039">
                  <c:v>22097</c:v>
                </c:pt>
                <c:pt idx="46040">
                  <c:v>22097</c:v>
                </c:pt>
                <c:pt idx="46041">
                  <c:v>22097</c:v>
                </c:pt>
                <c:pt idx="46042">
                  <c:v>22096</c:v>
                </c:pt>
                <c:pt idx="46043">
                  <c:v>22096</c:v>
                </c:pt>
                <c:pt idx="46044">
                  <c:v>22095</c:v>
                </c:pt>
                <c:pt idx="46045">
                  <c:v>22095</c:v>
                </c:pt>
                <c:pt idx="46046">
                  <c:v>22095</c:v>
                </c:pt>
                <c:pt idx="46047">
                  <c:v>22095</c:v>
                </c:pt>
                <c:pt idx="46048">
                  <c:v>22094</c:v>
                </c:pt>
                <c:pt idx="46049">
                  <c:v>22093</c:v>
                </c:pt>
                <c:pt idx="46050">
                  <c:v>22093</c:v>
                </c:pt>
                <c:pt idx="46051">
                  <c:v>22093</c:v>
                </c:pt>
                <c:pt idx="46052">
                  <c:v>22093</c:v>
                </c:pt>
                <c:pt idx="46053">
                  <c:v>22093</c:v>
                </c:pt>
                <c:pt idx="46054">
                  <c:v>22093</c:v>
                </c:pt>
                <c:pt idx="46055">
                  <c:v>22092</c:v>
                </c:pt>
                <c:pt idx="46056">
                  <c:v>22092</c:v>
                </c:pt>
                <c:pt idx="46057">
                  <c:v>22091</c:v>
                </c:pt>
                <c:pt idx="46058">
                  <c:v>22091</c:v>
                </c:pt>
                <c:pt idx="46059">
                  <c:v>22090</c:v>
                </c:pt>
                <c:pt idx="46060">
                  <c:v>22089</c:v>
                </c:pt>
                <c:pt idx="46061">
                  <c:v>22089</c:v>
                </c:pt>
                <c:pt idx="46062">
                  <c:v>22089</c:v>
                </c:pt>
                <c:pt idx="46063">
                  <c:v>22089</c:v>
                </c:pt>
                <c:pt idx="46064">
                  <c:v>22088</c:v>
                </c:pt>
                <c:pt idx="46065">
                  <c:v>22087</c:v>
                </c:pt>
                <c:pt idx="46066">
                  <c:v>22087</c:v>
                </c:pt>
                <c:pt idx="46067">
                  <c:v>22087</c:v>
                </c:pt>
                <c:pt idx="46068">
                  <c:v>22087</c:v>
                </c:pt>
                <c:pt idx="46069">
                  <c:v>22087</c:v>
                </c:pt>
                <c:pt idx="46070">
                  <c:v>22086</c:v>
                </c:pt>
                <c:pt idx="46071">
                  <c:v>22086</c:v>
                </c:pt>
                <c:pt idx="46072">
                  <c:v>22085</c:v>
                </c:pt>
                <c:pt idx="46073">
                  <c:v>22085</c:v>
                </c:pt>
                <c:pt idx="46074">
                  <c:v>22085</c:v>
                </c:pt>
                <c:pt idx="46075">
                  <c:v>22084</c:v>
                </c:pt>
                <c:pt idx="46076">
                  <c:v>22084</c:v>
                </c:pt>
                <c:pt idx="46077">
                  <c:v>22084</c:v>
                </c:pt>
                <c:pt idx="46078">
                  <c:v>22084</c:v>
                </c:pt>
                <c:pt idx="46079">
                  <c:v>22084</c:v>
                </c:pt>
                <c:pt idx="46080">
                  <c:v>22084</c:v>
                </c:pt>
                <c:pt idx="46081">
                  <c:v>22084</c:v>
                </c:pt>
                <c:pt idx="46082">
                  <c:v>22083</c:v>
                </c:pt>
                <c:pt idx="46083">
                  <c:v>22083</c:v>
                </c:pt>
                <c:pt idx="46084">
                  <c:v>22083</c:v>
                </c:pt>
                <c:pt idx="46085">
                  <c:v>22083</c:v>
                </c:pt>
                <c:pt idx="46086">
                  <c:v>22083</c:v>
                </c:pt>
                <c:pt idx="46087">
                  <c:v>22082</c:v>
                </c:pt>
                <c:pt idx="46088">
                  <c:v>22082</c:v>
                </c:pt>
                <c:pt idx="46089">
                  <c:v>22080</c:v>
                </c:pt>
                <c:pt idx="46090">
                  <c:v>22080</c:v>
                </c:pt>
                <c:pt idx="46091">
                  <c:v>22079</c:v>
                </c:pt>
                <c:pt idx="46092">
                  <c:v>22079</c:v>
                </c:pt>
                <c:pt idx="46093">
                  <c:v>22079</c:v>
                </c:pt>
                <c:pt idx="46094">
                  <c:v>22079</c:v>
                </c:pt>
                <c:pt idx="46095">
                  <c:v>22078</c:v>
                </c:pt>
                <c:pt idx="46096">
                  <c:v>22078</c:v>
                </c:pt>
                <c:pt idx="46097">
                  <c:v>22078</c:v>
                </c:pt>
                <c:pt idx="46098">
                  <c:v>22078</c:v>
                </c:pt>
                <c:pt idx="46099">
                  <c:v>22077</c:v>
                </c:pt>
                <c:pt idx="46100">
                  <c:v>22077</c:v>
                </c:pt>
                <c:pt idx="46101">
                  <c:v>22077</c:v>
                </c:pt>
                <c:pt idx="46102">
                  <c:v>22077</c:v>
                </c:pt>
                <c:pt idx="46103">
                  <c:v>22077</c:v>
                </c:pt>
                <c:pt idx="46104">
                  <c:v>22076</c:v>
                </c:pt>
                <c:pt idx="46105">
                  <c:v>22075</c:v>
                </c:pt>
                <c:pt idx="46106">
                  <c:v>22075</c:v>
                </c:pt>
                <c:pt idx="46107">
                  <c:v>22075</c:v>
                </c:pt>
                <c:pt idx="46108">
                  <c:v>22075</c:v>
                </c:pt>
                <c:pt idx="46109">
                  <c:v>22075</c:v>
                </c:pt>
                <c:pt idx="46110">
                  <c:v>22074</c:v>
                </c:pt>
                <c:pt idx="46111">
                  <c:v>22074</c:v>
                </c:pt>
                <c:pt idx="46112">
                  <c:v>22074</c:v>
                </c:pt>
                <c:pt idx="46113">
                  <c:v>22073</c:v>
                </c:pt>
                <c:pt idx="46114">
                  <c:v>22073</c:v>
                </c:pt>
                <c:pt idx="46115">
                  <c:v>22073</c:v>
                </c:pt>
                <c:pt idx="46116">
                  <c:v>22072</c:v>
                </c:pt>
                <c:pt idx="46117">
                  <c:v>22072</c:v>
                </c:pt>
                <c:pt idx="46118">
                  <c:v>22072</c:v>
                </c:pt>
                <c:pt idx="46119">
                  <c:v>22071</c:v>
                </c:pt>
                <c:pt idx="46120">
                  <c:v>22071</c:v>
                </c:pt>
                <c:pt idx="46121">
                  <c:v>22071</c:v>
                </c:pt>
                <c:pt idx="46122">
                  <c:v>22070</c:v>
                </c:pt>
                <c:pt idx="46123">
                  <c:v>22070</c:v>
                </c:pt>
                <c:pt idx="46124">
                  <c:v>22070</c:v>
                </c:pt>
                <c:pt idx="46125">
                  <c:v>22069</c:v>
                </c:pt>
                <c:pt idx="46126">
                  <c:v>22069</c:v>
                </c:pt>
                <c:pt idx="46127">
                  <c:v>22069</c:v>
                </c:pt>
                <c:pt idx="46128">
                  <c:v>22069</c:v>
                </c:pt>
                <c:pt idx="46129">
                  <c:v>22069</c:v>
                </c:pt>
                <c:pt idx="46130">
                  <c:v>22068</c:v>
                </c:pt>
                <c:pt idx="46131">
                  <c:v>22068</c:v>
                </c:pt>
                <c:pt idx="46132">
                  <c:v>22068</c:v>
                </c:pt>
                <c:pt idx="46133">
                  <c:v>22067</c:v>
                </c:pt>
                <c:pt idx="46134">
                  <c:v>22067</c:v>
                </c:pt>
                <c:pt idx="46135">
                  <c:v>22067</c:v>
                </c:pt>
                <c:pt idx="46136">
                  <c:v>22067</c:v>
                </c:pt>
                <c:pt idx="46137">
                  <c:v>22067</c:v>
                </c:pt>
                <c:pt idx="46138">
                  <c:v>22067</c:v>
                </c:pt>
                <c:pt idx="46139">
                  <c:v>22066</c:v>
                </c:pt>
                <c:pt idx="46140">
                  <c:v>22066</c:v>
                </c:pt>
                <c:pt idx="46141">
                  <c:v>22066</c:v>
                </c:pt>
                <c:pt idx="46142">
                  <c:v>22066</c:v>
                </c:pt>
                <c:pt idx="46143">
                  <c:v>22066</c:v>
                </c:pt>
                <c:pt idx="46144">
                  <c:v>22066</c:v>
                </c:pt>
                <c:pt idx="46145">
                  <c:v>22065</c:v>
                </c:pt>
                <c:pt idx="46146">
                  <c:v>22065</c:v>
                </c:pt>
                <c:pt idx="46147">
                  <c:v>22065</c:v>
                </c:pt>
                <c:pt idx="46148">
                  <c:v>22064</c:v>
                </c:pt>
                <c:pt idx="46149">
                  <c:v>22064</c:v>
                </c:pt>
                <c:pt idx="46150">
                  <c:v>22063</c:v>
                </c:pt>
                <c:pt idx="46151">
                  <c:v>22063</c:v>
                </c:pt>
                <c:pt idx="46152">
                  <c:v>22063</c:v>
                </c:pt>
                <c:pt idx="46153">
                  <c:v>22062</c:v>
                </c:pt>
                <c:pt idx="46154">
                  <c:v>22061</c:v>
                </c:pt>
                <c:pt idx="46155">
                  <c:v>22061</c:v>
                </c:pt>
                <c:pt idx="46156">
                  <c:v>22061</c:v>
                </c:pt>
                <c:pt idx="46157">
                  <c:v>22059</c:v>
                </c:pt>
                <c:pt idx="46158">
                  <c:v>22059</c:v>
                </c:pt>
                <c:pt idx="46159">
                  <c:v>22058</c:v>
                </c:pt>
                <c:pt idx="46160">
                  <c:v>22058</c:v>
                </c:pt>
                <c:pt idx="46161">
                  <c:v>22057</c:v>
                </c:pt>
                <c:pt idx="46162">
                  <c:v>22057</c:v>
                </c:pt>
                <c:pt idx="46163">
                  <c:v>22057</c:v>
                </c:pt>
                <c:pt idx="46164">
                  <c:v>22056</c:v>
                </c:pt>
                <c:pt idx="46165">
                  <c:v>22055</c:v>
                </c:pt>
                <c:pt idx="46166">
                  <c:v>22055</c:v>
                </c:pt>
                <c:pt idx="46167">
                  <c:v>22055</c:v>
                </c:pt>
                <c:pt idx="46168">
                  <c:v>22055</c:v>
                </c:pt>
                <c:pt idx="46169">
                  <c:v>22055</c:v>
                </c:pt>
                <c:pt idx="46170">
                  <c:v>22055</c:v>
                </c:pt>
                <c:pt idx="46171">
                  <c:v>22054</c:v>
                </c:pt>
                <c:pt idx="46172">
                  <c:v>22054</c:v>
                </c:pt>
                <c:pt idx="46173">
                  <c:v>22054</c:v>
                </c:pt>
                <c:pt idx="46174">
                  <c:v>22053</c:v>
                </c:pt>
                <c:pt idx="46175">
                  <c:v>22053</c:v>
                </c:pt>
                <c:pt idx="46176">
                  <c:v>22052</c:v>
                </c:pt>
                <c:pt idx="46177">
                  <c:v>22052</c:v>
                </c:pt>
                <c:pt idx="46178">
                  <c:v>22052</c:v>
                </c:pt>
                <c:pt idx="46179">
                  <c:v>22052</c:v>
                </c:pt>
                <c:pt idx="46180">
                  <c:v>22052</c:v>
                </c:pt>
                <c:pt idx="46181">
                  <c:v>22052</c:v>
                </c:pt>
                <c:pt idx="46182">
                  <c:v>22052</c:v>
                </c:pt>
                <c:pt idx="46183">
                  <c:v>22052</c:v>
                </c:pt>
                <c:pt idx="46184">
                  <c:v>22051</c:v>
                </c:pt>
                <c:pt idx="46185">
                  <c:v>22051</c:v>
                </c:pt>
                <c:pt idx="46186">
                  <c:v>22051</c:v>
                </c:pt>
                <c:pt idx="46187">
                  <c:v>22051</c:v>
                </c:pt>
                <c:pt idx="46188">
                  <c:v>22050</c:v>
                </c:pt>
                <c:pt idx="46189">
                  <c:v>22049</c:v>
                </c:pt>
                <c:pt idx="46190">
                  <c:v>22048</c:v>
                </c:pt>
                <c:pt idx="46191">
                  <c:v>22048</c:v>
                </c:pt>
                <c:pt idx="46192">
                  <c:v>22047</c:v>
                </c:pt>
                <c:pt idx="46193">
                  <c:v>22047</c:v>
                </c:pt>
                <c:pt idx="46194">
                  <c:v>22047</c:v>
                </c:pt>
                <c:pt idx="46195">
                  <c:v>22046</c:v>
                </c:pt>
                <c:pt idx="46196">
                  <c:v>22046</c:v>
                </c:pt>
                <c:pt idx="46197">
                  <c:v>22045</c:v>
                </c:pt>
                <c:pt idx="46198">
                  <c:v>22045</c:v>
                </c:pt>
                <c:pt idx="46199">
                  <c:v>22045</c:v>
                </c:pt>
                <c:pt idx="46200">
                  <c:v>22044</c:v>
                </c:pt>
                <c:pt idx="46201">
                  <c:v>22044</c:v>
                </c:pt>
                <c:pt idx="46202">
                  <c:v>22043</c:v>
                </c:pt>
                <c:pt idx="46203">
                  <c:v>22043</c:v>
                </c:pt>
                <c:pt idx="46204">
                  <c:v>22043</c:v>
                </c:pt>
                <c:pt idx="46205">
                  <c:v>22042</c:v>
                </c:pt>
                <c:pt idx="46206">
                  <c:v>22042</c:v>
                </c:pt>
                <c:pt idx="46207">
                  <c:v>22041</c:v>
                </c:pt>
                <c:pt idx="46208">
                  <c:v>22041</c:v>
                </c:pt>
                <c:pt idx="46209">
                  <c:v>22041</c:v>
                </c:pt>
                <c:pt idx="46210">
                  <c:v>22041</c:v>
                </c:pt>
                <c:pt idx="46211">
                  <c:v>22041</c:v>
                </c:pt>
                <c:pt idx="46212">
                  <c:v>22040</c:v>
                </c:pt>
                <c:pt idx="46213">
                  <c:v>22039</c:v>
                </c:pt>
                <c:pt idx="46214">
                  <c:v>22039</c:v>
                </c:pt>
                <c:pt idx="46215">
                  <c:v>22039</c:v>
                </c:pt>
                <c:pt idx="46216">
                  <c:v>22039</c:v>
                </c:pt>
                <c:pt idx="46217">
                  <c:v>22038</c:v>
                </c:pt>
                <c:pt idx="46218">
                  <c:v>22037</c:v>
                </c:pt>
                <c:pt idx="46219">
                  <c:v>22037</c:v>
                </c:pt>
                <c:pt idx="46220">
                  <c:v>22036</c:v>
                </c:pt>
                <c:pt idx="46221">
                  <c:v>22036</c:v>
                </c:pt>
                <c:pt idx="46222">
                  <c:v>22036</c:v>
                </c:pt>
                <c:pt idx="46223">
                  <c:v>22036</c:v>
                </c:pt>
                <c:pt idx="46224">
                  <c:v>22036</c:v>
                </c:pt>
                <c:pt idx="46225">
                  <c:v>22036</c:v>
                </c:pt>
                <c:pt idx="46226">
                  <c:v>22036</c:v>
                </c:pt>
                <c:pt idx="46227">
                  <c:v>22035</c:v>
                </c:pt>
                <c:pt idx="46228">
                  <c:v>22035</c:v>
                </c:pt>
                <c:pt idx="46229">
                  <c:v>22035</c:v>
                </c:pt>
                <c:pt idx="46230">
                  <c:v>22035</c:v>
                </c:pt>
                <c:pt idx="46231">
                  <c:v>22034</c:v>
                </c:pt>
                <c:pt idx="46232">
                  <c:v>22033</c:v>
                </c:pt>
                <c:pt idx="46233">
                  <c:v>22032</c:v>
                </c:pt>
                <c:pt idx="46234">
                  <c:v>22032</c:v>
                </c:pt>
                <c:pt idx="46235">
                  <c:v>22032</c:v>
                </c:pt>
                <c:pt idx="46236">
                  <c:v>22032</c:v>
                </c:pt>
                <c:pt idx="46237">
                  <c:v>22032</c:v>
                </c:pt>
                <c:pt idx="46238">
                  <c:v>22031</c:v>
                </c:pt>
                <c:pt idx="46239">
                  <c:v>22031</c:v>
                </c:pt>
                <c:pt idx="46240">
                  <c:v>22030</c:v>
                </c:pt>
                <c:pt idx="46241">
                  <c:v>22030</c:v>
                </c:pt>
                <c:pt idx="46242">
                  <c:v>22029</c:v>
                </c:pt>
                <c:pt idx="46243">
                  <c:v>22029</c:v>
                </c:pt>
                <c:pt idx="46244">
                  <c:v>22029</c:v>
                </c:pt>
                <c:pt idx="46245">
                  <c:v>22028</c:v>
                </c:pt>
                <c:pt idx="46246">
                  <c:v>22028</c:v>
                </c:pt>
                <c:pt idx="46247">
                  <c:v>22027</c:v>
                </c:pt>
                <c:pt idx="46248">
                  <c:v>22027</c:v>
                </c:pt>
                <c:pt idx="46249">
                  <c:v>22027</c:v>
                </c:pt>
                <c:pt idx="46250">
                  <c:v>22026</c:v>
                </c:pt>
                <c:pt idx="46251">
                  <c:v>22026</c:v>
                </c:pt>
                <c:pt idx="46252">
                  <c:v>22025</c:v>
                </c:pt>
                <c:pt idx="46253">
                  <c:v>22025</c:v>
                </c:pt>
                <c:pt idx="46254">
                  <c:v>22024</c:v>
                </c:pt>
                <c:pt idx="46255">
                  <c:v>22024</c:v>
                </c:pt>
                <c:pt idx="46256">
                  <c:v>22024</c:v>
                </c:pt>
                <c:pt idx="46257">
                  <c:v>22024</c:v>
                </c:pt>
                <c:pt idx="46258">
                  <c:v>22023</c:v>
                </c:pt>
                <c:pt idx="46259">
                  <c:v>22023</c:v>
                </c:pt>
                <c:pt idx="46260">
                  <c:v>22023</c:v>
                </c:pt>
                <c:pt idx="46261">
                  <c:v>22023</c:v>
                </c:pt>
                <c:pt idx="46262">
                  <c:v>22022</c:v>
                </c:pt>
                <c:pt idx="46263">
                  <c:v>22022</c:v>
                </c:pt>
                <c:pt idx="46264">
                  <c:v>22021</c:v>
                </c:pt>
                <c:pt idx="46265">
                  <c:v>22021</c:v>
                </c:pt>
                <c:pt idx="46266">
                  <c:v>22021</c:v>
                </c:pt>
                <c:pt idx="46267">
                  <c:v>22021</c:v>
                </c:pt>
                <c:pt idx="46268">
                  <c:v>22020</c:v>
                </c:pt>
                <c:pt idx="46269">
                  <c:v>22019</c:v>
                </c:pt>
                <c:pt idx="46270">
                  <c:v>22018</c:v>
                </c:pt>
                <c:pt idx="46271">
                  <c:v>22018</c:v>
                </c:pt>
                <c:pt idx="46272">
                  <c:v>22018</c:v>
                </c:pt>
                <c:pt idx="46273">
                  <c:v>22018</c:v>
                </c:pt>
                <c:pt idx="46274">
                  <c:v>22018</c:v>
                </c:pt>
                <c:pt idx="46275">
                  <c:v>22017</c:v>
                </c:pt>
                <c:pt idx="46276">
                  <c:v>22017</c:v>
                </c:pt>
                <c:pt idx="46277">
                  <c:v>22016</c:v>
                </c:pt>
                <c:pt idx="46278">
                  <c:v>22016</c:v>
                </c:pt>
                <c:pt idx="46279">
                  <c:v>22015</c:v>
                </c:pt>
                <c:pt idx="46280">
                  <c:v>22014</c:v>
                </c:pt>
                <c:pt idx="46281">
                  <c:v>22014</c:v>
                </c:pt>
                <c:pt idx="46282">
                  <c:v>22014</c:v>
                </c:pt>
                <c:pt idx="46283">
                  <c:v>22013</c:v>
                </c:pt>
                <c:pt idx="46284">
                  <c:v>22012</c:v>
                </c:pt>
                <c:pt idx="46285">
                  <c:v>22011</c:v>
                </c:pt>
                <c:pt idx="46286">
                  <c:v>22011</c:v>
                </c:pt>
                <c:pt idx="46287">
                  <c:v>22011</c:v>
                </c:pt>
                <c:pt idx="46288">
                  <c:v>22010</c:v>
                </c:pt>
                <c:pt idx="46289">
                  <c:v>22010</c:v>
                </c:pt>
                <c:pt idx="46290">
                  <c:v>22009</c:v>
                </c:pt>
                <c:pt idx="46291">
                  <c:v>22008</c:v>
                </c:pt>
                <c:pt idx="46292">
                  <c:v>22007</c:v>
                </c:pt>
                <c:pt idx="46293">
                  <c:v>22007</c:v>
                </c:pt>
                <c:pt idx="46294">
                  <c:v>22007</c:v>
                </c:pt>
                <c:pt idx="46295">
                  <c:v>22007</c:v>
                </c:pt>
                <c:pt idx="46296">
                  <c:v>22007</c:v>
                </c:pt>
                <c:pt idx="46297">
                  <c:v>22007</c:v>
                </c:pt>
                <c:pt idx="46298">
                  <c:v>22006</c:v>
                </c:pt>
                <c:pt idx="46299">
                  <c:v>22005</c:v>
                </c:pt>
                <c:pt idx="46300">
                  <c:v>22005</c:v>
                </c:pt>
                <c:pt idx="46301">
                  <c:v>22005</c:v>
                </c:pt>
                <c:pt idx="46302">
                  <c:v>22005</c:v>
                </c:pt>
                <c:pt idx="46303">
                  <c:v>22005</c:v>
                </c:pt>
                <c:pt idx="46304">
                  <c:v>22005</c:v>
                </c:pt>
                <c:pt idx="46305">
                  <c:v>22004</c:v>
                </c:pt>
                <c:pt idx="46306">
                  <c:v>22004</c:v>
                </c:pt>
                <c:pt idx="46307">
                  <c:v>22003</c:v>
                </c:pt>
                <c:pt idx="46308">
                  <c:v>22003</c:v>
                </c:pt>
                <c:pt idx="46309">
                  <c:v>22003</c:v>
                </c:pt>
                <c:pt idx="46310">
                  <c:v>22002</c:v>
                </c:pt>
                <c:pt idx="46311">
                  <c:v>22002</c:v>
                </c:pt>
                <c:pt idx="46312">
                  <c:v>22002</c:v>
                </c:pt>
                <c:pt idx="46313">
                  <c:v>22002</c:v>
                </c:pt>
                <c:pt idx="46314">
                  <c:v>22001</c:v>
                </c:pt>
                <c:pt idx="46315">
                  <c:v>22001</c:v>
                </c:pt>
                <c:pt idx="46316">
                  <c:v>22001</c:v>
                </c:pt>
                <c:pt idx="46317">
                  <c:v>22001</c:v>
                </c:pt>
                <c:pt idx="46318">
                  <c:v>22001</c:v>
                </c:pt>
                <c:pt idx="46319">
                  <c:v>22001</c:v>
                </c:pt>
                <c:pt idx="46320">
                  <c:v>22001</c:v>
                </c:pt>
                <c:pt idx="46321">
                  <c:v>22001</c:v>
                </c:pt>
                <c:pt idx="46322">
                  <c:v>22000</c:v>
                </c:pt>
                <c:pt idx="46323">
                  <c:v>21999</c:v>
                </c:pt>
                <c:pt idx="46324">
                  <c:v>21999</c:v>
                </c:pt>
                <c:pt idx="46325">
                  <c:v>21999</c:v>
                </c:pt>
                <c:pt idx="46326">
                  <c:v>21999</c:v>
                </c:pt>
                <c:pt idx="46327">
                  <c:v>21997</c:v>
                </c:pt>
                <c:pt idx="46328">
                  <c:v>21997</c:v>
                </c:pt>
                <c:pt idx="46329">
                  <c:v>21996</c:v>
                </c:pt>
                <c:pt idx="46330">
                  <c:v>21996</c:v>
                </c:pt>
                <c:pt idx="46331">
                  <c:v>21995</c:v>
                </c:pt>
                <c:pt idx="46332">
                  <c:v>21995</c:v>
                </c:pt>
                <c:pt idx="46333">
                  <c:v>21995</c:v>
                </c:pt>
                <c:pt idx="46334">
                  <c:v>21995</c:v>
                </c:pt>
                <c:pt idx="46335">
                  <c:v>21994</c:v>
                </c:pt>
                <c:pt idx="46336">
                  <c:v>21994</c:v>
                </c:pt>
                <c:pt idx="46337">
                  <c:v>21993</c:v>
                </c:pt>
                <c:pt idx="46338">
                  <c:v>21992</c:v>
                </c:pt>
                <c:pt idx="46339">
                  <c:v>21992</c:v>
                </c:pt>
                <c:pt idx="46340">
                  <c:v>21991</c:v>
                </c:pt>
                <c:pt idx="46341">
                  <c:v>21991</c:v>
                </c:pt>
                <c:pt idx="46342">
                  <c:v>21991</c:v>
                </c:pt>
                <c:pt idx="46343">
                  <c:v>21991</c:v>
                </c:pt>
                <c:pt idx="46344">
                  <c:v>21990</c:v>
                </c:pt>
                <c:pt idx="46345">
                  <c:v>21990</c:v>
                </c:pt>
                <c:pt idx="46346">
                  <c:v>21988</c:v>
                </c:pt>
                <c:pt idx="46347">
                  <c:v>21988</c:v>
                </c:pt>
                <c:pt idx="46348">
                  <c:v>21988</c:v>
                </c:pt>
                <c:pt idx="46349">
                  <c:v>21987</c:v>
                </c:pt>
                <c:pt idx="46350">
                  <c:v>21987</c:v>
                </c:pt>
                <c:pt idx="46351">
                  <c:v>21986</c:v>
                </c:pt>
                <c:pt idx="46352">
                  <c:v>21986</c:v>
                </c:pt>
                <c:pt idx="46353">
                  <c:v>21986</c:v>
                </c:pt>
                <c:pt idx="46354">
                  <c:v>21985</c:v>
                </c:pt>
                <c:pt idx="46355">
                  <c:v>21984</c:v>
                </c:pt>
                <c:pt idx="46356">
                  <c:v>21984</c:v>
                </c:pt>
                <c:pt idx="46357">
                  <c:v>21984</c:v>
                </c:pt>
                <c:pt idx="46358">
                  <c:v>21984</c:v>
                </c:pt>
                <c:pt idx="46359">
                  <c:v>21984</c:v>
                </c:pt>
                <c:pt idx="46360">
                  <c:v>21984</c:v>
                </c:pt>
                <c:pt idx="46361">
                  <c:v>21984</c:v>
                </c:pt>
                <c:pt idx="46362">
                  <c:v>21983</c:v>
                </c:pt>
                <c:pt idx="46363">
                  <c:v>21983</c:v>
                </c:pt>
                <c:pt idx="46364">
                  <c:v>21983</c:v>
                </c:pt>
                <c:pt idx="46365">
                  <c:v>21983</c:v>
                </c:pt>
                <c:pt idx="46366">
                  <c:v>21983</c:v>
                </c:pt>
                <c:pt idx="46367">
                  <c:v>21983</c:v>
                </c:pt>
                <c:pt idx="46368">
                  <c:v>21983</c:v>
                </c:pt>
                <c:pt idx="46369">
                  <c:v>21982</c:v>
                </c:pt>
                <c:pt idx="46370">
                  <c:v>21982</c:v>
                </c:pt>
                <c:pt idx="46371">
                  <c:v>21982</c:v>
                </c:pt>
                <c:pt idx="46372">
                  <c:v>21981</c:v>
                </c:pt>
                <c:pt idx="46373">
                  <c:v>21981</c:v>
                </c:pt>
                <c:pt idx="46374">
                  <c:v>21980</c:v>
                </c:pt>
                <c:pt idx="46375">
                  <c:v>21980</c:v>
                </c:pt>
                <c:pt idx="46376">
                  <c:v>21980</c:v>
                </c:pt>
                <c:pt idx="46377">
                  <c:v>21979</c:v>
                </c:pt>
                <c:pt idx="46378">
                  <c:v>21979</c:v>
                </c:pt>
                <c:pt idx="46379">
                  <c:v>21979</c:v>
                </c:pt>
                <c:pt idx="46380">
                  <c:v>21979</c:v>
                </c:pt>
                <c:pt idx="46381">
                  <c:v>21979</c:v>
                </c:pt>
                <c:pt idx="46382">
                  <c:v>21978</c:v>
                </c:pt>
                <c:pt idx="46383">
                  <c:v>21978</c:v>
                </c:pt>
                <c:pt idx="46384">
                  <c:v>21978</c:v>
                </c:pt>
                <c:pt idx="46385">
                  <c:v>21978</c:v>
                </c:pt>
                <c:pt idx="46386">
                  <c:v>21977</c:v>
                </c:pt>
                <c:pt idx="46387">
                  <c:v>21977</c:v>
                </c:pt>
                <c:pt idx="46388">
                  <c:v>21977</c:v>
                </c:pt>
                <c:pt idx="46389">
                  <c:v>21977</c:v>
                </c:pt>
                <c:pt idx="46390">
                  <c:v>21977</c:v>
                </c:pt>
                <c:pt idx="46391">
                  <c:v>21977</c:v>
                </c:pt>
                <c:pt idx="46392">
                  <c:v>21977</c:v>
                </c:pt>
                <c:pt idx="46393">
                  <c:v>21976</c:v>
                </c:pt>
                <c:pt idx="46394">
                  <c:v>21976</c:v>
                </c:pt>
                <c:pt idx="46395">
                  <c:v>21976</c:v>
                </c:pt>
                <c:pt idx="46396">
                  <c:v>21975</c:v>
                </c:pt>
                <c:pt idx="46397">
                  <c:v>21975</c:v>
                </c:pt>
                <c:pt idx="46398">
                  <c:v>21975</c:v>
                </c:pt>
                <c:pt idx="46399">
                  <c:v>21975</c:v>
                </c:pt>
                <c:pt idx="46400">
                  <c:v>21973</c:v>
                </c:pt>
                <c:pt idx="46401">
                  <c:v>21973</c:v>
                </c:pt>
                <c:pt idx="46402">
                  <c:v>21973</c:v>
                </c:pt>
                <c:pt idx="46403">
                  <c:v>21972</c:v>
                </c:pt>
                <c:pt idx="46404">
                  <c:v>21972</c:v>
                </c:pt>
                <c:pt idx="46405">
                  <c:v>21971</c:v>
                </c:pt>
                <c:pt idx="46406">
                  <c:v>21971</c:v>
                </c:pt>
                <c:pt idx="46407">
                  <c:v>21971</c:v>
                </c:pt>
                <c:pt idx="46408">
                  <c:v>21971</c:v>
                </c:pt>
                <c:pt idx="46409">
                  <c:v>21971</c:v>
                </c:pt>
                <c:pt idx="46410">
                  <c:v>21970</c:v>
                </c:pt>
                <c:pt idx="46411">
                  <c:v>21970</c:v>
                </c:pt>
                <c:pt idx="46412">
                  <c:v>21970</c:v>
                </c:pt>
                <c:pt idx="46413">
                  <c:v>21970</c:v>
                </c:pt>
                <c:pt idx="46414">
                  <c:v>21969</c:v>
                </c:pt>
                <c:pt idx="46415">
                  <c:v>21969</c:v>
                </c:pt>
                <c:pt idx="46416">
                  <c:v>21969</c:v>
                </c:pt>
                <c:pt idx="46417">
                  <c:v>21969</c:v>
                </c:pt>
                <c:pt idx="46418">
                  <c:v>21968</c:v>
                </c:pt>
                <c:pt idx="46419">
                  <c:v>21968</c:v>
                </c:pt>
                <c:pt idx="46420">
                  <c:v>21968</c:v>
                </c:pt>
                <c:pt idx="46421">
                  <c:v>21968</c:v>
                </c:pt>
                <c:pt idx="46422">
                  <c:v>21968</c:v>
                </c:pt>
                <c:pt idx="46423">
                  <c:v>21968</c:v>
                </c:pt>
                <c:pt idx="46424">
                  <c:v>21967</c:v>
                </c:pt>
                <c:pt idx="46425">
                  <c:v>21967</c:v>
                </c:pt>
                <c:pt idx="46426">
                  <c:v>21967</c:v>
                </c:pt>
                <c:pt idx="46427">
                  <c:v>21966</c:v>
                </c:pt>
                <c:pt idx="46428">
                  <c:v>21966</c:v>
                </c:pt>
                <c:pt idx="46429">
                  <c:v>21966</c:v>
                </c:pt>
                <c:pt idx="46430">
                  <c:v>21965</c:v>
                </c:pt>
                <c:pt idx="46431">
                  <c:v>21965</c:v>
                </c:pt>
                <c:pt idx="46432">
                  <c:v>21964</c:v>
                </c:pt>
                <c:pt idx="46433">
                  <c:v>21964</c:v>
                </c:pt>
                <c:pt idx="46434">
                  <c:v>21964</c:v>
                </c:pt>
                <c:pt idx="46435">
                  <c:v>21963</c:v>
                </c:pt>
                <c:pt idx="46436">
                  <c:v>21963</c:v>
                </c:pt>
                <c:pt idx="46437">
                  <c:v>21963</c:v>
                </c:pt>
                <c:pt idx="46438">
                  <c:v>21962</c:v>
                </c:pt>
                <c:pt idx="46439">
                  <c:v>21961</c:v>
                </c:pt>
                <c:pt idx="46440">
                  <c:v>21960</c:v>
                </c:pt>
                <c:pt idx="46441">
                  <c:v>21960</c:v>
                </c:pt>
                <c:pt idx="46442">
                  <c:v>21960</c:v>
                </c:pt>
                <c:pt idx="46443">
                  <c:v>21959</c:v>
                </c:pt>
                <c:pt idx="46444">
                  <c:v>21958</c:v>
                </c:pt>
                <c:pt idx="46445">
                  <c:v>21958</c:v>
                </c:pt>
                <c:pt idx="46446">
                  <c:v>21958</c:v>
                </c:pt>
                <c:pt idx="46447">
                  <c:v>21958</c:v>
                </c:pt>
                <c:pt idx="46448">
                  <c:v>21958</c:v>
                </c:pt>
                <c:pt idx="46449">
                  <c:v>21958</c:v>
                </c:pt>
                <c:pt idx="46450">
                  <c:v>21957</c:v>
                </c:pt>
                <c:pt idx="46451">
                  <c:v>21956</c:v>
                </c:pt>
                <c:pt idx="46452">
                  <c:v>21956</c:v>
                </c:pt>
                <c:pt idx="46453">
                  <c:v>21956</c:v>
                </c:pt>
                <c:pt idx="46454">
                  <c:v>21955</c:v>
                </c:pt>
                <c:pt idx="46455">
                  <c:v>21955</c:v>
                </c:pt>
                <c:pt idx="46456">
                  <c:v>21955</c:v>
                </c:pt>
                <c:pt idx="46457">
                  <c:v>21954</c:v>
                </c:pt>
                <c:pt idx="46458">
                  <c:v>21954</c:v>
                </c:pt>
                <c:pt idx="46459">
                  <c:v>21954</c:v>
                </c:pt>
                <c:pt idx="46460">
                  <c:v>21954</c:v>
                </c:pt>
                <c:pt idx="46461">
                  <c:v>21954</c:v>
                </c:pt>
                <c:pt idx="46462">
                  <c:v>21954</c:v>
                </c:pt>
                <c:pt idx="46463">
                  <c:v>21954</c:v>
                </c:pt>
                <c:pt idx="46464">
                  <c:v>21954</c:v>
                </c:pt>
                <c:pt idx="46465">
                  <c:v>21953</c:v>
                </c:pt>
                <c:pt idx="46466">
                  <c:v>21953</c:v>
                </c:pt>
                <c:pt idx="46467">
                  <c:v>21953</c:v>
                </c:pt>
                <c:pt idx="46468">
                  <c:v>21952</c:v>
                </c:pt>
                <c:pt idx="46469">
                  <c:v>21952</c:v>
                </c:pt>
                <c:pt idx="46470">
                  <c:v>21952</c:v>
                </c:pt>
                <c:pt idx="46471">
                  <c:v>21952</c:v>
                </c:pt>
                <c:pt idx="46472">
                  <c:v>21951</c:v>
                </c:pt>
                <c:pt idx="46473">
                  <c:v>21951</c:v>
                </c:pt>
                <c:pt idx="46474">
                  <c:v>21951</c:v>
                </c:pt>
                <c:pt idx="46475">
                  <c:v>21950</c:v>
                </c:pt>
                <c:pt idx="46476">
                  <c:v>21950</c:v>
                </c:pt>
                <c:pt idx="46477">
                  <c:v>21950</c:v>
                </c:pt>
                <c:pt idx="46478">
                  <c:v>21949</c:v>
                </c:pt>
                <c:pt idx="46479">
                  <c:v>21949</c:v>
                </c:pt>
                <c:pt idx="46480">
                  <c:v>21948</c:v>
                </c:pt>
                <c:pt idx="46481">
                  <c:v>21948</c:v>
                </c:pt>
                <c:pt idx="46482">
                  <c:v>21948</c:v>
                </c:pt>
                <c:pt idx="46483">
                  <c:v>21947</c:v>
                </c:pt>
                <c:pt idx="46484">
                  <c:v>21947</c:v>
                </c:pt>
                <c:pt idx="46485">
                  <c:v>21947</c:v>
                </c:pt>
                <c:pt idx="46486">
                  <c:v>21946</c:v>
                </c:pt>
                <c:pt idx="46487">
                  <c:v>21946</c:v>
                </c:pt>
                <c:pt idx="46488">
                  <c:v>21945</c:v>
                </c:pt>
                <c:pt idx="46489">
                  <c:v>21945</c:v>
                </c:pt>
                <c:pt idx="46490">
                  <c:v>21945</c:v>
                </c:pt>
                <c:pt idx="46491">
                  <c:v>21945</c:v>
                </c:pt>
                <c:pt idx="46492">
                  <c:v>21945</c:v>
                </c:pt>
                <c:pt idx="46493">
                  <c:v>21944</c:v>
                </c:pt>
                <c:pt idx="46494">
                  <c:v>21944</c:v>
                </c:pt>
                <c:pt idx="46495">
                  <c:v>21943</c:v>
                </c:pt>
                <c:pt idx="46496">
                  <c:v>21942</c:v>
                </c:pt>
                <c:pt idx="46497">
                  <c:v>21941</c:v>
                </c:pt>
                <c:pt idx="46498">
                  <c:v>21941</c:v>
                </c:pt>
                <c:pt idx="46499">
                  <c:v>21941</c:v>
                </c:pt>
                <c:pt idx="46500">
                  <c:v>21938</c:v>
                </c:pt>
                <c:pt idx="46501">
                  <c:v>21938</c:v>
                </c:pt>
                <c:pt idx="46502">
                  <c:v>21938</c:v>
                </c:pt>
                <c:pt idx="46503">
                  <c:v>21938</c:v>
                </c:pt>
                <c:pt idx="46504">
                  <c:v>21937</c:v>
                </c:pt>
                <c:pt idx="46505">
                  <c:v>21937</c:v>
                </c:pt>
                <c:pt idx="46506">
                  <c:v>21937</c:v>
                </c:pt>
                <c:pt idx="46507">
                  <c:v>21936</c:v>
                </c:pt>
                <c:pt idx="46508">
                  <c:v>21936</c:v>
                </c:pt>
                <c:pt idx="46509">
                  <c:v>21936</c:v>
                </c:pt>
                <c:pt idx="46510">
                  <c:v>21936</c:v>
                </c:pt>
                <c:pt idx="46511">
                  <c:v>21936</c:v>
                </c:pt>
                <c:pt idx="46512">
                  <c:v>21935</c:v>
                </c:pt>
                <c:pt idx="46513">
                  <c:v>21935</c:v>
                </c:pt>
                <c:pt idx="46514">
                  <c:v>21935</c:v>
                </c:pt>
                <c:pt idx="46515">
                  <c:v>21935</c:v>
                </c:pt>
                <c:pt idx="46516">
                  <c:v>21935</c:v>
                </c:pt>
                <c:pt idx="46517">
                  <c:v>21934</c:v>
                </c:pt>
                <c:pt idx="46518">
                  <c:v>21934</c:v>
                </c:pt>
                <c:pt idx="46519">
                  <c:v>21933</c:v>
                </c:pt>
                <c:pt idx="46520">
                  <c:v>21933</c:v>
                </c:pt>
                <c:pt idx="46521">
                  <c:v>21933</c:v>
                </c:pt>
                <c:pt idx="46522">
                  <c:v>21932</c:v>
                </c:pt>
                <c:pt idx="46523">
                  <c:v>21932</c:v>
                </c:pt>
                <c:pt idx="46524">
                  <c:v>21932</c:v>
                </c:pt>
                <c:pt idx="46525">
                  <c:v>21931</c:v>
                </c:pt>
                <c:pt idx="46526">
                  <c:v>21931</c:v>
                </c:pt>
                <c:pt idx="46527">
                  <c:v>21930</c:v>
                </c:pt>
                <c:pt idx="46528">
                  <c:v>21930</c:v>
                </c:pt>
                <c:pt idx="46529">
                  <c:v>21929</c:v>
                </c:pt>
                <c:pt idx="46530">
                  <c:v>21929</c:v>
                </c:pt>
                <c:pt idx="46531">
                  <c:v>21929</c:v>
                </c:pt>
                <c:pt idx="46532">
                  <c:v>21929</c:v>
                </c:pt>
                <c:pt idx="46533">
                  <c:v>21929</c:v>
                </c:pt>
                <c:pt idx="46534">
                  <c:v>21928</c:v>
                </c:pt>
                <c:pt idx="46535">
                  <c:v>21928</c:v>
                </c:pt>
                <c:pt idx="46536">
                  <c:v>21927</c:v>
                </c:pt>
                <c:pt idx="46537">
                  <c:v>21926</c:v>
                </c:pt>
                <c:pt idx="46538">
                  <c:v>21923</c:v>
                </c:pt>
                <c:pt idx="46539">
                  <c:v>21923</c:v>
                </c:pt>
                <c:pt idx="46540">
                  <c:v>21923</c:v>
                </c:pt>
                <c:pt idx="46541">
                  <c:v>21923</c:v>
                </c:pt>
                <c:pt idx="46542">
                  <c:v>21921</c:v>
                </c:pt>
                <c:pt idx="46543">
                  <c:v>21921</c:v>
                </c:pt>
                <c:pt idx="46544">
                  <c:v>21921</c:v>
                </c:pt>
                <c:pt idx="46545">
                  <c:v>21921</c:v>
                </c:pt>
                <c:pt idx="46546">
                  <c:v>21920</c:v>
                </c:pt>
                <c:pt idx="46547">
                  <c:v>21920</c:v>
                </c:pt>
                <c:pt idx="46548">
                  <c:v>21920</c:v>
                </c:pt>
                <c:pt idx="46549">
                  <c:v>21919</c:v>
                </c:pt>
                <c:pt idx="46550">
                  <c:v>21919</c:v>
                </c:pt>
                <c:pt idx="46551">
                  <c:v>21919</c:v>
                </c:pt>
                <c:pt idx="46552">
                  <c:v>21918</c:v>
                </c:pt>
                <c:pt idx="46553">
                  <c:v>21918</c:v>
                </c:pt>
                <c:pt idx="46554">
                  <c:v>21918</c:v>
                </c:pt>
                <c:pt idx="46555">
                  <c:v>21916</c:v>
                </c:pt>
                <c:pt idx="46556">
                  <c:v>21916</c:v>
                </c:pt>
                <c:pt idx="46557">
                  <c:v>21916</c:v>
                </c:pt>
                <c:pt idx="46558">
                  <c:v>21915</c:v>
                </c:pt>
                <c:pt idx="46559">
                  <c:v>21914</c:v>
                </c:pt>
                <c:pt idx="46560">
                  <c:v>21914</c:v>
                </c:pt>
                <c:pt idx="46561">
                  <c:v>21913</c:v>
                </c:pt>
                <c:pt idx="46562">
                  <c:v>21912</c:v>
                </c:pt>
                <c:pt idx="46563">
                  <c:v>21912</c:v>
                </c:pt>
                <c:pt idx="46564">
                  <c:v>21912</c:v>
                </c:pt>
                <c:pt idx="46565">
                  <c:v>21912</c:v>
                </c:pt>
                <c:pt idx="46566">
                  <c:v>21912</c:v>
                </c:pt>
                <c:pt idx="46567">
                  <c:v>21911</c:v>
                </c:pt>
                <c:pt idx="46568">
                  <c:v>21911</c:v>
                </c:pt>
                <c:pt idx="46569">
                  <c:v>21910</c:v>
                </c:pt>
                <c:pt idx="46570">
                  <c:v>21910</c:v>
                </c:pt>
                <c:pt idx="46571">
                  <c:v>21909</c:v>
                </c:pt>
                <c:pt idx="46572">
                  <c:v>21909</c:v>
                </c:pt>
                <c:pt idx="46573">
                  <c:v>21909</c:v>
                </c:pt>
                <c:pt idx="46574">
                  <c:v>21909</c:v>
                </c:pt>
                <c:pt idx="46575">
                  <c:v>21908</c:v>
                </c:pt>
                <c:pt idx="46576">
                  <c:v>21908</c:v>
                </c:pt>
                <c:pt idx="46577">
                  <c:v>21907</c:v>
                </c:pt>
                <c:pt idx="46578">
                  <c:v>21907</c:v>
                </c:pt>
                <c:pt idx="46579">
                  <c:v>21906</c:v>
                </c:pt>
                <c:pt idx="46580">
                  <c:v>21906</c:v>
                </c:pt>
                <c:pt idx="46581">
                  <c:v>21906</c:v>
                </c:pt>
                <c:pt idx="46582">
                  <c:v>21906</c:v>
                </c:pt>
                <c:pt idx="46583">
                  <c:v>21906</c:v>
                </c:pt>
                <c:pt idx="46584">
                  <c:v>21906</c:v>
                </c:pt>
                <c:pt idx="46585">
                  <c:v>21905</c:v>
                </c:pt>
                <c:pt idx="46586">
                  <c:v>21905</c:v>
                </c:pt>
                <c:pt idx="46587">
                  <c:v>21905</c:v>
                </c:pt>
                <c:pt idx="46588">
                  <c:v>21905</c:v>
                </c:pt>
                <c:pt idx="46589">
                  <c:v>21904</c:v>
                </c:pt>
                <c:pt idx="46590">
                  <c:v>21904</c:v>
                </c:pt>
                <c:pt idx="46591">
                  <c:v>21904</c:v>
                </c:pt>
                <c:pt idx="46592">
                  <c:v>21904</c:v>
                </c:pt>
                <c:pt idx="46593">
                  <c:v>21903</c:v>
                </c:pt>
                <c:pt idx="46594">
                  <c:v>21901</c:v>
                </c:pt>
                <c:pt idx="46595">
                  <c:v>21901</c:v>
                </c:pt>
                <c:pt idx="46596">
                  <c:v>21901</c:v>
                </c:pt>
                <c:pt idx="46597">
                  <c:v>21900</c:v>
                </c:pt>
                <c:pt idx="46598">
                  <c:v>21900</c:v>
                </c:pt>
                <c:pt idx="46599">
                  <c:v>21899</c:v>
                </c:pt>
                <c:pt idx="46600">
                  <c:v>21899</c:v>
                </c:pt>
                <c:pt idx="46601">
                  <c:v>21899</c:v>
                </c:pt>
                <c:pt idx="46602">
                  <c:v>21899</c:v>
                </c:pt>
                <c:pt idx="46603">
                  <c:v>21898</c:v>
                </c:pt>
                <c:pt idx="46604">
                  <c:v>21898</c:v>
                </c:pt>
                <c:pt idx="46605">
                  <c:v>21898</c:v>
                </c:pt>
                <c:pt idx="46606">
                  <c:v>21898</c:v>
                </c:pt>
                <c:pt idx="46607">
                  <c:v>21897</c:v>
                </c:pt>
                <c:pt idx="46608">
                  <c:v>21897</c:v>
                </c:pt>
                <c:pt idx="46609">
                  <c:v>21896</c:v>
                </c:pt>
                <c:pt idx="46610">
                  <c:v>21896</c:v>
                </c:pt>
                <c:pt idx="46611">
                  <c:v>21895</c:v>
                </c:pt>
                <c:pt idx="46612">
                  <c:v>21895</c:v>
                </c:pt>
                <c:pt idx="46613">
                  <c:v>21895</c:v>
                </c:pt>
                <c:pt idx="46614">
                  <c:v>21895</c:v>
                </c:pt>
                <c:pt idx="46615">
                  <c:v>21895</c:v>
                </c:pt>
                <c:pt idx="46616">
                  <c:v>21895</c:v>
                </c:pt>
                <c:pt idx="46617">
                  <c:v>21894</c:v>
                </c:pt>
                <c:pt idx="46618">
                  <c:v>21893</c:v>
                </c:pt>
                <c:pt idx="46619">
                  <c:v>21893</c:v>
                </c:pt>
                <c:pt idx="46620">
                  <c:v>21892</c:v>
                </c:pt>
                <c:pt idx="46621">
                  <c:v>21892</c:v>
                </c:pt>
                <c:pt idx="46622">
                  <c:v>21892</c:v>
                </c:pt>
                <c:pt idx="46623">
                  <c:v>21892</c:v>
                </c:pt>
                <c:pt idx="46624">
                  <c:v>21892</c:v>
                </c:pt>
                <c:pt idx="46625">
                  <c:v>21891</c:v>
                </c:pt>
                <c:pt idx="46626">
                  <c:v>21891</c:v>
                </c:pt>
                <c:pt idx="46627">
                  <c:v>21891</c:v>
                </c:pt>
                <c:pt idx="46628">
                  <c:v>21890</c:v>
                </c:pt>
                <c:pt idx="46629">
                  <c:v>21890</c:v>
                </c:pt>
                <c:pt idx="46630">
                  <c:v>21890</c:v>
                </c:pt>
                <c:pt idx="46631">
                  <c:v>21890</c:v>
                </c:pt>
                <c:pt idx="46632">
                  <c:v>21889</c:v>
                </c:pt>
                <c:pt idx="46633">
                  <c:v>21889</c:v>
                </c:pt>
                <c:pt idx="46634">
                  <c:v>21889</c:v>
                </c:pt>
                <c:pt idx="46635">
                  <c:v>21889</c:v>
                </c:pt>
                <c:pt idx="46636">
                  <c:v>21888</c:v>
                </c:pt>
                <c:pt idx="46637">
                  <c:v>21888</c:v>
                </c:pt>
                <c:pt idx="46638">
                  <c:v>21888</c:v>
                </c:pt>
                <c:pt idx="46639">
                  <c:v>21888</c:v>
                </c:pt>
                <c:pt idx="46640">
                  <c:v>21888</c:v>
                </c:pt>
                <c:pt idx="46641">
                  <c:v>21886</c:v>
                </c:pt>
                <c:pt idx="46642">
                  <c:v>21886</c:v>
                </c:pt>
                <c:pt idx="46643">
                  <c:v>21885</c:v>
                </c:pt>
                <c:pt idx="46644">
                  <c:v>21885</c:v>
                </c:pt>
                <c:pt idx="46645">
                  <c:v>21885</c:v>
                </c:pt>
                <c:pt idx="46646">
                  <c:v>21885</c:v>
                </c:pt>
                <c:pt idx="46647">
                  <c:v>21884</c:v>
                </c:pt>
                <c:pt idx="46648">
                  <c:v>21884</c:v>
                </c:pt>
                <c:pt idx="46649">
                  <c:v>21884</c:v>
                </c:pt>
                <c:pt idx="46650">
                  <c:v>21883</c:v>
                </c:pt>
                <c:pt idx="46651">
                  <c:v>21883</c:v>
                </c:pt>
                <c:pt idx="46652">
                  <c:v>21882</c:v>
                </c:pt>
                <c:pt idx="46653">
                  <c:v>21882</c:v>
                </c:pt>
                <c:pt idx="46654">
                  <c:v>21882</c:v>
                </c:pt>
                <c:pt idx="46655">
                  <c:v>21882</c:v>
                </c:pt>
                <c:pt idx="46656">
                  <c:v>21881</c:v>
                </c:pt>
                <c:pt idx="46657">
                  <c:v>21881</c:v>
                </c:pt>
                <c:pt idx="46658">
                  <c:v>21880</c:v>
                </c:pt>
                <c:pt idx="46659">
                  <c:v>21880</c:v>
                </c:pt>
                <c:pt idx="46660">
                  <c:v>21880</c:v>
                </c:pt>
                <c:pt idx="46661">
                  <c:v>21877</c:v>
                </c:pt>
                <c:pt idx="46662">
                  <c:v>21877</c:v>
                </c:pt>
                <c:pt idx="46663">
                  <c:v>21877</c:v>
                </c:pt>
                <c:pt idx="46664">
                  <c:v>21877</c:v>
                </c:pt>
                <c:pt idx="46665">
                  <c:v>21877</c:v>
                </c:pt>
                <c:pt idx="46666">
                  <c:v>21876</c:v>
                </c:pt>
                <c:pt idx="46667">
                  <c:v>21876</c:v>
                </c:pt>
                <c:pt idx="46668">
                  <c:v>21876</c:v>
                </c:pt>
                <c:pt idx="46669">
                  <c:v>21875</c:v>
                </c:pt>
                <c:pt idx="46670">
                  <c:v>21875</c:v>
                </c:pt>
                <c:pt idx="46671">
                  <c:v>21875</c:v>
                </c:pt>
                <c:pt idx="46672">
                  <c:v>21875</c:v>
                </c:pt>
                <c:pt idx="46673">
                  <c:v>21875</c:v>
                </c:pt>
                <c:pt idx="46674">
                  <c:v>21874</c:v>
                </c:pt>
                <c:pt idx="46675">
                  <c:v>21874</c:v>
                </c:pt>
                <c:pt idx="46676">
                  <c:v>21874</c:v>
                </c:pt>
                <c:pt idx="46677">
                  <c:v>21873</c:v>
                </c:pt>
                <c:pt idx="46678">
                  <c:v>21873</c:v>
                </c:pt>
                <c:pt idx="46679">
                  <c:v>21873</c:v>
                </c:pt>
                <c:pt idx="46680">
                  <c:v>21873</c:v>
                </c:pt>
                <c:pt idx="46681">
                  <c:v>21872</c:v>
                </c:pt>
                <c:pt idx="46682">
                  <c:v>21872</c:v>
                </c:pt>
                <c:pt idx="46683">
                  <c:v>21871</c:v>
                </c:pt>
                <c:pt idx="46684">
                  <c:v>21871</c:v>
                </c:pt>
                <c:pt idx="46685">
                  <c:v>21870</c:v>
                </c:pt>
                <c:pt idx="46686">
                  <c:v>21870</c:v>
                </c:pt>
                <c:pt idx="46687">
                  <c:v>21870</c:v>
                </c:pt>
                <c:pt idx="46688">
                  <c:v>21869</c:v>
                </c:pt>
                <c:pt idx="46689">
                  <c:v>21869</c:v>
                </c:pt>
                <c:pt idx="46690">
                  <c:v>21869</c:v>
                </c:pt>
                <c:pt idx="46691">
                  <c:v>21869</c:v>
                </c:pt>
                <c:pt idx="46692">
                  <c:v>21869</c:v>
                </c:pt>
                <c:pt idx="46693">
                  <c:v>21868</c:v>
                </c:pt>
                <c:pt idx="46694">
                  <c:v>21868</c:v>
                </c:pt>
                <c:pt idx="46695">
                  <c:v>21867</c:v>
                </c:pt>
                <c:pt idx="46696">
                  <c:v>21867</c:v>
                </c:pt>
                <c:pt idx="46697">
                  <c:v>21867</c:v>
                </c:pt>
                <c:pt idx="46698">
                  <c:v>21867</c:v>
                </c:pt>
                <c:pt idx="46699">
                  <c:v>21866</c:v>
                </c:pt>
                <c:pt idx="46700">
                  <c:v>21866</c:v>
                </c:pt>
                <c:pt idx="46701">
                  <c:v>21865</c:v>
                </c:pt>
                <c:pt idx="46702">
                  <c:v>21865</c:v>
                </c:pt>
                <c:pt idx="46703">
                  <c:v>21865</c:v>
                </c:pt>
                <c:pt idx="46704">
                  <c:v>21864</c:v>
                </c:pt>
                <c:pt idx="46705">
                  <c:v>21864</c:v>
                </c:pt>
                <c:pt idx="46706">
                  <c:v>21863</c:v>
                </c:pt>
                <c:pt idx="46707">
                  <c:v>21863</c:v>
                </c:pt>
                <c:pt idx="46708">
                  <c:v>21863</c:v>
                </c:pt>
                <c:pt idx="46709">
                  <c:v>21863</c:v>
                </c:pt>
                <c:pt idx="46710">
                  <c:v>21862</c:v>
                </c:pt>
                <c:pt idx="46711">
                  <c:v>21862</c:v>
                </c:pt>
                <c:pt idx="46712">
                  <c:v>21862</c:v>
                </c:pt>
                <c:pt idx="46713">
                  <c:v>21862</c:v>
                </c:pt>
                <c:pt idx="46714">
                  <c:v>21862</c:v>
                </c:pt>
                <c:pt idx="46715">
                  <c:v>21860</c:v>
                </c:pt>
                <c:pt idx="46716">
                  <c:v>21860</c:v>
                </c:pt>
                <c:pt idx="46717">
                  <c:v>21859</c:v>
                </c:pt>
                <c:pt idx="46718">
                  <c:v>21859</c:v>
                </c:pt>
                <c:pt idx="46719">
                  <c:v>21859</c:v>
                </c:pt>
                <c:pt idx="46720">
                  <c:v>21859</c:v>
                </c:pt>
                <c:pt idx="46721">
                  <c:v>21858</c:v>
                </c:pt>
                <c:pt idx="46722">
                  <c:v>21858</c:v>
                </c:pt>
                <c:pt idx="46723">
                  <c:v>21857</c:v>
                </c:pt>
                <c:pt idx="46724">
                  <c:v>21857</c:v>
                </c:pt>
                <c:pt idx="46725">
                  <c:v>21856</c:v>
                </c:pt>
                <c:pt idx="46726">
                  <c:v>21856</c:v>
                </c:pt>
                <c:pt idx="46727">
                  <c:v>21856</c:v>
                </c:pt>
                <c:pt idx="46728">
                  <c:v>21856</c:v>
                </c:pt>
                <c:pt idx="46729">
                  <c:v>21856</c:v>
                </c:pt>
                <c:pt idx="46730">
                  <c:v>21855</c:v>
                </c:pt>
                <c:pt idx="46731">
                  <c:v>21855</c:v>
                </c:pt>
                <c:pt idx="46732">
                  <c:v>21855</c:v>
                </c:pt>
                <c:pt idx="46733">
                  <c:v>21855</c:v>
                </c:pt>
                <c:pt idx="46734">
                  <c:v>21852</c:v>
                </c:pt>
                <c:pt idx="46735">
                  <c:v>21852</c:v>
                </c:pt>
                <c:pt idx="46736">
                  <c:v>21851</c:v>
                </c:pt>
                <c:pt idx="46737">
                  <c:v>21851</c:v>
                </c:pt>
                <c:pt idx="46738">
                  <c:v>21851</c:v>
                </c:pt>
                <c:pt idx="46739">
                  <c:v>21850</c:v>
                </c:pt>
                <c:pt idx="46740">
                  <c:v>21849</c:v>
                </c:pt>
                <c:pt idx="46741">
                  <c:v>21849</c:v>
                </c:pt>
                <c:pt idx="46742">
                  <c:v>21848</c:v>
                </c:pt>
                <c:pt idx="46743">
                  <c:v>21848</c:v>
                </c:pt>
                <c:pt idx="46744">
                  <c:v>21847</c:v>
                </c:pt>
                <c:pt idx="46745">
                  <c:v>21847</c:v>
                </c:pt>
                <c:pt idx="46746">
                  <c:v>21847</c:v>
                </c:pt>
                <c:pt idx="46747">
                  <c:v>21847</c:v>
                </c:pt>
                <c:pt idx="46748">
                  <c:v>21847</c:v>
                </c:pt>
                <c:pt idx="46749">
                  <c:v>21847</c:v>
                </c:pt>
                <c:pt idx="46750">
                  <c:v>21847</c:v>
                </c:pt>
                <c:pt idx="46751">
                  <c:v>21846</c:v>
                </c:pt>
                <c:pt idx="46752">
                  <c:v>21846</c:v>
                </c:pt>
                <c:pt idx="46753">
                  <c:v>21846</c:v>
                </c:pt>
                <c:pt idx="46754">
                  <c:v>21845</c:v>
                </c:pt>
                <c:pt idx="46755">
                  <c:v>21845</c:v>
                </c:pt>
                <c:pt idx="46756">
                  <c:v>21845</c:v>
                </c:pt>
                <c:pt idx="46757">
                  <c:v>21845</c:v>
                </c:pt>
                <c:pt idx="46758">
                  <c:v>21844</c:v>
                </c:pt>
                <c:pt idx="46759">
                  <c:v>21844</c:v>
                </c:pt>
                <c:pt idx="46760">
                  <c:v>21844</c:v>
                </c:pt>
                <c:pt idx="46761">
                  <c:v>21843</c:v>
                </c:pt>
                <c:pt idx="46762">
                  <c:v>21843</c:v>
                </c:pt>
                <c:pt idx="46763">
                  <c:v>21842</c:v>
                </c:pt>
                <c:pt idx="46764">
                  <c:v>21842</c:v>
                </c:pt>
                <c:pt idx="46765">
                  <c:v>21842</c:v>
                </c:pt>
                <c:pt idx="46766">
                  <c:v>21841</c:v>
                </c:pt>
                <c:pt idx="46767">
                  <c:v>21841</c:v>
                </c:pt>
                <c:pt idx="46768">
                  <c:v>21841</c:v>
                </c:pt>
                <c:pt idx="46769">
                  <c:v>21841</c:v>
                </c:pt>
                <c:pt idx="46770">
                  <c:v>21841</c:v>
                </c:pt>
                <c:pt idx="46771">
                  <c:v>21840</c:v>
                </c:pt>
                <c:pt idx="46772">
                  <c:v>21839</c:v>
                </c:pt>
                <c:pt idx="46773">
                  <c:v>21839</c:v>
                </c:pt>
                <c:pt idx="46774">
                  <c:v>21838</c:v>
                </c:pt>
                <c:pt idx="46775">
                  <c:v>21838</c:v>
                </c:pt>
                <c:pt idx="46776">
                  <c:v>21838</c:v>
                </c:pt>
                <c:pt idx="46777">
                  <c:v>21838</c:v>
                </c:pt>
                <c:pt idx="46778">
                  <c:v>21837</c:v>
                </c:pt>
                <c:pt idx="46779">
                  <c:v>21836</c:v>
                </c:pt>
                <c:pt idx="46780">
                  <c:v>21836</c:v>
                </c:pt>
                <c:pt idx="46781">
                  <c:v>21835</c:v>
                </c:pt>
                <c:pt idx="46782">
                  <c:v>21835</c:v>
                </c:pt>
                <c:pt idx="46783">
                  <c:v>21834</c:v>
                </c:pt>
                <c:pt idx="46784">
                  <c:v>21834</c:v>
                </c:pt>
                <c:pt idx="46785">
                  <c:v>21834</c:v>
                </c:pt>
                <c:pt idx="46786">
                  <c:v>21834</c:v>
                </c:pt>
                <c:pt idx="46787">
                  <c:v>21833</c:v>
                </c:pt>
                <c:pt idx="46788">
                  <c:v>21833</c:v>
                </c:pt>
                <c:pt idx="46789">
                  <c:v>21833</c:v>
                </c:pt>
                <c:pt idx="46790">
                  <c:v>21832</c:v>
                </c:pt>
                <c:pt idx="46791">
                  <c:v>21832</c:v>
                </c:pt>
                <c:pt idx="46792">
                  <c:v>21832</c:v>
                </c:pt>
                <c:pt idx="46793">
                  <c:v>21831</c:v>
                </c:pt>
                <c:pt idx="46794">
                  <c:v>21831</c:v>
                </c:pt>
                <c:pt idx="46795">
                  <c:v>21830</c:v>
                </c:pt>
                <c:pt idx="46796">
                  <c:v>21829</c:v>
                </c:pt>
                <c:pt idx="46797">
                  <c:v>21829</c:v>
                </c:pt>
                <c:pt idx="46798">
                  <c:v>21829</c:v>
                </c:pt>
                <c:pt idx="46799">
                  <c:v>21829</c:v>
                </c:pt>
                <c:pt idx="46800">
                  <c:v>21829</c:v>
                </c:pt>
                <c:pt idx="46801">
                  <c:v>21829</c:v>
                </c:pt>
                <c:pt idx="46802">
                  <c:v>21829</c:v>
                </c:pt>
                <c:pt idx="46803">
                  <c:v>21828</c:v>
                </c:pt>
                <c:pt idx="46804">
                  <c:v>21828</c:v>
                </c:pt>
                <c:pt idx="46805">
                  <c:v>21828</c:v>
                </c:pt>
                <c:pt idx="46806">
                  <c:v>21828</c:v>
                </c:pt>
                <c:pt idx="46807">
                  <c:v>21828</c:v>
                </c:pt>
                <c:pt idx="46808">
                  <c:v>21828</c:v>
                </c:pt>
                <c:pt idx="46809">
                  <c:v>21827</c:v>
                </c:pt>
                <c:pt idx="46810">
                  <c:v>21826</c:v>
                </c:pt>
                <c:pt idx="46811">
                  <c:v>21826</c:v>
                </c:pt>
                <c:pt idx="46812">
                  <c:v>21825</c:v>
                </c:pt>
                <c:pt idx="46813">
                  <c:v>21825</c:v>
                </c:pt>
                <c:pt idx="46814">
                  <c:v>21825</c:v>
                </c:pt>
                <c:pt idx="46815">
                  <c:v>21825</c:v>
                </c:pt>
                <c:pt idx="46816">
                  <c:v>21825</c:v>
                </c:pt>
                <c:pt idx="46817">
                  <c:v>21823</c:v>
                </c:pt>
                <c:pt idx="46818">
                  <c:v>21822</c:v>
                </c:pt>
                <c:pt idx="46819">
                  <c:v>21821</c:v>
                </c:pt>
                <c:pt idx="46820">
                  <c:v>21820</c:v>
                </c:pt>
                <c:pt idx="46821">
                  <c:v>21820</c:v>
                </c:pt>
                <c:pt idx="46822">
                  <c:v>21819</c:v>
                </c:pt>
                <c:pt idx="46823">
                  <c:v>21819</c:v>
                </c:pt>
                <c:pt idx="46824">
                  <c:v>21819</c:v>
                </c:pt>
                <c:pt idx="46825">
                  <c:v>21819</c:v>
                </c:pt>
                <c:pt idx="46826">
                  <c:v>21818</c:v>
                </c:pt>
                <c:pt idx="46827">
                  <c:v>21818</c:v>
                </c:pt>
                <c:pt idx="46828">
                  <c:v>21818</c:v>
                </c:pt>
                <c:pt idx="46829">
                  <c:v>21818</c:v>
                </c:pt>
                <c:pt idx="46830">
                  <c:v>21818</c:v>
                </c:pt>
                <c:pt idx="46831">
                  <c:v>21818</c:v>
                </c:pt>
                <c:pt idx="46832">
                  <c:v>21818</c:v>
                </c:pt>
                <c:pt idx="46833">
                  <c:v>21818</c:v>
                </c:pt>
                <c:pt idx="46834">
                  <c:v>21817</c:v>
                </c:pt>
                <c:pt idx="46835">
                  <c:v>21817</c:v>
                </c:pt>
                <c:pt idx="46836">
                  <c:v>21816</c:v>
                </c:pt>
                <c:pt idx="46837">
                  <c:v>21815</c:v>
                </c:pt>
                <c:pt idx="46838">
                  <c:v>21814</c:v>
                </c:pt>
                <c:pt idx="46839">
                  <c:v>21813</c:v>
                </c:pt>
                <c:pt idx="46840">
                  <c:v>21813</c:v>
                </c:pt>
                <c:pt idx="46841">
                  <c:v>21813</c:v>
                </c:pt>
                <c:pt idx="46842">
                  <c:v>21813</c:v>
                </c:pt>
                <c:pt idx="46843">
                  <c:v>21813</c:v>
                </c:pt>
                <c:pt idx="46844">
                  <c:v>21812</c:v>
                </c:pt>
                <c:pt idx="46845">
                  <c:v>21812</c:v>
                </c:pt>
                <c:pt idx="46846">
                  <c:v>21812</c:v>
                </c:pt>
                <c:pt idx="46847">
                  <c:v>21812</c:v>
                </c:pt>
                <c:pt idx="46848">
                  <c:v>21811</c:v>
                </c:pt>
                <c:pt idx="46849">
                  <c:v>21810</c:v>
                </c:pt>
                <c:pt idx="46850">
                  <c:v>21810</c:v>
                </c:pt>
                <c:pt idx="46851">
                  <c:v>21810</c:v>
                </c:pt>
                <c:pt idx="46852">
                  <c:v>21809</c:v>
                </c:pt>
                <c:pt idx="46853">
                  <c:v>21807</c:v>
                </c:pt>
                <c:pt idx="46854">
                  <c:v>21807</c:v>
                </c:pt>
                <c:pt idx="46855">
                  <c:v>21807</c:v>
                </c:pt>
                <c:pt idx="46856">
                  <c:v>21806</c:v>
                </c:pt>
                <c:pt idx="46857">
                  <c:v>21805</c:v>
                </c:pt>
                <c:pt idx="46858">
                  <c:v>21805</c:v>
                </c:pt>
                <c:pt idx="46859">
                  <c:v>21805</c:v>
                </c:pt>
                <c:pt idx="46860">
                  <c:v>21805</c:v>
                </c:pt>
                <c:pt idx="46861">
                  <c:v>21805</c:v>
                </c:pt>
                <c:pt idx="46862">
                  <c:v>21805</c:v>
                </c:pt>
                <c:pt idx="46863">
                  <c:v>21804</c:v>
                </c:pt>
                <c:pt idx="46864">
                  <c:v>21804</c:v>
                </c:pt>
                <c:pt idx="46865">
                  <c:v>21804</c:v>
                </c:pt>
                <c:pt idx="46866">
                  <c:v>21803</c:v>
                </c:pt>
                <c:pt idx="46867">
                  <c:v>21803</c:v>
                </c:pt>
                <c:pt idx="46868">
                  <c:v>21802</c:v>
                </c:pt>
                <c:pt idx="46869">
                  <c:v>21802</c:v>
                </c:pt>
                <c:pt idx="46870">
                  <c:v>21802</c:v>
                </c:pt>
                <c:pt idx="46871">
                  <c:v>21802</c:v>
                </c:pt>
                <c:pt idx="46872">
                  <c:v>21801</c:v>
                </c:pt>
                <c:pt idx="46873">
                  <c:v>21801</c:v>
                </c:pt>
                <c:pt idx="46874">
                  <c:v>21800</c:v>
                </c:pt>
                <c:pt idx="46875">
                  <c:v>21800</c:v>
                </c:pt>
                <c:pt idx="46876">
                  <c:v>21800</c:v>
                </c:pt>
                <c:pt idx="46877">
                  <c:v>21800</c:v>
                </c:pt>
                <c:pt idx="46878">
                  <c:v>21799</c:v>
                </c:pt>
                <c:pt idx="46879">
                  <c:v>21799</c:v>
                </c:pt>
                <c:pt idx="46880">
                  <c:v>21798</c:v>
                </c:pt>
                <c:pt idx="46881">
                  <c:v>21798</c:v>
                </c:pt>
                <c:pt idx="46882">
                  <c:v>21798</c:v>
                </c:pt>
                <c:pt idx="46883">
                  <c:v>21798</c:v>
                </c:pt>
                <c:pt idx="46884">
                  <c:v>21797</c:v>
                </c:pt>
                <c:pt idx="46885">
                  <c:v>21796</c:v>
                </c:pt>
                <c:pt idx="46886">
                  <c:v>21795</c:v>
                </c:pt>
                <c:pt idx="46887">
                  <c:v>21795</c:v>
                </c:pt>
                <c:pt idx="46888">
                  <c:v>21795</c:v>
                </c:pt>
                <c:pt idx="46889">
                  <c:v>21794</c:v>
                </c:pt>
                <c:pt idx="46890">
                  <c:v>21794</c:v>
                </c:pt>
                <c:pt idx="46891">
                  <c:v>21794</c:v>
                </c:pt>
                <c:pt idx="46892">
                  <c:v>21794</c:v>
                </c:pt>
                <c:pt idx="46893">
                  <c:v>21793</c:v>
                </c:pt>
                <c:pt idx="46894">
                  <c:v>21793</c:v>
                </c:pt>
                <c:pt idx="46895">
                  <c:v>21793</c:v>
                </c:pt>
                <c:pt idx="46896">
                  <c:v>21793</c:v>
                </c:pt>
                <c:pt idx="46897">
                  <c:v>21792</c:v>
                </c:pt>
                <c:pt idx="46898">
                  <c:v>21792</c:v>
                </c:pt>
                <c:pt idx="46899">
                  <c:v>21792</c:v>
                </c:pt>
                <c:pt idx="46900">
                  <c:v>21791</c:v>
                </c:pt>
                <c:pt idx="46901">
                  <c:v>21789</c:v>
                </c:pt>
                <c:pt idx="46902">
                  <c:v>21789</c:v>
                </c:pt>
                <c:pt idx="46903">
                  <c:v>21789</c:v>
                </c:pt>
                <c:pt idx="46904">
                  <c:v>21788</c:v>
                </c:pt>
                <c:pt idx="46905">
                  <c:v>21788</c:v>
                </c:pt>
                <c:pt idx="46906">
                  <c:v>21788</c:v>
                </c:pt>
                <c:pt idx="46907">
                  <c:v>21787</c:v>
                </c:pt>
                <c:pt idx="46908">
                  <c:v>21786</c:v>
                </c:pt>
                <c:pt idx="46909">
                  <c:v>21786</c:v>
                </c:pt>
                <c:pt idx="46910">
                  <c:v>21786</c:v>
                </c:pt>
                <c:pt idx="46911">
                  <c:v>21786</c:v>
                </c:pt>
                <c:pt idx="46912">
                  <c:v>21785</c:v>
                </c:pt>
                <c:pt idx="46913">
                  <c:v>21785</c:v>
                </c:pt>
                <c:pt idx="46914">
                  <c:v>21785</c:v>
                </c:pt>
                <c:pt idx="46915">
                  <c:v>21784</c:v>
                </c:pt>
                <c:pt idx="46916">
                  <c:v>21784</c:v>
                </c:pt>
                <c:pt idx="46917">
                  <c:v>21784</c:v>
                </c:pt>
                <c:pt idx="46918">
                  <c:v>21783</c:v>
                </c:pt>
                <c:pt idx="46919">
                  <c:v>21782</c:v>
                </c:pt>
                <c:pt idx="46920">
                  <c:v>21782</c:v>
                </c:pt>
                <c:pt idx="46921">
                  <c:v>21782</c:v>
                </c:pt>
                <c:pt idx="46922">
                  <c:v>21781</c:v>
                </c:pt>
                <c:pt idx="46923">
                  <c:v>21781</c:v>
                </c:pt>
                <c:pt idx="46924">
                  <c:v>21781</c:v>
                </c:pt>
                <c:pt idx="46925">
                  <c:v>21780</c:v>
                </c:pt>
                <c:pt idx="46926">
                  <c:v>21779</c:v>
                </c:pt>
                <c:pt idx="46927">
                  <c:v>21778</c:v>
                </c:pt>
                <c:pt idx="46928">
                  <c:v>21778</c:v>
                </c:pt>
                <c:pt idx="46929">
                  <c:v>21778</c:v>
                </c:pt>
                <c:pt idx="46930">
                  <c:v>21778</c:v>
                </c:pt>
                <c:pt idx="46931">
                  <c:v>21778</c:v>
                </c:pt>
                <c:pt idx="46932">
                  <c:v>21777</c:v>
                </c:pt>
                <c:pt idx="46933">
                  <c:v>21777</c:v>
                </c:pt>
                <c:pt idx="46934">
                  <c:v>21777</c:v>
                </c:pt>
                <c:pt idx="46935">
                  <c:v>21777</c:v>
                </c:pt>
                <c:pt idx="46936">
                  <c:v>21776</c:v>
                </c:pt>
                <c:pt idx="46937">
                  <c:v>21776</c:v>
                </c:pt>
                <c:pt idx="46938">
                  <c:v>21776</c:v>
                </c:pt>
                <c:pt idx="46939">
                  <c:v>21775</c:v>
                </c:pt>
                <c:pt idx="46940">
                  <c:v>21775</c:v>
                </c:pt>
                <c:pt idx="46941">
                  <c:v>21774</c:v>
                </c:pt>
                <c:pt idx="46942">
                  <c:v>21773</c:v>
                </c:pt>
                <c:pt idx="46943">
                  <c:v>21773</c:v>
                </c:pt>
                <c:pt idx="46944">
                  <c:v>21773</c:v>
                </c:pt>
                <c:pt idx="46945">
                  <c:v>21773</c:v>
                </c:pt>
                <c:pt idx="46946">
                  <c:v>21773</c:v>
                </c:pt>
                <c:pt idx="46947">
                  <c:v>21773</c:v>
                </c:pt>
                <c:pt idx="46948">
                  <c:v>21772</c:v>
                </c:pt>
                <c:pt idx="46949">
                  <c:v>21771</c:v>
                </c:pt>
                <c:pt idx="46950">
                  <c:v>21771</c:v>
                </c:pt>
                <c:pt idx="46951">
                  <c:v>21770</c:v>
                </c:pt>
                <c:pt idx="46952">
                  <c:v>21770</c:v>
                </c:pt>
                <c:pt idx="46953">
                  <c:v>21769</c:v>
                </c:pt>
                <c:pt idx="46954">
                  <c:v>21769</c:v>
                </c:pt>
                <c:pt idx="46955">
                  <c:v>21768</c:v>
                </c:pt>
                <c:pt idx="46956">
                  <c:v>21767</c:v>
                </c:pt>
                <c:pt idx="46957">
                  <c:v>21767</c:v>
                </c:pt>
                <c:pt idx="46958">
                  <c:v>21766</c:v>
                </c:pt>
                <c:pt idx="46959">
                  <c:v>21766</c:v>
                </c:pt>
                <c:pt idx="46960">
                  <c:v>21765</c:v>
                </c:pt>
                <c:pt idx="46961">
                  <c:v>21764</c:v>
                </c:pt>
                <c:pt idx="46962">
                  <c:v>21764</c:v>
                </c:pt>
                <c:pt idx="46963">
                  <c:v>21764</c:v>
                </c:pt>
                <c:pt idx="46964">
                  <c:v>21764</c:v>
                </c:pt>
                <c:pt idx="46965">
                  <c:v>21764</c:v>
                </c:pt>
                <c:pt idx="46966">
                  <c:v>21763</c:v>
                </c:pt>
                <c:pt idx="46967">
                  <c:v>21763</c:v>
                </c:pt>
                <c:pt idx="46968">
                  <c:v>21762</c:v>
                </c:pt>
                <c:pt idx="46969">
                  <c:v>21762</c:v>
                </c:pt>
                <c:pt idx="46970">
                  <c:v>21762</c:v>
                </c:pt>
                <c:pt idx="46971">
                  <c:v>21761</c:v>
                </c:pt>
                <c:pt idx="46972">
                  <c:v>21761</c:v>
                </c:pt>
                <c:pt idx="46973">
                  <c:v>21761</c:v>
                </c:pt>
                <c:pt idx="46974">
                  <c:v>21759</c:v>
                </c:pt>
                <c:pt idx="46975">
                  <c:v>21759</c:v>
                </c:pt>
                <c:pt idx="46976">
                  <c:v>21759</c:v>
                </c:pt>
                <c:pt idx="46977">
                  <c:v>21759</c:v>
                </c:pt>
                <c:pt idx="46978">
                  <c:v>21758</c:v>
                </c:pt>
                <c:pt idx="46979">
                  <c:v>21757</c:v>
                </c:pt>
                <c:pt idx="46980">
                  <c:v>21757</c:v>
                </c:pt>
                <c:pt idx="46981">
                  <c:v>21757</c:v>
                </c:pt>
                <c:pt idx="46982">
                  <c:v>21757</c:v>
                </c:pt>
                <c:pt idx="46983">
                  <c:v>21757</c:v>
                </c:pt>
                <c:pt idx="46984">
                  <c:v>21756</c:v>
                </c:pt>
                <c:pt idx="46985">
                  <c:v>21755</c:v>
                </c:pt>
                <c:pt idx="46986">
                  <c:v>21755</c:v>
                </c:pt>
                <c:pt idx="46987">
                  <c:v>21754</c:v>
                </c:pt>
                <c:pt idx="46988">
                  <c:v>21753</c:v>
                </c:pt>
                <c:pt idx="46989">
                  <c:v>21753</c:v>
                </c:pt>
                <c:pt idx="46990">
                  <c:v>21752</c:v>
                </c:pt>
                <c:pt idx="46991">
                  <c:v>21752</c:v>
                </c:pt>
                <c:pt idx="46992">
                  <c:v>21751</c:v>
                </c:pt>
                <c:pt idx="46993">
                  <c:v>21751</c:v>
                </c:pt>
                <c:pt idx="46994">
                  <c:v>21751</c:v>
                </c:pt>
                <c:pt idx="46995">
                  <c:v>21750</c:v>
                </c:pt>
                <c:pt idx="46996">
                  <c:v>21750</c:v>
                </c:pt>
                <c:pt idx="46997">
                  <c:v>21750</c:v>
                </c:pt>
                <c:pt idx="46998">
                  <c:v>21750</c:v>
                </c:pt>
                <c:pt idx="46999">
                  <c:v>21749</c:v>
                </c:pt>
                <c:pt idx="47000">
                  <c:v>21749</c:v>
                </c:pt>
                <c:pt idx="47001">
                  <c:v>21749</c:v>
                </c:pt>
                <c:pt idx="47002">
                  <c:v>21748</c:v>
                </c:pt>
                <c:pt idx="47003">
                  <c:v>21748</c:v>
                </c:pt>
                <c:pt idx="47004">
                  <c:v>21748</c:v>
                </c:pt>
                <c:pt idx="47005">
                  <c:v>21747</c:v>
                </c:pt>
                <c:pt idx="47006">
                  <c:v>21747</c:v>
                </c:pt>
                <c:pt idx="47007">
                  <c:v>21747</c:v>
                </c:pt>
                <c:pt idx="47008">
                  <c:v>21747</c:v>
                </c:pt>
                <c:pt idx="47009">
                  <c:v>21746</c:v>
                </c:pt>
                <c:pt idx="47010">
                  <c:v>21746</c:v>
                </c:pt>
                <c:pt idx="47011">
                  <c:v>21746</c:v>
                </c:pt>
                <c:pt idx="47012">
                  <c:v>21745</c:v>
                </c:pt>
                <c:pt idx="47013">
                  <c:v>21745</c:v>
                </c:pt>
                <c:pt idx="47014">
                  <c:v>21744</c:v>
                </c:pt>
                <c:pt idx="47015">
                  <c:v>21744</c:v>
                </c:pt>
                <c:pt idx="47016">
                  <c:v>21743</c:v>
                </c:pt>
                <c:pt idx="47017">
                  <c:v>21743</c:v>
                </c:pt>
                <c:pt idx="47018">
                  <c:v>21743</c:v>
                </c:pt>
                <c:pt idx="47019">
                  <c:v>21743</c:v>
                </c:pt>
                <c:pt idx="47020">
                  <c:v>21743</c:v>
                </c:pt>
                <c:pt idx="47021">
                  <c:v>21742</c:v>
                </c:pt>
                <c:pt idx="47022">
                  <c:v>21742</c:v>
                </c:pt>
                <c:pt idx="47023">
                  <c:v>21742</c:v>
                </c:pt>
                <c:pt idx="47024">
                  <c:v>21742</c:v>
                </c:pt>
                <c:pt idx="47025">
                  <c:v>21741</c:v>
                </c:pt>
                <c:pt idx="47026">
                  <c:v>21741</c:v>
                </c:pt>
                <c:pt idx="47027">
                  <c:v>21741</c:v>
                </c:pt>
                <c:pt idx="47028">
                  <c:v>21741</c:v>
                </c:pt>
                <c:pt idx="47029">
                  <c:v>21740</c:v>
                </c:pt>
                <c:pt idx="47030">
                  <c:v>21740</c:v>
                </c:pt>
                <c:pt idx="47031">
                  <c:v>21739</c:v>
                </c:pt>
                <c:pt idx="47032">
                  <c:v>21739</c:v>
                </c:pt>
                <c:pt idx="47033">
                  <c:v>21739</c:v>
                </c:pt>
                <c:pt idx="47034">
                  <c:v>21738</c:v>
                </c:pt>
                <c:pt idx="47035">
                  <c:v>21738</c:v>
                </c:pt>
                <c:pt idx="47036">
                  <c:v>21737</c:v>
                </c:pt>
                <c:pt idx="47037">
                  <c:v>21736</c:v>
                </c:pt>
                <c:pt idx="47038">
                  <c:v>21736</c:v>
                </c:pt>
                <c:pt idx="47039">
                  <c:v>21735</c:v>
                </c:pt>
                <c:pt idx="47040">
                  <c:v>21735</c:v>
                </c:pt>
                <c:pt idx="47041">
                  <c:v>21734</c:v>
                </c:pt>
                <c:pt idx="47042">
                  <c:v>21733</c:v>
                </c:pt>
                <c:pt idx="47043">
                  <c:v>21733</c:v>
                </c:pt>
                <c:pt idx="47044">
                  <c:v>21732</c:v>
                </c:pt>
                <c:pt idx="47045">
                  <c:v>21732</c:v>
                </c:pt>
                <c:pt idx="47046">
                  <c:v>21731</c:v>
                </c:pt>
                <c:pt idx="47047">
                  <c:v>21730</c:v>
                </c:pt>
                <c:pt idx="47048">
                  <c:v>21729</c:v>
                </c:pt>
                <c:pt idx="47049">
                  <c:v>21729</c:v>
                </c:pt>
                <c:pt idx="47050">
                  <c:v>21729</c:v>
                </c:pt>
                <c:pt idx="47051">
                  <c:v>21728</c:v>
                </c:pt>
                <c:pt idx="47052">
                  <c:v>21728</c:v>
                </c:pt>
                <c:pt idx="47053">
                  <c:v>21728</c:v>
                </c:pt>
                <c:pt idx="47054">
                  <c:v>21727</c:v>
                </c:pt>
                <c:pt idx="47055">
                  <c:v>21727</c:v>
                </c:pt>
                <c:pt idx="47056">
                  <c:v>21727</c:v>
                </c:pt>
                <c:pt idx="47057">
                  <c:v>21727</c:v>
                </c:pt>
                <c:pt idx="47058">
                  <c:v>21727</c:v>
                </c:pt>
                <c:pt idx="47059">
                  <c:v>21727</c:v>
                </c:pt>
                <c:pt idx="47060">
                  <c:v>21726</c:v>
                </c:pt>
                <c:pt idx="47061">
                  <c:v>21725</c:v>
                </c:pt>
                <c:pt idx="47062">
                  <c:v>21725</c:v>
                </c:pt>
                <c:pt idx="47063">
                  <c:v>21724</c:v>
                </c:pt>
                <c:pt idx="47064">
                  <c:v>21724</c:v>
                </c:pt>
                <c:pt idx="47065">
                  <c:v>21723</c:v>
                </c:pt>
                <c:pt idx="47066">
                  <c:v>21723</c:v>
                </c:pt>
                <c:pt idx="47067">
                  <c:v>21722</c:v>
                </c:pt>
                <c:pt idx="47068">
                  <c:v>21721</c:v>
                </c:pt>
                <c:pt idx="47069">
                  <c:v>21720</c:v>
                </c:pt>
                <c:pt idx="47070">
                  <c:v>21720</c:v>
                </c:pt>
                <c:pt idx="47071">
                  <c:v>21719</c:v>
                </c:pt>
                <c:pt idx="47072">
                  <c:v>21719</c:v>
                </c:pt>
                <c:pt idx="47073">
                  <c:v>21719</c:v>
                </c:pt>
                <c:pt idx="47074">
                  <c:v>21717</c:v>
                </c:pt>
                <c:pt idx="47075">
                  <c:v>21717</c:v>
                </c:pt>
                <c:pt idx="47076">
                  <c:v>21716</c:v>
                </c:pt>
                <c:pt idx="47077">
                  <c:v>21716</c:v>
                </c:pt>
                <c:pt idx="47078">
                  <c:v>21715</c:v>
                </c:pt>
                <c:pt idx="47079">
                  <c:v>21714</c:v>
                </c:pt>
                <c:pt idx="47080">
                  <c:v>21714</c:v>
                </c:pt>
                <c:pt idx="47081">
                  <c:v>21714</c:v>
                </c:pt>
                <c:pt idx="47082">
                  <c:v>21712</c:v>
                </c:pt>
                <c:pt idx="47083">
                  <c:v>21712</c:v>
                </c:pt>
                <c:pt idx="47084">
                  <c:v>21712</c:v>
                </c:pt>
                <c:pt idx="47085">
                  <c:v>21712</c:v>
                </c:pt>
                <c:pt idx="47086">
                  <c:v>21711</c:v>
                </c:pt>
                <c:pt idx="47087">
                  <c:v>21711</c:v>
                </c:pt>
                <c:pt idx="47088">
                  <c:v>21710</c:v>
                </c:pt>
                <c:pt idx="47089">
                  <c:v>21710</c:v>
                </c:pt>
                <c:pt idx="47090">
                  <c:v>21709</c:v>
                </c:pt>
                <c:pt idx="47091">
                  <c:v>21709</c:v>
                </c:pt>
                <c:pt idx="47092">
                  <c:v>21709</c:v>
                </c:pt>
                <c:pt idx="47093">
                  <c:v>21708</c:v>
                </c:pt>
                <c:pt idx="47094">
                  <c:v>21708</c:v>
                </c:pt>
                <c:pt idx="47095">
                  <c:v>21708</c:v>
                </c:pt>
                <c:pt idx="47096">
                  <c:v>21708</c:v>
                </c:pt>
                <c:pt idx="47097">
                  <c:v>21707</c:v>
                </c:pt>
                <c:pt idx="47098">
                  <c:v>21707</c:v>
                </c:pt>
                <c:pt idx="47099">
                  <c:v>21707</c:v>
                </c:pt>
                <c:pt idx="47100">
                  <c:v>21707</c:v>
                </c:pt>
                <c:pt idx="47101">
                  <c:v>21706</c:v>
                </c:pt>
                <c:pt idx="47102">
                  <c:v>21706</c:v>
                </c:pt>
                <c:pt idx="47103">
                  <c:v>21706</c:v>
                </c:pt>
                <c:pt idx="47104">
                  <c:v>21705</c:v>
                </c:pt>
                <c:pt idx="47105">
                  <c:v>21705</c:v>
                </c:pt>
                <c:pt idx="47106">
                  <c:v>21705</c:v>
                </c:pt>
                <c:pt idx="47107">
                  <c:v>21705</c:v>
                </c:pt>
                <c:pt idx="47108">
                  <c:v>21705</c:v>
                </c:pt>
                <c:pt idx="47109">
                  <c:v>21705</c:v>
                </c:pt>
                <c:pt idx="47110">
                  <c:v>21705</c:v>
                </c:pt>
                <c:pt idx="47111">
                  <c:v>21704</c:v>
                </c:pt>
                <c:pt idx="47112">
                  <c:v>21704</c:v>
                </c:pt>
                <c:pt idx="47113">
                  <c:v>21704</c:v>
                </c:pt>
                <c:pt idx="47114">
                  <c:v>21703</c:v>
                </c:pt>
                <c:pt idx="47115">
                  <c:v>21701</c:v>
                </c:pt>
                <c:pt idx="47116">
                  <c:v>21701</c:v>
                </c:pt>
                <c:pt idx="47117">
                  <c:v>21701</c:v>
                </c:pt>
                <c:pt idx="47118">
                  <c:v>21700</c:v>
                </c:pt>
                <c:pt idx="47119">
                  <c:v>21700</c:v>
                </c:pt>
                <c:pt idx="47120">
                  <c:v>21700</c:v>
                </c:pt>
                <c:pt idx="47121">
                  <c:v>21699</c:v>
                </c:pt>
                <c:pt idx="47122">
                  <c:v>21699</c:v>
                </c:pt>
                <c:pt idx="47123">
                  <c:v>21698</c:v>
                </c:pt>
                <c:pt idx="47124">
                  <c:v>21698</c:v>
                </c:pt>
                <c:pt idx="47125">
                  <c:v>21697</c:v>
                </c:pt>
                <c:pt idx="47126">
                  <c:v>21697</c:v>
                </c:pt>
                <c:pt idx="47127">
                  <c:v>21697</c:v>
                </c:pt>
                <c:pt idx="47128">
                  <c:v>21697</c:v>
                </c:pt>
                <c:pt idx="47129">
                  <c:v>21697</c:v>
                </c:pt>
                <c:pt idx="47130">
                  <c:v>21696</c:v>
                </c:pt>
                <c:pt idx="47131">
                  <c:v>21696</c:v>
                </c:pt>
                <c:pt idx="47132">
                  <c:v>21696</c:v>
                </c:pt>
                <c:pt idx="47133">
                  <c:v>21696</c:v>
                </c:pt>
                <c:pt idx="47134">
                  <c:v>21695</c:v>
                </c:pt>
                <c:pt idx="47135">
                  <c:v>21694</c:v>
                </c:pt>
                <c:pt idx="47136">
                  <c:v>21694</c:v>
                </c:pt>
                <c:pt idx="47137">
                  <c:v>21693</c:v>
                </c:pt>
                <c:pt idx="47138">
                  <c:v>21693</c:v>
                </c:pt>
                <c:pt idx="47139">
                  <c:v>21693</c:v>
                </c:pt>
                <c:pt idx="47140">
                  <c:v>21693</c:v>
                </c:pt>
                <c:pt idx="47141">
                  <c:v>21691</c:v>
                </c:pt>
                <c:pt idx="47142">
                  <c:v>21691</c:v>
                </c:pt>
                <c:pt idx="47143">
                  <c:v>21691</c:v>
                </c:pt>
                <c:pt idx="47144">
                  <c:v>21691</c:v>
                </c:pt>
                <c:pt idx="47145">
                  <c:v>21690</c:v>
                </c:pt>
                <c:pt idx="47146">
                  <c:v>21690</c:v>
                </c:pt>
                <c:pt idx="47147">
                  <c:v>21689</c:v>
                </c:pt>
                <c:pt idx="47148">
                  <c:v>21689</c:v>
                </c:pt>
                <c:pt idx="47149">
                  <c:v>21689</c:v>
                </c:pt>
                <c:pt idx="47150">
                  <c:v>21688</c:v>
                </c:pt>
                <c:pt idx="47151">
                  <c:v>21688</c:v>
                </c:pt>
                <c:pt idx="47152">
                  <c:v>21688</c:v>
                </c:pt>
                <c:pt idx="47153">
                  <c:v>21688</c:v>
                </c:pt>
                <c:pt idx="47154">
                  <c:v>21688</c:v>
                </c:pt>
                <c:pt idx="47155">
                  <c:v>21687</c:v>
                </c:pt>
                <c:pt idx="47156">
                  <c:v>21687</c:v>
                </c:pt>
                <c:pt idx="47157">
                  <c:v>21687</c:v>
                </c:pt>
                <c:pt idx="47158">
                  <c:v>21686</c:v>
                </c:pt>
                <c:pt idx="47159">
                  <c:v>21686</c:v>
                </c:pt>
                <c:pt idx="47160">
                  <c:v>21686</c:v>
                </c:pt>
                <c:pt idx="47161">
                  <c:v>21685</c:v>
                </c:pt>
                <c:pt idx="47162">
                  <c:v>21685</c:v>
                </c:pt>
                <c:pt idx="47163">
                  <c:v>21684</c:v>
                </c:pt>
                <c:pt idx="47164">
                  <c:v>21683</c:v>
                </c:pt>
                <c:pt idx="47165">
                  <c:v>21682</c:v>
                </c:pt>
                <c:pt idx="47166">
                  <c:v>21682</c:v>
                </c:pt>
                <c:pt idx="47167">
                  <c:v>21682</c:v>
                </c:pt>
                <c:pt idx="47168">
                  <c:v>21681</c:v>
                </c:pt>
                <c:pt idx="47169">
                  <c:v>21681</c:v>
                </c:pt>
                <c:pt idx="47170">
                  <c:v>21681</c:v>
                </c:pt>
                <c:pt idx="47171">
                  <c:v>21680</c:v>
                </c:pt>
                <c:pt idx="47172">
                  <c:v>21680</c:v>
                </c:pt>
                <c:pt idx="47173">
                  <c:v>21680</c:v>
                </c:pt>
                <c:pt idx="47174">
                  <c:v>21679</c:v>
                </c:pt>
                <c:pt idx="47175">
                  <c:v>21679</c:v>
                </c:pt>
                <c:pt idx="47176">
                  <c:v>21679</c:v>
                </c:pt>
                <c:pt idx="47177">
                  <c:v>21679</c:v>
                </c:pt>
                <c:pt idx="47178">
                  <c:v>21678</c:v>
                </c:pt>
                <c:pt idx="47179">
                  <c:v>21678</c:v>
                </c:pt>
                <c:pt idx="47180">
                  <c:v>21677</c:v>
                </c:pt>
                <c:pt idx="47181">
                  <c:v>21677</c:v>
                </c:pt>
                <c:pt idx="47182">
                  <c:v>21676</c:v>
                </c:pt>
                <c:pt idx="47183">
                  <c:v>21676</c:v>
                </c:pt>
                <c:pt idx="47184">
                  <c:v>21675</c:v>
                </c:pt>
                <c:pt idx="47185">
                  <c:v>21675</c:v>
                </c:pt>
                <c:pt idx="47186">
                  <c:v>21675</c:v>
                </c:pt>
                <c:pt idx="47187">
                  <c:v>21675</c:v>
                </c:pt>
                <c:pt idx="47188">
                  <c:v>21675</c:v>
                </c:pt>
                <c:pt idx="47189">
                  <c:v>21674</c:v>
                </c:pt>
                <c:pt idx="47190">
                  <c:v>21673</c:v>
                </c:pt>
                <c:pt idx="47191">
                  <c:v>21673</c:v>
                </c:pt>
                <c:pt idx="47192">
                  <c:v>21672</c:v>
                </c:pt>
                <c:pt idx="47193">
                  <c:v>21672</c:v>
                </c:pt>
                <c:pt idx="47194">
                  <c:v>21672</c:v>
                </c:pt>
                <c:pt idx="47195">
                  <c:v>21672</c:v>
                </c:pt>
                <c:pt idx="47196">
                  <c:v>21672</c:v>
                </c:pt>
                <c:pt idx="47197">
                  <c:v>21671</c:v>
                </c:pt>
                <c:pt idx="47198">
                  <c:v>21671</c:v>
                </c:pt>
                <c:pt idx="47199">
                  <c:v>21670</c:v>
                </c:pt>
                <c:pt idx="47200">
                  <c:v>21670</c:v>
                </c:pt>
                <c:pt idx="47201">
                  <c:v>21670</c:v>
                </c:pt>
                <c:pt idx="47202">
                  <c:v>21670</c:v>
                </c:pt>
                <c:pt idx="47203">
                  <c:v>21670</c:v>
                </c:pt>
                <c:pt idx="47204">
                  <c:v>21669</c:v>
                </c:pt>
                <c:pt idx="47205">
                  <c:v>21669</c:v>
                </c:pt>
                <c:pt idx="47206">
                  <c:v>21669</c:v>
                </c:pt>
                <c:pt idx="47207">
                  <c:v>21669</c:v>
                </c:pt>
                <c:pt idx="47208">
                  <c:v>21668</c:v>
                </c:pt>
                <c:pt idx="47209">
                  <c:v>21668</c:v>
                </c:pt>
                <c:pt idx="47210">
                  <c:v>21668</c:v>
                </c:pt>
                <c:pt idx="47211">
                  <c:v>21668</c:v>
                </c:pt>
                <c:pt idx="47212">
                  <c:v>21668</c:v>
                </c:pt>
                <c:pt idx="47213">
                  <c:v>21667</c:v>
                </c:pt>
                <c:pt idx="47214">
                  <c:v>21667</c:v>
                </c:pt>
                <c:pt idx="47215">
                  <c:v>21666</c:v>
                </c:pt>
                <c:pt idx="47216">
                  <c:v>21666</c:v>
                </c:pt>
                <c:pt idx="47217">
                  <c:v>21666</c:v>
                </c:pt>
                <c:pt idx="47218">
                  <c:v>21666</c:v>
                </c:pt>
                <c:pt idx="47219">
                  <c:v>21666</c:v>
                </c:pt>
                <c:pt idx="47220">
                  <c:v>21665</c:v>
                </c:pt>
                <c:pt idx="47221">
                  <c:v>21665</c:v>
                </c:pt>
                <c:pt idx="47222">
                  <c:v>21664</c:v>
                </c:pt>
                <c:pt idx="47223">
                  <c:v>21664</c:v>
                </c:pt>
                <c:pt idx="47224">
                  <c:v>21664</c:v>
                </c:pt>
                <c:pt idx="47225">
                  <c:v>21664</c:v>
                </c:pt>
                <c:pt idx="47226">
                  <c:v>21663</c:v>
                </c:pt>
                <c:pt idx="47227">
                  <c:v>21663</c:v>
                </c:pt>
                <c:pt idx="47228">
                  <c:v>21663</c:v>
                </c:pt>
                <c:pt idx="47229">
                  <c:v>21663</c:v>
                </c:pt>
                <c:pt idx="47230">
                  <c:v>21663</c:v>
                </c:pt>
                <c:pt idx="47231">
                  <c:v>21662</c:v>
                </c:pt>
                <c:pt idx="47232">
                  <c:v>21662</c:v>
                </c:pt>
                <c:pt idx="47233">
                  <c:v>21662</c:v>
                </c:pt>
                <c:pt idx="47234">
                  <c:v>21661</c:v>
                </c:pt>
                <c:pt idx="47235">
                  <c:v>21661</c:v>
                </c:pt>
                <c:pt idx="47236">
                  <c:v>21660</c:v>
                </c:pt>
                <c:pt idx="47237">
                  <c:v>21660</c:v>
                </c:pt>
                <c:pt idx="47238">
                  <c:v>21659</c:v>
                </c:pt>
                <c:pt idx="47239">
                  <c:v>21659</c:v>
                </c:pt>
                <c:pt idx="47240">
                  <c:v>21659</c:v>
                </c:pt>
                <c:pt idx="47241">
                  <c:v>21659</c:v>
                </c:pt>
                <c:pt idx="47242">
                  <c:v>21658</c:v>
                </c:pt>
                <c:pt idx="47243">
                  <c:v>21658</c:v>
                </c:pt>
                <c:pt idx="47244">
                  <c:v>21657</c:v>
                </c:pt>
                <c:pt idx="47245">
                  <c:v>21657</c:v>
                </c:pt>
                <c:pt idx="47246">
                  <c:v>21656</c:v>
                </c:pt>
                <c:pt idx="47247">
                  <c:v>21656</c:v>
                </c:pt>
                <c:pt idx="47248">
                  <c:v>21655</c:v>
                </c:pt>
                <c:pt idx="47249">
                  <c:v>21655</c:v>
                </c:pt>
                <c:pt idx="47250">
                  <c:v>21655</c:v>
                </c:pt>
                <c:pt idx="47251">
                  <c:v>21655</c:v>
                </c:pt>
                <c:pt idx="47252">
                  <c:v>21654</c:v>
                </c:pt>
                <c:pt idx="47253">
                  <c:v>21654</c:v>
                </c:pt>
                <c:pt idx="47254">
                  <c:v>21653</c:v>
                </c:pt>
                <c:pt idx="47255">
                  <c:v>21651</c:v>
                </c:pt>
                <c:pt idx="47256">
                  <c:v>21651</c:v>
                </c:pt>
                <c:pt idx="47257">
                  <c:v>21651</c:v>
                </c:pt>
                <c:pt idx="47258">
                  <c:v>21650</c:v>
                </c:pt>
                <c:pt idx="47259">
                  <c:v>21648</c:v>
                </c:pt>
                <c:pt idx="47260">
                  <c:v>21647</c:v>
                </c:pt>
                <c:pt idx="47261">
                  <c:v>21647</c:v>
                </c:pt>
                <c:pt idx="47262">
                  <c:v>21645</c:v>
                </c:pt>
                <c:pt idx="47263">
                  <c:v>21645</c:v>
                </c:pt>
                <c:pt idx="47264">
                  <c:v>21644</c:v>
                </c:pt>
                <c:pt idx="47265">
                  <c:v>21644</c:v>
                </c:pt>
                <c:pt idx="47266">
                  <c:v>21644</c:v>
                </c:pt>
                <c:pt idx="47267">
                  <c:v>21644</c:v>
                </c:pt>
                <c:pt idx="47268">
                  <c:v>21644</c:v>
                </c:pt>
                <c:pt idx="47269">
                  <c:v>21643</c:v>
                </c:pt>
                <c:pt idx="47270">
                  <c:v>21643</c:v>
                </c:pt>
                <c:pt idx="47271">
                  <c:v>21642</c:v>
                </c:pt>
                <c:pt idx="47272">
                  <c:v>21642</c:v>
                </c:pt>
                <c:pt idx="47273">
                  <c:v>21642</c:v>
                </c:pt>
                <c:pt idx="47274">
                  <c:v>21642</c:v>
                </c:pt>
                <c:pt idx="47275">
                  <c:v>21641</c:v>
                </c:pt>
                <c:pt idx="47276">
                  <c:v>21641</c:v>
                </c:pt>
                <c:pt idx="47277">
                  <c:v>21641</c:v>
                </c:pt>
                <c:pt idx="47278">
                  <c:v>21641</c:v>
                </c:pt>
                <c:pt idx="47279">
                  <c:v>21641</c:v>
                </c:pt>
                <c:pt idx="47280">
                  <c:v>21640</c:v>
                </c:pt>
                <c:pt idx="47281">
                  <c:v>21640</c:v>
                </c:pt>
                <c:pt idx="47282">
                  <c:v>21639</c:v>
                </c:pt>
                <c:pt idx="47283">
                  <c:v>21639</c:v>
                </c:pt>
                <c:pt idx="47284">
                  <c:v>21639</c:v>
                </c:pt>
                <c:pt idx="47285">
                  <c:v>21639</c:v>
                </c:pt>
                <c:pt idx="47286">
                  <c:v>21639</c:v>
                </c:pt>
                <c:pt idx="47287">
                  <c:v>21639</c:v>
                </c:pt>
                <c:pt idx="47288">
                  <c:v>21638</c:v>
                </c:pt>
                <c:pt idx="47289">
                  <c:v>21638</c:v>
                </c:pt>
                <c:pt idx="47290">
                  <c:v>21638</c:v>
                </c:pt>
                <c:pt idx="47291">
                  <c:v>21636</c:v>
                </c:pt>
                <c:pt idx="47292">
                  <c:v>21636</c:v>
                </c:pt>
                <c:pt idx="47293">
                  <c:v>21636</c:v>
                </c:pt>
                <c:pt idx="47294">
                  <c:v>21636</c:v>
                </c:pt>
                <c:pt idx="47295">
                  <c:v>21635</c:v>
                </c:pt>
                <c:pt idx="47296">
                  <c:v>21635</c:v>
                </c:pt>
                <c:pt idx="47297">
                  <c:v>21635</c:v>
                </c:pt>
                <c:pt idx="47298">
                  <c:v>21633</c:v>
                </c:pt>
                <c:pt idx="47299">
                  <c:v>21633</c:v>
                </c:pt>
                <c:pt idx="47300">
                  <c:v>21633</c:v>
                </c:pt>
                <c:pt idx="47301">
                  <c:v>21633</c:v>
                </c:pt>
                <c:pt idx="47302">
                  <c:v>21632</c:v>
                </c:pt>
                <c:pt idx="47303">
                  <c:v>21632</c:v>
                </c:pt>
                <c:pt idx="47304">
                  <c:v>21631</c:v>
                </c:pt>
                <c:pt idx="47305">
                  <c:v>21630</c:v>
                </c:pt>
                <c:pt idx="47306">
                  <c:v>21630</c:v>
                </c:pt>
                <c:pt idx="47307">
                  <c:v>21630</c:v>
                </c:pt>
                <c:pt idx="47308">
                  <c:v>21630</c:v>
                </c:pt>
                <c:pt idx="47309">
                  <c:v>21629</c:v>
                </c:pt>
                <c:pt idx="47310">
                  <c:v>21629</c:v>
                </c:pt>
                <c:pt idx="47311">
                  <c:v>21629</c:v>
                </c:pt>
                <c:pt idx="47312">
                  <c:v>21629</c:v>
                </c:pt>
                <c:pt idx="47313">
                  <c:v>21628</c:v>
                </c:pt>
                <c:pt idx="47314">
                  <c:v>21628</c:v>
                </c:pt>
                <c:pt idx="47315">
                  <c:v>21627</c:v>
                </c:pt>
                <c:pt idx="47316">
                  <c:v>21627</c:v>
                </c:pt>
                <c:pt idx="47317">
                  <c:v>21627</c:v>
                </c:pt>
                <c:pt idx="47318">
                  <c:v>21627</c:v>
                </c:pt>
                <c:pt idx="47319">
                  <c:v>21626</c:v>
                </c:pt>
                <c:pt idx="47320">
                  <c:v>21625</c:v>
                </c:pt>
                <c:pt idx="47321">
                  <c:v>21625</c:v>
                </c:pt>
                <c:pt idx="47322">
                  <c:v>21625</c:v>
                </c:pt>
                <c:pt idx="47323">
                  <c:v>21625</c:v>
                </c:pt>
                <c:pt idx="47324">
                  <c:v>21624</c:v>
                </c:pt>
                <c:pt idx="47325">
                  <c:v>21624</c:v>
                </c:pt>
                <c:pt idx="47326">
                  <c:v>21623</c:v>
                </c:pt>
                <c:pt idx="47327">
                  <c:v>21623</c:v>
                </c:pt>
                <c:pt idx="47328">
                  <c:v>21623</c:v>
                </c:pt>
                <c:pt idx="47329">
                  <c:v>21622</c:v>
                </c:pt>
                <c:pt idx="47330">
                  <c:v>21621</c:v>
                </c:pt>
                <c:pt idx="47331">
                  <c:v>21621</c:v>
                </c:pt>
                <c:pt idx="47332">
                  <c:v>21621</c:v>
                </c:pt>
                <c:pt idx="47333">
                  <c:v>21620</c:v>
                </c:pt>
                <c:pt idx="47334">
                  <c:v>21620</c:v>
                </c:pt>
                <c:pt idx="47335">
                  <c:v>21619</c:v>
                </c:pt>
                <c:pt idx="47336">
                  <c:v>21619</c:v>
                </c:pt>
                <c:pt idx="47337">
                  <c:v>21619</c:v>
                </c:pt>
                <c:pt idx="47338">
                  <c:v>21619</c:v>
                </c:pt>
                <c:pt idx="47339">
                  <c:v>21618</c:v>
                </c:pt>
                <c:pt idx="47340">
                  <c:v>21617</c:v>
                </c:pt>
                <c:pt idx="47341">
                  <c:v>21617</c:v>
                </c:pt>
                <c:pt idx="47342">
                  <c:v>21617</c:v>
                </c:pt>
                <c:pt idx="47343">
                  <c:v>21617</c:v>
                </c:pt>
                <c:pt idx="47344">
                  <c:v>21616</c:v>
                </c:pt>
                <c:pt idx="47345">
                  <c:v>21616</c:v>
                </c:pt>
                <c:pt idx="47346">
                  <c:v>21616</c:v>
                </c:pt>
                <c:pt idx="47347">
                  <c:v>21616</c:v>
                </c:pt>
                <c:pt idx="47348">
                  <c:v>21616</c:v>
                </c:pt>
                <c:pt idx="47349">
                  <c:v>21616</c:v>
                </c:pt>
                <c:pt idx="47350">
                  <c:v>21616</c:v>
                </c:pt>
                <c:pt idx="47351">
                  <c:v>21615</c:v>
                </c:pt>
                <c:pt idx="47352">
                  <c:v>21615</c:v>
                </c:pt>
                <c:pt idx="47353">
                  <c:v>21615</c:v>
                </c:pt>
                <c:pt idx="47354">
                  <c:v>21615</c:v>
                </c:pt>
                <c:pt idx="47355">
                  <c:v>21615</c:v>
                </c:pt>
                <c:pt idx="47356">
                  <c:v>21615</c:v>
                </c:pt>
                <c:pt idx="47357">
                  <c:v>21614</c:v>
                </c:pt>
                <c:pt idx="47358">
                  <c:v>21613</c:v>
                </c:pt>
                <c:pt idx="47359">
                  <c:v>21613</c:v>
                </c:pt>
                <c:pt idx="47360">
                  <c:v>21613</c:v>
                </c:pt>
                <c:pt idx="47361">
                  <c:v>21612</c:v>
                </c:pt>
                <c:pt idx="47362">
                  <c:v>21612</c:v>
                </c:pt>
                <c:pt idx="47363">
                  <c:v>21612</c:v>
                </c:pt>
                <c:pt idx="47364">
                  <c:v>21611</c:v>
                </c:pt>
                <c:pt idx="47365">
                  <c:v>21609</c:v>
                </c:pt>
                <c:pt idx="47366">
                  <c:v>21609</c:v>
                </c:pt>
                <c:pt idx="47367">
                  <c:v>21608</c:v>
                </c:pt>
                <c:pt idx="47368">
                  <c:v>21607</c:v>
                </c:pt>
                <c:pt idx="47369">
                  <c:v>21606</c:v>
                </c:pt>
                <c:pt idx="47370">
                  <c:v>21606</c:v>
                </c:pt>
                <c:pt idx="47371">
                  <c:v>21606</c:v>
                </c:pt>
                <c:pt idx="47372">
                  <c:v>21605</c:v>
                </c:pt>
                <c:pt idx="47373">
                  <c:v>21605</c:v>
                </c:pt>
                <c:pt idx="47374">
                  <c:v>21605</c:v>
                </c:pt>
                <c:pt idx="47375">
                  <c:v>21604</c:v>
                </c:pt>
                <c:pt idx="47376">
                  <c:v>21604</c:v>
                </c:pt>
                <c:pt idx="47377">
                  <c:v>21604</c:v>
                </c:pt>
                <c:pt idx="47378">
                  <c:v>21604</c:v>
                </c:pt>
                <c:pt idx="47379">
                  <c:v>21604</c:v>
                </c:pt>
                <c:pt idx="47380">
                  <c:v>21603</c:v>
                </c:pt>
                <c:pt idx="47381">
                  <c:v>21603</c:v>
                </c:pt>
                <c:pt idx="47382">
                  <c:v>21603</c:v>
                </c:pt>
                <c:pt idx="47383">
                  <c:v>21602</c:v>
                </c:pt>
                <c:pt idx="47384">
                  <c:v>21602</c:v>
                </c:pt>
                <c:pt idx="47385">
                  <c:v>21601</c:v>
                </c:pt>
                <c:pt idx="47386">
                  <c:v>21601</c:v>
                </c:pt>
                <c:pt idx="47387">
                  <c:v>21601</c:v>
                </c:pt>
                <c:pt idx="47388">
                  <c:v>21601</c:v>
                </c:pt>
                <c:pt idx="47389">
                  <c:v>21601</c:v>
                </c:pt>
                <c:pt idx="47390">
                  <c:v>21600</c:v>
                </c:pt>
                <c:pt idx="47391">
                  <c:v>21600</c:v>
                </c:pt>
                <c:pt idx="47392">
                  <c:v>21600</c:v>
                </c:pt>
                <c:pt idx="47393">
                  <c:v>21599</c:v>
                </c:pt>
                <c:pt idx="47394">
                  <c:v>21598</c:v>
                </c:pt>
                <c:pt idx="47395">
                  <c:v>21597</c:v>
                </c:pt>
                <c:pt idx="47396">
                  <c:v>21597</c:v>
                </c:pt>
                <c:pt idx="47397">
                  <c:v>21597</c:v>
                </c:pt>
                <c:pt idx="47398">
                  <c:v>21597</c:v>
                </c:pt>
                <c:pt idx="47399">
                  <c:v>21597</c:v>
                </c:pt>
                <c:pt idx="47400">
                  <c:v>21596</c:v>
                </c:pt>
                <c:pt idx="47401">
                  <c:v>21596</c:v>
                </c:pt>
                <c:pt idx="47402">
                  <c:v>21595</c:v>
                </c:pt>
                <c:pt idx="47403">
                  <c:v>21595</c:v>
                </c:pt>
                <c:pt idx="47404">
                  <c:v>21594</c:v>
                </c:pt>
                <c:pt idx="47405">
                  <c:v>21593</c:v>
                </c:pt>
                <c:pt idx="47406">
                  <c:v>21593</c:v>
                </c:pt>
                <c:pt idx="47407">
                  <c:v>21593</c:v>
                </c:pt>
                <c:pt idx="47408">
                  <c:v>21593</c:v>
                </c:pt>
                <c:pt idx="47409">
                  <c:v>21593</c:v>
                </c:pt>
                <c:pt idx="47410">
                  <c:v>21592</c:v>
                </c:pt>
                <c:pt idx="47411">
                  <c:v>21592</c:v>
                </c:pt>
                <c:pt idx="47412">
                  <c:v>21591</c:v>
                </c:pt>
                <c:pt idx="47413">
                  <c:v>21591</c:v>
                </c:pt>
                <c:pt idx="47414">
                  <c:v>21591</c:v>
                </c:pt>
                <c:pt idx="47415">
                  <c:v>21590</c:v>
                </c:pt>
                <c:pt idx="47416">
                  <c:v>21586</c:v>
                </c:pt>
                <c:pt idx="47417">
                  <c:v>21586</c:v>
                </c:pt>
                <c:pt idx="47418">
                  <c:v>21586</c:v>
                </c:pt>
                <c:pt idx="47419">
                  <c:v>21585</c:v>
                </c:pt>
                <c:pt idx="47420">
                  <c:v>21585</c:v>
                </c:pt>
                <c:pt idx="47421">
                  <c:v>21585</c:v>
                </c:pt>
                <c:pt idx="47422">
                  <c:v>21585</c:v>
                </c:pt>
                <c:pt idx="47423">
                  <c:v>21584</c:v>
                </c:pt>
                <c:pt idx="47424">
                  <c:v>21584</c:v>
                </c:pt>
                <c:pt idx="47425">
                  <c:v>21583</c:v>
                </c:pt>
                <c:pt idx="47426">
                  <c:v>21583</c:v>
                </c:pt>
                <c:pt idx="47427">
                  <c:v>21583</c:v>
                </c:pt>
                <c:pt idx="47428">
                  <c:v>21583</c:v>
                </c:pt>
                <c:pt idx="47429">
                  <c:v>21582</c:v>
                </c:pt>
                <c:pt idx="47430">
                  <c:v>21582</c:v>
                </c:pt>
                <c:pt idx="47431">
                  <c:v>21581</c:v>
                </c:pt>
                <c:pt idx="47432">
                  <c:v>21581</c:v>
                </c:pt>
                <c:pt idx="47433">
                  <c:v>21580</c:v>
                </c:pt>
                <c:pt idx="47434">
                  <c:v>21579</c:v>
                </c:pt>
                <c:pt idx="47435">
                  <c:v>21578</c:v>
                </c:pt>
                <c:pt idx="47436">
                  <c:v>21578</c:v>
                </c:pt>
                <c:pt idx="47437">
                  <c:v>21577</c:v>
                </c:pt>
                <c:pt idx="47438">
                  <c:v>21576</c:v>
                </c:pt>
                <c:pt idx="47439">
                  <c:v>21575</c:v>
                </c:pt>
                <c:pt idx="47440">
                  <c:v>21575</c:v>
                </c:pt>
                <c:pt idx="47441">
                  <c:v>21574</c:v>
                </c:pt>
                <c:pt idx="47442">
                  <c:v>21573</c:v>
                </c:pt>
                <c:pt idx="47443">
                  <c:v>21573</c:v>
                </c:pt>
                <c:pt idx="47444">
                  <c:v>21572</c:v>
                </c:pt>
                <c:pt idx="47445">
                  <c:v>21572</c:v>
                </c:pt>
                <c:pt idx="47446">
                  <c:v>21571</c:v>
                </c:pt>
                <c:pt idx="47447">
                  <c:v>21571</c:v>
                </c:pt>
                <c:pt idx="47448">
                  <c:v>21571</c:v>
                </c:pt>
                <c:pt idx="47449">
                  <c:v>21571</c:v>
                </c:pt>
                <c:pt idx="47450">
                  <c:v>21568</c:v>
                </c:pt>
                <c:pt idx="47451">
                  <c:v>21568</c:v>
                </c:pt>
                <c:pt idx="47452">
                  <c:v>21568</c:v>
                </c:pt>
                <c:pt idx="47453">
                  <c:v>21568</c:v>
                </c:pt>
                <c:pt idx="47454">
                  <c:v>21568</c:v>
                </c:pt>
                <c:pt idx="47455">
                  <c:v>21568</c:v>
                </c:pt>
                <c:pt idx="47456">
                  <c:v>21568</c:v>
                </c:pt>
                <c:pt idx="47457">
                  <c:v>21568</c:v>
                </c:pt>
                <c:pt idx="47458">
                  <c:v>21568</c:v>
                </c:pt>
                <c:pt idx="47459">
                  <c:v>21567</c:v>
                </c:pt>
                <c:pt idx="47460">
                  <c:v>21567</c:v>
                </c:pt>
                <c:pt idx="47461">
                  <c:v>21566</c:v>
                </c:pt>
                <c:pt idx="47462">
                  <c:v>21566</c:v>
                </c:pt>
                <c:pt idx="47463">
                  <c:v>21565</c:v>
                </c:pt>
                <c:pt idx="47464">
                  <c:v>21565</c:v>
                </c:pt>
                <c:pt idx="47465">
                  <c:v>21565</c:v>
                </c:pt>
                <c:pt idx="47466">
                  <c:v>21564</c:v>
                </c:pt>
                <c:pt idx="47467">
                  <c:v>21564</c:v>
                </c:pt>
                <c:pt idx="47468">
                  <c:v>21563</c:v>
                </c:pt>
                <c:pt idx="47469">
                  <c:v>21562</c:v>
                </c:pt>
                <c:pt idx="47470">
                  <c:v>21561</c:v>
                </c:pt>
                <c:pt idx="47471">
                  <c:v>21561</c:v>
                </c:pt>
                <c:pt idx="47472">
                  <c:v>21561</c:v>
                </c:pt>
                <c:pt idx="47473">
                  <c:v>21560</c:v>
                </c:pt>
                <c:pt idx="47474">
                  <c:v>21560</c:v>
                </c:pt>
                <c:pt idx="47475">
                  <c:v>21560</c:v>
                </c:pt>
                <c:pt idx="47476">
                  <c:v>21559</c:v>
                </c:pt>
                <c:pt idx="47477">
                  <c:v>21559</c:v>
                </c:pt>
                <c:pt idx="47478">
                  <c:v>21559</c:v>
                </c:pt>
                <c:pt idx="47479">
                  <c:v>21558</c:v>
                </c:pt>
                <c:pt idx="47480">
                  <c:v>21556</c:v>
                </c:pt>
                <c:pt idx="47481">
                  <c:v>21556</c:v>
                </c:pt>
                <c:pt idx="47482">
                  <c:v>21556</c:v>
                </c:pt>
                <c:pt idx="47483">
                  <c:v>21556</c:v>
                </c:pt>
                <c:pt idx="47484">
                  <c:v>21556</c:v>
                </c:pt>
                <c:pt idx="47485">
                  <c:v>21554</c:v>
                </c:pt>
                <c:pt idx="47486">
                  <c:v>21554</c:v>
                </c:pt>
                <c:pt idx="47487">
                  <c:v>21554</c:v>
                </c:pt>
                <c:pt idx="47488">
                  <c:v>21554</c:v>
                </c:pt>
                <c:pt idx="47489">
                  <c:v>21554</c:v>
                </c:pt>
                <c:pt idx="47490">
                  <c:v>21553</c:v>
                </c:pt>
                <c:pt idx="47491">
                  <c:v>21553</c:v>
                </c:pt>
                <c:pt idx="47492">
                  <c:v>21552</c:v>
                </c:pt>
                <c:pt idx="47493">
                  <c:v>21552</c:v>
                </c:pt>
                <c:pt idx="47494">
                  <c:v>21552</c:v>
                </c:pt>
                <c:pt idx="47495">
                  <c:v>21552</c:v>
                </c:pt>
                <c:pt idx="47496">
                  <c:v>21552</c:v>
                </c:pt>
                <c:pt idx="47497">
                  <c:v>21552</c:v>
                </c:pt>
                <c:pt idx="47498">
                  <c:v>21551</c:v>
                </c:pt>
                <c:pt idx="47499">
                  <c:v>21551</c:v>
                </c:pt>
                <c:pt idx="47500">
                  <c:v>21549</c:v>
                </c:pt>
                <c:pt idx="47501">
                  <c:v>21548</c:v>
                </c:pt>
                <c:pt idx="47502">
                  <c:v>21547</c:v>
                </c:pt>
                <c:pt idx="47503">
                  <c:v>21546</c:v>
                </c:pt>
                <c:pt idx="47504">
                  <c:v>21546</c:v>
                </c:pt>
                <c:pt idx="47505">
                  <c:v>21545</c:v>
                </c:pt>
                <c:pt idx="47506">
                  <c:v>21545</c:v>
                </c:pt>
                <c:pt idx="47507">
                  <c:v>21545</c:v>
                </c:pt>
                <c:pt idx="47508">
                  <c:v>21544</c:v>
                </c:pt>
                <c:pt idx="47509">
                  <c:v>21544</c:v>
                </c:pt>
                <c:pt idx="47510">
                  <c:v>21543</c:v>
                </c:pt>
                <c:pt idx="47511">
                  <c:v>21543</c:v>
                </c:pt>
                <c:pt idx="47512">
                  <c:v>21542</c:v>
                </c:pt>
                <c:pt idx="47513">
                  <c:v>21542</c:v>
                </c:pt>
                <c:pt idx="47514">
                  <c:v>21542</c:v>
                </c:pt>
                <c:pt idx="47515">
                  <c:v>21541</c:v>
                </c:pt>
                <c:pt idx="47516">
                  <c:v>21541</c:v>
                </c:pt>
                <c:pt idx="47517">
                  <c:v>21541</c:v>
                </c:pt>
                <c:pt idx="47518">
                  <c:v>21541</c:v>
                </c:pt>
                <c:pt idx="47519">
                  <c:v>21541</c:v>
                </c:pt>
                <c:pt idx="47520">
                  <c:v>21541</c:v>
                </c:pt>
                <c:pt idx="47521">
                  <c:v>21541</c:v>
                </c:pt>
                <c:pt idx="47522">
                  <c:v>21540</c:v>
                </c:pt>
                <c:pt idx="47523">
                  <c:v>21540</c:v>
                </c:pt>
                <c:pt idx="47524">
                  <c:v>21539</c:v>
                </c:pt>
                <c:pt idx="47525">
                  <c:v>21539</c:v>
                </c:pt>
                <c:pt idx="47526">
                  <c:v>21537</c:v>
                </c:pt>
                <c:pt idx="47527">
                  <c:v>21537</c:v>
                </c:pt>
                <c:pt idx="47528">
                  <c:v>21537</c:v>
                </c:pt>
                <c:pt idx="47529">
                  <c:v>21537</c:v>
                </c:pt>
                <c:pt idx="47530">
                  <c:v>21536</c:v>
                </c:pt>
                <c:pt idx="47531">
                  <c:v>21536</c:v>
                </c:pt>
                <c:pt idx="47532">
                  <c:v>21536</c:v>
                </c:pt>
                <c:pt idx="47533">
                  <c:v>21535</c:v>
                </c:pt>
                <c:pt idx="47534">
                  <c:v>21535</c:v>
                </c:pt>
                <c:pt idx="47535">
                  <c:v>21535</c:v>
                </c:pt>
                <c:pt idx="47536">
                  <c:v>21534</c:v>
                </c:pt>
                <c:pt idx="47537">
                  <c:v>21533</c:v>
                </c:pt>
                <c:pt idx="47538">
                  <c:v>21533</c:v>
                </c:pt>
                <c:pt idx="47539">
                  <c:v>21533</c:v>
                </c:pt>
                <c:pt idx="47540">
                  <c:v>21533</c:v>
                </c:pt>
                <c:pt idx="47541">
                  <c:v>21533</c:v>
                </c:pt>
                <c:pt idx="47542">
                  <c:v>21533</c:v>
                </c:pt>
                <c:pt idx="47543">
                  <c:v>21532</c:v>
                </c:pt>
                <c:pt idx="47544">
                  <c:v>21531</c:v>
                </c:pt>
                <c:pt idx="47545">
                  <c:v>21531</c:v>
                </c:pt>
                <c:pt idx="47546">
                  <c:v>21530</c:v>
                </c:pt>
                <c:pt idx="47547">
                  <c:v>21530</c:v>
                </c:pt>
                <c:pt idx="47548">
                  <c:v>21530</c:v>
                </c:pt>
                <c:pt idx="47549">
                  <c:v>21530</c:v>
                </c:pt>
                <c:pt idx="47550">
                  <c:v>21529</c:v>
                </c:pt>
                <c:pt idx="47551">
                  <c:v>21528</c:v>
                </c:pt>
                <c:pt idx="47552">
                  <c:v>21528</c:v>
                </c:pt>
                <c:pt idx="47553">
                  <c:v>21527</c:v>
                </c:pt>
                <c:pt idx="47554">
                  <c:v>21527</c:v>
                </c:pt>
                <c:pt idx="47555">
                  <c:v>21526</c:v>
                </c:pt>
                <c:pt idx="47556">
                  <c:v>21526</c:v>
                </c:pt>
                <c:pt idx="47557">
                  <c:v>21525</c:v>
                </c:pt>
                <c:pt idx="47558">
                  <c:v>21524</c:v>
                </c:pt>
                <c:pt idx="47559">
                  <c:v>21524</c:v>
                </c:pt>
                <c:pt idx="47560">
                  <c:v>21524</c:v>
                </c:pt>
                <c:pt idx="47561">
                  <c:v>21524</c:v>
                </c:pt>
                <c:pt idx="47562">
                  <c:v>21524</c:v>
                </c:pt>
                <c:pt idx="47563">
                  <c:v>21522</c:v>
                </c:pt>
                <c:pt idx="47564">
                  <c:v>21522</c:v>
                </c:pt>
                <c:pt idx="47565">
                  <c:v>21522</c:v>
                </c:pt>
                <c:pt idx="47566">
                  <c:v>21522</c:v>
                </c:pt>
                <c:pt idx="47567">
                  <c:v>21521</c:v>
                </c:pt>
                <c:pt idx="47568">
                  <c:v>21521</c:v>
                </c:pt>
                <c:pt idx="47569">
                  <c:v>21521</c:v>
                </c:pt>
                <c:pt idx="47570">
                  <c:v>21520</c:v>
                </c:pt>
                <c:pt idx="47571">
                  <c:v>21519</c:v>
                </c:pt>
                <c:pt idx="47572">
                  <c:v>21519</c:v>
                </c:pt>
                <c:pt idx="47573">
                  <c:v>21519</c:v>
                </c:pt>
                <c:pt idx="47574">
                  <c:v>21519</c:v>
                </c:pt>
                <c:pt idx="47575">
                  <c:v>21519</c:v>
                </c:pt>
                <c:pt idx="47576">
                  <c:v>21518</c:v>
                </c:pt>
                <c:pt idx="47577">
                  <c:v>21518</c:v>
                </c:pt>
                <c:pt idx="47578">
                  <c:v>21518</c:v>
                </c:pt>
                <c:pt idx="47579">
                  <c:v>21517</c:v>
                </c:pt>
                <c:pt idx="47580">
                  <c:v>21515</c:v>
                </c:pt>
                <c:pt idx="47581">
                  <c:v>21515</c:v>
                </c:pt>
                <c:pt idx="47582">
                  <c:v>21515</c:v>
                </c:pt>
                <c:pt idx="47583">
                  <c:v>21514</c:v>
                </c:pt>
                <c:pt idx="47584">
                  <c:v>21514</c:v>
                </c:pt>
                <c:pt idx="47585">
                  <c:v>21514</c:v>
                </c:pt>
                <c:pt idx="47586">
                  <c:v>21514</c:v>
                </c:pt>
                <c:pt idx="47587">
                  <c:v>21513</c:v>
                </c:pt>
                <c:pt idx="47588">
                  <c:v>21513</c:v>
                </c:pt>
                <c:pt idx="47589">
                  <c:v>21513</c:v>
                </c:pt>
                <c:pt idx="47590">
                  <c:v>21512</c:v>
                </c:pt>
                <c:pt idx="47591">
                  <c:v>21512</c:v>
                </c:pt>
                <c:pt idx="47592">
                  <c:v>21512</c:v>
                </c:pt>
                <c:pt idx="47593">
                  <c:v>21512</c:v>
                </c:pt>
                <c:pt idx="47594">
                  <c:v>21511</c:v>
                </c:pt>
                <c:pt idx="47595">
                  <c:v>21511</c:v>
                </c:pt>
                <c:pt idx="47596">
                  <c:v>21511</c:v>
                </c:pt>
                <c:pt idx="47597">
                  <c:v>21511</c:v>
                </c:pt>
                <c:pt idx="47598">
                  <c:v>21511</c:v>
                </c:pt>
                <c:pt idx="47599">
                  <c:v>21510</c:v>
                </c:pt>
                <c:pt idx="47600">
                  <c:v>21510</c:v>
                </c:pt>
                <c:pt idx="47601">
                  <c:v>21510</c:v>
                </c:pt>
                <c:pt idx="47602">
                  <c:v>21509</c:v>
                </c:pt>
                <c:pt idx="47603">
                  <c:v>21509</c:v>
                </c:pt>
                <c:pt idx="47604">
                  <c:v>21509</c:v>
                </c:pt>
                <c:pt idx="47605">
                  <c:v>21509</c:v>
                </c:pt>
                <c:pt idx="47606">
                  <c:v>21509</c:v>
                </c:pt>
                <c:pt idx="47607">
                  <c:v>21509</c:v>
                </c:pt>
                <c:pt idx="47608">
                  <c:v>21508</c:v>
                </c:pt>
                <c:pt idx="47609">
                  <c:v>21508</c:v>
                </c:pt>
                <c:pt idx="47610">
                  <c:v>21507</c:v>
                </c:pt>
                <c:pt idx="47611">
                  <c:v>21507</c:v>
                </c:pt>
                <c:pt idx="47612">
                  <c:v>21507</c:v>
                </c:pt>
                <c:pt idx="47613">
                  <c:v>21507</c:v>
                </c:pt>
                <c:pt idx="47614">
                  <c:v>21506</c:v>
                </c:pt>
                <c:pt idx="47615">
                  <c:v>21506</c:v>
                </c:pt>
                <c:pt idx="47616">
                  <c:v>21506</c:v>
                </c:pt>
                <c:pt idx="47617">
                  <c:v>21505</c:v>
                </c:pt>
                <c:pt idx="47618">
                  <c:v>21505</c:v>
                </c:pt>
                <c:pt idx="47619">
                  <c:v>21504</c:v>
                </c:pt>
                <c:pt idx="47620">
                  <c:v>21504</c:v>
                </c:pt>
                <c:pt idx="47621">
                  <c:v>21503</c:v>
                </c:pt>
                <c:pt idx="47622">
                  <c:v>21503</c:v>
                </c:pt>
                <c:pt idx="47623">
                  <c:v>21503</c:v>
                </c:pt>
                <c:pt idx="47624">
                  <c:v>21502</c:v>
                </c:pt>
                <c:pt idx="47625">
                  <c:v>21502</c:v>
                </c:pt>
                <c:pt idx="47626">
                  <c:v>21502</c:v>
                </c:pt>
                <c:pt idx="47627">
                  <c:v>21502</c:v>
                </c:pt>
                <c:pt idx="47628">
                  <c:v>21502</c:v>
                </c:pt>
                <c:pt idx="47629">
                  <c:v>21502</c:v>
                </c:pt>
                <c:pt idx="47630">
                  <c:v>21502</c:v>
                </c:pt>
                <c:pt idx="47631">
                  <c:v>21502</c:v>
                </c:pt>
                <c:pt idx="47632">
                  <c:v>21501</c:v>
                </c:pt>
                <c:pt idx="47633">
                  <c:v>21499</c:v>
                </c:pt>
                <c:pt idx="47634">
                  <c:v>21499</c:v>
                </c:pt>
                <c:pt idx="47635">
                  <c:v>21499</c:v>
                </c:pt>
                <c:pt idx="47636">
                  <c:v>21498</c:v>
                </c:pt>
                <c:pt idx="47637">
                  <c:v>21498</c:v>
                </c:pt>
                <c:pt idx="47638">
                  <c:v>21498</c:v>
                </c:pt>
                <c:pt idx="47639">
                  <c:v>21497</c:v>
                </c:pt>
                <c:pt idx="47640">
                  <c:v>21497</c:v>
                </c:pt>
                <c:pt idx="47641">
                  <c:v>21497</c:v>
                </c:pt>
                <c:pt idx="47642">
                  <c:v>21496</c:v>
                </c:pt>
                <c:pt idx="47643">
                  <c:v>21496</c:v>
                </c:pt>
                <c:pt idx="47644">
                  <c:v>21496</c:v>
                </c:pt>
                <c:pt idx="47645">
                  <c:v>21496</c:v>
                </c:pt>
                <c:pt idx="47646">
                  <c:v>21495</c:v>
                </c:pt>
                <c:pt idx="47647">
                  <c:v>21495</c:v>
                </c:pt>
                <c:pt idx="47648">
                  <c:v>21495</c:v>
                </c:pt>
                <c:pt idx="47649">
                  <c:v>21495</c:v>
                </c:pt>
                <c:pt idx="47650">
                  <c:v>21494</c:v>
                </c:pt>
                <c:pt idx="47651">
                  <c:v>21493</c:v>
                </c:pt>
                <c:pt idx="47652">
                  <c:v>21492</c:v>
                </c:pt>
                <c:pt idx="47653">
                  <c:v>21492</c:v>
                </c:pt>
                <c:pt idx="47654">
                  <c:v>21492</c:v>
                </c:pt>
                <c:pt idx="47655">
                  <c:v>21491</c:v>
                </c:pt>
                <c:pt idx="47656">
                  <c:v>21490</c:v>
                </c:pt>
                <c:pt idx="47657">
                  <c:v>21490</c:v>
                </c:pt>
                <c:pt idx="47658">
                  <c:v>21489</c:v>
                </c:pt>
                <c:pt idx="47659">
                  <c:v>21489</c:v>
                </c:pt>
                <c:pt idx="47660">
                  <c:v>21489</c:v>
                </c:pt>
                <c:pt idx="47661">
                  <c:v>21488</c:v>
                </c:pt>
                <c:pt idx="47662">
                  <c:v>21488</c:v>
                </c:pt>
                <c:pt idx="47663">
                  <c:v>21488</c:v>
                </c:pt>
                <c:pt idx="47664">
                  <c:v>21487</c:v>
                </c:pt>
                <c:pt idx="47665">
                  <c:v>21487</c:v>
                </c:pt>
                <c:pt idx="47666">
                  <c:v>21487</c:v>
                </c:pt>
                <c:pt idx="47667">
                  <c:v>21486</c:v>
                </c:pt>
                <c:pt idx="47668">
                  <c:v>21486</c:v>
                </c:pt>
                <c:pt idx="47669">
                  <c:v>21485</c:v>
                </c:pt>
                <c:pt idx="47670">
                  <c:v>21485</c:v>
                </c:pt>
                <c:pt idx="47671">
                  <c:v>21485</c:v>
                </c:pt>
                <c:pt idx="47672">
                  <c:v>21484</c:v>
                </c:pt>
                <c:pt idx="47673">
                  <c:v>21484</c:v>
                </c:pt>
                <c:pt idx="47674">
                  <c:v>21484</c:v>
                </c:pt>
                <c:pt idx="47675">
                  <c:v>21484</c:v>
                </c:pt>
                <c:pt idx="47676">
                  <c:v>21483</c:v>
                </c:pt>
                <c:pt idx="47677">
                  <c:v>21483</c:v>
                </c:pt>
                <c:pt idx="47678">
                  <c:v>21483</c:v>
                </c:pt>
                <c:pt idx="47679">
                  <c:v>21482</c:v>
                </c:pt>
                <c:pt idx="47680">
                  <c:v>21481</c:v>
                </c:pt>
                <c:pt idx="47681">
                  <c:v>21481</c:v>
                </c:pt>
                <c:pt idx="47682">
                  <c:v>21481</c:v>
                </c:pt>
                <c:pt idx="47683">
                  <c:v>21480</c:v>
                </c:pt>
                <c:pt idx="47684">
                  <c:v>21480</c:v>
                </c:pt>
                <c:pt idx="47685">
                  <c:v>21480</c:v>
                </c:pt>
                <c:pt idx="47686">
                  <c:v>21479</c:v>
                </c:pt>
                <c:pt idx="47687">
                  <c:v>21479</c:v>
                </c:pt>
                <c:pt idx="47688">
                  <c:v>21478</c:v>
                </c:pt>
                <c:pt idx="47689">
                  <c:v>21477</c:v>
                </c:pt>
                <c:pt idx="47690">
                  <c:v>21477</c:v>
                </c:pt>
                <c:pt idx="47691">
                  <c:v>21477</c:v>
                </c:pt>
                <c:pt idx="47692">
                  <c:v>21477</c:v>
                </c:pt>
                <c:pt idx="47693">
                  <c:v>21477</c:v>
                </c:pt>
                <c:pt idx="47694">
                  <c:v>21477</c:v>
                </c:pt>
                <c:pt idx="47695">
                  <c:v>21477</c:v>
                </c:pt>
                <c:pt idx="47696">
                  <c:v>21477</c:v>
                </c:pt>
                <c:pt idx="47697">
                  <c:v>21476</c:v>
                </c:pt>
                <c:pt idx="47698">
                  <c:v>21475</c:v>
                </c:pt>
                <c:pt idx="47699">
                  <c:v>21475</c:v>
                </c:pt>
                <c:pt idx="47700">
                  <c:v>21474</c:v>
                </c:pt>
                <c:pt idx="47701">
                  <c:v>21474</c:v>
                </c:pt>
                <c:pt idx="47702">
                  <c:v>21474</c:v>
                </c:pt>
                <c:pt idx="47703">
                  <c:v>21474</c:v>
                </c:pt>
                <c:pt idx="47704">
                  <c:v>21473</c:v>
                </c:pt>
                <c:pt idx="47705">
                  <c:v>21473</c:v>
                </c:pt>
                <c:pt idx="47706">
                  <c:v>21472</c:v>
                </c:pt>
                <c:pt idx="47707">
                  <c:v>21472</c:v>
                </c:pt>
                <c:pt idx="47708">
                  <c:v>21472</c:v>
                </c:pt>
                <c:pt idx="47709">
                  <c:v>21472</c:v>
                </c:pt>
                <c:pt idx="47710">
                  <c:v>21472</c:v>
                </c:pt>
                <c:pt idx="47711">
                  <c:v>21471</c:v>
                </c:pt>
                <c:pt idx="47712">
                  <c:v>21471</c:v>
                </c:pt>
                <c:pt idx="47713">
                  <c:v>21470</c:v>
                </c:pt>
                <c:pt idx="47714">
                  <c:v>21470</c:v>
                </c:pt>
                <c:pt idx="47715">
                  <c:v>21469</c:v>
                </c:pt>
                <c:pt idx="47716">
                  <c:v>21469</c:v>
                </c:pt>
                <c:pt idx="47717">
                  <c:v>21468</c:v>
                </c:pt>
                <c:pt idx="47718">
                  <c:v>21468</c:v>
                </c:pt>
                <c:pt idx="47719">
                  <c:v>21468</c:v>
                </c:pt>
                <c:pt idx="47720">
                  <c:v>21468</c:v>
                </c:pt>
                <c:pt idx="47721">
                  <c:v>21468</c:v>
                </c:pt>
                <c:pt idx="47722">
                  <c:v>21468</c:v>
                </c:pt>
                <c:pt idx="47723">
                  <c:v>21467</c:v>
                </c:pt>
                <c:pt idx="47724">
                  <c:v>21467</c:v>
                </c:pt>
                <c:pt idx="47725">
                  <c:v>21467</c:v>
                </c:pt>
                <c:pt idx="47726">
                  <c:v>21466</c:v>
                </c:pt>
                <c:pt idx="47727">
                  <c:v>21464</c:v>
                </c:pt>
                <c:pt idx="47728">
                  <c:v>21464</c:v>
                </c:pt>
                <c:pt idx="47729">
                  <c:v>21464</c:v>
                </c:pt>
                <c:pt idx="47730">
                  <c:v>21463</c:v>
                </c:pt>
                <c:pt idx="47731">
                  <c:v>21462</c:v>
                </c:pt>
                <c:pt idx="47732">
                  <c:v>21462</c:v>
                </c:pt>
                <c:pt idx="47733">
                  <c:v>21461</c:v>
                </c:pt>
                <c:pt idx="47734">
                  <c:v>21461</c:v>
                </c:pt>
                <c:pt idx="47735">
                  <c:v>21461</c:v>
                </c:pt>
                <c:pt idx="47736">
                  <c:v>21460</c:v>
                </c:pt>
                <c:pt idx="47737">
                  <c:v>21460</c:v>
                </c:pt>
                <c:pt idx="47738">
                  <c:v>21460</c:v>
                </c:pt>
                <c:pt idx="47739">
                  <c:v>21459</c:v>
                </c:pt>
                <c:pt idx="47740">
                  <c:v>21458</c:v>
                </c:pt>
                <c:pt idx="47741">
                  <c:v>21458</c:v>
                </c:pt>
                <c:pt idx="47742">
                  <c:v>21458</c:v>
                </c:pt>
                <c:pt idx="47743">
                  <c:v>21458</c:v>
                </c:pt>
                <c:pt idx="47744">
                  <c:v>21458</c:v>
                </c:pt>
                <c:pt idx="47745">
                  <c:v>21458</c:v>
                </c:pt>
                <c:pt idx="47746">
                  <c:v>21458</c:v>
                </c:pt>
                <c:pt idx="47747">
                  <c:v>21457</c:v>
                </c:pt>
                <c:pt idx="47748">
                  <c:v>21457</c:v>
                </c:pt>
                <c:pt idx="47749">
                  <c:v>21457</c:v>
                </c:pt>
                <c:pt idx="47750">
                  <c:v>21456</c:v>
                </c:pt>
                <c:pt idx="47751">
                  <c:v>21456</c:v>
                </c:pt>
                <c:pt idx="47752">
                  <c:v>21456</c:v>
                </c:pt>
                <c:pt idx="47753">
                  <c:v>21456</c:v>
                </c:pt>
                <c:pt idx="47754">
                  <c:v>21455</c:v>
                </c:pt>
                <c:pt idx="47755">
                  <c:v>21455</c:v>
                </c:pt>
                <c:pt idx="47756">
                  <c:v>21454</c:v>
                </c:pt>
                <c:pt idx="47757">
                  <c:v>21453</c:v>
                </c:pt>
                <c:pt idx="47758">
                  <c:v>21452</c:v>
                </c:pt>
                <c:pt idx="47759">
                  <c:v>21451</c:v>
                </c:pt>
                <c:pt idx="47760">
                  <c:v>21450</c:v>
                </c:pt>
                <c:pt idx="47761">
                  <c:v>21450</c:v>
                </c:pt>
                <c:pt idx="47762">
                  <c:v>21450</c:v>
                </c:pt>
                <c:pt idx="47763">
                  <c:v>21449</c:v>
                </c:pt>
                <c:pt idx="47764">
                  <c:v>21449</c:v>
                </c:pt>
                <c:pt idx="47765">
                  <c:v>21448</c:v>
                </c:pt>
                <c:pt idx="47766">
                  <c:v>21448</c:v>
                </c:pt>
                <c:pt idx="47767">
                  <c:v>21448</c:v>
                </c:pt>
                <c:pt idx="47768">
                  <c:v>21447</c:v>
                </c:pt>
                <c:pt idx="47769">
                  <c:v>21447</c:v>
                </c:pt>
                <c:pt idx="47770">
                  <c:v>21447</c:v>
                </c:pt>
                <c:pt idx="47771">
                  <c:v>21447</c:v>
                </c:pt>
                <c:pt idx="47772">
                  <c:v>21447</c:v>
                </c:pt>
                <c:pt idx="47773">
                  <c:v>21446</c:v>
                </c:pt>
                <c:pt idx="47774">
                  <c:v>21445</c:v>
                </c:pt>
                <c:pt idx="47775">
                  <c:v>21445</c:v>
                </c:pt>
                <c:pt idx="47776">
                  <c:v>21445</c:v>
                </c:pt>
                <c:pt idx="47777">
                  <c:v>21445</c:v>
                </c:pt>
                <c:pt idx="47778">
                  <c:v>21444</c:v>
                </c:pt>
                <c:pt idx="47779">
                  <c:v>21444</c:v>
                </c:pt>
                <c:pt idx="47780">
                  <c:v>21443</c:v>
                </c:pt>
                <c:pt idx="47781">
                  <c:v>21443</c:v>
                </c:pt>
                <c:pt idx="47782">
                  <c:v>21443</c:v>
                </c:pt>
                <c:pt idx="47783">
                  <c:v>21442</c:v>
                </c:pt>
                <c:pt idx="47784">
                  <c:v>21442</c:v>
                </c:pt>
                <c:pt idx="47785">
                  <c:v>21441</c:v>
                </c:pt>
                <c:pt idx="47786">
                  <c:v>21440</c:v>
                </c:pt>
                <c:pt idx="47787">
                  <c:v>21440</c:v>
                </c:pt>
                <c:pt idx="47788">
                  <c:v>21440</c:v>
                </c:pt>
                <c:pt idx="47789">
                  <c:v>21440</c:v>
                </c:pt>
                <c:pt idx="47790">
                  <c:v>21439</c:v>
                </c:pt>
                <c:pt idx="47791">
                  <c:v>21438</c:v>
                </c:pt>
                <c:pt idx="47792">
                  <c:v>21438</c:v>
                </c:pt>
                <c:pt idx="47793">
                  <c:v>21438</c:v>
                </c:pt>
                <c:pt idx="47794">
                  <c:v>21438</c:v>
                </c:pt>
                <c:pt idx="47795">
                  <c:v>21438</c:v>
                </c:pt>
                <c:pt idx="47796">
                  <c:v>21437</c:v>
                </c:pt>
                <c:pt idx="47797">
                  <c:v>21437</c:v>
                </c:pt>
                <c:pt idx="47798">
                  <c:v>21437</c:v>
                </c:pt>
                <c:pt idx="47799">
                  <c:v>21437</c:v>
                </c:pt>
                <c:pt idx="47800">
                  <c:v>21436</c:v>
                </c:pt>
                <c:pt idx="47801">
                  <c:v>21436</c:v>
                </c:pt>
                <c:pt idx="47802">
                  <c:v>21436</c:v>
                </c:pt>
                <c:pt idx="47803">
                  <c:v>21435</c:v>
                </c:pt>
                <c:pt idx="47804">
                  <c:v>21435</c:v>
                </c:pt>
                <c:pt idx="47805">
                  <c:v>21435</c:v>
                </c:pt>
                <c:pt idx="47806">
                  <c:v>21435</c:v>
                </c:pt>
                <c:pt idx="47807">
                  <c:v>21434</c:v>
                </c:pt>
                <c:pt idx="47808">
                  <c:v>21434</c:v>
                </c:pt>
                <c:pt idx="47809">
                  <c:v>21433</c:v>
                </c:pt>
                <c:pt idx="47810">
                  <c:v>21433</c:v>
                </c:pt>
                <c:pt idx="47811">
                  <c:v>21431</c:v>
                </c:pt>
                <c:pt idx="47812">
                  <c:v>21431</c:v>
                </c:pt>
                <c:pt idx="47813">
                  <c:v>21431</c:v>
                </c:pt>
                <c:pt idx="47814">
                  <c:v>21431</c:v>
                </c:pt>
                <c:pt idx="47815">
                  <c:v>21430</c:v>
                </c:pt>
                <c:pt idx="47816">
                  <c:v>21429</c:v>
                </c:pt>
                <c:pt idx="47817">
                  <c:v>21429</c:v>
                </c:pt>
                <c:pt idx="47818">
                  <c:v>21428</c:v>
                </c:pt>
                <c:pt idx="47819">
                  <c:v>21427</c:v>
                </c:pt>
                <c:pt idx="47820">
                  <c:v>21427</c:v>
                </c:pt>
                <c:pt idx="47821">
                  <c:v>21427</c:v>
                </c:pt>
                <c:pt idx="47822">
                  <c:v>21427</c:v>
                </c:pt>
                <c:pt idx="47823">
                  <c:v>21427</c:v>
                </c:pt>
                <c:pt idx="47824">
                  <c:v>21426</c:v>
                </c:pt>
                <c:pt idx="47825">
                  <c:v>21426</c:v>
                </c:pt>
                <c:pt idx="47826">
                  <c:v>21425</c:v>
                </c:pt>
                <c:pt idx="47827">
                  <c:v>21425</c:v>
                </c:pt>
                <c:pt idx="47828">
                  <c:v>21425</c:v>
                </c:pt>
                <c:pt idx="47829">
                  <c:v>21424</c:v>
                </c:pt>
                <c:pt idx="47830">
                  <c:v>21424</c:v>
                </c:pt>
                <c:pt idx="47831">
                  <c:v>21423</c:v>
                </c:pt>
                <c:pt idx="47832">
                  <c:v>21423</c:v>
                </c:pt>
                <c:pt idx="47833">
                  <c:v>21422</c:v>
                </c:pt>
                <c:pt idx="47834">
                  <c:v>21422</c:v>
                </c:pt>
                <c:pt idx="47835">
                  <c:v>21422</c:v>
                </c:pt>
                <c:pt idx="47836">
                  <c:v>21421</c:v>
                </c:pt>
                <c:pt idx="47837">
                  <c:v>21421</c:v>
                </c:pt>
                <c:pt idx="47838">
                  <c:v>21421</c:v>
                </c:pt>
                <c:pt idx="47839">
                  <c:v>21420</c:v>
                </c:pt>
                <c:pt idx="47840">
                  <c:v>21419</c:v>
                </c:pt>
                <c:pt idx="47841">
                  <c:v>21418</c:v>
                </c:pt>
                <c:pt idx="47842">
                  <c:v>21418</c:v>
                </c:pt>
                <c:pt idx="47843">
                  <c:v>21418</c:v>
                </c:pt>
                <c:pt idx="47844">
                  <c:v>21418</c:v>
                </c:pt>
                <c:pt idx="47845">
                  <c:v>21417</c:v>
                </c:pt>
                <c:pt idx="47846">
                  <c:v>21417</c:v>
                </c:pt>
                <c:pt idx="47847">
                  <c:v>21416</c:v>
                </c:pt>
                <c:pt idx="47848">
                  <c:v>21416</c:v>
                </c:pt>
                <c:pt idx="47849">
                  <c:v>21416</c:v>
                </c:pt>
                <c:pt idx="47850">
                  <c:v>21416</c:v>
                </c:pt>
                <c:pt idx="47851">
                  <c:v>21415</c:v>
                </c:pt>
                <c:pt idx="47852">
                  <c:v>21414</c:v>
                </c:pt>
                <c:pt idx="47853">
                  <c:v>21414</c:v>
                </c:pt>
                <c:pt idx="47854">
                  <c:v>21414</c:v>
                </c:pt>
                <c:pt idx="47855">
                  <c:v>21414</c:v>
                </c:pt>
                <c:pt idx="47856">
                  <c:v>21414</c:v>
                </c:pt>
                <c:pt idx="47857">
                  <c:v>21414</c:v>
                </c:pt>
                <c:pt idx="47858">
                  <c:v>21413</c:v>
                </c:pt>
                <c:pt idx="47859">
                  <c:v>21413</c:v>
                </c:pt>
                <c:pt idx="47860">
                  <c:v>21412</c:v>
                </c:pt>
                <c:pt idx="47861">
                  <c:v>21411</c:v>
                </c:pt>
                <c:pt idx="47862">
                  <c:v>21411</c:v>
                </c:pt>
                <c:pt idx="47863">
                  <c:v>21410</c:v>
                </c:pt>
                <c:pt idx="47864">
                  <c:v>21410</c:v>
                </c:pt>
                <c:pt idx="47865">
                  <c:v>21409</c:v>
                </c:pt>
                <c:pt idx="47866">
                  <c:v>21409</c:v>
                </c:pt>
                <c:pt idx="47867">
                  <c:v>21409</c:v>
                </c:pt>
                <c:pt idx="47868">
                  <c:v>21408</c:v>
                </c:pt>
                <c:pt idx="47869">
                  <c:v>21408</c:v>
                </c:pt>
                <c:pt idx="47870">
                  <c:v>21407</c:v>
                </c:pt>
                <c:pt idx="47871">
                  <c:v>21406</c:v>
                </c:pt>
                <c:pt idx="47872">
                  <c:v>21406</c:v>
                </c:pt>
                <c:pt idx="47873">
                  <c:v>21406</c:v>
                </c:pt>
                <c:pt idx="47874">
                  <c:v>21406</c:v>
                </c:pt>
                <c:pt idx="47875">
                  <c:v>21406</c:v>
                </c:pt>
                <c:pt idx="47876">
                  <c:v>21405</c:v>
                </c:pt>
                <c:pt idx="47877">
                  <c:v>21404</c:v>
                </c:pt>
                <c:pt idx="47878">
                  <c:v>21404</c:v>
                </c:pt>
                <c:pt idx="47879">
                  <c:v>21403</c:v>
                </c:pt>
                <c:pt idx="47880">
                  <c:v>21403</c:v>
                </c:pt>
                <c:pt idx="47881">
                  <c:v>21403</c:v>
                </c:pt>
                <c:pt idx="47882">
                  <c:v>21402</c:v>
                </c:pt>
                <c:pt idx="47883">
                  <c:v>21402</c:v>
                </c:pt>
                <c:pt idx="47884">
                  <c:v>21402</c:v>
                </c:pt>
                <c:pt idx="47885">
                  <c:v>21401</c:v>
                </c:pt>
                <c:pt idx="47886">
                  <c:v>21401</c:v>
                </c:pt>
                <c:pt idx="47887">
                  <c:v>21401</c:v>
                </c:pt>
                <c:pt idx="47888">
                  <c:v>21400</c:v>
                </c:pt>
                <c:pt idx="47889">
                  <c:v>21400</c:v>
                </c:pt>
                <c:pt idx="47890">
                  <c:v>21400</c:v>
                </c:pt>
                <c:pt idx="47891">
                  <c:v>21399</c:v>
                </c:pt>
                <c:pt idx="47892">
                  <c:v>21399</c:v>
                </c:pt>
                <c:pt idx="47893">
                  <c:v>21398</c:v>
                </c:pt>
                <c:pt idx="47894">
                  <c:v>21398</c:v>
                </c:pt>
                <c:pt idx="47895">
                  <c:v>21398</c:v>
                </c:pt>
                <c:pt idx="47896">
                  <c:v>21398</c:v>
                </c:pt>
                <c:pt idx="47897">
                  <c:v>21398</c:v>
                </c:pt>
                <c:pt idx="47898">
                  <c:v>21397</c:v>
                </c:pt>
                <c:pt idx="47899">
                  <c:v>21397</c:v>
                </c:pt>
                <c:pt idx="47900">
                  <c:v>21396</c:v>
                </c:pt>
                <c:pt idx="47901">
                  <c:v>21395</c:v>
                </c:pt>
                <c:pt idx="47902">
                  <c:v>21395</c:v>
                </c:pt>
                <c:pt idx="47903">
                  <c:v>21394</c:v>
                </c:pt>
                <c:pt idx="47904">
                  <c:v>21394</c:v>
                </c:pt>
                <c:pt idx="47905">
                  <c:v>21393</c:v>
                </c:pt>
                <c:pt idx="47906">
                  <c:v>21393</c:v>
                </c:pt>
                <c:pt idx="47907">
                  <c:v>21392</c:v>
                </c:pt>
                <c:pt idx="47908">
                  <c:v>21392</c:v>
                </c:pt>
                <c:pt idx="47909">
                  <c:v>21392</c:v>
                </c:pt>
                <c:pt idx="47910">
                  <c:v>21391</c:v>
                </c:pt>
                <c:pt idx="47911">
                  <c:v>21391</c:v>
                </c:pt>
                <c:pt idx="47912">
                  <c:v>21391</c:v>
                </c:pt>
                <c:pt idx="47913">
                  <c:v>21390</c:v>
                </c:pt>
                <c:pt idx="47914">
                  <c:v>21390</c:v>
                </c:pt>
                <c:pt idx="47915">
                  <c:v>21389</c:v>
                </c:pt>
                <c:pt idx="47916">
                  <c:v>21389</c:v>
                </c:pt>
                <c:pt idx="47917">
                  <c:v>21389</c:v>
                </c:pt>
                <c:pt idx="47918">
                  <c:v>21388</c:v>
                </c:pt>
                <c:pt idx="47919">
                  <c:v>21388</c:v>
                </c:pt>
                <c:pt idx="47920">
                  <c:v>21388</c:v>
                </c:pt>
                <c:pt idx="47921">
                  <c:v>21387</c:v>
                </c:pt>
                <c:pt idx="47922">
                  <c:v>21386</c:v>
                </c:pt>
                <c:pt idx="47923">
                  <c:v>21386</c:v>
                </c:pt>
                <c:pt idx="47924">
                  <c:v>21386</c:v>
                </c:pt>
                <c:pt idx="47925">
                  <c:v>21386</c:v>
                </c:pt>
                <c:pt idx="47926">
                  <c:v>21386</c:v>
                </c:pt>
                <c:pt idx="47927">
                  <c:v>21385</c:v>
                </c:pt>
                <c:pt idx="47928">
                  <c:v>21385</c:v>
                </c:pt>
                <c:pt idx="47929">
                  <c:v>21385</c:v>
                </c:pt>
                <c:pt idx="47930">
                  <c:v>21385</c:v>
                </c:pt>
                <c:pt idx="47931">
                  <c:v>21384</c:v>
                </c:pt>
                <c:pt idx="47932">
                  <c:v>21383</c:v>
                </c:pt>
                <c:pt idx="47933">
                  <c:v>21382</c:v>
                </c:pt>
                <c:pt idx="47934">
                  <c:v>21382</c:v>
                </c:pt>
                <c:pt idx="47935">
                  <c:v>21382</c:v>
                </c:pt>
                <c:pt idx="47936">
                  <c:v>21382</c:v>
                </c:pt>
                <c:pt idx="47937">
                  <c:v>21382</c:v>
                </c:pt>
                <c:pt idx="47938">
                  <c:v>21382</c:v>
                </c:pt>
                <c:pt idx="47939">
                  <c:v>21382</c:v>
                </c:pt>
                <c:pt idx="47940">
                  <c:v>21381</c:v>
                </c:pt>
                <c:pt idx="47941">
                  <c:v>21381</c:v>
                </c:pt>
                <c:pt idx="47942">
                  <c:v>21381</c:v>
                </c:pt>
                <c:pt idx="47943">
                  <c:v>21381</c:v>
                </c:pt>
                <c:pt idx="47944">
                  <c:v>21380</c:v>
                </c:pt>
                <c:pt idx="47945">
                  <c:v>21380</c:v>
                </c:pt>
                <c:pt idx="47946">
                  <c:v>21380</c:v>
                </c:pt>
                <c:pt idx="47947">
                  <c:v>21379</c:v>
                </c:pt>
                <c:pt idx="47948">
                  <c:v>21379</c:v>
                </c:pt>
                <c:pt idx="47949">
                  <c:v>21379</c:v>
                </c:pt>
                <c:pt idx="47950">
                  <c:v>21378</c:v>
                </c:pt>
                <c:pt idx="47951">
                  <c:v>21378</c:v>
                </c:pt>
                <c:pt idx="47952">
                  <c:v>21378</c:v>
                </c:pt>
                <c:pt idx="47953">
                  <c:v>21377</c:v>
                </c:pt>
                <c:pt idx="47954">
                  <c:v>21377</c:v>
                </c:pt>
                <c:pt idx="47955">
                  <c:v>21377</c:v>
                </c:pt>
                <c:pt idx="47956">
                  <c:v>21376</c:v>
                </c:pt>
                <c:pt idx="47957">
                  <c:v>21376</c:v>
                </c:pt>
                <c:pt idx="47958">
                  <c:v>21376</c:v>
                </c:pt>
                <c:pt idx="47959">
                  <c:v>21376</c:v>
                </c:pt>
                <c:pt idx="47960">
                  <c:v>21376</c:v>
                </c:pt>
                <c:pt idx="47961">
                  <c:v>21376</c:v>
                </c:pt>
                <c:pt idx="47962">
                  <c:v>21376</c:v>
                </c:pt>
                <c:pt idx="47963">
                  <c:v>21375</c:v>
                </c:pt>
                <c:pt idx="47964">
                  <c:v>21374</c:v>
                </c:pt>
                <c:pt idx="47965">
                  <c:v>21373</c:v>
                </c:pt>
                <c:pt idx="47966">
                  <c:v>21373</c:v>
                </c:pt>
                <c:pt idx="47967">
                  <c:v>21373</c:v>
                </c:pt>
                <c:pt idx="47968">
                  <c:v>21373</c:v>
                </c:pt>
                <c:pt idx="47969">
                  <c:v>21373</c:v>
                </c:pt>
                <c:pt idx="47970">
                  <c:v>21372</c:v>
                </c:pt>
                <c:pt idx="47971">
                  <c:v>21372</c:v>
                </c:pt>
                <c:pt idx="47972">
                  <c:v>21372</c:v>
                </c:pt>
                <c:pt idx="47973">
                  <c:v>21371</c:v>
                </c:pt>
                <c:pt idx="47974">
                  <c:v>21371</c:v>
                </c:pt>
                <c:pt idx="47975">
                  <c:v>21369</c:v>
                </c:pt>
                <c:pt idx="47976">
                  <c:v>21369</c:v>
                </c:pt>
                <c:pt idx="47977">
                  <c:v>21369</c:v>
                </c:pt>
                <c:pt idx="47978">
                  <c:v>21369</c:v>
                </c:pt>
                <c:pt idx="47979">
                  <c:v>21368</c:v>
                </c:pt>
                <c:pt idx="47980">
                  <c:v>21367</c:v>
                </c:pt>
                <c:pt idx="47981">
                  <c:v>21367</c:v>
                </c:pt>
                <c:pt idx="47982">
                  <c:v>21367</c:v>
                </c:pt>
                <c:pt idx="47983">
                  <c:v>21367</c:v>
                </c:pt>
                <c:pt idx="47984">
                  <c:v>21366</c:v>
                </c:pt>
                <c:pt idx="47985">
                  <c:v>21366</c:v>
                </c:pt>
                <c:pt idx="47986">
                  <c:v>21366</c:v>
                </c:pt>
                <c:pt idx="47987">
                  <c:v>21365</c:v>
                </c:pt>
                <c:pt idx="47988">
                  <c:v>21365</c:v>
                </c:pt>
                <c:pt idx="47989">
                  <c:v>21365</c:v>
                </c:pt>
                <c:pt idx="47990">
                  <c:v>21364</c:v>
                </c:pt>
                <c:pt idx="47991">
                  <c:v>21364</c:v>
                </c:pt>
                <c:pt idx="47992">
                  <c:v>21363</c:v>
                </c:pt>
                <c:pt idx="47993">
                  <c:v>21363</c:v>
                </c:pt>
                <c:pt idx="47994">
                  <c:v>21363</c:v>
                </c:pt>
                <c:pt idx="47995">
                  <c:v>21362</c:v>
                </c:pt>
                <c:pt idx="47996">
                  <c:v>21362</c:v>
                </c:pt>
                <c:pt idx="47997">
                  <c:v>21362</c:v>
                </c:pt>
                <c:pt idx="47998">
                  <c:v>21362</c:v>
                </c:pt>
                <c:pt idx="47999">
                  <c:v>21361</c:v>
                </c:pt>
                <c:pt idx="48000">
                  <c:v>21361</c:v>
                </c:pt>
                <c:pt idx="48001">
                  <c:v>21361</c:v>
                </c:pt>
                <c:pt idx="48002">
                  <c:v>21360</c:v>
                </c:pt>
                <c:pt idx="48003">
                  <c:v>21360</c:v>
                </c:pt>
                <c:pt idx="48004">
                  <c:v>21360</c:v>
                </c:pt>
                <c:pt idx="48005">
                  <c:v>21359</c:v>
                </c:pt>
                <c:pt idx="48006">
                  <c:v>21359</c:v>
                </c:pt>
                <c:pt idx="48007">
                  <c:v>21358</c:v>
                </c:pt>
                <c:pt idx="48008">
                  <c:v>21358</c:v>
                </c:pt>
                <c:pt idx="48009">
                  <c:v>21358</c:v>
                </c:pt>
                <c:pt idx="48010">
                  <c:v>21356</c:v>
                </c:pt>
                <c:pt idx="48011">
                  <c:v>21356</c:v>
                </c:pt>
                <c:pt idx="48012">
                  <c:v>21355</c:v>
                </c:pt>
                <c:pt idx="48013">
                  <c:v>21355</c:v>
                </c:pt>
                <c:pt idx="48014">
                  <c:v>21355</c:v>
                </c:pt>
                <c:pt idx="48015">
                  <c:v>21354</c:v>
                </c:pt>
                <c:pt idx="48016">
                  <c:v>21353</c:v>
                </c:pt>
                <c:pt idx="48017">
                  <c:v>21353</c:v>
                </c:pt>
                <c:pt idx="48018">
                  <c:v>21353</c:v>
                </c:pt>
                <c:pt idx="48019">
                  <c:v>21353</c:v>
                </c:pt>
                <c:pt idx="48020">
                  <c:v>21352</c:v>
                </c:pt>
                <c:pt idx="48021">
                  <c:v>21352</c:v>
                </c:pt>
                <c:pt idx="48022">
                  <c:v>21352</c:v>
                </c:pt>
                <c:pt idx="48023">
                  <c:v>21351</c:v>
                </c:pt>
                <c:pt idx="48024">
                  <c:v>21351</c:v>
                </c:pt>
                <c:pt idx="48025">
                  <c:v>21351</c:v>
                </c:pt>
                <c:pt idx="48026">
                  <c:v>21351</c:v>
                </c:pt>
                <c:pt idx="48027">
                  <c:v>21351</c:v>
                </c:pt>
                <c:pt idx="48028">
                  <c:v>21350</c:v>
                </c:pt>
                <c:pt idx="48029">
                  <c:v>21350</c:v>
                </c:pt>
                <c:pt idx="48030">
                  <c:v>21350</c:v>
                </c:pt>
                <c:pt idx="48031">
                  <c:v>21350</c:v>
                </c:pt>
                <c:pt idx="48032">
                  <c:v>21349</c:v>
                </c:pt>
                <c:pt idx="48033">
                  <c:v>21348</c:v>
                </c:pt>
                <c:pt idx="48034">
                  <c:v>21348</c:v>
                </c:pt>
                <c:pt idx="48035">
                  <c:v>21347</c:v>
                </c:pt>
                <c:pt idx="48036">
                  <c:v>21346</c:v>
                </c:pt>
                <c:pt idx="48037">
                  <c:v>21346</c:v>
                </c:pt>
                <c:pt idx="48038">
                  <c:v>21346</c:v>
                </c:pt>
                <c:pt idx="48039">
                  <c:v>21345</c:v>
                </c:pt>
                <c:pt idx="48040">
                  <c:v>21345</c:v>
                </c:pt>
                <c:pt idx="48041">
                  <c:v>21344</c:v>
                </c:pt>
                <c:pt idx="48042">
                  <c:v>21342</c:v>
                </c:pt>
                <c:pt idx="48043">
                  <c:v>21342</c:v>
                </c:pt>
                <c:pt idx="48044">
                  <c:v>21342</c:v>
                </c:pt>
                <c:pt idx="48045">
                  <c:v>21341</c:v>
                </c:pt>
                <c:pt idx="48046">
                  <c:v>21340</c:v>
                </c:pt>
                <c:pt idx="48047">
                  <c:v>21340</c:v>
                </c:pt>
                <c:pt idx="48048">
                  <c:v>21340</c:v>
                </c:pt>
                <c:pt idx="48049">
                  <c:v>21340</c:v>
                </c:pt>
                <c:pt idx="48050">
                  <c:v>21340</c:v>
                </c:pt>
                <c:pt idx="48051">
                  <c:v>21339</c:v>
                </c:pt>
                <c:pt idx="48052">
                  <c:v>21339</c:v>
                </c:pt>
                <c:pt idx="48053">
                  <c:v>21339</c:v>
                </c:pt>
                <c:pt idx="48054">
                  <c:v>21338</c:v>
                </c:pt>
                <c:pt idx="48055">
                  <c:v>21337</c:v>
                </c:pt>
                <c:pt idx="48056">
                  <c:v>21335</c:v>
                </c:pt>
                <c:pt idx="48057">
                  <c:v>21335</c:v>
                </c:pt>
                <c:pt idx="48058">
                  <c:v>21335</c:v>
                </c:pt>
                <c:pt idx="48059">
                  <c:v>21335</c:v>
                </c:pt>
                <c:pt idx="48060">
                  <c:v>21334</c:v>
                </c:pt>
                <c:pt idx="48061">
                  <c:v>21334</c:v>
                </c:pt>
                <c:pt idx="48062">
                  <c:v>21334</c:v>
                </c:pt>
                <c:pt idx="48063">
                  <c:v>21334</c:v>
                </c:pt>
                <c:pt idx="48064">
                  <c:v>21333</c:v>
                </c:pt>
                <c:pt idx="48065">
                  <c:v>21333</c:v>
                </c:pt>
                <c:pt idx="48066">
                  <c:v>21333</c:v>
                </c:pt>
                <c:pt idx="48067">
                  <c:v>21333</c:v>
                </c:pt>
                <c:pt idx="48068">
                  <c:v>21332</c:v>
                </c:pt>
                <c:pt idx="48069">
                  <c:v>21332</c:v>
                </c:pt>
                <c:pt idx="48070">
                  <c:v>21331</c:v>
                </c:pt>
                <c:pt idx="48071">
                  <c:v>21331</c:v>
                </c:pt>
                <c:pt idx="48072">
                  <c:v>21331</c:v>
                </c:pt>
                <c:pt idx="48073">
                  <c:v>21331</c:v>
                </c:pt>
                <c:pt idx="48074">
                  <c:v>21329</c:v>
                </c:pt>
                <c:pt idx="48075">
                  <c:v>21329</c:v>
                </c:pt>
                <c:pt idx="48076">
                  <c:v>21329</c:v>
                </c:pt>
                <c:pt idx="48077">
                  <c:v>21329</c:v>
                </c:pt>
                <c:pt idx="48078">
                  <c:v>21328</c:v>
                </c:pt>
                <c:pt idx="48079">
                  <c:v>21328</c:v>
                </c:pt>
                <c:pt idx="48080">
                  <c:v>21328</c:v>
                </c:pt>
                <c:pt idx="48081">
                  <c:v>21327</c:v>
                </c:pt>
                <c:pt idx="48082">
                  <c:v>21326</c:v>
                </c:pt>
                <c:pt idx="48083">
                  <c:v>21326</c:v>
                </c:pt>
                <c:pt idx="48084">
                  <c:v>21325</c:v>
                </c:pt>
                <c:pt idx="48085">
                  <c:v>21323</c:v>
                </c:pt>
                <c:pt idx="48086">
                  <c:v>21323</c:v>
                </c:pt>
                <c:pt idx="48087">
                  <c:v>21323</c:v>
                </c:pt>
                <c:pt idx="48088">
                  <c:v>21323</c:v>
                </c:pt>
                <c:pt idx="48089">
                  <c:v>21322</c:v>
                </c:pt>
                <c:pt idx="48090">
                  <c:v>21322</c:v>
                </c:pt>
                <c:pt idx="48091">
                  <c:v>21322</c:v>
                </c:pt>
                <c:pt idx="48092">
                  <c:v>21322</c:v>
                </c:pt>
                <c:pt idx="48093">
                  <c:v>21321</c:v>
                </c:pt>
                <c:pt idx="48094">
                  <c:v>21321</c:v>
                </c:pt>
                <c:pt idx="48095">
                  <c:v>21321</c:v>
                </c:pt>
                <c:pt idx="48096">
                  <c:v>21319</c:v>
                </c:pt>
                <c:pt idx="48097">
                  <c:v>21319</c:v>
                </c:pt>
                <c:pt idx="48098">
                  <c:v>21318</c:v>
                </c:pt>
                <c:pt idx="48099">
                  <c:v>21318</c:v>
                </c:pt>
                <c:pt idx="48100">
                  <c:v>21318</c:v>
                </c:pt>
                <c:pt idx="48101">
                  <c:v>21318</c:v>
                </c:pt>
                <c:pt idx="48102">
                  <c:v>21317</c:v>
                </c:pt>
                <c:pt idx="48103">
                  <c:v>21317</c:v>
                </c:pt>
                <c:pt idx="48104">
                  <c:v>21317</c:v>
                </c:pt>
                <c:pt idx="48105">
                  <c:v>21316</c:v>
                </c:pt>
                <c:pt idx="48106">
                  <c:v>21316</c:v>
                </c:pt>
                <c:pt idx="48107">
                  <c:v>21315</c:v>
                </c:pt>
                <c:pt idx="48108">
                  <c:v>21315</c:v>
                </c:pt>
                <c:pt idx="48109">
                  <c:v>21315</c:v>
                </c:pt>
                <c:pt idx="48110">
                  <c:v>21314</c:v>
                </c:pt>
                <c:pt idx="48111">
                  <c:v>21314</c:v>
                </c:pt>
                <c:pt idx="48112">
                  <c:v>21314</c:v>
                </c:pt>
                <c:pt idx="48113">
                  <c:v>21314</c:v>
                </c:pt>
                <c:pt idx="48114">
                  <c:v>21313</c:v>
                </c:pt>
                <c:pt idx="48115">
                  <c:v>21313</c:v>
                </c:pt>
                <c:pt idx="48116">
                  <c:v>21312</c:v>
                </c:pt>
                <c:pt idx="48117">
                  <c:v>21312</c:v>
                </c:pt>
                <c:pt idx="48118">
                  <c:v>21311</c:v>
                </c:pt>
                <c:pt idx="48119">
                  <c:v>21311</c:v>
                </c:pt>
                <c:pt idx="48120">
                  <c:v>21311</c:v>
                </c:pt>
                <c:pt idx="48121">
                  <c:v>21310</c:v>
                </c:pt>
                <c:pt idx="48122">
                  <c:v>21310</c:v>
                </c:pt>
                <c:pt idx="48123">
                  <c:v>21310</c:v>
                </c:pt>
                <c:pt idx="48124">
                  <c:v>21309</c:v>
                </c:pt>
                <c:pt idx="48125">
                  <c:v>21309</c:v>
                </c:pt>
                <c:pt idx="48126">
                  <c:v>21309</c:v>
                </c:pt>
                <c:pt idx="48127">
                  <c:v>21308</c:v>
                </c:pt>
                <c:pt idx="48128">
                  <c:v>21308</c:v>
                </c:pt>
                <c:pt idx="48129">
                  <c:v>21308</c:v>
                </c:pt>
                <c:pt idx="48130">
                  <c:v>21308</c:v>
                </c:pt>
                <c:pt idx="48131">
                  <c:v>21308</c:v>
                </c:pt>
                <c:pt idx="48132">
                  <c:v>21307</c:v>
                </c:pt>
                <c:pt idx="48133">
                  <c:v>21307</c:v>
                </c:pt>
                <c:pt idx="48134">
                  <c:v>21307</c:v>
                </c:pt>
                <c:pt idx="48135">
                  <c:v>21307</c:v>
                </c:pt>
                <c:pt idx="48136">
                  <c:v>21306</c:v>
                </c:pt>
                <c:pt idx="48137">
                  <c:v>21306</c:v>
                </c:pt>
                <c:pt idx="48138">
                  <c:v>21306</c:v>
                </c:pt>
                <c:pt idx="48139">
                  <c:v>21305</c:v>
                </c:pt>
                <c:pt idx="48140">
                  <c:v>21305</c:v>
                </c:pt>
                <c:pt idx="48141">
                  <c:v>21304</c:v>
                </c:pt>
                <c:pt idx="48142">
                  <c:v>21304</c:v>
                </c:pt>
                <c:pt idx="48143">
                  <c:v>21304</c:v>
                </c:pt>
                <c:pt idx="48144">
                  <c:v>21304</c:v>
                </c:pt>
                <c:pt idx="48145">
                  <c:v>21304</c:v>
                </c:pt>
                <c:pt idx="48146">
                  <c:v>21300</c:v>
                </c:pt>
                <c:pt idx="48147">
                  <c:v>21300</c:v>
                </c:pt>
                <c:pt idx="48148">
                  <c:v>21299</c:v>
                </c:pt>
                <c:pt idx="48149">
                  <c:v>21299</c:v>
                </c:pt>
                <c:pt idx="48150">
                  <c:v>21299</c:v>
                </c:pt>
                <c:pt idx="48151">
                  <c:v>21298</c:v>
                </c:pt>
                <c:pt idx="48152">
                  <c:v>21297</c:v>
                </c:pt>
                <c:pt idx="48153">
                  <c:v>21297</c:v>
                </c:pt>
                <c:pt idx="48154">
                  <c:v>21297</c:v>
                </c:pt>
                <c:pt idx="48155">
                  <c:v>21297</c:v>
                </c:pt>
                <c:pt idx="48156">
                  <c:v>21296</c:v>
                </c:pt>
                <c:pt idx="48157">
                  <c:v>21296</c:v>
                </c:pt>
                <c:pt idx="48158">
                  <c:v>21294</c:v>
                </c:pt>
                <c:pt idx="48159">
                  <c:v>21294</c:v>
                </c:pt>
                <c:pt idx="48160">
                  <c:v>21293</c:v>
                </c:pt>
                <c:pt idx="48161">
                  <c:v>21293</c:v>
                </c:pt>
                <c:pt idx="48162">
                  <c:v>21293</c:v>
                </c:pt>
                <c:pt idx="48163">
                  <c:v>21293</c:v>
                </c:pt>
                <c:pt idx="48164">
                  <c:v>21292</c:v>
                </c:pt>
                <c:pt idx="48165">
                  <c:v>21292</c:v>
                </c:pt>
                <c:pt idx="48166">
                  <c:v>21292</c:v>
                </c:pt>
                <c:pt idx="48167">
                  <c:v>21292</c:v>
                </c:pt>
                <c:pt idx="48168">
                  <c:v>21292</c:v>
                </c:pt>
                <c:pt idx="48169">
                  <c:v>21291</c:v>
                </c:pt>
                <c:pt idx="48170">
                  <c:v>21290</c:v>
                </c:pt>
                <c:pt idx="48171">
                  <c:v>21290</c:v>
                </c:pt>
                <c:pt idx="48172">
                  <c:v>21289</c:v>
                </c:pt>
                <c:pt idx="48173">
                  <c:v>21289</c:v>
                </c:pt>
                <c:pt idx="48174">
                  <c:v>21287</c:v>
                </c:pt>
                <c:pt idx="48175">
                  <c:v>21287</c:v>
                </c:pt>
                <c:pt idx="48176">
                  <c:v>21286</c:v>
                </c:pt>
                <c:pt idx="48177">
                  <c:v>21286</c:v>
                </c:pt>
                <c:pt idx="48178">
                  <c:v>21286</c:v>
                </c:pt>
                <c:pt idx="48179">
                  <c:v>21286</c:v>
                </c:pt>
                <c:pt idx="48180">
                  <c:v>21285</c:v>
                </c:pt>
                <c:pt idx="48181">
                  <c:v>21285</c:v>
                </c:pt>
                <c:pt idx="48182">
                  <c:v>21285</c:v>
                </c:pt>
                <c:pt idx="48183">
                  <c:v>21285</c:v>
                </c:pt>
                <c:pt idx="48184">
                  <c:v>21284</c:v>
                </c:pt>
                <c:pt idx="48185">
                  <c:v>21284</c:v>
                </c:pt>
                <c:pt idx="48186">
                  <c:v>21284</c:v>
                </c:pt>
                <c:pt idx="48187">
                  <c:v>21283</c:v>
                </c:pt>
                <c:pt idx="48188">
                  <c:v>21283</c:v>
                </c:pt>
                <c:pt idx="48189">
                  <c:v>21282</c:v>
                </c:pt>
                <c:pt idx="48190">
                  <c:v>21282</c:v>
                </c:pt>
                <c:pt idx="48191">
                  <c:v>21281</c:v>
                </c:pt>
                <c:pt idx="48192">
                  <c:v>21280</c:v>
                </c:pt>
                <c:pt idx="48193">
                  <c:v>21280</c:v>
                </c:pt>
                <c:pt idx="48194">
                  <c:v>21280</c:v>
                </c:pt>
                <c:pt idx="48195">
                  <c:v>21279</c:v>
                </c:pt>
                <c:pt idx="48196">
                  <c:v>21279</c:v>
                </c:pt>
                <c:pt idx="48197">
                  <c:v>21279</c:v>
                </c:pt>
                <c:pt idx="48198">
                  <c:v>21278</c:v>
                </c:pt>
                <c:pt idx="48199">
                  <c:v>21278</c:v>
                </c:pt>
                <c:pt idx="48200">
                  <c:v>21278</c:v>
                </c:pt>
                <c:pt idx="48201">
                  <c:v>21278</c:v>
                </c:pt>
                <c:pt idx="48202">
                  <c:v>21277</c:v>
                </c:pt>
                <c:pt idx="48203">
                  <c:v>21277</c:v>
                </c:pt>
                <c:pt idx="48204">
                  <c:v>21277</c:v>
                </c:pt>
                <c:pt idx="48205">
                  <c:v>21276</c:v>
                </c:pt>
                <c:pt idx="48206">
                  <c:v>21276</c:v>
                </c:pt>
                <c:pt idx="48207">
                  <c:v>21275</c:v>
                </c:pt>
                <c:pt idx="48208">
                  <c:v>21275</c:v>
                </c:pt>
                <c:pt idx="48209">
                  <c:v>21274</c:v>
                </c:pt>
                <c:pt idx="48210">
                  <c:v>21274</c:v>
                </c:pt>
                <c:pt idx="48211">
                  <c:v>21273</c:v>
                </c:pt>
                <c:pt idx="48212">
                  <c:v>21273</c:v>
                </c:pt>
                <c:pt idx="48213">
                  <c:v>21273</c:v>
                </c:pt>
                <c:pt idx="48214">
                  <c:v>21272</c:v>
                </c:pt>
                <c:pt idx="48215">
                  <c:v>21271</c:v>
                </c:pt>
                <c:pt idx="48216">
                  <c:v>21270</c:v>
                </c:pt>
                <c:pt idx="48217">
                  <c:v>21269</c:v>
                </c:pt>
                <c:pt idx="48218">
                  <c:v>21269</c:v>
                </c:pt>
                <c:pt idx="48219">
                  <c:v>21269</c:v>
                </c:pt>
                <c:pt idx="48220">
                  <c:v>21269</c:v>
                </c:pt>
                <c:pt idx="48221">
                  <c:v>21269</c:v>
                </c:pt>
                <c:pt idx="48222">
                  <c:v>21268</c:v>
                </c:pt>
                <c:pt idx="48223">
                  <c:v>21268</c:v>
                </c:pt>
                <c:pt idx="48224">
                  <c:v>21268</c:v>
                </c:pt>
                <c:pt idx="48225">
                  <c:v>21267</c:v>
                </c:pt>
                <c:pt idx="48226">
                  <c:v>21267</c:v>
                </c:pt>
                <c:pt idx="48227">
                  <c:v>21267</c:v>
                </c:pt>
                <c:pt idx="48228">
                  <c:v>21266</c:v>
                </c:pt>
                <c:pt idx="48229">
                  <c:v>21265</c:v>
                </c:pt>
                <c:pt idx="48230">
                  <c:v>21265</c:v>
                </c:pt>
                <c:pt idx="48231">
                  <c:v>21264</c:v>
                </c:pt>
                <c:pt idx="48232">
                  <c:v>21264</c:v>
                </c:pt>
                <c:pt idx="48233">
                  <c:v>21263</c:v>
                </c:pt>
                <c:pt idx="48234">
                  <c:v>21263</c:v>
                </c:pt>
                <c:pt idx="48235">
                  <c:v>21263</c:v>
                </c:pt>
                <c:pt idx="48236">
                  <c:v>21263</c:v>
                </c:pt>
                <c:pt idx="48237">
                  <c:v>21262</c:v>
                </c:pt>
                <c:pt idx="48238">
                  <c:v>21261</c:v>
                </c:pt>
                <c:pt idx="48239">
                  <c:v>21261</c:v>
                </c:pt>
                <c:pt idx="48240">
                  <c:v>21261</c:v>
                </c:pt>
                <c:pt idx="48241">
                  <c:v>21261</c:v>
                </c:pt>
                <c:pt idx="48242">
                  <c:v>21260</c:v>
                </c:pt>
                <c:pt idx="48243">
                  <c:v>21259</c:v>
                </c:pt>
                <c:pt idx="48244">
                  <c:v>21259</c:v>
                </c:pt>
                <c:pt idx="48245">
                  <c:v>21259</c:v>
                </c:pt>
                <c:pt idx="48246">
                  <c:v>21258</c:v>
                </c:pt>
                <c:pt idx="48247">
                  <c:v>21258</c:v>
                </c:pt>
                <c:pt idx="48248">
                  <c:v>21257</c:v>
                </c:pt>
                <c:pt idx="48249">
                  <c:v>21257</c:v>
                </c:pt>
                <c:pt idx="48250">
                  <c:v>21257</c:v>
                </c:pt>
                <c:pt idx="48251">
                  <c:v>21257</c:v>
                </c:pt>
                <c:pt idx="48252">
                  <c:v>21257</c:v>
                </c:pt>
                <c:pt idx="48253">
                  <c:v>21257</c:v>
                </c:pt>
                <c:pt idx="48254">
                  <c:v>21256</c:v>
                </c:pt>
                <c:pt idx="48255">
                  <c:v>21255</c:v>
                </c:pt>
                <c:pt idx="48256">
                  <c:v>21254</c:v>
                </c:pt>
                <c:pt idx="48257">
                  <c:v>21254</c:v>
                </c:pt>
                <c:pt idx="48258">
                  <c:v>21253</c:v>
                </c:pt>
                <c:pt idx="48259">
                  <c:v>21252</c:v>
                </c:pt>
                <c:pt idx="48260">
                  <c:v>21252</c:v>
                </c:pt>
                <c:pt idx="48261">
                  <c:v>21252</c:v>
                </c:pt>
                <c:pt idx="48262">
                  <c:v>21251</c:v>
                </c:pt>
                <c:pt idx="48263">
                  <c:v>21250</c:v>
                </c:pt>
                <c:pt idx="48264">
                  <c:v>21250</c:v>
                </c:pt>
                <c:pt idx="48265">
                  <c:v>21250</c:v>
                </c:pt>
                <c:pt idx="48266">
                  <c:v>21249</c:v>
                </c:pt>
                <c:pt idx="48267">
                  <c:v>21249</c:v>
                </c:pt>
                <c:pt idx="48268">
                  <c:v>21249</c:v>
                </c:pt>
                <c:pt idx="48269">
                  <c:v>21249</c:v>
                </c:pt>
                <c:pt idx="48270">
                  <c:v>21248</c:v>
                </c:pt>
                <c:pt idx="48271">
                  <c:v>21248</c:v>
                </c:pt>
                <c:pt idx="48272">
                  <c:v>21247</c:v>
                </c:pt>
                <c:pt idx="48273">
                  <c:v>21247</c:v>
                </c:pt>
                <c:pt idx="48274">
                  <c:v>21247</c:v>
                </c:pt>
                <c:pt idx="48275">
                  <c:v>21247</c:v>
                </c:pt>
                <c:pt idx="48276">
                  <c:v>21247</c:v>
                </c:pt>
                <c:pt idx="48277">
                  <c:v>21246</c:v>
                </c:pt>
                <c:pt idx="48278">
                  <c:v>21246</c:v>
                </c:pt>
                <c:pt idx="48279">
                  <c:v>21246</c:v>
                </c:pt>
                <c:pt idx="48280">
                  <c:v>21245</c:v>
                </c:pt>
                <c:pt idx="48281">
                  <c:v>21245</c:v>
                </c:pt>
                <c:pt idx="48282">
                  <c:v>21245</c:v>
                </c:pt>
                <c:pt idx="48283">
                  <c:v>21244</c:v>
                </c:pt>
                <c:pt idx="48284">
                  <c:v>21244</c:v>
                </c:pt>
                <c:pt idx="48285">
                  <c:v>21243</c:v>
                </c:pt>
                <c:pt idx="48286">
                  <c:v>21243</c:v>
                </c:pt>
                <c:pt idx="48287">
                  <c:v>21243</c:v>
                </c:pt>
                <c:pt idx="48288">
                  <c:v>21241</c:v>
                </c:pt>
                <c:pt idx="48289">
                  <c:v>21240</c:v>
                </c:pt>
                <c:pt idx="48290">
                  <c:v>21240</c:v>
                </c:pt>
                <c:pt idx="48291">
                  <c:v>21239</c:v>
                </c:pt>
                <c:pt idx="48292">
                  <c:v>21239</c:v>
                </c:pt>
                <c:pt idx="48293">
                  <c:v>21239</c:v>
                </c:pt>
                <c:pt idx="48294">
                  <c:v>21239</c:v>
                </c:pt>
                <c:pt idx="48295">
                  <c:v>21239</c:v>
                </c:pt>
                <c:pt idx="48296">
                  <c:v>21238</c:v>
                </c:pt>
                <c:pt idx="48297">
                  <c:v>21237</c:v>
                </c:pt>
                <c:pt idx="48298">
                  <c:v>21237</c:v>
                </c:pt>
                <c:pt idx="48299">
                  <c:v>21237</c:v>
                </c:pt>
                <c:pt idx="48300">
                  <c:v>21237</c:v>
                </c:pt>
                <c:pt idx="48301">
                  <c:v>21236</c:v>
                </c:pt>
                <c:pt idx="48302">
                  <c:v>21234</c:v>
                </c:pt>
                <c:pt idx="48303">
                  <c:v>21234</c:v>
                </c:pt>
                <c:pt idx="48304">
                  <c:v>21234</c:v>
                </c:pt>
                <c:pt idx="48305">
                  <c:v>21234</c:v>
                </c:pt>
                <c:pt idx="48306">
                  <c:v>21234</c:v>
                </c:pt>
                <c:pt idx="48307">
                  <c:v>21233</c:v>
                </c:pt>
                <c:pt idx="48308">
                  <c:v>21232</c:v>
                </c:pt>
                <c:pt idx="48309">
                  <c:v>21232</c:v>
                </c:pt>
                <c:pt idx="48310">
                  <c:v>21231</c:v>
                </c:pt>
                <c:pt idx="48311">
                  <c:v>21231</c:v>
                </c:pt>
                <c:pt idx="48312">
                  <c:v>21230</c:v>
                </c:pt>
                <c:pt idx="48313">
                  <c:v>21230</c:v>
                </c:pt>
                <c:pt idx="48314">
                  <c:v>21229</c:v>
                </c:pt>
                <c:pt idx="48315">
                  <c:v>21229</c:v>
                </c:pt>
                <c:pt idx="48316">
                  <c:v>21227</c:v>
                </c:pt>
                <c:pt idx="48317">
                  <c:v>21227</c:v>
                </c:pt>
                <c:pt idx="48318">
                  <c:v>21227</c:v>
                </c:pt>
                <c:pt idx="48319">
                  <c:v>21227</c:v>
                </c:pt>
                <c:pt idx="48320">
                  <c:v>21226</c:v>
                </c:pt>
                <c:pt idx="48321">
                  <c:v>21226</c:v>
                </c:pt>
                <c:pt idx="48322">
                  <c:v>21225</c:v>
                </c:pt>
                <c:pt idx="48323">
                  <c:v>21225</c:v>
                </c:pt>
                <c:pt idx="48324">
                  <c:v>21224</c:v>
                </c:pt>
                <c:pt idx="48325">
                  <c:v>21224</c:v>
                </c:pt>
                <c:pt idx="48326">
                  <c:v>21224</c:v>
                </c:pt>
                <c:pt idx="48327">
                  <c:v>21223</c:v>
                </c:pt>
                <c:pt idx="48328">
                  <c:v>21223</c:v>
                </c:pt>
                <c:pt idx="48329">
                  <c:v>21222</c:v>
                </c:pt>
                <c:pt idx="48330">
                  <c:v>21222</c:v>
                </c:pt>
                <c:pt idx="48331">
                  <c:v>21221</c:v>
                </c:pt>
                <c:pt idx="48332">
                  <c:v>21220</c:v>
                </c:pt>
                <c:pt idx="48333">
                  <c:v>21220</c:v>
                </c:pt>
                <c:pt idx="48334">
                  <c:v>21220</c:v>
                </c:pt>
                <c:pt idx="48335">
                  <c:v>21220</c:v>
                </c:pt>
                <c:pt idx="48336">
                  <c:v>21219</c:v>
                </c:pt>
                <c:pt idx="48337">
                  <c:v>21219</c:v>
                </c:pt>
                <c:pt idx="48338">
                  <c:v>21219</c:v>
                </c:pt>
                <c:pt idx="48339">
                  <c:v>21219</c:v>
                </c:pt>
                <c:pt idx="48340">
                  <c:v>21218</c:v>
                </c:pt>
                <c:pt idx="48341">
                  <c:v>21218</c:v>
                </c:pt>
                <c:pt idx="48342">
                  <c:v>21218</c:v>
                </c:pt>
                <c:pt idx="48343">
                  <c:v>21218</c:v>
                </c:pt>
                <c:pt idx="48344">
                  <c:v>21218</c:v>
                </c:pt>
                <c:pt idx="48345">
                  <c:v>21217</c:v>
                </c:pt>
                <c:pt idx="48346">
                  <c:v>21217</c:v>
                </c:pt>
                <c:pt idx="48347">
                  <c:v>21217</c:v>
                </c:pt>
                <c:pt idx="48348">
                  <c:v>21217</c:v>
                </c:pt>
                <c:pt idx="48349">
                  <c:v>21217</c:v>
                </c:pt>
                <c:pt idx="48350">
                  <c:v>21217</c:v>
                </c:pt>
                <c:pt idx="48351">
                  <c:v>21217</c:v>
                </c:pt>
                <c:pt idx="48352">
                  <c:v>21217</c:v>
                </c:pt>
                <c:pt idx="48353">
                  <c:v>21216</c:v>
                </c:pt>
                <c:pt idx="48354">
                  <c:v>21215</c:v>
                </c:pt>
                <c:pt idx="48355">
                  <c:v>21215</c:v>
                </c:pt>
                <c:pt idx="48356">
                  <c:v>21213</c:v>
                </c:pt>
                <c:pt idx="48357">
                  <c:v>21213</c:v>
                </c:pt>
                <c:pt idx="48358">
                  <c:v>21213</c:v>
                </c:pt>
                <c:pt idx="48359">
                  <c:v>21212</c:v>
                </c:pt>
                <c:pt idx="48360">
                  <c:v>21212</c:v>
                </c:pt>
                <c:pt idx="48361">
                  <c:v>21212</c:v>
                </c:pt>
                <c:pt idx="48362">
                  <c:v>21211</c:v>
                </c:pt>
                <c:pt idx="48363">
                  <c:v>21211</c:v>
                </c:pt>
                <c:pt idx="48364">
                  <c:v>21211</c:v>
                </c:pt>
                <c:pt idx="48365">
                  <c:v>21210</c:v>
                </c:pt>
                <c:pt idx="48366">
                  <c:v>21210</c:v>
                </c:pt>
                <c:pt idx="48367">
                  <c:v>21209</c:v>
                </c:pt>
                <c:pt idx="48368">
                  <c:v>21209</c:v>
                </c:pt>
                <c:pt idx="48369">
                  <c:v>21209</c:v>
                </c:pt>
                <c:pt idx="48370">
                  <c:v>21208</c:v>
                </c:pt>
                <c:pt idx="48371">
                  <c:v>21208</c:v>
                </c:pt>
                <c:pt idx="48372">
                  <c:v>21208</c:v>
                </c:pt>
                <c:pt idx="48373">
                  <c:v>21208</c:v>
                </c:pt>
                <c:pt idx="48374">
                  <c:v>21208</c:v>
                </c:pt>
                <c:pt idx="48375">
                  <c:v>21207</c:v>
                </c:pt>
                <c:pt idx="48376">
                  <c:v>21207</c:v>
                </c:pt>
                <c:pt idx="48377">
                  <c:v>21206</c:v>
                </c:pt>
                <c:pt idx="48378">
                  <c:v>21206</c:v>
                </c:pt>
                <c:pt idx="48379">
                  <c:v>21206</c:v>
                </c:pt>
                <c:pt idx="48380">
                  <c:v>21205</c:v>
                </c:pt>
                <c:pt idx="48381">
                  <c:v>21205</c:v>
                </c:pt>
                <c:pt idx="48382">
                  <c:v>21204</c:v>
                </c:pt>
                <c:pt idx="48383">
                  <c:v>21204</c:v>
                </c:pt>
                <c:pt idx="48384">
                  <c:v>21203</c:v>
                </c:pt>
                <c:pt idx="48385">
                  <c:v>21203</c:v>
                </c:pt>
                <c:pt idx="48386">
                  <c:v>21203</c:v>
                </c:pt>
                <c:pt idx="48387">
                  <c:v>21202</c:v>
                </c:pt>
                <c:pt idx="48388">
                  <c:v>21202</c:v>
                </c:pt>
                <c:pt idx="48389">
                  <c:v>21202</c:v>
                </c:pt>
                <c:pt idx="48390">
                  <c:v>21202</c:v>
                </c:pt>
                <c:pt idx="48391">
                  <c:v>21202</c:v>
                </c:pt>
                <c:pt idx="48392">
                  <c:v>21202</c:v>
                </c:pt>
                <c:pt idx="48393">
                  <c:v>21202</c:v>
                </c:pt>
                <c:pt idx="48394">
                  <c:v>21201</c:v>
                </c:pt>
                <c:pt idx="48395">
                  <c:v>21200</c:v>
                </c:pt>
                <c:pt idx="48396">
                  <c:v>21200</c:v>
                </c:pt>
                <c:pt idx="48397">
                  <c:v>21200</c:v>
                </c:pt>
                <c:pt idx="48398">
                  <c:v>21200</c:v>
                </c:pt>
                <c:pt idx="48399">
                  <c:v>21200</c:v>
                </c:pt>
                <c:pt idx="48400">
                  <c:v>21199</c:v>
                </c:pt>
                <c:pt idx="48401">
                  <c:v>21199</c:v>
                </c:pt>
                <c:pt idx="48402">
                  <c:v>21198</c:v>
                </c:pt>
                <c:pt idx="48403">
                  <c:v>21198</c:v>
                </c:pt>
                <c:pt idx="48404">
                  <c:v>21197</c:v>
                </c:pt>
                <c:pt idx="48405">
                  <c:v>21197</c:v>
                </c:pt>
                <c:pt idx="48406">
                  <c:v>21197</c:v>
                </c:pt>
                <c:pt idx="48407">
                  <c:v>21197</c:v>
                </c:pt>
                <c:pt idx="48408">
                  <c:v>21197</c:v>
                </c:pt>
                <c:pt idx="48409">
                  <c:v>21196</c:v>
                </c:pt>
                <c:pt idx="48410">
                  <c:v>21195</c:v>
                </c:pt>
                <c:pt idx="48411">
                  <c:v>21194</c:v>
                </c:pt>
                <c:pt idx="48412">
                  <c:v>21194</c:v>
                </c:pt>
                <c:pt idx="48413">
                  <c:v>21194</c:v>
                </c:pt>
                <c:pt idx="48414">
                  <c:v>21193</c:v>
                </c:pt>
                <c:pt idx="48415">
                  <c:v>21192</c:v>
                </c:pt>
                <c:pt idx="48416">
                  <c:v>21191</c:v>
                </c:pt>
                <c:pt idx="48417">
                  <c:v>21191</c:v>
                </c:pt>
                <c:pt idx="48418">
                  <c:v>21190</c:v>
                </c:pt>
                <c:pt idx="48419">
                  <c:v>21190</c:v>
                </c:pt>
                <c:pt idx="48420">
                  <c:v>21190</c:v>
                </c:pt>
                <c:pt idx="48421">
                  <c:v>21189</c:v>
                </c:pt>
                <c:pt idx="48422">
                  <c:v>21189</c:v>
                </c:pt>
                <c:pt idx="48423">
                  <c:v>21189</c:v>
                </c:pt>
                <c:pt idx="48424">
                  <c:v>21189</c:v>
                </c:pt>
                <c:pt idx="48425">
                  <c:v>21188</c:v>
                </c:pt>
                <c:pt idx="48426">
                  <c:v>21187</c:v>
                </c:pt>
                <c:pt idx="48427">
                  <c:v>21187</c:v>
                </c:pt>
                <c:pt idx="48428">
                  <c:v>21186</c:v>
                </c:pt>
                <c:pt idx="48429">
                  <c:v>21186</c:v>
                </c:pt>
                <c:pt idx="48430">
                  <c:v>21186</c:v>
                </c:pt>
                <c:pt idx="48431">
                  <c:v>21186</c:v>
                </c:pt>
                <c:pt idx="48432">
                  <c:v>21185</c:v>
                </c:pt>
                <c:pt idx="48433">
                  <c:v>21184</c:v>
                </c:pt>
                <c:pt idx="48434">
                  <c:v>21184</c:v>
                </c:pt>
                <c:pt idx="48435">
                  <c:v>21184</c:v>
                </c:pt>
                <c:pt idx="48436">
                  <c:v>21183</c:v>
                </c:pt>
                <c:pt idx="48437">
                  <c:v>21183</c:v>
                </c:pt>
                <c:pt idx="48438">
                  <c:v>21183</c:v>
                </c:pt>
                <c:pt idx="48439">
                  <c:v>21183</c:v>
                </c:pt>
                <c:pt idx="48440">
                  <c:v>21183</c:v>
                </c:pt>
                <c:pt idx="48441">
                  <c:v>21183</c:v>
                </c:pt>
                <c:pt idx="48442">
                  <c:v>21182</c:v>
                </c:pt>
                <c:pt idx="48443">
                  <c:v>21181</c:v>
                </c:pt>
                <c:pt idx="48444">
                  <c:v>21181</c:v>
                </c:pt>
                <c:pt idx="48445">
                  <c:v>21181</c:v>
                </c:pt>
                <c:pt idx="48446">
                  <c:v>21181</c:v>
                </c:pt>
                <c:pt idx="48447">
                  <c:v>21180</c:v>
                </c:pt>
                <c:pt idx="48448">
                  <c:v>21180</c:v>
                </c:pt>
                <c:pt idx="48449">
                  <c:v>21179</c:v>
                </c:pt>
                <c:pt idx="48450">
                  <c:v>21179</c:v>
                </c:pt>
                <c:pt idx="48451">
                  <c:v>21179</c:v>
                </c:pt>
                <c:pt idx="48452">
                  <c:v>21177</c:v>
                </c:pt>
                <c:pt idx="48453">
                  <c:v>21177</c:v>
                </c:pt>
                <c:pt idx="48454">
                  <c:v>21176</c:v>
                </c:pt>
                <c:pt idx="48455">
                  <c:v>21176</c:v>
                </c:pt>
                <c:pt idx="48456">
                  <c:v>21176</c:v>
                </c:pt>
                <c:pt idx="48457">
                  <c:v>21175</c:v>
                </c:pt>
                <c:pt idx="48458">
                  <c:v>21175</c:v>
                </c:pt>
                <c:pt idx="48459">
                  <c:v>21175</c:v>
                </c:pt>
                <c:pt idx="48460">
                  <c:v>21175</c:v>
                </c:pt>
                <c:pt idx="48461">
                  <c:v>21174</c:v>
                </c:pt>
                <c:pt idx="48462">
                  <c:v>21173</c:v>
                </c:pt>
                <c:pt idx="48463">
                  <c:v>21173</c:v>
                </c:pt>
                <c:pt idx="48464">
                  <c:v>21172</c:v>
                </c:pt>
                <c:pt idx="48465">
                  <c:v>21172</c:v>
                </c:pt>
                <c:pt idx="48466">
                  <c:v>21172</c:v>
                </c:pt>
                <c:pt idx="48467">
                  <c:v>21172</c:v>
                </c:pt>
                <c:pt idx="48468">
                  <c:v>21171</c:v>
                </c:pt>
                <c:pt idx="48469">
                  <c:v>21171</c:v>
                </c:pt>
                <c:pt idx="48470">
                  <c:v>21171</c:v>
                </c:pt>
                <c:pt idx="48471">
                  <c:v>21170</c:v>
                </c:pt>
                <c:pt idx="48472">
                  <c:v>21169</c:v>
                </c:pt>
                <c:pt idx="48473">
                  <c:v>21169</c:v>
                </c:pt>
                <c:pt idx="48474">
                  <c:v>21169</c:v>
                </c:pt>
                <c:pt idx="48475">
                  <c:v>21169</c:v>
                </c:pt>
                <c:pt idx="48476">
                  <c:v>21169</c:v>
                </c:pt>
                <c:pt idx="48477">
                  <c:v>21168</c:v>
                </c:pt>
                <c:pt idx="48478">
                  <c:v>21167</c:v>
                </c:pt>
                <c:pt idx="48479">
                  <c:v>21167</c:v>
                </c:pt>
                <c:pt idx="48480">
                  <c:v>21167</c:v>
                </c:pt>
                <c:pt idx="48481">
                  <c:v>21167</c:v>
                </c:pt>
                <c:pt idx="48482">
                  <c:v>21166</c:v>
                </c:pt>
                <c:pt idx="48483">
                  <c:v>21166</c:v>
                </c:pt>
                <c:pt idx="48484">
                  <c:v>21165</c:v>
                </c:pt>
                <c:pt idx="48485">
                  <c:v>21165</c:v>
                </c:pt>
                <c:pt idx="48486">
                  <c:v>21165</c:v>
                </c:pt>
                <c:pt idx="48487">
                  <c:v>21165</c:v>
                </c:pt>
                <c:pt idx="48488">
                  <c:v>21165</c:v>
                </c:pt>
                <c:pt idx="48489">
                  <c:v>21165</c:v>
                </c:pt>
                <c:pt idx="48490">
                  <c:v>21165</c:v>
                </c:pt>
                <c:pt idx="48491">
                  <c:v>21164</c:v>
                </c:pt>
                <c:pt idx="48492">
                  <c:v>21164</c:v>
                </c:pt>
                <c:pt idx="48493">
                  <c:v>21163</c:v>
                </c:pt>
                <c:pt idx="48494">
                  <c:v>21163</c:v>
                </c:pt>
                <c:pt idx="48495">
                  <c:v>21163</c:v>
                </c:pt>
                <c:pt idx="48496">
                  <c:v>21162</c:v>
                </c:pt>
                <c:pt idx="48497">
                  <c:v>21162</c:v>
                </c:pt>
                <c:pt idx="48498">
                  <c:v>21161</c:v>
                </c:pt>
                <c:pt idx="48499">
                  <c:v>21161</c:v>
                </c:pt>
                <c:pt idx="48500">
                  <c:v>21160</c:v>
                </c:pt>
                <c:pt idx="48501">
                  <c:v>21160</c:v>
                </c:pt>
                <c:pt idx="48502">
                  <c:v>21160</c:v>
                </c:pt>
                <c:pt idx="48503">
                  <c:v>21160</c:v>
                </c:pt>
                <c:pt idx="48504">
                  <c:v>21159</c:v>
                </c:pt>
                <c:pt idx="48505">
                  <c:v>21159</c:v>
                </c:pt>
                <c:pt idx="48506">
                  <c:v>21159</c:v>
                </c:pt>
                <c:pt idx="48507">
                  <c:v>21159</c:v>
                </c:pt>
                <c:pt idx="48508">
                  <c:v>21158</c:v>
                </c:pt>
                <c:pt idx="48509">
                  <c:v>21158</c:v>
                </c:pt>
                <c:pt idx="48510">
                  <c:v>21158</c:v>
                </c:pt>
                <c:pt idx="48511">
                  <c:v>21157</c:v>
                </c:pt>
                <c:pt idx="48512">
                  <c:v>21157</c:v>
                </c:pt>
                <c:pt idx="48513">
                  <c:v>21157</c:v>
                </c:pt>
                <c:pt idx="48514">
                  <c:v>21155</c:v>
                </c:pt>
                <c:pt idx="48515">
                  <c:v>21155</c:v>
                </c:pt>
                <c:pt idx="48516">
                  <c:v>21155</c:v>
                </c:pt>
                <c:pt idx="48517">
                  <c:v>21154</c:v>
                </c:pt>
                <c:pt idx="48518">
                  <c:v>21154</c:v>
                </c:pt>
                <c:pt idx="48519">
                  <c:v>21153</c:v>
                </c:pt>
                <c:pt idx="48520">
                  <c:v>21153</c:v>
                </c:pt>
                <c:pt idx="48521">
                  <c:v>21152</c:v>
                </c:pt>
                <c:pt idx="48522">
                  <c:v>21152</c:v>
                </c:pt>
                <c:pt idx="48523">
                  <c:v>21152</c:v>
                </c:pt>
                <c:pt idx="48524">
                  <c:v>21151</c:v>
                </c:pt>
                <c:pt idx="48525">
                  <c:v>21151</c:v>
                </c:pt>
                <c:pt idx="48526">
                  <c:v>21150</c:v>
                </c:pt>
                <c:pt idx="48527">
                  <c:v>21149</c:v>
                </c:pt>
                <c:pt idx="48528">
                  <c:v>21149</c:v>
                </c:pt>
                <c:pt idx="48529">
                  <c:v>21149</c:v>
                </c:pt>
                <c:pt idx="48530">
                  <c:v>21149</c:v>
                </c:pt>
                <c:pt idx="48531">
                  <c:v>21148</c:v>
                </c:pt>
                <c:pt idx="48532">
                  <c:v>21148</c:v>
                </c:pt>
                <c:pt idx="48533">
                  <c:v>21148</c:v>
                </c:pt>
                <c:pt idx="48534">
                  <c:v>21148</c:v>
                </c:pt>
                <c:pt idx="48535">
                  <c:v>21148</c:v>
                </c:pt>
                <c:pt idx="48536">
                  <c:v>21147</c:v>
                </c:pt>
                <c:pt idx="48537">
                  <c:v>21147</c:v>
                </c:pt>
                <c:pt idx="48538">
                  <c:v>21146</c:v>
                </c:pt>
                <c:pt idx="48539">
                  <c:v>21146</c:v>
                </c:pt>
                <c:pt idx="48540">
                  <c:v>21146</c:v>
                </c:pt>
                <c:pt idx="48541">
                  <c:v>21146</c:v>
                </c:pt>
                <c:pt idx="48542">
                  <c:v>21146</c:v>
                </c:pt>
                <c:pt idx="48543">
                  <c:v>21146</c:v>
                </c:pt>
                <c:pt idx="48544">
                  <c:v>21144</c:v>
                </c:pt>
                <c:pt idx="48545">
                  <c:v>21144</c:v>
                </c:pt>
                <c:pt idx="48546">
                  <c:v>21144</c:v>
                </c:pt>
                <c:pt idx="48547">
                  <c:v>21143</c:v>
                </c:pt>
                <c:pt idx="48548">
                  <c:v>21142</c:v>
                </c:pt>
                <c:pt idx="48549">
                  <c:v>21142</c:v>
                </c:pt>
                <c:pt idx="48550">
                  <c:v>21141</c:v>
                </c:pt>
                <c:pt idx="48551">
                  <c:v>21141</c:v>
                </c:pt>
                <c:pt idx="48552">
                  <c:v>21140</c:v>
                </c:pt>
                <c:pt idx="48553">
                  <c:v>21140</c:v>
                </c:pt>
                <c:pt idx="48554">
                  <c:v>21140</c:v>
                </c:pt>
                <c:pt idx="48555">
                  <c:v>21139</c:v>
                </c:pt>
                <c:pt idx="48556">
                  <c:v>21139</c:v>
                </c:pt>
                <c:pt idx="48557">
                  <c:v>21139</c:v>
                </c:pt>
                <c:pt idx="48558">
                  <c:v>21139</c:v>
                </c:pt>
                <c:pt idx="48559">
                  <c:v>21138</c:v>
                </c:pt>
                <c:pt idx="48560">
                  <c:v>21138</c:v>
                </c:pt>
                <c:pt idx="48561">
                  <c:v>21137</c:v>
                </c:pt>
                <c:pt idx="48562">
                  <c:v>21137</c:v>
                </c:pt>
                <c:pt idx="48563">
                  <c:v>21137</c:v>
                </c:pt>
                <c:pt idx="48564">
                  <c:v>21137</c:v>
                </c:pt>
                <c:pt idx="48565">
                  <c:v>21137</c:v>
                </c:pt>
                <c:pt idx="48566">
                  <c:v>21136</c:v>
                </c:pt>
                <c:pt idx="48567">
                  <c:v>21135</c:v>
                </c:pt>
                <c:pt idx="48568">
                  <c:v>21134</c:v>
                </c:pt>
                <c:pt idx="48569">
                  <c:v>21134</c:v>
                </c:pt>
                <c:pt idx="48570">
                  <c:v>21134</c:v>
                </c:pt>
                <c:pt idx="48571">
                  <c:v>21134</c:v>
                </c:pt>
                <c:pt idx="48572">
                  <c:v>21134</c:v>
                </c:pt>
                <c:pt idx="48573">
                  <c:v>21133</c:v>
                </c:pt>
                <c:pt idx="48574">
                  <c:v>21133</c:v>
                </c:pt>
                <c:pt idx="48575">
                  <c:v>21132</c:v>
                </c:pt>
                <c:pt idx="48576">
                  <c:v>21132</c:v>
                </c:pt>
                <c:pt idx="48577">
                  <c:v>21131</c:v>
                </c:pt>
                <c:pt idx="48578">
                  <c:v>21131</c:v>
                </c:pt>
                <c:pt idx="48579">
                  <c:v>21131</c:v>
                </c:pt>
                <c:pt idx="48580">
                  <c:v>21129</c:v>
                </c:pt>
                <c:pt idx="48581">
                  <c:v>21129</c:v>
                </c:pt>
                <c:pt idx="48582">
                  <c:v>21129</c:v>
                </c:pt>
                <c:pt idx="48583">
                  <c:v>21129</c:v>
                </c:pt>
                <c:pt idx="48584">
                  <c:v>21128</c:v>
                </c:pt>
                <c:pt idx="48585">
                  <c:v>21128</c:v>
                </c:pt>
                <c:pt idx="48586">
                  <c:v>21128</c:v>
                </c:pt>
                <c:pt idx="48587">
                  <c:v>21127</c:v>
                </c:pt>
                <c:pt idx="48588">
                  <c:v>21127</c:v>
                </c:pt>
                <c:pt idx="48589">
                  <c:v>21127</c:v>
                </c:pt>
                <c:pt idx="48590">
                  <c:v>21127</c:v>
                </c:pt>
                <c:pt idx="48591">
                  <c:v>21126</c:v>
                </c:pt>
                <c:pt idx="48592">
                  <c:v>21125</c:v>
                </c:pt>
                <c:pt idx="48593">
                  <c:v>21125</c:v>
                </c:pt>
                <c:pt idx="48594">
                  <c:v>21125</c:v>
                </c:pt>
                <c:pt idx="48595">
                  <c:v>21124</c:v>
                </c:pt>
                <c:pt idx="48596">
                  <c:v>21124</c:v>
                </c:pt>
                <c:pt idx="48597">
                  <c:v>21124</c:v>
                </c:pt>
                <c:pt idx="48598">
                  <c:v>21123</c:v>
                </c:pt>
                <c:pt idx="48599">
                  <c:v>21123</c:v>
                </c:pt>
                <c:pt idx="48600">
                  <c:v>21123</c:v>
                </c:pt>
                <c:pt idx="48601">
                  <c:v>21123</c:v>
                </c:pt>
                <c:pt idx="48602">
                  <c:v>21122</c:v>
                </c:pt>
                <c:pt idx="48603">
                  <c:v>21121</c:v>
                </c:pt>
                <c:pt idx="48604">
                  <c:v>21121</c:v>
                </c:pt>
                <c:pt idx="48605">
                  <c:v>21119</c:v>
                </c:pt>
                <c:pt idx="48606">
                  <c:v>21119</c:v>
                </c:pt>
                <c:pt idx="48607">
                  <c:v>21119</c:v>
                </c:pt>
                <c:pt idx="48608">
                  <c:v>21118</c:v>
                </c:pt>
                <c:pt idx="48609">
                  <c:v>21118</c:v>
                </c:pt>
                <c:pt idx="48610">
                  <c:v>21118</c:v>
                </c:pt>
                <c:pt idx="48611">
                  <c:v>21117</c:v>
                </c:pt>
                <c:pt idx="48612">
                  <c:v>21117</c:v>
                </c:pt>
                <c:pt idx="48613">
                  <c:v>21117</c:v>
                </c:pt>
                <c:pt idx="48614">
                  <c:v>21117</c:v>
                </c:pt>
                <c:pt idx="48615">
                  <c:v>21117</c:v>
                </c:pt>
                <c:pt idx="48616">
                  <c:v>21116</c:v>
                </c:pt>
                <c:pt idx="48617">
                  <c:v>21115</c:v>
                </c:pt>
                <c:pt idx="48618">
                  <c:v>21115</c:v>
                </c:pt>
                <c:pt idx="48619">
                  <c:v>21115</c:v>
                </c:pt>
                <c:pt idx="48620">
                  <c:v>21115</c:v>
                </c:pt>
                <c:pt idx="48621">
                  <c:v>21115</c:v>
                </c:pt>
                <c:pt idx="48622">
                  <c:v>21115</c:v>
                </c:pt>
                <c:pt idx="48623">
                  <c:v>21114</c:v>
                </c:pt>
                <c:pt idx="48624">
                  <c:v>21114</c:v>
                </c:pt>
                <c:pt idx="48625">
                  <c:v>21113</c:v>
                </c:pt>
                <c:pt idx="48626">
                  <c:v>21112</c:v>
                </c:pt>
                <c:pt idx="48627">
                  <c:v>21112</c:v>
                </c:pt>
                <c:pt idx="48628">
                  <c:v>21112</c:v>
                </c:pt>
                <c:pt idx="48629">
                  <c:v>21112</c:v>
                </c:pt>
                <c:pt idx="48630">
                  <c:v>21112</c:v>
                </c:pt>
                <c:pt idx="48631">
                  <c:v>21111</c:v>
                </c:pt>
                <c:pt idx="48632">
                  <c:v>21111</c:v>
                </c:pt>
                <c:pt idx="48633">
                  <c:v>21110</c:v>
                </c:pt>
                <c:pt idx="48634">
                  <c:v>21110</c:v>
                </c:pt>
                <c:pt idx="48635">
                  <c:v>21110</c:v>
                </c:pt>
                <c:pt idx="48636">
                  <c:v>21110</c:v>
                </c:pt>
                <c:pt idx="48637">
                  <c:v>21109</c:v>
                </c:pt>
                <c:pt idx="48638">
                  <c:v>21109</c:v>
                </c:pt>
                <c:pt idx="48639">
                  <c:v>21109</c:v>
                </c:pt>
                <c:pt idx="48640">
                  <c:v>21108</c:v>
                </c:pt>
                <c:pt idx="48641">
                  <c:v>21108</c:v>
                </c:pt>
                <c:pt idx="48642">
                  <c:v>21108</c:v>
                </c:pt>
                <c:pt idx="48643">
                  <c:v>21107</c:v>
                </c:pt>
                <c:pt idx="48644">
                  <c:v>21106</c:v>
                </c:pt>
                <c:pt idx="48645">
                  <c:v>21105</c:v>
                </c:pt>
                <c:pt idx="48646">
                  <c:v>21104</c:v>
                </c:pt>
                <c:pt idx="48647">
                  <c:v>21104</c:v>
                </c:pt>
                <c:pt idx="48648">
                  <c:v>21103</c:v>
                </c:pt>
                <c:pt idx="48649">
                  <c:v>21103</c:v>
                </c:pt>
                <c:pt idx="48650">
                  <c:v>21101</c:v>
                </c:pt>
                <c:pt idx="48651">
                  <c:v>21101</c:v>
                </c:pt>
                <c:pt idx="48652">
                  <c:v>21100</c:v>
                </c:pt>
                <c:pt idx="48653">
                  <c:v>21099</c:v>
                </c:pt>
                <c:pt idx="48654">
                  <c:v>21099</c:v>
                </c:pt>
                <c:pt idx="48655">
                  <c:v>21098</c:v>
                </c:pt>
                <c:pt idx="48656">
                  <c:v>21098</c:v>
                </c:pt>
                <c:pt idx="48657">
                  <c:v>21098</c:v>
                </c:pt>
                <c:pt idx="48658">
                  <c:v>21097</c:v>
                </c:pt>
                <c:pt idx="48659">
                  <c:v>21097</c:v>
                </c:pt>
                <c:pt idx="48660">
                  <c:v>21096</c:v>
                </c:pt>
                <c:pt idx="48661">
                  <c:v>21096</c:v>
                </c:pt>
                <c:pt idx="48662">
                  <c:v>21096</c:v>
                </c:pt>
                <c:pt idx="48663">
                  <c:v>21096</c:v>
                </c:pt>
                <c:pt idx="48664">
                  <c:v>21095</c:v>
                </c:pt>
                <c:pt idx="48665">
                  <c:v>21095</c:v>
                </c:pt>
                <c:pt idx="48666">
                  <c:v>21094</c:v>
                </c:pt>
                <c:pt idx="48667">
                  <c:v>21094</c:v>
                </c:pt>
                <c:pt idx="48668">
                  <c:v>21094</c:v>
                </c:pt>
                <c:pt idx="48669">
                  <c:v>21094</c:v>
                </c:pt>
                <c:pt idx="48670">
                  <c:v>21093</c:v>
                </c:pt>
                <c:pt idx="48671">
                  <c:v>21093</c:v>
                </c:pt>
                <c:pt idx="48672">
                  <c:v>21093</c:v>
                </c:pt>
                <c:pt idx="48673">
                  <c:v>21093</c:v>
                </c:pt>
                <c:pt idx="48674">
                  <c:v>21092</c:v>
                </c:pt>
                <c:pt idx="48675">
                  <c:v>21092</c:v>
                </c:pt>
                <c:pt idx="48676">
                  <c:v>21092</c:v>
                </c:pt>
                <c:pt idx="48677">
                  <c:v>21092</c:v>
                </c:pt>
                <c:pt idx="48678">
                  <c:v>21091</c:v>
                </c:pt>
                <c:pt idx="48679">
                  <c:v>21090</c:v>
                </c:pt>
                <c:pt idx="48680">
                  <c:v>21090</c:v>
                </c:pt>
                <c:pt idx="48681">
                  <c:v>21088</c:v>
                </c:pt>
                <c:pt idx="48682">
                  <c:v>21088</c:v>
                </c:pt>
                <c:pt idx="48683">
                  <c:v>21087</c:v>
                </c:pt>
                <c:pt idx="48684">
                  <c:v>21087</c:v>
                </c:pt>
                <c:pt idx="48685">
                  <c:v>21086</c:v>
                </c:pt>
                <c:pt idx="48686">
                  <c:v>21085</c:v>
                </c:pt>
                <c:pt idx="48687">
                  <c:v>21085</c:v>
                </c:pt>
                <c:pt idx="48688">
                  <c:v>21084</c:v>
                </c:pt>
                <c:pt idx="48689">
                  <c:v>21084</c:v>
                </c:pt>
                <c:pt idx="48690">
                  <c:v>21084</c:v>
                </c:pt>
                <c:pt idx="48691">
                  <c:v>21083</c:v>
                </c:pt>
                <c:pt idx="48692">
                  <c:v>21083</c:v>
                </c:pt>
                <c:pt idx="48693">
                  <c:v>21082</c:v>
                </c:pt>
                <c:pt idx="48694">
                  <c:v>21082</c:v>
                </c:pt>
                <c:pt idx="48695">
                  <c:v>21082</c:v>
                </c:pt>
                <c:pt idx="48696">
                  <c:v>21082</c:v>
                </c:pt>
                <c:pt idx="48697">
                  <c:v>21082</c:v>
                </c:pt>
                <c:pt idx="48698">
                  <c:v>21081</c:v>
                </c:pt>
                <c:pt idx="48699">
                  <c:v>21081</c:v>
                </c:pt>
                <c:pt idx="48700">
                  <c:v>21081</c:v>
                </c:pt>
                <c:pt idx="48701">
                  <c:v>21081</c:v>
                </c:pt>
                <c:pt idx="48702">
                  <c:v>21081</c:v>
                </c:pt>
                <c:pt idx="48703">
                  <c:v>21080</c:v>
                </c:pt>
                <c:pt idx="48704">
                  <c:v>21080</c:v>
                </c:pt>
                <c:pt idx="48705">
                  <c:v>21080</c:v>
                </c:pt>
                <c:pt idx="48706">
                  <c:v>21079</c:v>
                </c:pt>
                <c:pt idx="48707">
                  <c:v>21078</c:v>
                </c:pt>
                <c:pt idx="48708">
                  <c:v>21077</c:v>
                </c:pt>
                <c:pt idx="48709">
                  <c:v>21077</c:v>
                </c:pt>
                <c:pt idx="48710">
                  <c:v>21077</c:v>
                </c:pt>
                <c:pt idx="48711">
                  <c:v>21076</c:v>
                </c:pt>
                <c:pt idx="48712">
                  <c:v>21076</c:v>
                </c:pt>
                <c:pt idx="48713">
                  <c:v>21075</c:v>
                </c:pt>
                <c:pt idx="48714">
                  <c:v>21075</c:v>
                </c:pt>
                <c:pt idx="48715">
                  <c:v>21075</c:v>
                </c:pt>
                <c:pt idx="48716">
                  <c:v>21075</c:v>
                </c:pt>
                <c:pt idx="48717">
                  <c:v>21074</c:v>
                </c:pt>
                <c:pt idx="48718">
                  <c:v>21074</c:v>
                </c:pt>
                <c:pt idx="48719">
                  <c:v>21073</c:v>
                </c:pt>
                <c:pt idx="48720">
                  <c:v>21073</c:v>
                </c:pt>
                <c:pt idx="48721">
                  <c:v>21073</c:v>
                </c:pt>
                <c:pt idx="48722">
                  <c:v>21073</c:v>
                </c:pt>
                <c:pt idx="48723">
                  <c:v>21073</c:v>
                </c:pt>
                <c:pt idx="48724">
                  <c:v>21073</c:v>
                </c:pt>
                <c:pt idx="48725">
                  <c:v>21072</c:v>
                </c:pt>
                <c:pt idx="48726">
                  <c:v>21070</c:v>
                </c:pt>
                <c:pt idx="48727">
                  <c:v>21069</c:v>
                </c:pt>
                <c:pt idx="48728">
                  <c:v>21069</c:v>
                </c:pt>
                <c:pt idx="48729">
                  <c:v>21068</c:v>
                </c:pt>
                <c:pt idx="48730">
                  <c:v>21067</c:v>
                </c:pt>
                <c:pt idx="48731">
                  <c:v>21067</c:v>
                </c:pt>
                <c:pt idx="48732">
                  <c:v>21067</c:v>
                </c:pt>
                <c:pt idx="48733">
                  <c:v>21067</c:v>
                </c:pt>
                <c:pt idx="48734">
                  <c:v>21066</c:v>
                </c:pt>
                <c:pt idx="48735">
                  <c:v>21066</c:v>
                </c:pt>
                <c:pt idx="48736">
                  <c:v>21066</c:v>
                </c:pt>
                <c:pt idx="48737">
                  <c:v>21066</c:v>
                </c:pt>
                <c:pt idx="48738">
                  <c:v>21066</c:v>
                </c:pt>
                <c:pt idx="48739">
                  <c:v>21066</c:v>
                </c:pt>
                <c:pt idx="48740">
                  <c:v>21065</c:v>
                </c:pt>
                <c:pt idx="48741">
                  <c:v>21064</c:v>
                </c:pt>
                <c:pt idx="48742">
                  <c:v>21063</c:v>
                </c:pt>
                <c:pt idx="48743">
                  <c:v>21063</c:v>
                </c:pt>
                <c:pt idx="48744">
                  <c:v>21062</c:v>
                </c:pt>
                <c:pt idx="48745">
                  <c:v>21062</c:v>
                </c:pt>
                <c:pt idx="48746">
                  <c:v>21062</c:v>
                </c:pt>
                <c:pt idx="48747">
                  <c:v>21061</c:v>
                </c:pt>
                <c:pt idx="48748">
                  <c:v>21060</c:v>
                </c:pt>
                <c:pt idx="48749">
                  <c:v>21060</c:v>
                </c:pt>
                <c:pt idx="48750">
                  <c:v>21059</c:v>
                </c:pt>
                <c:pt idx="48751">
                  <c:v>21059</c:v>
                </c:pt>
                <c:pt idx="48752">
                  <c:v>21059</c:v>
                </c:pt>
                <c:pt idx="48753">
                  <c:v>21059</c:v>
                </c:pt>
                <c:pt idx="48754">
                  <c:v>21058</c:v>
                </c:pt>
                <c:pt idx="48755">
                  <c:v>21058</c:v>
                </c:pt>
                <c:pt idx="48756">
                  <c:v>21058</c:v>
                </c:pt>
                <c:pt idx="48757">
                  <c:v>21057</c:v>
                </c:pt>
                <c:pt idx="48758">
                  <c:v>21057</c:v>
                </c:pt>
                <c:pt idx="48759">
                  <c:v>21056</c:v>
                </c:pt>
                <c:pt idx="48760">
                  <c:v>21056</c:v>
                </c:pt>
                <c:pt idx="48761">
                  <c:v>21056</c:v>
                </c:pt>
                <c:pt idx="48762">
                  <c:v>21055</c:v>
                </c:pt>
                <c:pt idx="48763">
                  <c:v>21055</c:v>
                </c:pt>
                <c:pt idx="48764">
                  <c:v>21055</c:v>
                </c:pt>
                <c:pt idx="48765">
                  <c:v>21055</c:v>
                </c:pt>
                <c:pt idx="48766">
                  <c:v>21055</c:v>
                </c:pt>
                <c:pt idx="48767">
                  <c:v>21054</c:v>
                </c:pt>
                <c:pt idx="48768">
                  <c:v>21054</c:v>
                </c:pt>
                <c:pt idx="48769">
                  <c:v>21053</c:v>
                </c:pt>
                <c:pt idx="48770">
                  <c:v>21053</c:v>
                </c:pt>
                <c:pt idx="48771">
                  <c:v>21053</c:v>
                </c:pt>
                <c:pt idx="48772">
                  <c:v>21053</c:v>
                </c:pt>
                <c:pt idx="48773">
                  <c:v>21053</c:v>
                </c:pt>
                <c:pt idx="48774">
                  <c:v>21052</c:v>
                </c:pt>
                <c:pt idx="48775">
                  <c:v>21052</c:v>
                </c:pt>
                <c:pt idx="48776">
                  <c:v>21052</c:v>
                </c:pt>
                <c:pt idx="48777">
                  <c:v>21052</c:v>
                </c:pt>
                <c:pt idx="48778">
                  <c:v>21050</c:v>
                </c:pt>
                <c:pt idx="48779">
                  <c:v>21049</c:v>
                </c:pt>
                <c:pt idx="48780">
                  <c:v>21049</c:v>
                </c:pt>
                <c:pt idx="48781">
                  <c:v>21049</c:v>
                </c:pt>
                <c:pt idx="48782">
                  <c:v>21049</c:v>
                </c:pt>
                <c:pt idx="48783">
                  <c:v>21049</c:v>
                </c:pt>
                <c:pt idx="48784">
                  <c:v>21048</c:v>
                </c:pt>
                <c:pt idx="48785">
                  <c:v>21047</c:v>
                </c:pt>
                <c:pt idx="48786">
                  <c:v>21046</c:v>
                </c:pt>
                <c:pt idx="48787">
                  <c:v>21046</c:v>
                </c:pt>
                <c:pt idx="48788">
                  <c:v>21045</c:v>
                </c:pt>
                <c:pt idx="48789">
                  <c:v>21045</c:v>
                </c:pt>
                <c:pt idx="48790">
                  <c:v>21045</c:v>
                </c:pt>
                <c:pt idx="48791">
                  <c:v>21044</c:v>
                </c:pt>
                <c:pt idx="48792">
                  <c:v>21044</c:v>
                </c:pt>
                <c:pt idx="48793">
                  <c:v>21043</c:v>
                </c:pt>
                <c:pt idx="48794">
                  <c:v>21042</c:v>
                </c:pt>
                <c:pt idx="48795">
                  <c:v>21042</c:v>
                </c:pt>
                <c:pt idx="48796">
                  <c:v>21042</c:v>
                </c:pt>
                <c:pt idx="48797">
                  <c:v>21042</c:v>
                </c:pt>
                <c:pt idx="48798">
                  <c:v>21042</c:v>
                </c:pt>
                <c:pt idx="48799">
                  <c:v>21042</c:v>
                </c:pt>
                <c:pt idx="48800">
                  <c:v>21041</c:v>
                </c:pt>
                <c:pt idx="48801">
                  <c:v>21040</c:v>
                </c:pt>
                <c:pt idx="48802">
                  <c:v>21040</c:v>
                </c:pt>
                <c:pt idx="48803">
                  <c:v>21039</c:v>
                </c:pt>
                <c:pt idx="48804">
                  <c:v>21039</c:v>
                </c:pt>
                <c:pt idx="48805">
                  <c:v>21039</c:v>
                </c:pt>
                <c:pt idx="48806">
                  <c:v>21039</c:v>
                </c:pt>
                <c:pt idx="48807">
                  <c:v>21038</c:v>
                </c:pt>
                <c:pt idx="48808">
                  <c:v>21038</c:v>
                </c:pt>
                <c:pt idx="48809">
                  <c:v>21038</c:v>
                </c:pt>
                <c:pt idx="48810">
                  <c:v>21038</c:v>
                </c:pt>
                <c:pt idx="48811">
                  <c:v>21037</c:v>
                </c:pt>
                <c:pt idx="48812">
                  <c:v>21037</c:v>
                </c:pt>
                <c:pt idx="48813">
                  <c:v>21037</c:v>
                </c:pt>
                <c:pt idx="48814">
                  <c:v>21037</c:v>
                </c:pt>
                <c:pt idx="48815">
                  <c:v>21036</c:v>
                </c:pt>
                <c:pt idx="48816">
                  <c:v>21036</c:v>
                </c:pt>
                <c:pt idx="48817">
                  <c:v>21036</c:v>
                </c:pt>
                <c:pt idx="48818">
                  <c:v>21036</c:v>
                </c:pt>
                <c:pt idx="48819">
                  <c:v>21035</c:v>
                </c:pt>
                <c:pt idx="48820">
                  <c:v>21035</c:v>
                </c:pt>
                <c:pt idx="48821">
                  <c:v>21034</c:v>
                </c:pt>
                <c:pt idx="48822">
                  <c:v>21034</c:v>
                </c:pt>
                <c:pt idx="48823">
                  <c:v>21034</c:v>
                </c:pt>
                <c:pt idx="48824">
                  <c:v>21033</c:v>
                </c:pt>
                <c:pt idx="48825">
                  <c:v>21032</c:v>
                </c:pt>
                <c:pt idx="48826">
                  <c:v>21031</c:v>
                </c:pt>
                <c:pt idx="48827">
                  <c:v>21031</c:v>
                </c:pt>
                <c:pt idx="48828">
                  <c:v>21031</c:v>
                </c:pt>
                <c:pt idx="48829">
                  <c:v>21030</c:v>
                </c:pt>
                <c:pt idx="48830">
                  <c:v>21029</c:v>
                </c:pt>
                <c:pt idx="48831">
                  <c:v>21029</c:v>
                </c:pt>
                <c:pt idx="48832">
                  <c:v>21029</c:v>
                </c:pt>
                <c:pt idx="48833">
                  <c:v>21029</c:v>
                </c:pt>
                <c:pt idx="48834">
                  <c:v>21028</c:v>
                </c:pt>
                <c:pt idx="48835">
                  <c:v>21028</c:v>
                </c:pt>
                <c:pt idx="48836">
                  <c:v>21027</c:v>
                </c:pt>
                <c:pt idx="48837">
                  <c:v>21026</c:v>
                </c:pt>
                <c:pt idx="48838">
                  <c:v>21025</c:v>
                </c:pt>
                <c:pt idx="48839">
                  <c:v>21025</c:v>
                </c:pt>
                <c:pt idx="48840">
                  <c:v>21025</c:v>
                </c:pt>
                <c:pt idx="48841">
                  <c:v>21024</c:v>
                </c:pt>
                <c:pt idx="48842">
                  <c:v>21024</c:v>
                </c:pt>
                <c:pt idx="48843">
                  <c:v>21022</c:v>
                </c:pt>
                <c:pt idx="48844">
                  <c:v>21021</c:v>
                </c:pt>
                <c:pt idx="48845">
                  <c:v>21021</c:v>
                </c:pt>
                <c:pt idx="48846">
                  <c:v>21020</c:v>
                </c:pt>
                <c:pt idx="48847">
                  <c:v>21020</c:v>
                </c:pt>
                <c:pt idx="48848">
                  <c:v>21020</c:v>
                </c:pt>
                <c:pt idx="48849">
                  <c:v>21019</c:v>
                </c:pt>
                <c:pt idx="48850">
                  <c:v>21019</c:v>
                </c:pt>
                <c:pt idx="48851">
                  <c:v>21019</c:v>
                </c:pt>
                <c:pt idx="48852">
                  <c:v>21019</c:v>
                </c:pt>
                <c:pt idx="48853">
                  <c:v>21019</c:v>
                </c:pt>
                <c:pt idx="48854">
                  <c:v>21018</c:v>
                </c:pt>
                <c:pt idx="48855">
                  <c:v>21018</c:v>
                </c:pt>
                <c:pt idx="48856">
                  <c:v>21018</c:v>
                </c:pt>
                <c:pt idx="48857">
                  <c:v>21018</c:v>
                </c:pt>
                <c:pt idx="48858">
                  <c:v>21017</c:v>
                </c:pt>
                <c:pt idx="48859">
                  <c:v>21016</c:v>
                </c:pt>
                <c:pt idx="48860">
                  <c:v>21016</c:v>
                </c:pt>
                <c:pt idx="48861">
                  <c:v>21016</c:v>
                </c:pt>
                <c:pt idx="48862">
                  <c:v>21016</c:v>
                </c:pt>
                <c:pt idx="48863">
                  <c:v>21015</c:v>
                </c:pt>
                <c:pt idx="48864">
                  <c:v>21015</c:v>
                </c:pt>
                <c:pt idx="48865">
                  <c:v>21015</c:v>
                </c:pt>
                <c:pt idx="48866">
                  <c:v>21015</c:v>
                </c:pt>
                <c:pt idx="48867">
                  <c:v>21015</c:v>
                </c:pt>
                <c:pt idx="48868">
                  <c:v>21014</c:v>
                </c:pt>
                <c:pt idx="48869">
                  <c:v>21014</c:v>
                </c:pt>
                <c:pt idx="48870">
                  <c:v>21014</c:v>
                </c:pt>
                <c:pt idx="48871">
                  <c:v>21014</c:v>
                </c:pt>
                <c:pt idx="48872">
                  <c:v>21014</c:v>
                </c:pt>
                <c:pt idx="48873">
                  <c:v>21013</c:v>
                </c:pt>
                <c:pt idx="48874">
                  <c:v>21013</c:v>
                </c:pt>
                <c:pt idx="48875">
                  <c:v>21012</c:v>
                </c:pt>
                <c:pt idx="48876">
                  <c:v>21011</c:v>
                </c:pt>
                <c:pt idx="48877">
                  <c:v>21011</c:v>
                </c:pt>
                <c:pt idx="48878">
                  <c:v>21011</c:v>
                </c:pt>
                <c:pt idx="48879">
                  <c:v>21011</c:v>
                </c:pt>
                <c:pt idx="48880">
                  <c:v>21010</c:v>
                </c:pt>
                <c:pt idx="48881">
                  <c:v>21010</c:v>
                </c:pt>
                <c:pt idx="48882">
                  <c:v>21009</c:v>
                </c:pt>
                <c:pt idx="48883">
                  <c:v>21008</c:v>
                </c:pt>
                <c:pt idx="48884">
                  <c:v>21008</c:v>
                </c:pt>
                <c:pt idx="48885">
                  <c:v>21008</c:v>
                </c:pt>
                <c:pt idx="48886">
                  <c:v>21007</c:v>
                </c:pt>
                <c:pt idx="48887">
                  <c:v>21007</c:v>
                </c:pt>
                <c:pt idx="48888">
                  <c:v>21006</c:v>
                </c:pt>
                <c:pt idx="48889">
                  <c:v>21006</c:v>
                </c:pt>
                <c:pt idx="48890">
                  <c:v>21006</c:v>
                </c:pt>
                <c:pt idx="48891">
                  <c:v>21006</c:v>
                </c:pt>
                <c:pt idx="48892">
                  <c:v>21006</c:v>
                </c:pt>
                <c:pt idx="48893">
                  <c:v>21005</c:v>
                </c:pt>
                <c:pt idx="48894">
                  <c:v>21005</c:v>
                </c:pt>
                <c:pt idx="48895">
                  <c:v>21005</c:v>
                </c:pt>
                <c:pt idx="48896">
                  <c:v>21005</c:v>
                </c:pt>
                <c:pt idx="48897">
                  <c:v>21005</c:v>
                </c:pt>
                <c:pt idx="48898">
                  <c:v>21004</c:v>
                </c:pt>
                <c:pt idx="48899">
                  <c:v>21004</c:v>
                </c:pt>
                <c:pt idx="48900">
                  <c:v>21004</c:v>
                </c:pt>
                <c:pt idx="48901">
                  <c:v>21002</c:v>
                </c:pt>
                <c:pt idx="48902">
                  <c:v>21002</c:v>
                </c:pt>
                <c:pt idx="48903">
                  <c:v>21002</c:v>
                </c:pt>
                <c:pt idx="48904">
                  <c:v>21001</c:v>
                </c:pt>
                <c:pt idx="48905">
                  <c:v>21001</c:v>
                </c:pt>
                <c:pt idx="48906">
                  <c:v>21000</c:v>
                </c:pt>
                <c:pt idx="48907">
                  <c:v>21000</c:v>
                </c:pt>
                <c:pt idx="48908">
                  <c:v>20999</c:v>
                </c:pt>
                <c:pt idx="48909">
                  <c:v>20999</c:v>
                </c:pt>
                <c:pt idx="48910">
                  <c:v>20999</c:v>
                </c:pt>
                <c:pt idx="48911">
                  <c:v>20999</c:v>
                </c:pt>
                <c:pt idx="48912">
                  <c:v>20999</c:v>
                </c:pt>
                <c:pt idx="48913">
                  <c:v>20999</c:v>
                </c:pt>
                <c:pt idx="48914">
                  <c:v>20999</c:v>
                </c:pt>
                <c:pt idx="48915">
                  <c:v>20998</c:v>
                </c:pt>
                <c:pt idx="48916">
                  <c:v>20998</c:v>
                </c:pt>
                <c:pt idx="48917">
                  <c:v>20998</c:v>
                </c:pt>
                <c:pt idx="48918">
                  <c:v>20997</c:v>
                </c:pt>
                <c:pt idx="48919">
                  <c:v>20997</c:v>
                </c:pt>
                <c:pt idx="48920">
                  <c:v>20997</c:v>
                </c:pt>
                <c:pt idx="48921">
                  <c:v>20997</c:v>
                </c:pt>
                <c:pt idx="48922">
                  <c:v>20996</c:v>
                </c:pt>
                <c:pt idx="48923">
                  <c:v>20995</c:v>
                </c:pt>
                <c:pt idx="48924">
                  <c:v>20995</c:v>
                </c:pt>
                <c:pt idx="48925">
                  <c:v>20995</c:v>
                </c:pt>
                <c:pt idx="48926">
                  <c:v>20994</c:v>
                </c:pt>
                <c:pt idx="48927">
                  <c:v>20994</c:v>
                </c:pt>
                <c:pt idx="48928">
                  <c:v>20994</c:v>
                </c:pt>
                <c:pt idx="48929">
                  <c:v>20994</c:v>
                </c:pt>
                <c:pt idx="48930">
                  <c:v>20993</c:v>
                </c:pt>
                <c:pt idx="48931">
                  <c:v>20993</c:v>
                </c:pt>
                <c:pt idx="48932">
                  <c:v>20992</c:v>
                </c:pt>
                <c:pt idx="48933">
                  <c:v>20992</c:v>
                </c:pt>
                <c:pt idx="48934">
                  <c:v>20992</c:v>
                </c:pt>
                <c:pt idx="48935">
                  <c:v>20991</c:v>
                </c:pt>
                <c:pt idx="48936">
                  <c:v>20991</c:v>
                </c:pt>
                <c:pt idx="48937">
                  <c:v>20991</c:v>
                </c:pt>
                <c:pt idx="48938">
                  <c:v>20990</c:v>
                </c:pt>
                <c:pt idx="48939">
                  <c:v>20990</c:v>
                </c:pt>
                <c:pt idx="48940">
                  <c:v>20990</c:v>
                </c:pt>
                <c:pt idx="48941">
                  <c:v>20989</c:v>
                </c:pt>
                <c:pt idx="48942">
                  <c:v>20989</c:v>
                </c:pt>
                <c:pt idx="48943">
                  <c:v>20989</c:v>
                </c:pt>
                <c:pt idx="48944">
                  <c:v>20988</c:v>
                </c:pt>
                <c:pt idx="48945">
                  <c:v>20988</c:v>
                </c:pt>
                <c:pt idx="48946">
                  <c:v>20988</c:v>
                </c:pt>
                <c:pt idx="48947">
                  <c:v>20988</c:v>
                </c:pt>
                <c:pt idx="48948">
                  <c:v>20988</c:v>
                </c:pt>
                <c:pt idx="48949">
                  <c:v>20987</c:v>
                </c:pt>
                <c:pt idx="48950">
                  <c:v>20987</c:v>
                </c:pt>
                <c:pt idx="48951">
                  <c:v>20987</c:v>
                </c:pt>
                <c:pt idx="48952">
                  <c:v>20987</c:v>
                </c:pt>
                <c:pt idx="48953">
                  <c:v>20986</c:v>
                </c:pt>
                <c:pt idx="48954">
                  <c:v>20986</c:v>
                </c:pt>
                <c:pt idx="48955">
                  <c:v>20986</c:v>
                </c:pt>
                <c:pt idx="48956">
                  <c:v>20985</c:v>
                </c:pt>
                <c:pt idx="48957">
                  <c:v>20985</c:v>
                </c:pt>
                <c:pt idx="48958">
                  <c:v>20985</c:v>
                </c:pt>
                <c:pt idx="48959">
                  <c:v>20984</c:v>
                </c:pt>
                <c:pt idx="48960">
                  <c:v>20984</c:v>
                </c:pt>
                <c:pt idx="48961">
                  <c:v>20984</c:v>
                </c:pt>
                <c:pt idx="48962">
                  <c:v>20984</c:v>
                </c:pt>
                <c:pt idx="48963">
                  <c:v>20983</c:v>
                </c:pt>
                <c:pt idx="48964">
                  <c:v>20983</c:v>
                </c:pt>
                <c:pt idx="48965">
                  <c:v>20982</c:v>
                </c:pt>
                <c:pt idx="48966">
                  <c:v>20982</c:v>
                </c:pt>
                <c:pt idx="48967">
                  <c:v>20982</c:v>
                </c:pt>
                <c:pt idx="48968">
                  <c:v>20981</c:v>
                </c:pt>
                <c:pt idx="48969">
                  <c:v>20981</c:v>
                </c:pt>
                <c:pt idx="48970">
                  <c:v>20981</c:v>
                </c:pt>
                <c:pt idx="48971">
                  <c:v>20981</c:v>
                </c:pt>
                <c:pt idx="48972">
                  <c:v>20980</c:v>
                </c:pt>
                <c:pt idx="48973">
                  <c:v>20980</c:v>
                </c:pt>
                <c:pt idx="48974">
                  <c:v>20980</c:v>
                </c:pt>
                <c:pt idx="48975">
                  <c:v>20978</c:v>
                </c:pt>
                <c:pt idx="48976">
                  <c:v>20978</c:v>
                </c:pt>
                <c:pt idx="48977">
                  <c:v>20976</c:v>
                </c:pt>
                <c:pt idx="48978">
                  <c:v>20976</c:v>
                </c:pt>
                <c:pt idx="48979">
                  <c:v>20976</c:v>
                </c:pt>
                <c:pt idx="48980">
                  <c:v>20975</c:v>
                </c:pt>
                <c:pt idx="48981">
                  <c:v>20974</c:v>
                </c:pt>
                <c:pt idx="48982">
                  <c:v>20973</c:v>
                </c:pt>
                <c:pt idx="48983">
                  <c:v>20973</c:v>
                </c:pt>
                <c:pt idx="48984">
                  <c:v>20972</c:v>
                </c:pt>
                <c:pt idx="48985">
                  <c:v>20972</c:v>
                </c:pt>
                <c:pt idx="48986">
                  <c:v>20972</c:v>
                </c:pt>
                <c:pt idx="48987">
                  <c:v>20971</c:v>
                </c:pt>
                <c:pt idx="48988">
                  <c:v>20971</c:v>
                </c:pt>
                <c:pt idx="48989">
                  <c:v>20971</c:v>
                </c:pt>
                <c:pt idx="48990">
                  <c:v>20971</c:v>
                </c:pt>
                <c:pt idx="48991">
                  <c:v>20971</c:v>
                </c:pt>
                <c:pt idx="48992">
                  <c:v>20971</c:v>
                </c:pt>
                <c:pt idx="48993">
                  <c:v>20971</c:v>
                </c:pt>
                <c:pt idx="48994">
                  <c:v>20971</c:v>
                </c:pt>
                <c:pt idx="48995">
                  <c:v>20970</c:v>
                </c:pt>
                <c:pt idx="48996">
                  <c:v>20969</c:v>
                </c:pt>
                <c:pt idx="48997">
                  <c:v>20969</c:v>
                </c:pt>
                <c:pt idx="48998">
                  <c:v>20969</c:v>
                </c:pt>
                <c:pt idx="48999">
                  <c:v>20968</c:v>
                </c:pt>
                <c:pt idx="49000">
                  <c:v>20967</c:v>
                </c:pt>
                <c:pt idx="49001">
                  <c:v>20966</c:v>
                </c:pt>
                <c:pt idx="49002">
                  <c:v>20966</c:v>
                </c:pt>
                <c:pt idx="49003">
                  <c:v>20965</c:v>
                </c:pt>
                <c:pt idx="49004">
                  <c:v>20964</c:v>
                </c:pt>
                <c:pt idx="49005">
                  <c:v>20964</c:v>
                </c:pt>
                <c:pt idx="49006">
                  <c:v>20964</c:v>
                </c:pt>
                <c:pt idx="49007">
                  <c:v>20963</c:v>
                </c:pt>
                <c:pt idx="49008">
                  <c:v>20962</c:v>
                </c:pt>
                <c:pt idx="49009">
                  <c:v>20962</c:v>
                </c:pt>
                <c:pt idx="49010">
                  <c:v>20962</c:v>
                </c:pt>
                <c:pt idx="49011">
                  <c:v>20960</c:v>
                </c:pt>
                <c:pt idx="49012">
                  <c:v>20960</c:v>
                </c:pt>
                <c:pt idx="49013">
                  <c:v>20960</c:v>
                </c:pt>
                <c:pt idx="49014">
                  <c:v>20959</c:v>
                </c:pt>
                <c:pt idx="49015">
                  <c:v>20958</c:v>
                </c:pt>
                <c:pt idx="49016">
                  <c:v>20957</c:v>
                </c:pt>
                <c:pt idx="49017">
                  <c:v>20957</c:v>
                </c:pt>
                <c:pt idx="49018">
                  <c:v>20955</c:v>
                </c:pt>
                <c:pt idx="49019">
                  <c:v>20955</c:v>
                </c:pt>
                <c:pt idx="49020">
                  <c:v>20954</c:v>
                </c:pt>
                <c:pt idx="49021">
                  <c:v>20954</c:v>
                </c:pt>
                <c:pt idx="49022">
                  <c:v>20954</c:v>
                </c:pt>
                <c:pt idx="49023">
                  <c:v>20953</c:v>
                </c:pt>
                <c:pt idx="49024">
                  <c:v>20952</c:v>
                </c:pt>
                <c:pt idx="49025">
                  <c:v>20951</c:v>
                </c:pt>
                <c:pt idx="49026">
                  <c:v>20951</c:v>
                </c:pt>
                <c:pt idx="49027">
                  <c:v>20951</c:v>
                </c:pt>
                <c:pt idx="49028">
                  <c:v>20950</c:v>
                </c:pt>
                <c:pt idx="49029">
                  <c:v>20950</c:v>
                </c:pt>
                <c:pt idx="49030">
                  <c:v>20949</c:v>
                </c:pt>
                <c:pt idx="49031">
                  <c:v>20947</c:v>
                </c:pt>
                <c:pt idx="49032">
                  <c:v>20947</c:v>
                </c:pt>
                <c:pt idx="49033">
                  <c:v>20947</c:v>
                </c:pt>
                <c:pt idx="49034">
                  <c:v>20947</c:v>
                </c:pt>
                <c:pt idx="49035">
                  <c:v>20947</c:v>
                </c:pt>
                <c:pt idx="49036">
                  <c:v>20947</c:v>
                </c:pt>
                <c:pt idx="49037">
                  <c:v>20947</c:v>
                </c:pt>
                <c:pt idx="49038">
                  <c:v>20946</c:v>
                </c:pt>
                <c:pt idx="49039">
                  <c:v>20945</c:v>
                </c:pt>
                <c:pt idx="49040">
                  <c:v>20945</c:v>
                </c:pt>
                <c:pt idx="49041">
                  <c:v>20945</c:v>
                </c:pt>
                <c:pt idx="49042">
                  <c:v>20945</c:v>
                </c:pt>
                <c:pt idx="49043">
                  <c:v>20944</c:v>
                </c:pt>
                <c:pt idx="49044">
                  <c:v>20944</c:v>
                </c:pt>
                <c:pt idx="49045">
                  <c:v>20944</c:v>
                </c:pt>
                <c:pt idx="49046">
                  <c:v>20944</c:v>
                </c:pt>
                <c:pt idx="49047">
                  <c:v>20943</c:v>
                </c:pt>
                <c:pt idx="49048">
                  <c:v>20943</c:v>
                </c:pt>
                <c:pt idx="49049">
                  <c:v>20943</c:v>
                </c:pt>
                <c:pt idx="49050">
                  <c:v>20942</c:v>
                </c:pt>
                <c:pt idx="49051">
                  <c:v>20942</c:v>
                </c:pt>
                <c:pt idx="49052">
                  <c:v>20941</c:v>
                </c:pt>
                <c:pt idx="49053">
                  <c:v>20941</c:v>
                </c:pt>
                <c:pt idx="49054">
                  <c:v>20941</c:v>
                </c:pt>
                <c:pt idx="49055">
                  <c:v>20941</c:v>
                </c:pt>
                <c:pt idx="49056">
                  <c:v>20940</c:v>
                </c:pt>
                <c:pt idx="49057">
                  <c:v>20940</c:v>
                </c:pt>
                <c:pt idx="49058">
                  <c:v>20939</c:v>
                </c:pt>
                <c:pt idx="49059">
                  <c:v>20939</c:v>
                </c:pt>
                <c:pt idx="49060">
                  <c:v>20938</c:v>
                </c:pt>
                <c:pt idx="49061">
                  <c:v>20938</c:v>
                </c:pt>
                <c:pt idx="49062">
                  <c:v>20938</c:v>
                </c:pt>
                <c:pt idx="49063">
                  <c:v>20938</c:v>
                </c:pt>
                <c:pt idx="49064">
                  <c:v>20937</c:v>
                </c:pt>
                <c:pt idx="49065">
                  <c:v>20936</c:v>
                </c:pt>
                <c:pt idx="49066">
                  <c:v>20935</c:v>
                </c:pt>
                <c:pt idx="49067">
                  <c:v>20935</c:v>
                </c:pt>
                <c:pt idx="49068">
                  <c:v>20935</c:v>
                </c:pt>
                <c:pt idx="49069">
                  <c:v>20934</c:v>
                </c:pt>
                <c:pt idx="49070">
                  <c:v>20934</c:v>
                </c:pt>
                <c:pt idx="49071">
                  <c:v>20934</c:v>
                </c:pt>
                <c:pt idx="49072">
                  <c:v>20933</c:v>
                </c:pt>
                <c:pt idx="49073">
                  <c:v>20933</c:v>
                </c:pt>
                <c:pt idx="49074">
                  <c:v>20932</c:v>
                </c:pt>
                <c:pt idx="49075">
                  <c:v>20931</c:v>
                </c:pt>
                <c:pt idx="49076">
                  <c:v>20931</c:v>
                </c:pt>
                <c:pt idx="49077">
                  <c:v>20930</c:v>
                </c:pt>
                <c:pt idx="49078">
                  <c:v>20929</c:v>
                </c:pt>
                <c:pt idx="49079">
                  <c:v>20928</c:v>
                </c:pt>
                <c:pt idx="49080">
                  <c:v>20927</c:v>
                </c:pt>
                <c:pt idx="49081">
                  <c:v>20925</c:v>
                </c:pt>
                <c:pt idx="49082">
                  <c:v>20925</c:v>
                </c:pt>
                <c:pt idx="49083">
                  <c:v>20925</c:v>
                </c:pt>
                <c:pt idx="49084">
                  <c:v>20924</c:v>
                </c:pt>
                <c:pt idx="49085">
                  <c:v>20924</c:v>
                </c:pt>
                <c:pt idx="49086">
                  <c:v>20924</c:v>
                </c:pt>
                <c:pt idx="49087">
                  <c:v>20924</c:v>
                </c:pt>
                <c:pt idx="49088">
                  <c:v>20922</c:v>
                </c:pt>
                <c:pt idx="49089">
                  <c:v>20922</c:v>
                </c:pt>
                <c:pt idx="49090">
                  <c:v>20921</c:v>
                </c:pt>
                <c:pt idx="49091">
                  <c:v>20921</c:v>
                </c:pt>
                <c:pt idx="49092">
                  <c:v>20921</c:v>
                </c:pt>
                <c:pt idx="49093">
                  <c:v>20919</c:v>
                </c:pt>
                <c:pt idx="49094">
                  <c:v>20919</c:v>
                </c:pt>
                <c:pt idx="49095">
                  <c:v>20918</c:v>
                </c:pt>
                <c:pt idx="49096">
                  <c:v>20918</c:v>
                </c:pt>
                <c:pt idx="49097">
                  <c:v>20917</c:v>
                </c:pt>
                <c:pt idx="49098">
                  <c:v>20916</c:v>
                </c:pt>
                <c:pt idx="49099">
                  <c:v>20916</c:v>
                </c:pt>
                <c:pt idx="49100">
                  <c:v>20914</c:v>
                </c:pt>
                <c:pt idx="49101">
                  <c:v>20914</c:v>
                </c:pt>
                <c:pt idx="49102">
                  <c:v>20914</c:v>
                </c:pt>
                <c:pt idx="49103">
                  <c:v>20914</c:v>
                </c:pt>
                <c:pt idx="49104">
                  <c:v>20913</c:v>
                </c:pt>
                <c:pt idx="49105">
                  <c:v>20913</c:v>
                </c:pt>
                <c:pt idx="49106">
                  <c:v>20913</c:v>
                </c:pt>
                <c:pt idx="49107">
                  <c:v>20913</c:v>
                </c:pt>
                <c:pt idx="49108">
                  <c:v>20913</c:v>
                </c:pt>
                <c:pt idx="49109">
                  <c:v>20912</c:v>
                </c:pt>
                <c:pt idx="49110">
                  <c:v>20912</c:v>
                </c:pt>
                <c:pt idx="49111">
                  <c:v>20912</c:v>
                </c:pt>
                <c:pt idx="49112">
                  <c:v>20911</c:v>
                </c:pt>
                <c:pt idx="49113">
                  <c:v>20911</c:v>
                </c:pt>
                <c:pt idx="49114">
                  <c:v>20910</c:v>
                </c:pt>
                <c:pt idx="49115">
                  <c:v>20910</c:v>
                </c:pt>
                <c:pt idx="49116">
                  <c:v>20908</c:v>
                </c:pt>
                <c:pt idx="49117">
                  <c:v>20908</c:v>
                </c:pt>
                <c:pt idx="49118">
                  <c:v>20908</c:v>
                </c:pt>
                <c:pt idx="49119">
                  <c:v>20907</c:v>
                </c:pt>
                <c:pt idx="49120">
                  <c:v>20907</c:v>
                </c:pt>
                <c:pt idx="49121">
                  <c:v>20906</c:v>
                </c:pt>
                <c:pt idx="49122">
                  <c:v>20906</c:v>
                </c:pt>
                <c:pt idx="49123">
                  <c:v>20906</c:v>
                </c:pt>
                <c:pt idx="49124">
                  <c:v>20906</c:v>
                </c:pt>
                <c:pt idx="49125">
                  <c:v>20906</c:v>
                </c:pt>
                <c:pt idx="49126">
                  <c:v>20906</c:v>
                </c:pt>
                <c:pt idx="49127">
                  <c:v>20904</c:v>
                </c:pt>
                <c:pt idx="49128">
                  <c:v>20904</c:v>
                </c:pt>
                <c:pt idx="49129">
                  <c:v>20903</c:v>
                </c:pt>
                <c:pt idx="49130">
                  <c:v>20902</c:v>
                </c:pt>
                <c:pt idx="49131">
                  <c:v>20902</c:v>
                </c:pt>
                <c:pt idx="49132">
                  <c:v>20902</c:v>
                </c:pt>
                <c:pt idx="49133">
                  <c:v>20902</c:v>
                </c:pt>
                <c:pt idx="49134">
                  <c:v>20901</c:v>
                </c:pt>
                <c:pt idx="49135">
                  <c:v>20901</c:v>
                </c:pt>
                <c:pt idx="49136">
                  <c:v>20901</c:v>
                </c:pt>
                <c:pt idx="49137">
                  <c:v>20900</c:v>
                </c:pt>
                <c:pt idx="49138">
                  <c:v>20900</c:v>
                </c:pt>
                <c:pt idx="49139">
                  <c:v>20900</c:v>
                </c:pt>
                <c:pt idx="49140">
                  <c:v>20900</c:v>
                </c:pt>
                <c:pt idx="49141">
                  <c:v>20899</c:v>
                </c:pt>
                <c:pt idx="49142">
                  <c:v>20899</c:v>
                </c:pt>
                <c:pt idx="49143">
                  <c:v>20899</c:v>
                </c:pt>
                <c:pt idx="49144">
                  <c:v>20898</c:v>
                </c:pt>
                <c:pt idx="49145">
                  <c:v>20897</c:v>
                </c:pt>
                <c:pt idx="49146">
                  <c:v>20897</c:v>
                </c:pt>
                <c:pt idx="49147">
                  <c:v>20897</c:v>
                </c:pt>
                <c:pt idx="49148">
                  <c:v>20897</c:v>
                </c:pt>
                <c:pt idx="49149">
                  <c:v>20897</c:v>
                </c:pt>
                <c:pt idx="49150">
                  <c:v>20896</c:v>
                </c:pt>
                <c:pt idx="49151">
                  <c:v>20896</c:v>
                </c:pt>
                <c:pt idx="49152">
                  <c:v>20895</c:v>
                </c:pt>
                <c:pt idx="49153">
                  <c:v>20895</c:v>
                </c:pt>
                <c:pt idx="49154">
                  <c:v>20894</c:v>
                </c:pt>
                <c:pt idx="49155">
                  <c:v>20894</c:v>
                </c:pt>
                <c:pt idx="49156">
                  <c:v>20894</c:v>
                </c:pt>
                <c:pt idx="49157">
                  <c:v>20892</c:v>
                </c:pt>
                <c:pt idx="49158">
                  <c:v>20891</c:v>
                </c:pt>
                <c:pt idx="49159">
                  <c:v>20891</c:v>
                </c:pt>
                <c:pt idx="49160">
                  <c:v>20889</c:v>
                </c:pt>
                <c:pt idx="49161">
                  <c:v>20889</c:v>
                </c:pt>
                <c:pt idx="49162">
                  <c:v>20888</c:v>
                </c:pt>
                <c:pt idx="49163">
                  <c:v>20888</c:v>
                </c:pt>
                <c:pt idx="49164">
                  <c:v>20888</c:v>
                </c:pt>
                <c:pt idx="49165">
                  <c:v>20887</c:v>
                </c:pt>
                <c:pt idx="49166">
                  <c:v>20887</c:v>
                </c:pt>
                <c:pt idx="49167">
                  <c:v>20886</c:v>
                </c:pt>
                <c:pt idx="49168">
                  <c:v>20885</c:v>
                </c:pt>
                <c:pt idx="49169">
                  <c:v>20885</c:v>
                </c:pt>
                <c:pt idx="49170">
                  <c:v>20885</c:v>
                </c:pt>
                <c:pt idx="49171">
                  <c:v>20884</c:v>
                </c:pt>
                <c:pt idx="49172">
                  <c:v>20884</c:v>
                </c:pt>
                <c:pt idx="49173">
                  <c:v>20884</c:v>
                </c:pt>
                <c:pt idx="49174">
                  <c:v>20883</c:v>
                </c:pt>
                <c:pt idx="49175">
                  <c:v>20882</c:v>
                </c:pt>
                <c:pt idx="49176">
                  <c:v>20881</c:v>
                </c:pt>
                <c:pt idx="49177">
                  <c:v>20881</c:v>
                </c:pt>
                <c:pt idx="49178">
                  <c:v>20881</c:v>
                </c:pt>
                <c:pt idx="49179">
                  <c:v>20880</c:v>
                </c:pt>
                <c:pt idx="49180">
                  <c:v>20880</c:v>
                </c:pt>
                <c:pt idx="49181">
                  <c:v>20879</c:v>
                </c:pt>
                <c:pt idx="49182">
                  <c:v>20878</c:v>
                </c:pt>
                <c:pt idx="49183">
                  <c:v>20877</c:v>
                </c:pt>
                <c:pt idx="49184">
                  <c:v>20877</c:v>
                </c:pt>
                <c:pt idx="49185">
                  <c:v>20877</c:v>
                </c:pt>
                <c:pt idx="49186">
                  <c:v>20876</c:v>
                </c:pt>
                <c:pt idx="49187">
                  <c:v>20876</c:v>
                </c:pt>
                <c:pt idx="49188">
                  <c:v>20875</c:v>
                </c:pt>
                <c:pt idx="49189">
                  <c:v>20874</c:v>
                </c:pt>
                <c:pt idx="49190">
                  <c:v>20874</c:v>
                </c:pt>
                <c:pt idx="49191">
                  <c:v>20873</c:v>
                </c:pt>
                <c:pt idx="49192">
                  <c:v>20873</c:v>
                </c:pt>
                <c:pt idx="49193">
                  <c:v>20872</c:v>
                </c:pt>
                <c:pt idx="49194">
                  <c:v>20872</c:v>
                </c:pt>
                <c:pt idx="49195">
                  <c:v>20871</c:v>
                </c:pt>
                <c:pt idx="49196">
                  <c:v>20871</c:v>
                </c:pt>
                <c:pt idx="49197">
                  <c:v>20871</c:v>
                </c:pt>
                <c:pt idx="49198">
                  <c:v>20871</c:v>
                </c:pt>
                <c:pt idx="49199">
                  <c:v>20871</c:v>
                </c:pt>
                <c:pt idx="49200">
                  <c:v>20869</c:v>
                </c:pt>
                <c:pt idx="49201">
                  <c:v>20869</c:v>
                </c:pt>
                <c:pt idx="49202">
                  <c:v>20869</c:v>
                </c:pt>
                <c:pt idx="49203">
                  <c:v>20868</c:v>
                </c:pt>
                <c:pt idx="49204">
                  <c:v>20868</c:v>
                </c:pt>
                <c:pt idx="49205">
                  <c:v>20868</c:v>
                </c:pt>
                <c:pt idx="49206">
                  <c:v>20868</c:v>
                </c:pt>
                <c:pt idx="49207">
                  <c:v>20867</c:v>
                </c:pt>
                <c:pt idx="49208">
                  <c:v>20866</c:v>
                </c:pt>
                <c:pt idx="49209">
                  <c:v>20866</c:v>
                </c:pt>
                <c:pt idx="49210">
                  <c:v>20866</c:v>
                </c:pt>
                <c:pt idx="49211">
                  <c:v>20866</c:v>
                </c:pt>
                <c:pt idx="49212">
                  <c:v>20866</c:v>
                </c:pt>
                <c:pt idx="49213">
                  <c:v>20866</c:v>
                </c:pt>
                <c:pt idx="49214">
                  <c:v>20865</c:v>
                </c:pt>
                <c:pt idx="49215">
                  <c:v>20863</c:v>
                </c:pt>
                <c:pt idx="49216">
                  <c:v>20863</c:v>
                </c:pt>
                <c:pt idx="49217">
                  <c:v>20863</c:v>
                </c:pt>
                <c:pt idx="49218">
                  <c:v>20862</c:v>
                </c:pt>
                <c:pt idx="49219">
                  <c:v>20861</c:v>
                </c:pt>
                <c:pt idx="49220">
                  <c:v>20861</c:v>
                </c:pt>
                <c:pt idx="49221">
                  <c:v>20861</c:v>
                </c:pt>
                <c:pt idx="49222">
                  <c:v>20859</c:v>
                </c:pt>
                <c:pt idx="49223">
                  <c:v>20859</c:v>
                </c:pt>
                <c:pt idx="49224">
                  <c:v>20858</c:v>
                </c:pt>
                <c:pt idx="49225">
                  <c:v>20858</c:v>
                </c:pt>
                <c:pt idx="49226">
                  <c:v>20858</c:v>
                </c:pt>
                <c:pt idx="49227">
                  <c:v>20858</c:v>
                </c:pt>
                <c:pt idx="49228">
                  <c:v>20857</c:v>
                </c:pt>
                <c:pt idx="49229">
                  <c:v>20856</c:v>
                </c:pt>
                <c:pt idx="49230">
                  <c:v>20855</c:v>
                </c:pt>
                <c:pt idx="49231">
                  <c:v>20855</c:v>
                </c:pt>
                <c:pt idx="49232">
                  <c:v>20855</c:v>
                </c:pt>
                <c:pt idx="49233">
                  <c:v>20855</c:v>
                </c:pt>
                <c:pt idx="49234">
                  <c:v>20854</c:v>
                </c:pt>
                <c:pt idx="49235">
                  <c:v>20853</c:v>
                </c:pt>
                <c:pt idx="49236">
                  <c:v>20853</c:v>
                </c:pt>
                <c:pt idx="49237">
                  <c:v>20853</c:v>
                </c:pt>
                <c:pt idx="49238">
                  <c:v>20852</c:v>
                </c:pt>
                <c:pt idx="49239">
                  <c:v>20852</c:v>
                </c:pt>
                <c:pt idx="49240">
                  <c:v>20852</c:v>
                </c:pt>
                <c:pt idx="49241">
                  <c:v>20852</c:v>
                </c:pt>
                <c:pt idx="49242">
                  <c:v>20851</c:v>
                </c:pt>
                <c:pt idx="49243">
                  <c:v>20851</c:v>
                </c:pt>
                <c:pt idx="49244">
                  <c:v>20851</c:v>
                </c:pt>
                <c:pt idx="49245">
                  <c:v>20851</c:v>
                </c:pt>
                <c:pt idx="49246">
                  <c:v>20850</c:v>
                </c:pt>
                <c:pt idx="49247">
                  <c:v>20850</c:v>
                </c:pt>
                <c:pt idx="49248">
                  <c:v>20849</c:v>
                </c:pt>
                <c:pt idx="49249">
                  <c:v>20849</c:v>
                </c:pt>
                <c:pt idx="49250">
                  <c:v>20849</c:v>
                </c:pt>
                <c:pt idx="49251">
                  <c:v>20848</c:v>
                </c:pt>
                <c:pt idx="49252">
                  <c:v>20848</c:v>
                </c:pt>
                <c:pt idx="49253">
                  <c:v>20847</c:v>
                </c:pt>
                <c:pt idx="49254">
                  <c:v>20847</c:v>
                </c:pt>
                <c:pt idx="49255">
                  <c:v>20846</c:v>
                </c:pt>
                <c:pt idx="49256">
                  <c:v>20846</c:v>
                </c:pt>
                <c:pt idx="49257">
                  <c:v>20846</c:v>
                </c:pt>
                <c:pt idx="49258">
                  <c:v>20845</c:v>
                </c:pt>
                <c:pt idx="49259">
                  <c:v>20845</c:v>
                </c:pt>
                <c:pt idx="49260">
                  <c:v>20844</c:v>
                </c:pt>
                <c:pt idx="49261">
                  <c:v>20843</c:v>
                </c:pt>
                <c:pt idx="49262">
                  <c:v>20843</c:v>
                </c:pt>
                <c:pt idx="49263">
                  <c:v>20843</c:v>
                </c:pt>
                <c:pt idx="49264">
                  <c:v>20843</c:v>
                </c:pt>
                <c:pt idx="49265">
                  <c:v>20843</c:v>
                </c:pt>
                <c:pt idx="49266">
                  <c:v>20842</c:v>
                </c:pt>
                <c:pt idx="49267">
                  <c:v>20842</c:v>
                </c:pt>
                <c:pt idx="49268">
                  <c:v>20842</c:v>
                </c:pt>
                <c:pt idx="49269">
                  <c:v>20841</c:v>
                </c:pt>
                <c:pt idx="49270">
                  <c:v>20841</c:v>
                </c:pt>
                <c:pt idx="49271">
                  <c:v>20840</c:v>
                </c:pt>
                <c:pt idx="49272">
                  <c:v>20840</c:v>
                </c:pt>
                <c:pt idx="49273">
                  <c:v>20840</c:v>
                </c:pt>
                <c:pt idx="49274">
                  <c:v>20839</c:v>
                </c:pt>
                <c:pt idx="49275">
                  <c:v>20838</c:v>
                </c:pt>
                <c:pt idx="49276">
                  <c:v>20838</c:v>
                </c:pt>
                <c:pt idx="49277">
                  <c:v>20837</c:v>
                </c:pt>
                <c:pt idx="49278">
                  <c:v>20837</c:v>
                </c:pt>
                <c:pt idx="49279">
                  <c:v>20836</c:v>
                </c:pt>
                <c:pt idx="49280">
                  <c:v>20836</c:v>
                </c:pt>
                <c:pt idx="49281">
                  <c:v>20836</c:v>
                </c:pt>
                <c:pt idx="49282">
                  <c:v>20836</c:v>
                </c:pt>
                <c:pt idx="49283">
                  <c:v>20836</c:v>
                </c:pt>
                <c:pt idx="49284">
                  <c:v>20835</c:v>
                </c:pt>
                <c:pt idx="49285">
                  <c:v>20835</c:v>
                </c:pt>
                <c:pt idx="49286">
                  <c:v>20834</c:v>
                </c:pt>
                <c:pt idx="49287">
                  <c:v>20834</c:v>
                </c:pt>
                <c:pt idx="49288">
                  <c:v>20833</c:v>
                </c:pt>
                <c:pt idx="49289">
                  <c:v>20833</c:v>
                </c:pt>
                <c:pt idx="49290">
                  <c:v>20832</c:v>
                </c:pt>
                <c:pt idx="49291">
                  <c:v>20830</c:v>
                </c:pt>
                <c:pt idx="49292">
                  <c:v>20830</c:v>
                </c:pt>
                <c:pt idx="49293">
                  <c:v>20829</c:v>
                </c:pt>
                <c:pt idx="49294">
                  <c:v>20829</c:v>
                </c:pt>
                <c:pt idx="49295">
                  <c:v>20829</c:v>
                </c:pt>
                <c:pt idx="49296">
                  <c:v>20828</c:v>
                </c:pt>
                <c:pt idx="49297">
                  <c:v>20828</c:v>
                </c:pt>
                <c:pt idx="49298">
                  <c:v>20828</c:v>
                </c:pt>
                <c:pt idx="49299">
                  <c:v>20828</c:v>
                </c:pt>
                <c:pt idx="49300">
                  <c:v>20827</c:v>
                </c:pt>
                <c:pt idx="49301">
                  <c:v>20827</c:v>
                </c:pt>
                <c:pt idx="49302">
                  <c:v>20826</c:v>
                </c:pt>
                <c:pt idx="49303">
                  <c:v>20826</c:v>
                </c:pt>
                <c:pt idx="49304">
                  <c:v>20825</c:v>
                </c:pt>
                <c:pt idx="49305">
                  <c:v>20825</c:v>
                </c:pt>
                <c:pt idx="49306">
                  <c:v>20825</c:v>
                </c:pt>
                <c:pt idx="49307">
                  <c:v>20824</c:v>
                </c:pt>
                <c:pt idx="49308">
                  <c:v>20824</c:v>
                </c:pt>
                <c:pt idx="49309">
                  <c:v>20823</c:v>
                </c:pt>
                <c:pt idx="49310">
                  <c:v>20822</c:v>
                </c:pt>
                <c:pt idx="49311">
                  <c:v>20822</c:v>
                </c:pt>
                <c:pt idx="49312">
                  <c:v>20821</c:v>
                </c:pt>
                <c:pt idx="49313">
                  <c:v>20821</c:v>
                </c:pt>
                <c:pt idx="49314">
                  <c:v>20821</c:v>
                </c:pt>
                <c:pt idx="49315">
                  <c:v>20820</c:v>
                </c:pt>
                <c:pt idx="49316">
                  <c:v>20820</c:v>
                </c:pt>
                <c:pt idx="49317">
                  <c:v>20819</c:v>
                </c:pt>
                <c:pt idx="49318">
                  <c:v>20819</c:v>
                </c:pt>
                <c:pt idx="49319">
                  <c:v>20818</c:v>
                </c:pt>
                <c:pt idx="49320">
                  <c:v>20818</c:v>
                </c:pt>
                <c:pt idx="49321">
                  <c:v>20816</c:v>
                </c:pt>
                <c:pt idx="49322">
                  <c:v>20816</c:v>
                </c:pt>
                <c:pt idx="49323">
                  <c:v>20816</c:v>
                </c:pt>
                <c:pt idx="49324">
                  <c:v>20816</c:v>
                </c:pt>
                <c:pt idx="49325">
                  <c:v>20816</c:v>
                </c:pt>
                <c:pt idx="49326">
                  <c:v>20816</c:v>
                </c:pt>
                <c:pt idx="49327">
                  <c:v>20816</c:v>
                </c:pt>
                <c:pt idx="49328">
                  <c:v>20815</c:v>
                </c:pt>
                <c:pt idx="49329">
                  <c:v>20815</c:v>
                </c:pt>
                <c:pt idx="49330">
                  <c:v>20815</c:v>
                </c:pt>
                <c:pt idx="49331">
                  <c:v>20814</c:v>
                </c:pt>
                <c:pt idx="49332">
                  <c:v>20813</c:v>
                </c:pt>
                <c:pt idx="49333">
                  <c:v>20812</c:v>
                </c:pt>
                <c:pt idx="49334">
                  <c:v>20812</c:v>
                </c:pt>
                <c:pt idx="49335">
                  <c:v>20812</c:v>
                </c:pt>
                <c:pt idx="49336">
                  <c:v>20812</c:v>
                </c:pt>
                <c:pt idx="49337">
                  <c:v>20811</c:v>
                </c:pt>
                <c:pt idx="49338">
                  <c:v>20811</c:v>
                </c:pt>
                <c:pt idx="49339">
                  <c:v>20810</c:v>
                </c:pt>
                <c:pt idx="49340">
                  <c:v>20810</c:v>
                </c:pt>
                <c:pt idx="49341">
                  <c:v>20810</c:v>
                </c:pt>
                <c:pt idx="49342">
                  <c:v>20810</c:v>
                </c:pt>
                <c:pt idx="49343">
                  <c:v>20809</c:v>
                </c:pt>
                <c:pt idx="49344">
                  <c:v>20809</c:v>
                </c:pt>
                <c:pt idx="49345">
                  <c:v>20809</c:v>
                </c:pt>
                <c:pt idx="49346">
                  <c:v>20809</c:v>
                </c:pt>
                <c:pt idx="49347">
                  <c:v>20809</c:v>
                </c:pt>
                <c:pt idx="49348">
                  <c:v>20808</c:v>
                </c:pt>
                <c:pt idx="49349">
                  <c:v>20808</c:v>
                </c:pt>
                <c:pt idx="49350">
                  <c:v>20808</c:v>
                </c:pt>
                <c:pt idx="49351">
                  <c:v>20807</c:v>
                </c:pt>
                <c:pt idx="49352">
                  <c:v>20806</c:v>
                </c:pt>
                <c:pt idx="49353">
                  <c:v>20806</c:v>
                </c:pt>
                <c:pt idx="49354">
                  <c:v>20806</c:v>
                </c:pt>
                <c:pt idx="49355">
                  <c:v>20805</c:v>
                </c:pt>
                <c:pt idx="49356">
                  <c:v>20805</c:v>
                </c:pt>
                <c:pt idx="49357">
                  <c:v>20804</c:v>
                </c:pt>
                <c:pt idx="49358">
                  <c:v>20804</c:v>
                </c:pt>
                <c:pt idx="49359">
                  <c:v>20803</c:v>
                </c:pt>
                <c:pt idx="49360">
                  <c:v>20803</c:v>
                </c:pt>
                <c:pt idx="49361">
                  <c:v>20802</c:v>
                </c:pt>
                <c:pt idx="49362">
                  <c:v>20802</c:v>
                </c:pt>
                <c:pt idx="49363">
                  <c:v>20801</c:v>
                </c:pt>
                <c:pt idx="49364">
                  <c:v>20801</c:v>
                </c:pt>
                <c:pt idx="49365">
                  <c:v>20800</c:v>
                </c:pt>
                <c:pt idx="49366">
                  <c:v>20800</c:v>
                </c:pt>
                <c:pt idx="49367">
                  <c:v>20800</c:v>
                </c:pt>
                <c:pt idx="49368">
                  <c:v>20800</c:v>
                </c:pt>
                <c:pt idx="49369">
                  <c:v>20800</c:v>
                </c:pt>
                <c:pt idx="49370">
                  <c:v>20800</c:v>
                </c:pt>
                <c:pt idx="49371">
                  <c:v>20799</c:v>
                </c:pt>
                <c:pt idx="49372">
                  <c:v>20798</c:v>
                </c:pt>
                <c:pt idx="49373">
                  <c:v>20798</c:v>
                </c:pt>
                <c:pt idx="49374">
                  <c:v>20797</c:v>
                </c:pt>
                <c:pt idx="49375">
                  <c:v>20797</c:v>
                </c:pt>
                <c:pt idx="49376">
                  <c:v>20797</c:v>
                </c:pt>
                <c:pt idx="49377">
                  <c:v>20797</c:v>
                </c:pt>
                <c:pt idx="49378">
                  <c:v>20796</c:v>
                </c:pt>
                <c:pt idx="49379">
                  <c:v>20796</c:v>
                </c:pt>
                <c:pt idx="49380">
                  <c:v>20796</c:v>
                </c:pt>
                <c:pt idx="49381">
                  <c:v>20795</c:v>
                </c:pt>
                <c:pt idx="49382">
                  <c:v>20795</c:v>
                </c:pt>
                <c:pt idx="49383">
                  <c:v>20795</c:v>
                </c:pt>
                <c:pt idx="49384">
                  <c:v>20795</c:v>
                </c:pt>
                <c:pt idx="49385">
                  <c:v>20794</c:v>
                </c:pt>
                <c:pt idx="49386">
                  <c:v>20794</c:v>
                </c:pt>
                <c:pt idx="49387">
                  <c:v>20794</c:v>
                </c:pt>
                <c:pt idx="49388">
                  <c:v>20794</c:v>
                </c:pt>
                <c:pt idx="49389">
                  <c:v>20794</c:v>
                </c:pt>
                <c:pt idx="49390">
                  <c:v>20792</c:v>
                </c:pt>
                <c:pt idx="49391">
                  <c:v>20792</c:v>
                </c:pt>
                <c:pt idx="49392">
                  <c:v>20792</c:v>
                </c:pt>
                <c:pt idx="49393">
                  <c:v>20791</c:v>
                </c:pt>
                <c:pt idx="49394">
                  <c:v>20791</c:v>
                </c:pt>
                <c:pt idx="49395">
                  <c:v>20790</c:v>
                </c:pt>
                <c:pt idx="49396">
                  <c:v>20789</c:v>
                </c:pt>
                <c:pt idx="49397">
                  <c:v>20789</c:v>
                </c:pt>
                <c:pt idx="49398">
                  <c:v>20789</c:v>
                </c:pt>
                <c:pt idx="49399">
                  <c:v>20788</c:v>
                </c:pt>
                <c:pt idx="49400">
                  <c:v>20787</c:v>
                </c:pt>
                <c:pt idx="49401">
                  <c:v>20787</c:v>
                </c:pt>
                <c:pt idx="49402">
                  <c:v>20787</c:v>
                </c:pt>
                <c:pt idx="49403">
                  <c:v>20786</c:v>
                </c:pt>
                <c:pt idx="49404">
                  <c:v>20786</c:v>
                </c:pt>
                <c:pt idx="49405">
                  <c:v>20786</c:v>
                </c:pt>
                <c:pt idx="49406">
                  <c:v>20786</c:v>
                </c:pt>
                <c:pt idx="49407">
                  <c:v>20786</c:v>
                </c:pt>
                <c:pt idx="49408">
                  <c:v>20786</c:v>
                </c:pt>
                <c:pt idx="49409">
                  <c:v>20786</c:v>
                </c:pt>
                <c:pt idx="49410">
                  <c:v>20785</c:v>
                </c:pt>
                <c:pt idx="49411">
                  <c:v>20785</c:v>
                </c:pt>
                <c:pt idx="49412">
                  <c:v>20785</c:v>
                </c:pt>
                <c:pt idx="49413">
                  <c:v>20783</c:v>
                </c:pt>
                <c:pt idx="49414">
                  <c:v>20783</c:v>
                </c:pt>
                <c:pt idx="49415">
                  <c:v>20783</c:v>
                </c:pt>
                <c:pt idx="49416">
                  <c:v>20782</c:v>
                </c:pt>
                <c:pt idx="49417">
                  <c:v>20782</c:v>
                </c:pt>
                <c:pt idx="49418">
                  <c:v>20780</c:v>
                </c:pt>
                <c:pt idx="49419">
                  <c:v>20780</c:v>
                </c:pt>
                <c:pt idx="49420">
                  <c:v>20779</c:v>
                </c:pt>
                <c:pt idx="49421">
                  <c:v>20779</c:v>
                </c:pt>
                <c:pt idx="49422">
                  <c:v>20779</c:v>
                </c:pt>
                <c:pt idx="49423">
                  <c:v>20778</c:v>
                </c:pt>
                <c:pt idx="49424">
                  <c:v>20778</c:v>
                </c:pt>
                <c:pt idx="49425">
                  <c:v>20778</c:v>
                </c:pt>
                <c:pt idx="49426">
                  <c:v>20778</c:v>
                </c:pt>
                <c:pt idx="49427">
                  <c:v>20778</c:v>
                </c:pt>
                <c:pt idx="49428">
                  <c:v>20777</c:v>
                </c:pt>
                <c:pt idx="49429">
                  <c:v>20777</c:v>
                </c:pt>
                <c:pt idx="49430">
                  <c:v>20777</c:v>
                </c:pt>
                <c:pt idx="49431">
                  <c:v>20776</c:v>
                </c:pt>
                <c:pt idx="49432">
                  <c:v>20776</c:v>
                </c:pt>
                <c:pt idx="49433">
                  <c:v>20775</c:v>
                </c:pt>
                <c:pt idx="49434">
                  <c:v>20775</c:v>
                </c:pt>
                <c:pt idx="49435">
                  <c:v>20775</c:v>
                </c:pt>
                <c:pt idx="49436">
                  <c:v>20774</c:v>
                </c:pt>
                <c:pt idx="49437">
                  <c:v>20774</c:v>
                </c:pt>
                <c:pt idx="49438">
                  <c:v>20774</c:v>
                </c:pt>
                <c:pt idx="49439">
                  <c:v>20773</c:v>
                </c:pt>
                <c:pt idx="49440">
                  <c:v>20773</c:v>
                </c:pt>
                <c:pt idx="49441">
                  <c:v>20773</c:v>
                </c:pt>
                <c:pt idx="49442">
                  <c:v>20772</c:v>
                </c:pt>
                <c:pt idx="49443">
                  <c:v>20772</c:v>
                </c:pt>
                <c:pt idx="49444">
                  <c:v>20772</c:v>
                </c:pt>
                <c:pt idx="49445">
                  <c:v>20772</c:v>
                </c:pt>
                <c:pt idx="49446">
                  <c:v>20771</c:v>
                </c:pt>
                <c:pt idx="49447">
                  <c:v>20771</c:v>
                </c:pt>
                <c:pt idx="49448">
                  <c:v>20770</c:v>
                </c:pt>
                <c:pt idx="49449">
                  <c:v>20768</c:v>
                </c:pt>
                <c:pt idx="49450">
                  <c:v>20767</c:v>
                </c:pt>
                <c:pt idx="49451">
                  <c:v>20766</c:v>
                </c:pt>
                <c:pt idx="49452">
                  <c:v>20766</c:v>
                </c:pt>
                <c:pt idx="49453">
                  <c:v>20766</c:v>
                </c:pt>
                <c:pt idx="49454">
                  <c:v>20766</c:v>
                </c:pt>
                <c:pt idx="49455">
                  <c:v>20766</c:v>
                </c:pt>
                <c:pt idx="49456">
                  <c:v>20766</c:v>
                </c:pt>
                <c:pt idx="49457">
                  <c:v>20765</c:v>
                </c:pt>
                <c:pt idx="49458">
                  <c:v>20764</c:v>
                </c:pt>
                <c:pt idx="49459">
                  <c:v>20764</c:v>
                </c:pt>
                <c:pt idx="49460">
                  <c:v>20764</c:v>
                </c:pt>
                <c:pt idx="49461">
                  <c:v>20763</c:v>
                </c:pt>
                <c:pt idx="49462">
                  <c:v>20763</c:v>
                </c:pt>
                <c:pt idx="49463">
                  <c:v>20762</c:v>
                </c:pt>
                <c:pt idx="49464">
                  <c:v>20762</c:v>
                </c:pt>
                <c:pt idx="49465">
                  <c:v>20761</c:v>
                </c:pt>
                <c:pt idx="49466">
                  <c:v>20761</c:v>
                </c:pt>
                <c:pt idx="49467">
                  <c:v>20761</c:v>
                </c:pt>
                <c:pt idx="49468">
                  <c:v>20760</c:v>
                </c:pt>
                <c:pt idx="49469">
                  <c:v>20760</c:v>
                </c:pt>
                <c:pt idx="49470">
                  <c:v>20760</c:v>
                </c:pt>
                <c:pt idx="49471">
                  <c:v>20760</c:v>
                </c:pt>
                <c:pt idx="49472">
                  <c:v>20760</c:v>
                </c:pt>
                <c:pt idx="49473">
                  <c:v>20759</c:v>
                </c:pt>
                <c:pt idx="49474">
                  <c:v>20759</c:v>
                </c:pt>
                <c:pt idx="49475">
                  <c:v>20759</c:v>
                </c:pt>
                <c:pt idx="49476">
                  <c:v>20758</c:v>
                </c:pt>
                <c:pt idx="49477">
                  <c:v>20758</c:v>
                </c:pt>
                <c:pt idx="49478">
                  <c:v>20757</c:v>
                </c:pt>
                <c:pt idx="49479">
                  <c:v>20756</c:v>
                </c:pt>
                <c:pt idx="49480">
                  <c:v>20756</c:v>
                </c:pt>
                <c:pt idx="49481">
                  <c:v>20755</c:v>
                </c:pt>
                <c:pt idx="49482">
                  <c:v>20755</c:v>
                </c:pt>
                <c:pt idx="49483">
                  <c:v>20755</c:v>
                </c:pt>
                <c:pt idx="49484">
                  <c:v>20754</c:v>
                </c:pt>
                <c:pt idx="49485">
                  <c:v>20753</c:v>
                </c:pt>
                <c:pt idx="49486">
                  <c:v>20753</c:v>
                </c:pt>
                <c:pt idx="49487">
                  <c:v>20752</c:v>
                </c:pt>
                <c:pt idx="49488">
                  <c:v>20751</c:v>
                </c:pt>
                <c:pt idx="49489">
                  <c:v>20751</c:v>
                </c:pt>
                <c:pt idx="49490">
                  <c:v>20751</c:v>
                </c:pt>
                <c:pt idx="49491">
                  <c:v>20751</c:v>
                </c:pt>
                <c:pt idx="49492">
                  <c:v>20750</c:v>
                </c:pt>
                <c:pt idx="49493">
                  <c:v>20749</c:v>
                </c:pt>
                <c:pt idx="49494">
                  <c:v>20749</c:v>
                </c:pt>
                <c:pt idx="49495">
                  <c:v>20748</c:v>
                </c:pt>
                <c:pt idx="49496">
                  <c:v>20748</c:v>
                </c:pt>
                <c:pt idx="49497">
                  <c:v>20748</c:v>
                </c:pt>
                <c:pt idx="49498">
                  <c:v>20748</c:v>
                </c:pt>
                <c:pt idx="49499">
                  <c:v>20747</c:v>
                </c:pt>
                <c:pt idx="49500">
                  <c:v>20747</c:v>
                </c:pt>
                <c:pt idx="49501">
                  <c:v>20745</c:v>
                </c:pt>
                <c:pt idx="49502">
                  <c:v>20745</c:v>
                </c:pt>
                <c:pt idx="49503">
                  <c:v>20745</c:v>
                </c:pt>
                <c:pt idx="49504">
                  <c:v>20744</c:v>
                </c:pt>
                <c:pt idx="49505">
                  <c:v>20743</c:v>
                </c:pt>
                <c:pt idx="49506">
                  <c:v>20743</c:v>
                </c:pt>
                <c:pt idx="49507">
                  <c:v>20742</c:v>
                </c:pt>
                <c:pt idx="49508">
                  <c:v>20742</c:v>
                </c:pt>
                <c:pt idx="49509">
                  <c:v>20742</c:v>
                </c:pt>
                <c:pt idx="49510">
                  <c:v>20741</c:v>
                </c:pt>
                <c:pt idx="49511">
                  <c:v>20741</c:v>
                </c:pt>
                <c:pt idx="49512">
                  <c:v>20741</c:v>
                </c:pt>
                <c:pt idx="49513">
                  <c:v>20741</c:v>
                </c:pt>
                <c:pt idx="49514">
                  <c:v>20740</c:v>
                </c:pt>
                <c:pt idx="49515">
                  <c:v>20740</c:v>
                </c:pt>
                <c:pt idx="49516">
                  <c:v>20740</c:v>
                </c:pt>
                <c:pt idx="49517">
                  <c:v>20740</c:v>
                </c:pt>
                <c:pt idx="49518">
                  <c:v>20739</c:v>
                </c:pt>
                <c:pt idx="49519">
                  <c:v>20739</c:v>
                </c:pt>
                <c:pt idx="49520">
                  <c:v>20738</c:v>
                </c:pt>
                <c:pt idx="49521">
                  <c:v>20738</c:v>
                </c:pt>
                <c:pt idx="49522">
                  <c:v>20737</c:v>
                </c:pt>
                <c:pt idx="49523">
                  <c:v>20736</c:v>
                </c:pt>
                <c:pt idx="49524">
                  <c:v>20736</c:v>
                </c:pt>
                <c:pt idx="49525">
                  <c:v>20735</c:v>
                </c:pt>
                <c:pt idx="49526">
                  <c:v>20735</c:v>
                </c:pt>
                <c:pt idx="49527">
                  <c:v>20734</c:v>
                </c:pt>
                <c:pt idx="49528">
                  <c:v>20734</c:v>
                </c:pt>
                <c:pt idx="49529">
                  <c:v>20734</c:v>
                </c:pt>
                <c:pt idx="49530">
                  <c:v>20734</c:v>
                </c:pt>
                <c:pt idx="49531">
                  <c:v>20734</c:v>
                </c:pt>
                <c:pt idx="49532">
                  <c:v>20733</c:v>
                </c:pt>
                <c:pt idx="49533">
                  <c:v>20733</c:v>
                </c:pt>
                <c:pt idx="49534">
                  <c:v>20733</c:v>
                </c:pt>
                <c:pt idx="49535">
                  <c:v>20732</c:v>
                </c:pt>
                <c:pt idx="49536">
                  <c:v>20732</c:v>
                </c:pt>
                <c:pt idx="49537">
                  <c:v>20732</c:v>
                </c:pt>
                <c:pt idx="49538">
                  <c:v>20731</c:v>
                </c:pt>
                <c:pt idx="49539">
                  <c:v>20731</c:v>
                </c:pt>
                <c:pt idx="49540">
                  <c:v>20731</c:v>
                </c:pt>
                <c:pt idx="49541">
                  <c:v>20730</c:v>
                </c:pt>
                <c:pt idx="49542">
                  <c:v>20729</c:v>
                </c:pt>
                <c:pt idx="49543">
                  <c:v>20729</c:v>
                </c:pt>
                <c:pt idx="49544">
                  <c:v>20729</c:v>
                </c:pt>
                <c:pt idx="49545">
                  <c:v>20729</c:v>
                </c:pt>
                <c:pt idx="49546">
                  <c:v>20727</c:v>
                </c:pt>
                <c:pt idx="49547">
                  <c:v>20727</c:v>
                </c:pt>
                <c:pt idx="49548">
                  <c:v>20727</c:v>
                </c:pt>
                <c:pt idx="49549">
                  <c:v>20726</c:v>
                </c:pt>
                <c:pt idx="49550">
                  <c:v>20726</c:v>
                </c:pt>
                <c:pt idx="49551">
                  <c:v>20725</c:v>
                </c:pt>
                <c:pt idx="49552">
                  <c:v>20724</c:v>
                </c:pt>
                <c:pt idx="49553">
                  <c:v>20723</c:v>
                </c:pt>
                <c:pt idx="49554">
                  <c:v>20723</c:v>
                </c:pt>
                <c:pt idx="49555">
                  <c:v>20723</c:v>
                </c:pt>
                <c:pt idx="49556">
                  <c:v>20722</c:v>
                </c:pt>
                <c:pt idx="49557">
                  <c:v>20722</c:v>
                </c:pt>
                <c:pt idx="49558">
                  <c:v>20722</c:v>
                </c:pt>
                <c:pt idx="49559">
                  <c:v>20722</c:v>
                </c:pt>
                <c:pt idx="49560">
                  <c:v>20721</c:v>
                </c:pt>
                <c:pt idx="49561">
                  <c:v>20721</c:v>
                </c:pt>
                <c:pt idx="49562">
                  <c:v>20721</c:v>
                </c:pt>
                <c:pt idx="49563">
                  <c:v>20720</c:v>
                </c:pt>
                <c:pt idx="49564">
                  <c:v>20719</c:v>
                </c:pt>
                <c:pt idx="49565">
                  <c:v>20719</c:v>
                </c:pt>
                <c:pt idx="49566">
                  <c:v>20719</c:v>
                </c:pt>
                <c:pt idx="49567">
                  <c:v>20719</c:v>
                </c:pt>
                <c:pt idx="49568">
                  <c:v>20719</c:v>
                </c:pt>
                <c:pt idx="49569">
                  <c:v>20719</c:v>
                </c:pt>
                <c:pt idx="49570">
                  <c:v>20718</c:v>
                </c:pt>
                <c:pt idx="49571">
                  <c:v>20718</c:v>
                </c:pt>
                <c:pt idx="49572">
                  <c:v>20717</c:v>
                </c:pt>
                <c:pt idx="49573">
                  <c:v>20717</c:v>
                </c:pt>
                <c:pt idx="49574">
                  <c:v>20717</c:v>
                </c:pt>
                <c:pt idx="49575">
                  <c:v>20717</c:v>
                </c:pt>
                <c:pt idx="49576">
                  <c:v>20716</c:v>
                </c:pt>
                <c:pt idx="49577">
                  <c:v>20716</c:v>
                </c:pt>
                <c:pt idx="49578">
                  <c:v>20716</c:v>
                </c:pt>
                <c:pt idx="49579">
                  <c:v>20716</c:v>
                </c:pt>
                <c:pt idx="49580">
                  <c:v>20715</c:v>
                </c:pt>
                <c:pt idx="49581">
                  <c:v>20714</c:v>
                </c:pt>
                <c:pt idx="49582">
                  <c:v>20713</c:v>
                </c:pt>
                <c:pt idx="49583">
                  <c:v>20713</c:v>
                </c:pt>
                <c:pt idx="49584">
                  <c:v>20712</c:v>
                </c:pt>
                <c:pt idx="49585">
                  <c:v>20712</c:v>
                </c:pt>
                <c:pt idx="49586">
                  <c:v>20712</c:v>
                </c:pt>
                <c:pt idx="49587">
                  <c:v>20712</c:v>
                </c:pt>
                <c:pt idx="49588">
                  <c:v>20711</c:v>
                </c:pt>
                <c:pt idx="49589">
                  <c:v>20711</c:v>
                </c:pt>
                <c:pt idx="49590">
                  <c:v>20711</c:v>
                </c:pt>
                <c:pt idx="49591">
                  <c:v>20710</c:v>
                </c:pt>
                <c:pt idx="49592">
                  <c:v>20710</c:v>
                </c:pt>
                <c:pt idx="49593">
                  <c:v>20709</c:v>
                </c:pt>
                <c:pt idx="49594">
                  <c:v>20708</c:v>
                </c:pt>
                <c:pt idx="49595">
                  <c:v>20708</c:v>
                </c:pt>
                <c:pt idx="49596">
                  <c:v>20704</c:v>
                </c:pt>
                <c:pt idx="49597">
                  <c:v>20703</c:v>
                </c:pt>
                <c:pt idx="49598">
                  <c:v>20703</c:v>
                </c:pt>
                <c:pt idx="49599">
                  <c:v>20702</c:v>
                </c:pt>
                <c:pt idx="49600">
                  <c:v>20702</c:v>
                </c:pt>
                <c:pt idx="49601">
                  <c:v>20702</c:v>
                </c:pt>
                <c:pt idx="49602">
                  <c:v>20701</c:v>
                </c:pt>
                <c:pt idx="49603">
                  <c:v>20701</c:v>
                </c:pt>
                <c:pt idx="49604">
                  <c:v>20701</c:v>
                </c:pt>
                <c:pt idx="49605">
                  <c:v>20701</c:v>
                </c:pt>
                <c:pt idx="49606">
                  <c:v>20700</c:v>
                </c:pt>
                <c:pt idx="49607">
                  <c:v>20700</c:v>
                </c:pt>
                <c:pt idx="49608">
                  <c:v>20700</c:v>
                </c:pt>
                <c:pt idx="49609">
                  <c:v>20698</c:v>
                </c:pt>
                <c:pt idx="49610">
                  <c:v>20697</c:v>
                </c:pt>
                <c:pt idx="49611">
                  <c:v>20697</c:v>
                </c:pt>
                <c:pt idx="49612">
                  <c:v>20697</c:v>
                </c:pt>
                <c:pt idx="49613">
                  <c:v>20696</c:v>
                </c:pt>
                <c:pt idx="49614">
                  <c:v>20696</c:v>
                </c:pt>
                <c:pt idx="49615">
                  <c:v>20696</c:v>
                </c:pt>
                <c:pt idx="49616">
                  <c:v>20695</c:v>
                </c:pt>
                <c:pt idx="49617">
                  <c:v>20695</c:v>
                </c:pt>
                <c:pt idx="49618">
                  <c:v>20694</c:v>
                </c:pt>
                <c:pt idx="49619">
                  <c:v>20694</c:v>
                </c:pt>
                <c:pt idx="49620">
                  <c:v>20694</c:v>
                </c:pt>
                <c:pt idx="49621">
                  <c:v>20694</c:v>
                </c:pt>
                <c:pt idx="49622">
                  <c:v>20693</c:v>
                </c:pt>
                <c:pt idx="49623">
                  <c:v>20692</c:v>
                </c:pt>
                <c:pt idx="49624">
                  <c:v>20691</c:v>
                </c:pt>
                <c:pt idx="49625">
                  <c:v>20690</c:v>
                </c:pt>
                <c:pt idx="49626">
                  <c:v>20690</c:v>
                </c:pt>
                <c:pt idx="49627">
                  <c:v>20690</c:v>
                </c:pt>
                <c:pt idx="49628">
                  <c:v>20689</c:v>
                </c:pt>
                <c:pt idx="49629">
                  <c:v>20688</c:v>
                </c:pt>
                <c:pt idx="49630">
                  <c:v>20688</c:v>
                </c:pt>
                <c:pt idx="49631">
                  <c:v>20688</c:v>
                </c:pt>
                <c:pt idx="49632">
                  <c:v>20688</c:v>
                </c:pt>
                <c:pt idx="49633">
                  <c:v>20688</c:v>
                </c:pt>
                <c:pt idx="49634">
                  <c:v>20687</c:v>
                </c:pt>
                <c:pt idx="49635">
                  <c:v>20686</c:v>
                </c:pt>
                <c:pt idx="49636">
                  <c:v>20686</c:v>
                </c:pt>
                <c:pt idx="49637">
                  <c:v>20685</c:v>
                </c:pt>
                <c:pt idx="49638">
                  <c:v>20685</c:v>
                </c:pt>
                <c:pt idx="49639">
                  <c:v>20684</c:v>
                </c:pt>
                <c:pt idx="49640">
                  <c:v>20684</c:v>
                </c:pt>
                <c:pt idx="49641">
                  <c:v>20684</c:v>
                </c:pt>
                <c:pt idx="49642">
                  <c:v>20683</c:v>
                </c:pt>
                <c:pt idx="49643">
                  <c:v>20683</c:v>
                </c:pt>
                <c:pt idx="49644">
                  <c:v>20683</c:v>
                </c:pt>
                <c:pt idx="49645">
                  <c:v>20682</c:v>
                </c:pt>
                <c:pt idx="49646">
                  <c:v>20682</c:v>
                </c:pt>
                <c:pt idx="49647">
                  <c:v>20682</c:v>
                </c:pt>
                <c:pt idx="49648">
                  <c:v>20682</c:v>
                </c:pt>
                <c:pt idx="49649">
                  <c:v>20681</c:v>
                </c:pt>
                <c:pt idx="49650">
                  <c:v>20681</c:v>
                </c:pt>
                <c:pt idx="49651">
                  <c:v>20680</c:v>
                </c:pt>
                <c:pt idx="49652">
                  <c:v>20680</c:v>
                </c:pt>
                <c:pt idx="49653">
                  <c:v>20680</c:v>
                </c:pt>
                <c:pt idx="49654">
                  <c:v>20680</c:v>
                </c:pt>
                <c:pt idx="49655">
                  <c:v>20678</c:v>
                </c:pt>
                <c:pt idx="49656">
                  <c:v>20678</c:v>
                </c:pt>
                <c:pt idx="49657">
                  <c:v>20677</c:v>
                </c:pt>
                <c:pt idx="49658">
                  <c:v>20677</c:v>
                </c:pt>
                <c:pt idx="49659">
                  <c:v>20677</c:v>
                </c:pt>
                <c:pt idx="49660">
                  <c:v>20677</c:v>
                </c:pt>
                <c:pt idx="49661">
                  <c:v>20676</c:v>
                </c:pt>
                <c:pt idx="49662">
                  <c:v>20676</c:v>
                </c:pt>
                <c:pt idx="49663">
                  <c:v>20676</c:v>
                </c:pt>
                <c:pt idx="49664">
                  <c:v>20676</c:v>
                </c:pt>
                <c:pt idx="49665">
                  <c:v>20674</c:v>
                </c:pt>
                <c:pt idx="49666">
                  <c:v>20673</c:v>
                </c:pt>
                <c:pt idx="49667">
                  <c:v>20673</c:v>
                </c:pt>
                <c:pt idx="49668">
                  <c:v>20673</c:v>
                </c:pt>
                <c:pt idx="49669">
                  <c:v>20672</c:v>
                </c:pt>
                <c:pt idx="49670">
                  <c:v>20671</c:v>
                </c:pt>
                <c:pt idx="49671">
                  <c:v>20671</c:v>
                </c:pt>
                <c:pt idx="49672">
                  <c:v>20671</c:v>
                </c:pt>
                <c:pt idx="49673">
                  <c:v>20671</c:v>
                </c:pt>
                <c:pt idx="49674">
                  <c:v>20670</c:v>
                </c:pt>
                <c:pt idx="49675">
                  <c:v>20669</c:v>
                </c:pt>
                <c:pt idx="49676">
                  <c:v>20669</c:v>
                </c:pt>
                <c:pt idx="49677">
                  <c:v>20668</c:v>
                </c:pt>
                <c:pt idx="49678">
                  <c:v>20668</c:v>
                </c:pt>
                <c:pt idx="49679">
                  <c:v>20667</c:v>
                </c:pt>
                <c:pt idx="49680">
                  <c:v>20667</c:v>
                </c:pt>
                <c:pt idx="49681">
                  <c:v>20667</c:v>
                </c:pt>
                <c:pt idx="49682">
                  <c:v>20666</c:v>
                </c:pt>
                <c:pt idx="49683">
                  <c:v>20665</c:v>
                </c:pt>
                <c:pt idx="49684">
                  <c:v>20665</c:v>
                </c:pt>
                <c:pt idx="49685">
                  <c:v>20664</c:v>
                </c:pt>
                <c:pt idx="49686">
                  <c:v>20664</c:v>
                </c:pt>
                <c:pt idx="49687">
                  <c:v>20663</c:v>
                </c:pt>
                <c:pt idx="49688">
                  <c:v>20663</c:v>
                </c:pt>
                <c:pt idx="49689">
                  <c:v>20662</c:v>
                </c:pt>
                <c:pt idx="49690">
                  <c:v>20662</c:v>
                </c:pt>
                <c:pt idx="49691">
                  <c:v>20662</c:v>
                </c:pt>
                <c:pt idx="49692">
                  <c:v>20662</c:v>
                </c:pt>
                <c:pt idx="49693">
                  <c:v>20662</c:v>
                </c:pt>
                <c:pt idx="49694">
                  <c:v>20661</c:v>
                </c:pt>
                <c:pt idx="49695">
                  <c:v>20661</c:v>
                </c:pt>
                <c:pt idx="49696">
                  <c:v>20660</c:v>
                </c:pt>
                <c:pt idx="49697">
                  <c:v>20660</c:v>
                </c:pt>
                <c:pt idx="49698">
                  <c:v>20660</c:v>
                </c:pt>
                <c:pt idx="49699">
                  <c:v>20659</c:v>
                </c:pt>
                <c:pt idx="49700">
                  <c:v>20659</c:v>
                </c:pt>
                <c:pt idx="49701">
                  <c:v>20659</c:v>
                </c:pt>
                <c:pt idx="49702">
                  <c:v>20659</c:v>
                </c:pt>
                <c:pt idx="49703">
                  <c:v>20658</c:v>
                </c:pt>
                <c:pt idx="49704">
                  <c:v>20657</c:v>
                </c:pt>
                <c:pt idx="49705">
                  <c:v>20657</c:v>
                </c:pt>
                <c:pt idx="49706">
                  <c:v>20656</c:v>
                </c:pt>
                <c:pt idx="49707">
                  <c:v>20656</c:v>
                </c:pt>
                <c:pt idx="49708">
                  <c:v>20656</c:v>
                </c:pt>
                <c:pt idx="49709">
                  <c:v>20656</c:v>
                </c:pt>
                <c:pt idx="49710">
                  <c:v>20656</c:v>
                </c:pt>
                <c:pt idx="49711">
                  <c:v>20656</c:v>
                </c:pt>
                <c:pt idx="49712">
                  <c:v>20655</c:v>
                </c:pt>
                <c:pt idx="49713">
                  <c:v>20655</c:v>
                </c:pt>
                <c:pt idx="49714">
                  <c:v>20654</c:v>
                </c:pt>
                <c:pt idx="49715">
                  <c:v>20654</c:v>
                </c:pt>
                <c:pt idx="49716">
                  <c:v>20654</c:v>
                </c:pt>
                <c:pt idx="49717">
                  <c:v>20654</c:v>
                </c:pt>
                <c:pt idx="49718">
                  <c:v>20652</c:v>
                </c:pt>
                <c:pt idx="49719">
                  <c:v>20652</c:v>
                </c:pt>
                <c:pt idx="49720">
                  <c:v>20652</c:v>
                </c:pt>
                <c:pt idx="49721">
                  <c:v>20652</c:v>
                </c:pt>
                <c:pt idx="49722">
                  <c:v>20651</c:v>
                </c:pt>
                <c:pt idx="49723">
                  <c:v>20651</c:v>
                </c:pt>
                <c:pt idx="49724">
                  <c:v>20651</c:v>
                </c:pt>
                <c:pt idx="49725">
                  <c:v>20650</c:v>
                </c:pt>
                <c:pt idx="49726">
                  <c:v>20650</c:v>
                </c:pt>
                <c:pt idx="49727">
                  <c:v>20649</c:v>
                </c:pt>
                <c:pt idx="49728">
                  <c:v>20649</c:v>
                </c:pt>
                <c:pt idx="49729">
                  <c:v>20649</c:v>
                </c:pt>
                <c:pt idx="49730">
                  <c:v>20648</c:v>
                </c:pt>
                <c:pt idx="49731">
                  <c:v>20647</c:v>
                </c:pt>
                <c:pt idx="49732">
                  <c:v>20646</c:v>
                </c:pt>
                <c:pt idx="49733">
                  <c:v>20646</c:v>
                </c:pt>
                <c:pt idx="49734">
                  <c:v>20646</c:v>
                </c:pt>
                <c:pt idx="49735">
                  <c:v>20645</c:v>
                </c:pt>
                <c:pt idx="49736">
                  <c:v>20644</c:v>
                </c:pt>
                <c:pt idx="49737">
                  <c:v>20644</c:v>
                </c:pt>
                <c:pt idx="49738">
                  <c:v>20643</c:v>
                </c:pt>
                <c:pt idx="49739">
                  <c:v>20643</c:v>
                </c:pt>
                <c:pt idx="49740">
                  <c:v>20642</c:v>
                </c:pt>
                <c:pt idx="49741">
                  <c:v>20641</c:v>
                </c:pt>
                <c:pt idx="49742">
                  <c:v>20641</c:v>
                </c:pt>
                <c:pt idx="49743">
                  <c:v>20641</c:v>
                </c:pt>
                <c:pt idx="49744">
                  <c:v>20641</c:v>
                </c:pt>
                <c:pt idx="49745">
                  <c:v>20640</c:v>
                </c:pt>
                <c:pt idx="49746">
                  <c:v>20638</c:v>
                </c:pt>
                <c:pt idx="49747">
                  <c:v>20637</c:v>
                </c:pt>
                <c:pt idx="49748">
                  <c:v>20637</c:v>
                </c:pt>
                <c:pt idx="49749">
                  <c:v>20637</c:v>
                </c:pt>
                <c:pt idx="49750">
                  <c:v>20635</c:v>
                </c:pt>
                <c:pt idx="49751">
                  <c:v>20635</c:v>
                </c:pt>
                <c:pt idx="49752">
                  <c:v>20635</c:v>
                </c:pt>
                <c:pt idx="49753">
                  <c:v>20634</c:v>
                </c:pt>
                <c:pt idx="49754">
                  <c:v>20634</c:v>
                </c:pt>
                <c:pt idx="49755">
                  <c:v>20634</c:v>
                </c:pt>
                <c:pt idx="49756">
                  <c:v>20632</c:v>
                </c:pt>
                <c:pt idx="49757">
                  <c:v>20632</c:v>
                </c:pt>
                <c:pt idx="49758">
                  <c:v>20632</c:v>
                </c:pt>
                <c:pt idx="49759">
                  <c:v>20632</c:v>
                </c:pt>
                <c:pt idx="49760">
                  <c:v>20632</c:v>
                </c:pt>
                <c:pt idx="49761">
                  <c:v>20631</c:v>
                </c:pt>
                <c:pt idx="49762">
                  <c:v>20631</c:v>
                </c:pt>
                <c:pt idx="49763">
                  <c:v>20630</c:v>
                </c:pt>
                <c:pt idx="49764">
                  <c:v>20630</c:v>
                </c:pt>
                <c:pt idx="49765">
                  <c:v>20630</c:v>
                </c:pt>
                <c:pt idx="49766">
                  <c:v>20630</c:v>
                </c:pt>
                <c:pt idx="49767">
                  <c:v>20630</c:v>
                </c:pt>
                <c:pt idx="49768">
                  <c:v>20630</c:v>
                </c:pt>
                <c:pt idx="49769">
                  <c:v>20628</c:v>
                </c:pt>
                <c:pt idx="49770">
                  <c:v>20627</c:v>
                </c:pt>
                <c:pt idx="49771">
                  <c:v>20627</c:v>
                </c:pt>
                <c:pt idx="49772">
                  <c:v>20626</c:v>
                </c:pt>
                <c:pt idx="49773">
                  <c:v>20626</c:v>
                </c:pt>
                <c:pt idx="49774">
                  <c:v>20625</c:v>
                </c:pt>
                <c:pt idx="49775">
                  <c:v>20625</c:v>
                </c:pt>
                <c:pt idx="49776">
                  <c:v>20625</c:v>
                </c:pt>
                <c:pt idx="49777">
                  <c:v>20625</c:v>
                </c:pt>
                <c:pt idx="49778">
                  <c:v>20624</c:v>
                </c:pt>
                <c:pt idx="49779">
                  <c:v>20624</c:v>
                </c:pt>
                <c:pt idx="49780">
                  <c:v>20624</c:v>
                </c:pt>
                <c:pt idx="49781">
                  <c:v>20623</c:v>
                </c:pt>
                <c:pt idx="49782">
                  <c:v>20623</c:v>
                </c:pt>
                <c:pt idx="49783">
                  <c:v>20623</c:v>
                </c:pt>
                <c:pt idx="49784">
                  <c:v>20621</c:v>
                </c:pt>
                <c:pt idx="49785">
                  <c:v>20621</c:v>
                </c:pt>
                <c:pt idx="49786">
                  <c:v>20620</c:v>
                </c:pt>
                <c:pt idx="49787">
                  <c:v>20620</c:v>
                </c:pt>
                <c:pt idx="49788">
                  <c:v>20619</c:v>
                </c:pt>
                <c:pt idx="49789">
                  <c:v>20619</c:v>
                </c:pt>
                <c:pt idx="49790">
                  <c:v>20618</c:v>
                </c:pt>
                <c:pt idx="49791">
                  <c:v>20618</c:v>
                </c:pt>
                <c:pt idx="49792">
                  <c:v>20618</c:v>
                </c:pt>
                <c:pt idx="49793">
                  <c:v>20618</c:v>
                </c:pt>
                <c:pt idx="49794">
                  <c:v>20618</c:v>
                </c:pt>
                <c:pt idx="49795">
                  <c:v>20618</c:v>
                </c:pt>
                <c:pt idx="49796">
                  <c:v>20617</c:v>
                </c:pt>
                <c:pt idx="49797">
                  <c:v>20616</c:v>
                </c:pt>
                <c:pt idx="49798">
                  <c:v>20616</c:v>
                </c:pt>
                <c:pt idx="49799">
                  <c:v>20616</c:v>
                </c:pt>
                <c:pt idx="49800">
                  <c:v>20616</c:v>
                </c:pt>
                <c:pt idx="49801">
                  <c:v>20616</c:v>
                </c:pt>
                <c:pt idx="49802">
                  <c:v>20615</c:v>
                </c:pt>
                <c:pt idx="49803">
                  <c:v>20614</c:v>
                </c:pt>
                <c:pt idx="49804">
                  <c:v>20614</c:v>
                </c:pt>
                <c:pt idx="49805">
                  <c:v>20614</c:v>
                </c:pt>
                <c:pt idx="49806">
                  <c:v>20613</c:v>
                </c:pt>
                <c:pt idx="49807">
                  <c:v>20612</c:v>
                </c:pt>
                <c:pt idx="49808">
                  <c:v>20612</c:v>
                </c:pt>
                <c:pt idx="49809">
                  <c:v>20611</c:v>
                </c:pt>
                <c:pt idx="49810">
                  <c:v>20611</c:v>
                </c:pt>
                <c:pt idx="49811">
                  <c:v>20610</c:v>
                </c:pt>
                <c:pt idx="49812">
                  <c:v>20610</c:v>
                </c:pt>
                <c:pt idx="49813">
                  <c:v>20609</c:v>
                </c:pt>
                <c:pt idx="49814">
                  <c:v>20609</c:v>
                </c:pt>
                <c:pt idx="49815">
                  <c:v>20609</c:v>
                </c:pt>
                <c:pt idx="49816">
                  <c:v>20608</c:v>
                </c:pt>
                <c:pt idx="49817">
                  <c:v>20608</c:v>
                </c:pt>
                <c:pt idx="49818">
                  <c:v>20607</c:v>
                </c:pt>
                <c:pt idx="49819">
                  <c:v>20607</c:v>
                </c:pt>
                <c:pt idx="49820">
                  <c:v>20607</c:v>
                </c:pt>
                <c:pt idx="49821">
                  <c:v>20607</c:v>
                </c:pt>
                <c:pt idx="49822">
                  <c:v>20605</c:v>
                </c:pt>
                <c:pt idx="49823">
                  <c:v>20605</c:v>
                </c:pt>
                <c:pt idx="49824">
                  <c:v>20604</c:v>
                </c:pt>
                <c:pt idx="49825">
                  <c:v>20604</c:v>
                </c:pt>
                <c:pt idx="49826">
                  <c:v>20604</c:v>
                </c:pt>
                <c:pt idx="49827">
                  <c:v>20603</c:v>
                </c:pt>
                <c:pt idx="49828">
                  <c:v>20603</c:v>
                </c:pt>
                <c:pt idx="49829">
                  <c:v>20603</c:v>
                </c:pt>
                <c:pt idx="49830">
                  <c:v>20602</c:v>
                </c:pt>
                <c:pt idx="49831">
                  <c:v>20601</c:v>
                </c:pt>
                <c:pt idx="49832">
                  <c:v>20601</c:v>
                </c:pt>
                <c:pt idx="49833">
                  <c:v>20601</c:v>
                </c:pt>
                <c:pt idx="49834">
                  <c:v>20600</c:v>
                </c:pt>
                <c:pt idx="49835">
                  <c:v>20600</c:v>
                </c:pt>
                <c:pt idx="49836">
                  <c:v>20600</c:v>
                </c:pt>
                <c:pt idx="49837">
                  <c:v>20600</c:v>
                </c:pt>
                <c:pt idx="49838">
                  <c:v>20599</c:v>
                </c:pt>
                <c:pt idx="49839">
                  <c:v>20599</c:v>
                </c:pt>
                <c:pt idx="49840">
                  <c:v>20599</c:v>
                </c:pt>
                <c:pt idx="49841">
                  <c:v>20598</c:v>
                </c:pt>
                <c:pt idx="49842">
                  <c:v>20596</c:v>
                </c:pt>
                <c:pt idx="49843">
                  <c:v>20595</c:v>
                </c:pt>
                <c:pt idx="49844">
                  <c:v>20595</c:v>
                </c:pt>
                <c:pt idx="49845">
                  <c:v>20595</c:v>
                </c:pt>
                <c:pt idx="49846">
                  <c:v>20593</c:v>
                </c:pt>
                <c:pt idx="49847">
                  <c:v>20593</c:v>
                </c:pt>
                <c:pt idx="49848">
                  <c:v>20593</c:v>
                </c:pt>
                <c:pt idx="49849">
                  <c:v>20593</c:v>
                </c:pt>
                <c:pt idx="49850">
                  <c:v>20593</c:v>
                </c:pt>
                <c:pt idx="49851">
                  <c:v>20593</c:v>
                </c:pt>
                <c:pt idx="49852">
                  <c:v>20592</c:v>
                </c:pt>
                <c:pt idx="49853">
                  <c:v>20591</c:v>
                </c:pt>
                <c:pt idx="49854">
                  <c:v>20591</c:v>
                </c:pt>
                <c:pt idx="49855">
                  <c:v>20591</c:v>
                </c:pt>
                <c:pt idx="49856">
                  <c:v>20590</c:v>
                </c:pt>
                <c:pt idx="49857">
                  <c:v>20590</c:v>
                </c:pt>
                <c:pt idx="49858">
                  <c:v>20590</c:v>
                </c:pt>
                <c:pt idx="49859">
                  <c:v>20589</c:v>
                </c:pt>
                <c:pt idx="49860">
                  <c:v>20589</c:v>
                </c:pt>
                <c:pt idx="49861">
                  <c:v>20587</c:v>
                </c:pt>
                <c:pt idx="49862">
                  <c:v>20587</c:v>
                </c:pt>
                <c:pt idx="49863">
                  <c:v>20587</c:v>
                </c:pt>
                <c:pt idx="49864">
                  <c:v>20587</c:v>
                </c:pt>
                <c:pt idx="49865">
                  <c:v>20586</c:v>
                </c:pt>
                <c:pt idx="49866">
                  <c:v>20586</c:v>
                </c:pt>
                <c:pt idx="49867">
                  <c:v>20585</c:v>
                </c:pt>
                <c:pt idx="49868">
                  <c:v>20584</c:v>
                </c:pt>
                <c:pt idx="49869">
                  <c:v>20584</c:v>
                </c:pt>
                <c:pt idx="49870">
                  <c:v>20584</c:v>
                </c:pt>
                <c:pt idx="49871">
                  <c:v>20583</c:v>
                </c:pt>
                <c:pt idx="49872">
                  <c:v>20582</c:v>
                </c:pt>
                <c:pt idx="49873">
                  <c:v>20582</c:v>
                </c:pt>
                <c:pt idx="49874">
                  <c:v>20582</c:v>
                </c:pt>
                <c:pt idx="49875">
                  <c:v>20582</c:v>
                </c:pt>
                <c:pt idx="49876">
                  <c:v>20581</c:v>
                </c:pt>
                <c:pt idx="49877">
                  <c:v>20581</c:v>
                </c:pt>
                <c:pt idx="49878">
                  <c:v>20580</c:v>
                </c:pt>
                <c:pt idx="49879">
                  <c:v>20577</c:v>
                </c:pt>
                <c:pt idx="49880">
                  <c:v>20577</c:v>
                </c:pt>
                <c:pt idx="49881">
                  <c:v>20576</c:v>
                </c:pt>
                <c:pt idx="49882">
                  <c:v>20576</c:v>
                </c:pt>
                <c:pt idx="49883">
                  <c:v>20576</c:v>
                </c:pt>
                <c:pt idx="49884">
                  <c:v>20575</c:v>
                </c:pt>
                <c:pt idx="49885">
                  <c:v>20575</c:v>
                </c:pt>
                <c:pt idx="49886">
                  <c:v>20574</c:v>
                </c:pt>
                <c:pt idx="49887">
                  <c:v>20574</c:v>
                </c:pt>
                <c:pt idx="49888">
                  <c:v>20573</c:v>
                </c:pt>
                <c:pt idx="49889">
                  <c:v>20573</c:v>
                </c:pt>
                <c:pt idx="49890">
                  <c:v>20573</c:v>
                </c:pt>
                <c:pt idx="49891">
                  <c:v>20572</c:v>
                </c:pt>
                <c:pt idx="49892">
                  <c:v>20572</c:v>
                </c:pt>
                <c:pt idx="49893">
                  <c:v>20572</c:v>
                </c:pt>
                <c:pt idx="49894">
                  <c:v>20570</c:v>
                </c:pt>
                <c:pt idx="49895">
                  <c:v>20569</c:v>
                </c:pt>
                <c:pt idx="49896">
                  <c:v>20569</c:v>
                </c:pt>
                <c:pt idx="49897">
                  <c:v>20568</c:v>
                </c:pt>
                <c:pt idx="49898">
                  <c:v>20568</c:v>
                </c:pt>
                <c:pt idx="49899">
                  <c:v>20568</c:v>
                </c:pt>
                <c:pt idx="49900">
                  <c:v>20568</c:v>
                </c:pt>
                <c:pt idx="49901">
                  <c:v>20567</c:v>
                </c:pt>
                <c:pt idx="49902">
                  <c:v>20565</c:v>
                </c:pt>
                <c:pt idx="49903">
                  <c:v>20564</c:v>
                </c:pt>
                <c:pt idx="49904">
                  <c:v>20564</c:v>
                </c:pt>
                <c:pt idx="49905">
                  <c:v>20564</c:v>
                </c:pt>
                <c:pt idx="49906">
                  <c:v>20564</c:v>
                </c:pt>
                <c:pt idx="49907">
                  <c:v>20564</c:v>
                </c:pt>
                <c:pt idx="49908">
                  <c:v>20564</c:v>
                </c:pt>
                <c:pt idx="49909">
                  <c:v>20564</c:v>
                </c:pt>
                <c:pt idx="49910">
                  <c:v>20562</c:v>
                </c:pt>
                <c:pt idx="49911">
                  <c:v>20561</c:v>
                </c:pt>
                <c:pt idx="49912">
                  <c:v>20561</c:v>
                </c:pt>
                <c:pt idx="49913">
                  <c:v>20560</c:v>
                </c:pt>
                <c:pt idx="49914">
                  <c:v>20560</c:v>
                </c:pt>
                <c:pt idx="49915">
                  <c:v>20559</c:v>
                </c:pt>
                <c:pt idx="49916">
                  <c:v>20559</c:v>
                </c:pt>
                <c:pt idx="49917">
                  <c:v>20559</c:v>
                </c:pt>
                <c:pt idx="49918">
                  <c:v>20559</c:v>
                </c:pt>
                <c:pt idx="49919">
                  <c:v>20558</c:v>
                </c:pt>
                <c:pt idx="49920">
                  <c:v>20558</c:v>
                </c:pt>
                <c:pt idx="49921">
                  <c:v>20557</c:v>
                </c:pt>
                <c:pt idx="49922">
                  <c:v>20557</c:v>
                </c:pt>
                <c:pt idx="49923">
                  <c:v>20557</c:v>
                </c:pt>
                <c:pt idx="49924">
                  <c:v>20554</c:v>
                </c:pt>
                <c:pt idx="49925">
                  <c:v>20554</c:v>
                </c:pt>
                <c:pt idx="49926">
                  <c:v>20554</c:v>
                </c:pt>
                <c:pt idx="49927">
                  <c:v>20554</c:v>
                </c:pt>
                <c:pt idx="49928">
                  <c:v>20553</c:v>
                </c:pt>
                <c:pt idx="49929">
                  <c:v>20553</c:v>
                </c:pt>
                <c:pt idx="49930">
                  <c:v>20553</c:v>
                </c:pt>
                <c:pt idx="49931">
                  <c:v>20552</c:v>
                </c:pt>
                <c:pt idx="49932">
                  <c:v>20552</c:v>
                </c:pt>
                <c:pt idx="49933">
                  <c:v>20552</c:v>
                </c:pt>
                <c:pt idx="49934">
                  <c:v>20552</c:v>
                </c:pt>
                <c:pt idx="49935">
                  <c:v>20551</c:v>
                </c:pt>
                <c:pt idx="49936">
                  <c:v>20551</c:v>
                </c:pt>
                <c:pt idx="49937">
                  <c:v>20550</c:v>
                </c:pt>
                <c:pt idx="49938">
                  <c:v>20550</c:v>
                </c:pt>
                <c:pt idx="49939">
                  <c:v>20550</c:v>
                </c:pt>
                <c:pt idx="49940">
                  <c:v>20550</c:v>
                </c:pt>
                <c:pt idx="49941">
                  <c:v>20549</c:v>
                </c:pt>
                <c:pt idx="49942">
                  <c:v>20547</c:v>
                </c:pt>
                <c:pt idx="49943">
                  <c:v>20547</c:v>
                </c:pt>
                <c:pt idx="49944">
                  <c:v>20547</c:v>
                </c:pt>
                <c:pt idx="49945">
                  <c:v>20546</c:v>
                </c:pt>
                <c:pt idx="49946">
                  <c:v>20546</c:v>
                </c:pt>
                <c:pt idx="49947">
                  <c:v>20546</c:v>
                </c:pt>
                <c:pt idx="49948">
                  <c:v>20546</c:v>
                </c:pt>
                <c:pt idx="49949">
                  <c:v>20545</c:v>
                </c:pt>
                <c:pt idx="49950">
                  <c:v>20545</c:v>
                </c:pt>
                <c:pt idx="49951">
                  <c:v>20544</c:v>
                </c:pt>
                <c:pt idx="49952">
                  <c:v>20544</c:v>
                </c:pt>
                <c:pt idx="49953">
                  <c:v>20544</c:v>
                </c:pt>
                <c:pt idx="49954">
                  <c:v>20544</c:v>
                </c:pt>
                <c:pt idx="49955">
                  <c:v>20544</c:v>
                </c:pt>
                <c:pt idx="49956">
                  <c:v>20544</c:v>
                </c:pt>
                <c:pt idx="49957">
                  <c:v>20543</c:v>
                </c:pt>
                <c:pt idx="49958">
                  <c:v>20543</c:v>
                </c:pt>
                <c:pt idx="49959">
                  <c:v>20542</c:v>
                </c:pt>
                <c:pt idx="49960">
                  <c:v>20542</c:v>
                </c:pt>
                <c:pt idx="49961">
                  <c:v>20542</c:v>
                </c:pt>
                <c:pt idx="49962">
                  <c:v>20541</c:v>
                </c:pt>
                <c:pt idx="49963">
                  <c:v>20541</c:v>
                </c:pt>
                <c:pt idx="49964">
                  <c:v>20541</c:v>
                </c:pt>
                <c:pt idx="49965">
                  <c:v>20541</c:v>
                </c:pt>
                <c:pt idx="49966">
                  <c:v>20540</c:v>
                </c:pt>
                <c:pt idx="49967">
                  <c:v>20540</c:v>
                </c:pt>
                <c:pt idx="49968">
                  <c:v>20538</c:v>
                </c:pt>
                <c:pt idx="49969">
                  <c:v>20538</c:v>
                </c:pt>
                <c:pt idx="49970">
                  <c:v>20538</c:v>
                </c:pt>
                <c:pt idx="49971">
                  <c:v>20538</c:v>
                </c:pt>
                <c:pt idx="49972">
                  <c:v>20537</c:v>
                </c:pt>
                <c:pt idx="49973">
                  <c:v>20537</c:v>
                </c:pt>
                <c:pt idx="49974">
                  <c:v>20536</c:v>
                </c:pt>
                <c:pt idx="49975">
                  <c:v>20535</c:v>
                </c:pt>
                <c:pt idx="49976">
                  <c:v>20535</c:v>
                </c:pt>
                <c:pt idx="49977">
                  <c:v>20535</c:v>
                </c:pt>
                <c:pt idx="49978">
                  <c:v>20534</c:v>
                </c:pt>
                <c:pt idx="49979">
                  <c:v>20533</c:v>
                </c:pt>
                <c:pt idx="49980">
                  <c:v>20533</c:v>
                </c:pt>
                <c:pt idx="49981">
                  <c:v>20532</c:v>
                </c:pt>
                <c:pt idx="49982">
                  <c:v>20532</c:v>
                </c:pt>
                <c:pt idx="49983">
                  <c:v>20532</c:v>
                </c:pt>
                <c:pt idx="49984">
                  <c:v>20531</c:v>
                </c:pt>
                <c:pt idx="49985">
                  <c:v>20531</c:v>
                </c:pt>
                <c:pt idx="49986">
                  <c:v>20530</c:v>
                </c:pt>
                <c:pt idx="49987">
                  <c:v>20530</c:v>
                </c:pt>
                <c:pt idx="49988">
                  <c:v>20530</c:v>
                </c:pt>
                <c:pt idx="49989">
                  <c:v>20530</c:v>
                </c:pt>
                <c:pt idx="49990">
                  <c:v>20529</c:v>
                </c:pt>
                <c:pt idx="49991">
                  <c:v>20529</c:v>
                </c:pt>
                <c:pt idx="49992">
                  <c:v>20528</c:v>
                </c:pt>
                <c:pt idx="49993">
                  <c:v>20528</c:v>
                </c:pt>
                <c:pt idx="49994">
                  <c:v>20528</c:v>
                </c:pt>
                <c:pt idx="49995">
                  <c:v>20527</c:v>
                </c:pt>
                <c:pt idx="49996">
                  <c:v>20527</c:v>
                </c:pt>
                <c:pt idx="49997">
                  <c:v>20526</c:v>
                </c:pt>
                <c:pt idx="49998">
                  <c:v>20526</c:v>
                </c:pt>
                <c:pt idx="49999">
                  <c:v>20525</c:v>
                </c:pt>
                <c:pt idx="50000">
                  <c:v>20525</c:v>
                </c:pt>
                <c:pt idx="50001">
                  <c:v>20525</c:v>
                </c:pt>
                <c:pt idx="50002">
                  <c:v>20524</c:v>
                </c:pt>
                <c:pt idx="50003">
                  <c:v>20523</c:v>
                </c:pt>
                <c:pt idx="50004">
                  <c:v>20523</c:v>
                </c:pt>
                <c:pt idx="50005">
                  <c:v>20522</c:v>
                </c:pt>
                <c:pt idx="50006">
                  <c:v>20521</c:v>
                </c:pt>
                <c:pt idx="50007">
                  <c:v>20521</c:v>
                </c:pt>
                <c:pt idx="50008">
                  <c:v>20520</c:v>
                </c:pt>
                <c:pt idx="50009">
                  <c:v>20519</c:v>
                </c:pt>
                <c:pt idx="50010">
                  <c:v>20518</c:v>
                </c:pt>
                <c:pt idx="50011">
                  <c:v>20517</c:v>
                </c:pt>
                <c:pt idx="50012">
                  <c:v>20517</c:v>
                </c:pt>
                <c:pt idx="50013">
                  <c:v>20515</c:v>
                </c:pt>
                <c:pt idx="50014">
                  <c:v>20515</c:v>
                </c:pt>
                <c:pt idx="50015">
                  <c:v>20514</c:v>
                </c:pt>
                <c:pt idx="50016">
                  <c:v>20514</c:v>
                </c:pt>
                <c:pt idx="50017">
                  <c:v>20513</c:v>
                </c:pt>
                <c:pt idx="50018">
                  <c:v>20513</c:v>
                </c:pt>
                <c:pt idx="50019">
                  <c:v>20513</c:v>
                </c:pt>
                <c:pt idx="50020">
                  <c:v>20513</c:v>
                </c:pt>
                <c:pt idx="50021">
                  <c:v>20512</c:v>
                </c:pt>
                <c:pt idx="50022">
                  <c:v>20510</c:v>
                </c:pt>
                <c:pt idx="50023">
                  <c:v>20510</c:v>
                </c:pt>
                <c:pt idx="50024">
                  <c:v>20510</c:v>
                </c:pt>
                <c:pt idx="50025">
                  <c:v>20510</c:v>
                </c:pt>
                <c:pt idx="50026">
                  <c:v>20509</c:v>
                </c:pt>
                <c:pt idx="50027">
                  <c:v>20509</c:v>
                </c:pt>
                <c:pt idx="50028">
                  <c:v>20509</c:v>
                </c:pt>
                <c:pt idx="50029">
                  <c:v>20509</c:v>
                </c:pt>
                <c:pt idx="50030">
                  <c:v>20509</c:v>
                </c:pt>
                <c:pt idx="50031">
                  <c:v>20507</c:v>
                </c:pt>
                <c:pt idx="50032">
                  <c:v>20506</c:v>
                </c:pt>
                <c:pt idx="50033">
                  <c:v>20506</c:v>
                </c:pt>
                <c:pt idx="50034">
                  <c:v>20506</c:v>
                </c:pt>
                <c:pt idx="50035">
                  <c:v>20506</c:v>
                </c:pt>
                <c:pt idx="50036">
                  <c:v>20505</c:v>
                </c:pt>
                <c:pt idx="50037">
                  <c:v>20505</c:v>
                </c:pt>
                <c:pt idx="50038">
                  <c:v>20504</c:v>
                </c:pt>
                <c:pt idx="50039">
                  <c:v>20504</c:v>
                </c:pt>
                <c:pt idx="50040">
                  <c:v>20504</c:v>
                </c:pt>
                <c:pt idx="50041">
                  <c:v>20504</c:v>
                </c:pt>
                <c:pt idx="50042">
                  <c:v>20503</c:v>
                </c:pt>
                <c:pt idx="50043">
                  <c:v>20503</c:v>
                </c:pt>
                <c:pt idx="50044">
                  <c:v>20503</c:v>
                </c:pt>
                <c:pt idx="50045">
                  <c:v>20501</c:v>
                </c:pt>
                <c:pt idx="50046">
                  <c:v>20501</c:v>
                </c:pt>
                <c:pt idx="50047">
                  <c:v>20501</c:v>
                </c:pt>
                <c:pt idx="50048">
                  <c:v>20500</c:v>
                </c:pt>
                <c:pt idx="50049">
                  <c:v>20500</c:v>
                </c:pt>
                <c:pt idx="50050">
                  <c:v>20500</c:v>
                </c:pt>
                <c:pt idx="50051">
                  <c:v>20499</c:v>
                </c:pt>
                <c:pt idx="50052">
                  <c:v>20499</c:v>
                </c:pt>
                <c:pt idx="50053">
                  <c:v>20499</c:v>
                </c:pt>
                <c:pt idx="50054">
                  <c:v>20498</c:v>
                </c:pt>
                <c:pt idx="50055">
                  <c:v>20498</c:v>
                </c:pt>
                <c:pt idx="50056">
                  <c:v>20496</c:v>
                </c:pt>
                <c:pt idx="50057">
                  <c:v>20496</c:v>
                </c:pt>
                <c:pt idx="50058">
                  <c:v>20495</c:v>
                </c:pt>
                <c:pt idx="50059">
                  <c:v>20495</c:v>
                </c:pt>
                <c:pt idx="50060">
                  <c:v>20495</c:v>
                </c:pt>
                <c:pt idx="50061">
                  <c:v>20495</c:v>
                </c:pt>
                <c:pt idx="50062">
                  <c:v>20494</c:v>
                </c:pt>
                <c:pt idx="50063">
                  <c:v>20493</c:v>
                </c:pt>
                <c:pt idx="50064">
                  <c:v>20492</c:v>
                </c:pt>
                <c:pt idx="50065">
                  <c:v>20492</c:v>
                </c:pt>
                <c:pt idx="50066">
                  <c:v>20491</c:v>
                </c:pt>
                <c:pt idx="50067">
                  <c:v>20491</c:v>
                </c:pt>
                <c:pt idx="50068">
                  <c:v>20491</c:v>
                </c:pt>
                <c:pt idx="50069">
                  <c:v>20491</c:v>
                </c:pt>
                <c:pt idx="50070">
                  <c:v>20490</c:v>
                </c:pt>
                <c:pt idx="50071">
                  <c:v>20490</c:v>
                </c:pt>
                <c:pt idx="50072">
                  <c:v>20489</c:v>
                </c:pt>
                <c:pt idx="50073">
                  <c:v>20489</c:v>
                </c:pt>
                <c:pt idx="50074">
                  <c:v>20489</c:v>
                </c:pt>
                <c:pt idx="50075">
                  <c:v>20489</c:v>
                </c:pt>
                <c:pt idx="50076">
                  <c:v>20489</c:v>
                </c:pt>
                <c:pt idx="50077">
                  <c:v>20488</c:v>
                </c:pt>
                <c:pt idx="50078">
                  <c:v>20488</c:v>
                </c:pt>
                <c:pt idx="50079">
                  <c:v>20488</c:v>
                </c:pt>
                <c:pt idx="50080">
                  <c:v>20487</c:v>
                </c:pt>
                <c:pt idx="50081">
                  <c:v>20487</c:v>
                </c:pt>
                <c:pt idx="50082">
                  <c:v>20486</c:v>
                </c:pt>
                <c:pt idx="50083">
                  <c:v>20485</c:v>
                </c:pt>
                <c:pt idx="50084">
                  <c:v>20485</c:v>
                </c:pt>
                <c:pt idx="50085">
                  <c:v>20485</c:v>
                </c:pt>
                <c:pt idx="50086">
                  <c:v>20485</c:v>
                </c:pt>
                <c:pt idx="50087">
                  <c:v>20485</c:v>
                </c:pt>
                <c:pt idx="50088">
                  <c:v>20484</c:v>
                </c:pt>
                <c:pt idx="50089">
                  <c:v>20484</c:v>
                </c:pt>
                <c:pt idx="50090">
                  <c:v>20481</c:v>
                </c:pt>
                <c:pt idx="50091">
                  <c:v>20481</c:v>
                </c:pt>
                <c:pt idx="50092">
                  <c:v>20481</c:v>
                </c:pt>
                <c:pt idx="50093">
                  <c:v>20479</c:v>
                </c:pt>
                <c:pt idx="50094">
                  <c:v>20479</c:v>
                </c:pt>
                <c:pt idx="50095">
                  <c:v>20479</c:v>
                </c:pt>
                <c:pt idx="50096">
                  <c:v>20479</c:v>
                </c:pt>
                <c:pt idx="50097">
                  <c:v>20478</c:v>
                </c:pt>
                <c:pt idx="50098">
                  <c:v>20478</c:v>
                </c:pt>
                <c:pt idx="50099">
                  <c:v>20477</c:v>
                </c:pt>
                <c:pt idx="50100">
                  <c:v>20477</c:v>
                </c:pt>
                <c:pt idx="50101">
                  <c:v>20477</c:v>
                </c:pt>
                <c:pt idx="50102">
                  <c:v>20477</c:v>
                </c:pt>
                <c:pt idx="50103">
                  <c:v>20475</c:v>
                </c:pt>
                <c:pt idx="50104">
                  <c:v>20474</c:v>
                </c:pt>
                <c:pt idx="50105">
                  <c:v>20473</c:v>
                </c:pt>
                <c:pt idx="50106">
                  <c:v>20472</c:v>
                </c:pt>
                <c:pt idx="50107">
                  <c:v>20472</c:v>
                </c:pt>
                <c:pt idx="50108">
                  <c:v>20472</c:v>
                </c:pt>
                <c:pt idx="50109">
                  <c:v>20470</c:v>
                </c:pt>
                <c:pt idx="50110">
                  <c:v>20470</c:v>
                </c:pt>
                <c:pt idx="50111">
                  <c:v>20470</c:v>
                </c:pt>
                <c:pt idx="50112">
                  <c:v>20470</c:v>
                </c:pt>
                <c:pt idx="50113">
                  <c:v>20469</c:v>
                </c:pt>
                <c:pt idx="50114">
                  <c:v>20469</c:v>
                </c:pt>
                <c:pt idx="50115">
                  <c:v>20468</c:v>
                </c:pt>
                <c:pt idx="50116">
                  <c:v>20467</c:v>
                </c:pt>
                <c:pt idx="50117">
                  <c:v>20467</c:v>
                </c:pt>
                <c:pt idx="50118">
                  <c:v>20466</c:v>
                </c:pt>
                <c:pt idx="50119">
                  <c:v>20466</c:v>
                </c:pt>
                <c:pt idx="50120">
                  <c:v>20465</c:v>
                </c:pt>
                <c:pt idx="50121">
                  <c:v>20465</c:v>
                </c:pt>
                <c:pt idx="50122">
                  <c:v>20465</c:v>
                </c:pt>
                <c:pt idx="50123">
                  <c:v>20465</c:v>
                </c:pt>
                <c:pt idx="50124">
                  <c:v>20465</c:v>
                </c:pt>
                <c:pt idx="50125">
                  <c:v>20465</c:v>
                </c:pt>
                <c:pt idx="50126">
                  <c:v>20464</c:v>
                </c:pt>
                <c:pt idx="50127">
                  <c:v>20464</c:v>
                </c:pt>
                <c:pt idx="50128">
                  <c:v>20463</c:v>
                </c:pt>
                <c:pt idx="50129">
                  <c:v>20463</c:v>
                </c:pt>
                <c:pt idx="50130">
                  <c:v>20462</c:v>
                </c:pt>
                <c:pt idx="50131">
                  <c:v>20462</c:v>
                </c:pt>
                <c:pt idx="50132">
                  <c:v>20461</c:v>
                </c:pt>
                <c:pt idx="50133">
                  <c:v>20461</c:v>
                </c:pt>
                <c:pt idx="50134">
                  <c:v>20460</c:v>
                </c:pt>
                <c:pt idx="50135">
                  <c:v>20460</c:v>
                </c:pt>
                <c:pt idx="50136">
                  <c:v>20460</c:v>
                </c:pt>
                <c:pt idx="50137">
                  <c:v>20460</c:v>
                </c:pt>
                <c:pt idx="50138">
                  <c:v>20459</c:v>
                </c:pt>
                <c:pt idx="50139">
                  <c:v>20459</c:v>
                </c:pt>
                <c:pt idx="50140">
                  <c:v>20459</c:v>
                </c:pt>
                <c:pt idx="50141">
                  <c:v>20459</c:v>
                </c:pt>
                <c:pt idx="50142">
                  <c:v>20457</c:v>
                </c:pt>
                <c:pt idx="50143">
                  <c:v>20456</c:v>
                </c:pt>
                <c:pt idx="50144">
                  <c:v>20456</c:v>
                </c:pt>
                <c:pt idx="50145">
                  <c:v>20456</c:v>
                </c:pt>
                <c:pt idx="50146">
                  <c:v>20455</c:v>
                </c:pt>
                <c:pt idx="50147">
                  <c:v>20454</c:v>
                </c:pt>
                <c:pt idx="50148">
                  <c:v>20454</c:v>
                </c:pt>
                <c:pt idx="50149">
                  <c:v>20453</c:v>
                </c:pt>
                <c:pt idx="50150">
                  <c:v>20453</c:v>
                </c:pt>
                <c:pt idx="50151">
                  <c:v>20453</c:v>
                </c:pt>
                <c:pt idx="50152">
                  <c:v>20452</c:v>
                </c:pt>
                <c:pt idx="50153">
                  <c:v>20451</c:v>
                </c:pt>
                <c:pt idx="50154">
                  <c:v>20451</c:v>
                </c:pt>
                <c:pt idx="50155">
                  <c:v>20449</c:v>
                </c:pt>
                <c:pt idx="50156">
                  <c:v>20449</c:v>
                </c:pt>
                <c:pt idx="50157">
                  <c:v>20449</c:v>
                </c:pt>
                <c:pt idx="50158">
                  <c:v>20448</c:v>
                </c:pt>
                <c:pt idx="50159">
                  <c:v>20448</c:v>
                </c:pt>
                <c:pt idx="50160">
                  <c:v>20446</c:v>
                </c:pt>
                <c:pt idx="50161">
                  <c:v>20446</c:v>
                </c:pt>
                <c:pt idx="50162">
                  <c:v>20445</c:v>
                </c:pt>
                <c:pt idx="50163">
                  <c:v>20444</c:v>
                </c:pt>
                <c:pt idx="50164">
                  <c:v>20444</c:v>
                </c:pt>
                <c:pt idx="50165">
                  <c:v>20443</c:v>
                </c:pt>
                <c:pt idx="50166">
                  <c:v>20443</c:v>
                </c:pt>
                <c:pt idx="50167">
                  <c:v>20443</c:v>
                </c:pt>
                <c:pt idx="50168">
                  <c:v>20442</c:v>
                </c:pt>
                <c:pt idx="50169">
                  <c:v>20442</c:v>
                </c:pt>
                <c:pt idx="50170">
                  <c:v>20441</c:v>
                </c:pt>
                <c:pt idx="50171">
                  <c:v>20440</c:v>
                </c:pt>
                <c:pt idx="50172">
                  <c:v>20439</c:v>
                </c:pt>
                <c:pt idx="50173">
                  <c:v>20438</c:v>
                </c:pt>
                <c:pt idx="50174">
                  <c:v>20438</c:v>
                </c:pt>
                <c:pt idx="50175">
                  <c:v>20437</c:v>
                </c:pt>
                <c:pt idx="50176">
                  <c:v>20436</c:v>
                </c:pt>
                <c:pt idx="50177">
                  <c:v>20436</c:v>
                </c:pt>
                <c:pt idx="50178">
                  <c:v>20436</c:v>
                </c:pt>
                <c:pt idx="50179">
                  <c:v>20436</c:v>
                </c:pt>
                <c:pt idx="50180">
                  <c:v>20436</c:v>
                </c:pt>
                <c:pt idx="50181">
                  <c:v>20436</c:v>
                </c:pt>
                <c:pt idx="50182">
                  <c:v>20435</c:v>
                </c:pt>
                <c:pt idx="50183">
                  <c:v>20434</c:v>
                </c:pt>
                <c:pt idx="50184">
                  <c:v>20434</c:v>
                </c:pt>
                <c:pt idx="50185">
                  <c:v>20434</c:v>
                </c:pt>
                <c:pt idx="50186">
                  <c:v>20433</c:v>
                </c:pt>
                <c:pt idx="50187">
                  <c:v>20433</c:v>
                </c:pt>
                <c:pt idx="50188">
                  <c:v>20433</c:v>
                </c:pt>
                <c:pt idx="50189">
                  <c:v>20431</c:v>
                </c:pt>
                <c:pt idx="50190">
                  <c:v>20431</c:v>
                </c:pt>
                <c:pt idx="50191">
                  <c:v>20431</c:v>
                </c:pt>
                <c:pt idx="50192">
                  <c:v>20431</c:v>
                </c:pt>
                <c:pt idx="50193">
                  <c:v>20431</c:v>
                </c:pt>
                <c:pt idx="50194">
                  <c:v>20428</c:v>
                </c:pt>
                <c:pt idx="50195">
                  <c:v>20428</c:v>
                </c:pt>
                <c:pt idx="50196">
                  <c:v>20428</c:v>
                </c:pt>
                <c:pt idx="50197">
                  <c:v>20428</c:v>
                </c:pt>
                <c:pt idx="50198">
                  <c:v>20427</c:v>
                </c:pt>
                <c:pt idx="50199">
                  <c:v>20427</c:v>
                </c:pt>
                <c:pt idx="50200">
                  <c:v>20427</c:v>
                </c:pt>
                <c:pt idx="50201">
                  <c:v>20427</c:v>
                </c:pt>
                <c:pt idx="50202">
                  <c:v>20426</c:v>
                </c:pt>
                <c:pt idx="50203">
                  <c:v>20425</c:v>
                </c:pt>
                <c:pt idx="50204">
                  <c:v>20424</c:v>
                </c:pt>
                <c:pt idx="50205">
                  <c:v>20424</c:v>
                </c:pt>
                <c:pt idx="50206">
                  <c:v>20422</c:v>
                </c:pt>
                <c:pt idx="50207">
                  <c:v>20422</c:v>
                </c:pt>
                <c:pt idx="50208">
                  <c:v>20422</c:v>
                </c:pt>
                <c:pt idx="50209">
                  <c:v>20422</c:v>
                </c:pt>
                <c:pt idx="50210">
                  <c:v>20422</c:v>
                </c:pt>
                <c:pt idx="50211">
                  <c:v>20422</c:v>
                </c:pt>
                <c:pt idx="50212">
                  <c:v>20420</c:v>
                </c:pt>
                <c:pt idx="50213">
                  <c:v>20420</c:v>
                </c:pt>
                <c:pt idx="50214">
                  <c:v>20419</c:v>
                </c:pt>
                <c:pt idx="50215">
                  <c:v>20418</c:v>
                </c:pt>
                <c:pt idx="50216">
                  <c:v>20418</c:v>
                </c:pt>
                <c:pt idx="50217">
                  <c:v>20418</c:v>
                </c:pt>
                <c:pt idx="50218">
                  <c:v>20417</c:v>
                </c:pt>
                <c:pt idx="50219">
                  <c:v>20415</c:v>
                </c:pt>
                <c:pt idx="50220">
                  <c:v>20415</c:v>
                </c:pt>
                <c:pt idx="50221">
                  <c:v>20415</c:v>
                </c:pt>
                <c:pt idx="50222">
                  <c:v>20415</c:v>
                </c:pt>
                <c:pt idx="50223">
                  <c:v>20414</c:v>
                </c:pt>
                <c:pt idx="50224">
                  <c:v>20414</c:v>
                </c:pt>
                <c:pt idx="50225">
                  <c:v>20413</c:v>
                </c:pt>
                <c:pt idx="50226">
                  <c:v>20412</c:v>
                </c:pt>
                <c:pt idx="50227">
                  <c:v>20411</c:v>
                </c:pt>
                <c:pt idx="50228">
                  <c:v>20411</c:v>
                </c:pt>
                <c:pt idx="50229">
                  <c:v>20410</c:v>
                </c:pt>
                <c:pt idx="50230">
                  <c:v>20409</c:v>
                </c:pt>
                <c:pt idx="50231">
                  <c:v>20409</c:v>
                </c:pt>
                <c:pt idx="50232">
                  <c:v>20408</c:v>
                </c:pt>
                <c:pt idx="50233">
                  <c:v>20408</c:v>
                </c:pt>
                <c:pt idx="50234">
                  <c:v>20408</c:v>
                </c:pt>
                <c:pt idx="50235">
                  <c:v>20407</c:v>
                </c:pt>
                <c:pt idx="50236">
                  <c:v>20407</c:v>
                </c:pt>
                <c:pt idx="50237">
                  <c:v>20406</c:v>
                </c:pt>
                <c:pt idx="50238">
                  <c:v>20406</c:v>
                </c:pt>
                <c:pt idx="50239">
                  <c:v>20406</c:v>
                </c:pt>
                <c:pt idx="50240">
                  <c:v>20405</c:v>
                </c:pt>
                <c:pt idx="50241">
                  <c:v>20405</c:v>
                </c:pt>
                <c:pt idx="50242">
                  <c:v>20405</c:v>
                </c:pt>
                <c:pt idx="50243">
                  <c:v>20405</c:v>
                </c:pt>
                <c:pt idx="50244">
                  <c:v>20405</c:v>
                </c:pt>
                <c:pt idx="50245">
                  <c:v>20404</c:v>
                </c:pt>
                <c:pt idx="50246">
                  <c:v>20403</c:v>
                </c:pt>
                <c:pt idx="50247">
                  <c:v>20402</c:v>
                </c:pt>
                <c:pt idx="50248">
                  <c:v>20402</c:v>
                </c:pt>
                <c:pt idx="50249">
                  <c:v>20402</c:v>
                </c:pt>
                <c:pt idx="50250">
                  <c:v>20401</c:v>
                </c:pt>
                <c:pt idx="50251">
                  <c:v>20400</c:v>
                </c:pt>
                <c:pt idx="50252">
                  <c:v>20399</c:v>
                </c:pt>
                <c:pt idx="50253">
                  <c:v>20399</c:v>
                </c:pt>
                <c:pt idx="50254">
                  <c:v>20398</c:v>
                </c:pt>
                <c:pt idx="50255">
                  <c:v>20398</c:v>
                </c:pt>
                <c:pt idx="50256">
                  <c:v>20398</c:v>
                </c:pt>
                <c:pt idx="50257">
                  <c:v>20397</c:v>
                </c:pt>
                <c:pt idx="50258">
                  <c:v>20397</c:v>
                </c:pt>
                <c:pt idx="50259">
                  <c:v>20397</c:v>
                </c:pt>
                <c:pt idx="50260">
                  <c:v>20397</c:v>
                </c:pt>
                <c:pt idx="50261">
                  <c:v>20396</c:v>
                </c:pt>
                <c:pt idx="50262">
                  <c:v>20396</c:v>
                </c:pt>
                <c:pt idx="50263">
                  <c:v>20396</c:v>
                </c:pt>
                <c:pt idx="50264">
                  <c:v>20396</c:v>
                </c:pt>
                <c:pt idx="50265">
                  <c:v>20395</c:v>
                </c:pt>
                <c:pt idx="50266">
                  <c:v>20395</c:v>
                </c:pt>
                <c:pt idx="50267">
                  <c:v>20394</c:v>
                </c:pt>
                <c:pt idx="50268">
                  <c:v>20394</c:v>
                </c:pt>
                <c:pt idx="50269">
                  <c:v>20394</c:v>
                </c:pt>
                <c:pt idx="50270">
                  <c:v>20392</c:v>
                </c:pt>
                <c:pt idx="50271">
                  <c:v>20392</c:v>
                </c:pt>
                <c:pt idx="50272">
                  <c:v>20392</c:v>
                </c:pt>
                <c:pt idx="50273">
                  <c:v>20391</c:v>
                </c:pt>
                <c:pt idx="50274">
                  <c:v>20391</c:v>
                </c:pt>
                <c:pt idx="50275">
                  <c:v>20388</c:v>
                </c:pt>
                <c:pt idx="50276">
                  <c:v>20388</c:v>
                </c:pt>
                <c:pt idx="50277">
                  <c:v>20387</c:v>
                </c:pt>
                <c:pt idx="50278">
                  <c:v>20386</c:v>
                </c:pt>
                <c:pt idx="50279">
                  <c:v>20386</c:v>
                </c:pt>
                <c:pt idx="50280">
                  <c:v>20386</c:v>
                </c:pt>
                <c:pt idx="50281">
                  <c:v>20385</c:v>
                </c:pt>
                <c:pt idx="50282">
                  <c:v>20385</c:v>
                </c:pt>
                <c:pt idx="50283">
                  <c:v>20385</c:v>
                </c:pt>
                <c:pt idx="50284">
                  <c:v>20384</c:v>
                </c:pt>
                <c:pt idx="50285">
                  <c:v>20384</c:v>
                </c:pt>
                <c:pt idx="50286">
                  <c:v>20384</c:v>
                </c:pt>
                <c:pt idx="50287">
                  <c:v>20383</c:v>
                </c:pt>
                <c:pt idx="50288">
                  <c:v>20382</c:v>
                </c:pt>
                <c:pt idx="50289">
                  <c:v>20381</c:v>
                </c:pt>
                <c:pt idx="50290">
                  <c:v>20381</c:v>
                </c:pt>
                <c:pt idx="50291">
                  <c:v>20381</c:v>
                </c:pt>
                <c:pt idx="50292">
                  <c:v>20380</c:v>
                </c:pt>
                <c:pt idx="50293">
                  <c:v>20380</c:v>
                </c:pt>
                <c:pt idx="50294">
                  <c:v>20379</c:v>
                </c:pt>
                <c:pt idx="50295">
                  <c:v>20379</c:v>
                </c:pt>
                <c:pt idx="50296">
                  <c:v>20379</c:v>
                </c:pt>
                <c:pt idx="50297">
                  <c:v>20379</c:v>
                </c:pt>
                <c:pt idx="50298">
                  <c:v>20378</c:v>
                </c:pt>
                <c:pt idx="50299">
                  <c:v>20378</c:v>
                </c:pt>
                <c:pt idx="50300">
                  <c:v>20377</c:v>
                </c:pt>
                <c:pt idx="50301">
                  <c:v>20377</c:v>
                </c:pt>
                <c:pt idx="50302">
                  <c:v>20377</c:v>
                </c:pt>
                <c:pt idx="50303">
                  <c:v>20377</c:v>
                </c:pt>
                <c:pt idx="50304">
                  <c:v>20375</c:v>
                </c:pt>
                <c:pt idx="50305">
                  <c:v>20375</c:v>
                </c:pt>
                <c:pt idx="50306">
                  <c:v>20375</c:v>
                </c:pt>
                <c:pt idx="50307">
                  <c:v>20373</c:v>
                </c:pt>
                <c:pt idx="50308">
                  <c:v>20373</c:v>
                </c:pt>
                <c:pt idx="50309">
                  <c:v>20372</c:v>
                </c:pt>
                <c:pt idx="50310">
                  <c:v>20372</c:v>
                </c:pt>
                <c:pt idx="50311">
                  <c:v>20370</c:v>
                </c:pt>
                <c:pt idx="50312">
                  <c:v>20370</c:v>
                </c:pt>
                <c:pt idx="50313">
                  <c:v>20369</c:v>
                </c:pt>
                <c:pt idx="50314">
                  <c:v>20369</c:v>
                </c:pt>
                <c:pt idx="50315">
                  <c:v>20369</c:v>
                </c:pt>
                <c:pt idx="50316">
                  <c:v>20369</c:v>
                </c:pt>
                <c:pt idx="50317">
                  <c:v>20369</c:v>
                </c:pt>
                <c:pt idx="50318">
                  <c:v>20368</c:v>
                </c:pt>
                <c:pt idx="50319">
                  <c:v>20367</c:v>
                </c:pt>
                <c:pt idx="50320">
                  <c:v>20367</c:v>
                </c:pt>
                <c:pt idx="50321">
                  <c:v>20367</c:v>
                </c:pt>
                <c:pt idx="50322">
                  <c:v>20367</c:v>
                </c:pt>
                <c:pt idx="50323">
                  <c:v>20366</c:v>
                </c:pt>
                <c:pt idx="50324">
                  <c:v>20365</c:v>
                </c:pt>
                <c:pt idx="50325">
                  <c:v>20365</c:v>
                </c:pt>
                <c:pt idx="50326">
                  <c:v>20364</c:v>
                </c:pt>
                <c:pt idx="50327">
                  <c:v>20363</c:v>
                </c:pt>
                <c:pt idx="50328">
                  <c:v>20363</c:v>
                </c:pt>
                <c:pt idx="50329">
                  <c:v>20362</c:v>
                </c:pt>
                <c:pt idx="50330">
                  <c:v>20362</c:v>
                </c:pt>
                <c:pt idx="50331">
                  <c:v>20362</c:v>
                </c:pt>
                <c:pt idx="50332">
                  <c:v>20362</c:v>
                </c:pt>
                <c:pt idx="50333">
                  <c:v>20362</c:v>
                </c:pt>
                <c:pt idx="50334">
                  <c:v>20362</c:v>
                </c:pt>
                <c:pt idx="50335">
                  <c:v>20361</c:v>
                </c:pt>
                <c:pt idx="50336">
                  <c:v>20360</c:v>
                </c:pt>
                <c:pt idx="50337">
                  <c:v>20360</c:v>
                </c:pt>
                <c:pt idx="50338">
                  <c:v>20360</c:v>
                </c:pt>
                <c:pt idx="50339">
                  <c:v>20360</c:v>
                </c:pt>
                <c:pt idx="50340">
                  <c:v>20358</c:v>
                </c:pt>
                <c:pt idx="50341">
                  <c:v>20357</c:v>
                </c:pt>
                <c:pt idx="50342">
                  <c:v>20357</c:v>
                </c:pt>
                <c:pt idx="50343">
                  <c:v>20357</c:v>
                </c:pt>
                <c:pt idx="50344">
                  <c:v>20356</c:v>
                </c:pt>
                <c:pt idx="50345">
                  <c:v>20356</c:v>
                </c:pt>
                <c:pt idx="50346">
                  <c:v>20356</c:v>
                </c:pt>
                <c:pt idx="50347">
                  <c:v>20354</c:v>
                </c:pt>
                <c:pt idx="50348">
                  <c:v>20354</c:v>
                </c:pt>
                <c:pt idx="50349">
                  <c:v>20353</c:v>
                </c:pt>
                <c:pt idx="50350">
                  <c:v>20353</c:v>
                </c:pt>
                <c:pt idx="50351">
                  <c:v>20351</c:v>
                </c:pt>
                <c:pt idx="50352">
                  <c:v>20351</c:v>
                </c:pt>
                <c:pt idx="50353">
                  <c:v>20351</c:v>
                </c:pt>
                <c:pt idx="50354">
                  <c:v>20351</c:v>
                </c:pt>
                <c:pt idx="50355">
                  <c:v>20350</c:v>
                </c:pt>
                <c:pt idx="50356">
                  <c:v>20349</c:v>
                </c:pt>
                <c:pt idx="50357">
                  <c:v>20348</c:v>
                </c:pt>
                <c:pt idx="50358">
                  <c:v>20346</c:v>
                </c:pt>
                <c:pt idx="50359">
                  <c:v>20345</c:v>
                </c:pt>
                <c:pt idx="50360">
                  <c:v>20345</c:v>
                </c:pt>
                <c:pt idx="50361">
                  <c:v>20343</c:v>
                </c:pt>
                <c:pt idx="50362">
                  <c:v>20343</c:v>
                </c:pt>
                <c:pt idx="50363">
                  <c:v>20343</c:v>
                </c:pt>
                <c:pt idx="50364">
                  <c:v>20342</c:v>
                </c:pt>
                <c:pt idx="50365">
                  <c:v>20341</c:v>
                </c:pt>
                <c:pt idx="50366">
                  <c:v>20339</c:v>
                </c:pt>
                <c:pt idx="50367">
                  <c:v>20339</c:v>
                </c:pt>
                <c:pt idx="50368">
                  <c:v>20337</c:v>
                </c:pt>
                <c:pt idx="50369">
                  <c:v>20337</c:v>
                </c:pt>
                <c:pt idx="50370">
                  <c:v>20336</c:v>
                </c:pt>
                <c:pt idx="50371">
                  <c:v>20336</c:v>
                </c:pt>
                <c:pt idx="50372">
                  <c:v>20336</c:v>
                </c:pt>
                <c:pt idx="50373">
                  <c:v>20335</c:v>
                </c:pt>
                <c:pt idx="50374">
                  <c:v>20335</c:v>
                </c:pt>
                <c:pt idx="50375">
                  <c:v>20333</c:v>
                </c:pt>
                <c:pt idx="50376">
                  <c:v>20333</c:v>
                </c:pt>
                <c:pt idx="50377">
                  <c:v>20333</c:v>
                </c:pt>
                <c:pt idx="50378">
                  <c:v>20333</c:v>
                </c:pt>
                <c:pt idx="50379">
                  <c:v>20331</c:v>
                </c:pt>
                <c:pt idx="50380">
                  <c:v>20331</c:v>
                </c:pt>
                <c:pt idx="50381">
                  <c:v>20331</c:v>
                </c:pt>
                <c:pt idx="50382">
                  <c:v>20329</c:v>
                </c:pt>
                <c:pt idx="50383">
                  <c:v>20329</c:v>
                </c:pt>
                <c:pt idx="50384">
                  <c:v>20328</c:v>
                </c:pt>
                <c:pt idx="50385">
                  <c:v>20326</c:v>
                </c:pt>
                <c:pt idx="50386">
                  <c:v>20326</c:v>
                </c:pt>
                <c:pt idx="50387">
                  <c:v>20326</c:v>
                </c:pt>
                <c:pt idx="50388">
                  <c:v>20325</c:v>
                </c:pt>
                <c:pt idx="50389">
                  <c:v>20325</c:v>
                </c:pt>
                <c:pt idx="50390">
                  <c:v>20324</c:v>
                </c:pt>
                <c:pt idx="50391">
                  <c:v>20323</c:v>
                </c:pt>
                <c:pt idx="50392">
                  <c:v>20322</c:v>
                </c:pt>
                <c:pt idx="50393">
                  <c:v>20322</c:v>
                </c:pt>
                <c:pt idx="50394">
                  <c:v>20322</c:v>
                </c:pt>
                <c:pt idx="50395">
                  <c:v>20321</c:v>
                </c:pt>
                <c:pt idx="50396">
                  <c:v>20321</c:v>
                </c:pt>
                <c:pt idx="50397">
                  <c:v>20320</c:v>
                </c:pt>
                <c:pt idx="50398">
                  <c:v>20320</c:v>
                </c:pt>
                <c:pt idx="50399">
                  <c:v>20320</c:v>
                </c:pt>
                <c:pt idx="50400">
                  <c:v>20320</c:v>
                </c:pt>
                <c:pt idx="50401">
                  <c:v>20320</c:v>
                </c:pt>
                <c:pt idx="50402">
                  <c:v>20319</c:v>
                </c:pt>
                <c:pt idx="50403">
                  <c:v>20319</c:v>
                </c:pt>
                <c:pt idx="50404">
                  <c:v>20319</c:v>
                </c:pt>
                <c:pt idx="50405">
                  <c:v>20319</c:v>
                </c:pt>
                <c:pt idx="50406">
                  <c:v>20318</c:v>
                </c:pt>
                <c:pt idx="50407">
                  <c:v>20318</c:v>
                </c:pt>
                <c:pt idx="50408">
                  <c:v>20318</c:v>
                </c:pt>
                <c:pt idx="50409">
                  <c:v>20317</c:v>
                </c:pt>
                <c:pt idx="50410">
                  <c:v>20317</c:v>
                </c:pt>
                <c:pt idx="50411">
                  <c:v>20317</c:v>
                </c:pt>
                <c:pt idx="50412">
                  <c:v>20316</c:v>
                </c:pt>
                <c:pt idx="50413">
                  <c:v>20315</c:v>
                </c:pt>
                <c:pt idx="50414">
                  <c:v>20315</c:v>
                </c:pt>
                <c:pt idx="50415">
                  <c:v>20315</c:v>
                </c:pt>
                <c:pt idx="50416">
                  <c:v>20315</c:v>
                </c:pt>
                <c:pt idx="50417">
                  <c:v>20315</c:v>
                </c:pt>
                <c:pt idx="50418">
                  <c:v>20312</c:v>
                </c:pt>
                <c:pt idx="50419">
                  <c:v>20312</c:v>
                </c:pt>
                <c:pt idx="50420">
                  <c:v>20309</c:v>
                </c:pt>
                <c:pt idx="50421">
                  <c:v>20309</c:v>
                </c:pt>
                <c:pt idx="50422">
                  <c:v>20309</c:v>
                </c:pt>
                <c:pt idx="50423">
                  <c:v>20308</c:v>
                </c:pt>
                <c:pt idx="50424">
                  <c:v>20307</c:v>
                </c:pt>
                <c:pt idx="50425">
                  <c:v>20307</c:v>
                </c:pt>
                <c:pt idx="50426">
                  <c:v>20307</c:v>
                </c:pt>
                <c:pt idx="50427">
                  <c:v>20307</c:v>
                </c:pt>
                <c:pt idx="50428">
                  <c:v>20306</c:v>
                </c:pt>
                <c:pt idx="50429">
                  <c:v>20306</c:v>
                </c:pt>
                <c:pt idx="50430">
                  <c:v>20305</c:v>
                </c:pt>
                <c:pt idx="50431">
                  <c:v>20303</c:v>
                </c:pt>
                <c:pt idx="50432">
                  <c:v>20303</c:v>
                </c:pt>
                <c:pt idx="50433">
                  <c:v>20303</c:v>
                </c:pt>
                <c:pt idx="50434">
                  <c:v>20302</c:v>
                </c:pt>
                <c:pt idx="50435">
                  <c:v>20302</c:v>
                </c:pt>
                <c:pt idx="50436">
                  <c:v>20302</c:v>
                </c:pt>
                <c:pt idx="50437">
                  <c:v>20300</c:v>
                </c:pt>
                <c:pt idx="50438">
                  <c:v>20300</c:v>
                </c:pt>
                <c:pt idx="50439">
                  <c:v>20299</c:v>
                </c:pt>
                <c:pt idx="50440">
                  <c:v>20298</c:v>
                </c:pt>
                <c:pt idx="50441">
                  <c:v>20297</c:v>
                </c:pt>
                <c:pt idx="50442">
                  <c:v>20297</c:v>
                </c:pt>
                <c:pt idx="50443">
                  <c:v>20297</c:v>
                </c:pt>
                <c:pt idx="50444">
                  <c:v>20297</c:v>
                </c:pt>
                <c:pt idx="50445">
                  <c:v>20296</c:v>
                </c:pt>
                <c:pt idx="50446">
                  <c:v>20296</c:v>
                </c:pt>
                <c:pt idx="50447">
                  <c:v>20295</c:v>
                </c:pt>
                <c:pt idx="50448">
                  <c:v>20291</c:v>
                </c:pt>
                <c:pt idx="50449">
                  <c:v>20290</c:v>
                </c:pt>
                <c:pt idx="50450">
                  <c:v>20290</c:v>
                </c:pt>
                <c:pt idx="50451">
                  <c:v>20288</c:v>
                </c:pt>
                <c:pt idx="50452">
                  <c:v>20287</c:v>
                </c:pt>
                <c:pt idx="50453">
                  <c:v>20287</c:v>
                </c:pt>
                <c:pt idx="50454">
                  <c:v>20287</c:v>
                </c:pt>
                <c:pt idx="50455">
                  <c:v>20287</c:v>
                </c:pt>
                <c:pt idx="50456">
                  <c:v>20287</c:v>
                </c:pt>
                <c:pt idx="50457">
                  <c:v>20286</c:v>
                </c:pt>
                <c:pt idx="50458">
                  <c:v>20286</c:v>
                </c:pt>
                <c:pt idx="50459">
                  <c:v>20286</c:v>
                </c:pt>
                <c:pt idx="50460">
                  <c:v>20285</c:v>
                </c:pt>
                <c:pt idx="50461">
                  <c:v>20283</c:v>
                </c:pt>
                <c:pt idx="50462">
                  <c:v>20283</c:v>
                </c:pt>
                <c:pt idx="50463">
                  <c:v>20282</c:v>
                </c:pt>
                <c:pt idx="50464">
                  <c:v>20281</c:v>
                </c:pt>
                <c:pt idx="50465">
                  <c:v>20280</c:v>
                </c:pt>
                <c:pt idx="50466">
                  <c:v>20280</c:v>
                </c:pt>
                <c:pt idx="50467">
                  <c:v>20279</c:v>
                </c:pt>
                <c:pt idx="50468">
                  <c:v>20277</c:v>
                </c:pt>
                <c:pt idx="50469">
                  <c:v>20277</c:v>
                </c:pt>
                <c:pt idx="50470">
                  <c:v>20275</c:v>
                </c:pt>
                <c:pt idx="50471">
                  <c:v>20275</c:v>
                </c:pt>
                <c:pt idx="50472">
                  <c:v>20275</c:v>
                </c:pt>
                <c:pt idx="50473">
                  <c:v>20275</c:v>
                </c:pt>
                <c:pt idx="50474">
                  <c:v>20275</c:v>
                </c:pt>
                <c:pt idx="50475">
                  <c:v>20275</c:v>
                </c:pt>
                <c:pt idx="50476">
                  <c:v>20275</c:v>
                </c:pt>
                <c:pt idx="50477">
                  <c:v>20274</c:v>
                </c:pt>
                <c:pt idx="50478">
                  <c:v>20274</c:v>
                </c:pt>
                <c:pt idx="50479">
                  <c:v>20273</c:v>
                </c:pt>
                <c:pt idx="50480">
                  <c:v>20273</c:v>
                </c:pt>
                <c:pt idx="50481">
                  <c:v>20272</c:v>
                </c:pt>
                <c:pt idx="50482">
                  <c:v>20272</c:v>
                </c:pt>
                <c:pt idx="50483">
                  <c:v>20271</c:v>
                </c:pt>
                <c:pt idx="50484">
                  <c:v>20271</c:v>
                </c:pt>
                <c:pt idx="50485">
                  <c:v>20271</c:v>
                </c:pt>
                <c:pt idx="50486">
                  <c:v>20270</c:v>
                </c:pt>
                <c:pt idx="50487">
                  <c:v>20270</c:v>
                </c:pt>
                <c:pt idx="50488">
                  <c:v>20269</c:v>
                </c:pt>
                <c:pt idx="50489">
                  <c:v>20269</c:v>
                </c:pt>
                <c:pt idx="50490">
                  <c:v>20268</c:v>
                </c:pt>
                <c:pt idx="50491">
                  <c:v>20268</c:v>
                </c:pt>
                <c:pt idx="50492">
                  <c:v>20267</c:v>
                </c:pt>
                <c:pt idx="50493">
                  <c:v>20266</c:v>
                </c:pt>
                <c:pt idx="50494">
                  <c:v>20266</c:v>
                </c:pt>
                <c:pt idx="50495">
                  <c:v>20264</c:v>
                </c:pt>
                <c:pt idx="50496">
                  <c:v>20263</c:v>
                </c:pt>
                <c:pt idx="50497">
                  <c:v>20262</c:v>
                </c:pt>
                <c:pt idx="50498">
                  <c:v>20262</c:v>
                </c:pt>
                <c:pt idx="50499">
                  <c:v>20261</c:v>
                </c:pt>
                <c:pt idx="50500">
                  <c:v>20261</c:v>
                </c:pt>
                <c:pt idx="50501">
                  <c:v>20260</c:v>
                </c:pt>
                <c:pt idx="50502">
                  <c:v>20260</c:v>
                </c:pt>
                <c:pt idx="50503">
                  <c:v>20259</c:v>
                </c:pt>
                <c:pt idx="50504">
                  <c:v>20259</c:v>
                </c:pt>
                <c:pt idx="50505">
                  <c:v>20259</c:v>
                </c:pt>
                <c:pt idx="50506">
                  <c:v>20259</c:v>
                </c:pt>
                <c:pt idx="50507">
                  <c:v>20258</c:v>
                </c:pt>
                <c:pt idx="50508">
                  <c:v>20256</c:v>
                </c:pt>
                <c:pt idx="50509">
                  <c:v>20255</c:v>
                </c:pt>
                <c:pt idx="50510">
                  <c:v>20255</c:v>
                </c:pt>
                <c:pt idx="50511">
                  <c:v>20254</c:v>
                </c:pt>
                <c:pt idx="50512">
                  <c:v>20253</c:v>
                </c:pt>
                <c:pt idx="50513">
                  <c:v>20252</c:v>
                </c:pt>
                <c:pt idx="50514">
                  <c:v>20251</c:v>
                </c:pt>
                <c:pt idx="50515">
                  <c:v>20250</c:v>
                </c:pt>
                <c:pt idx="50516">
                  <c:v>20250</c:v>
                </c:pt>
                <c:pt idx="50517">
                  <c:v>20249</c:v>
                </c:pt>
                <c:pt idx="50518">
                  <c:v>20249</c:v>
                </c:pt>
                <c:pt idx="50519">
                  <c:v>20249</c:v>
                </c:pt>
                <c:pt idx="50520">
                  <c:v>20249</c:v>
                </c:pt>
                <c:pt idx="50521">
                  <c:v>20249</c:v>
                </c:pt>
                <c:pt idx="50522">
                  <c:v>20248</c:v>
                </c:pt>
                <c:pt idx="50523">
                  <c:v>20248</c:v>
                </c:pt>
                <c:pt idx="50524">
                  <c:v>20248</c:v>
                </c:pt>
                <c:pt idx="50525">
                  <c:v>20247</c:v>
                </c:pt>
                <c:pt idx="50526">
                  <c:v>20247</c:v>
                </c:pt>
                <c:pt idx="50527">
                  <c:v>20247</c:v>
                </c:pt>
                <c:pt idx="50528">
                  <c:v>20246</c:v>
                </c:pt>
                <c:pt idx="50529">
                  <c:v>20245</c:v>
                </c:pt>
                <c:pt idx="50530">
                  <c:v>20244</c:v>
                </c:pt>
                <c:pt idx="50531">
                  <c:v>20244</c:v>
                </c:pt>
                <c:pt idx="50532">
                  <c:v>20243</c:v>
                </c:pt>
                <c:pt idx="50533">
                  <c:v>20242</c:v>
                </c:pt>
                <c:pt idx="50534">
                  <c:v>20240</c:v>
                </c:pt>
                <c:pt idx="50535">
                  <c:v>20240</c:v>
                </c:pt>
                <c:pt idx="50536">
                  <c:v>20239</c:v>
                </c:pt>
                <c:pt idx="50537">
                  <c:v>20238</c:v>
                </c:pt>
                <c:pt idx="50538">
                  <c:v>20237</c:v>
                </c:pt>
                <c:pt idx="50539">
                  <c:v>20237</c:v>
                </c:pt>
                <c:pt idx="50540">
                  <c:v>20236</c:v>
                </c:pt>
                <c:pt idx="50541">
                  <c:v>20236</c:v>
                </c:pt>
                <c:pt idx="50542">
                  <c:v>20236</c:v>
                </c:pt>
                <c:pt idx="50543">
                  <c:v>20236</c:v>
                </c:pt>
                <c:pt idx="50544">
                  <c:v>20235</c:v>
                </c:pt>
                <c:pt idx="50545">
                  <c:v>20233</c:v>
                </c:pt>
                <c:pt idx="50546">
                  <c:v>20233</c:v>
                </c:pt>
                <c:pt idx="50547">
                  <c:v>20233</c:v>
                </c:pt>
                <c:pt idx="50548">
                  <c:v>20233</c:v>
                </c:pt>
                <c:pt idx="50549">
                  <c:v>20231</c:v>
                </c:pt>
                <c:pt idx="50550">
                  <c:v>20230</c:v>
                </c:pt>
                <c:pt idx="50551">
                  <c:v>20230</c:v>
                </c:pt>
                <c:pt idx="50552">
                  <c:v>20230</c:v>
                </c:pt>
                <c:pt idx="50553">
                  <c:v>20230</c:v>
                </c:pt>
                <c:pt idx="50554">
                  <c:v>20229</c:v>
                </c:pt>
                <c:pt idx="50555">
                  <c:v>20229</c:v>
                </c:pt>
                <c:pt idx="50556">
                  <c:v>20229</c:v>
                </c:pt>
                <c:pt idx="50557">
                  <c:v>20229</c:v>
                </c:pt>
                <c:pt idx="50558">
                  <c:v>20229</c:v>
                </c:pt>
                <c:pt idx="50559">
                  <c:v>20228</c:v>
                </c:pt>
                <c:pt idx="50560">
                  <c:v>20227</c:v>
                </c:pt>
                <c:pt idx="50561">
                  <c:v>20227</c:v>
                </c:pt>
                <c:pt idx="50562">
                  <c:v>20227</c:v>
                </c:pt>
                <c:pt idx="50563">
                  <c:v>20227</c:v>
                </c:pt>
                <c:pt idx="50564">
                  <c:v>20227</c:v>
                </c:pt>
                <c:pt idx="50565">
                  <c:v>20226</c:v>
                </c:pt>
                <c:pt idx="50566">
                  <c:v>20226</c:v>
                </c:pt>
                <c:pt idx="50567">
                  <c:v>20225</c:v>
                </c:pt>
                <c:pt idx="50568">
                  <c:v>20224</c:v>
                </c:pt>
                <c:pt idx="50569">
                  <c:v>20224</c:v>
                </c:pt>
                <c:pt idx="50570">
                  <c:v>20222</c:v>
                </c:pt>
                <c:pt idx="50571">
                  <c:v>20221</c:v>
                </c:pt>
                <c:pt idx="50572">
                  <c:v>20221</c:v>
                </c:pt>
                <c:pt idx="50573">
                  <c:v>20221</c:v>
                </c:pt>
                <c:pt idx="50574">
                  <c:v>20221</c:v>
                </c:pt>
                <c:pt idx="50575">
                  <c:v>20221</c:v>
                </c:pt>
                <c:pt idx="50576">
                  <c:v>20220</c:v>
                </c:pt>
                <c:pt idx="50577">
                  <c:v>20220</c:v>
                </c:pt>
                <c:pt idx="50578">
                  <c:v>20219</c:v>
                </c:pt>
                <c:pt idx="50579">
                  <c:v>20219</c:v>
                </c:pt>
                <c:pt idx="50580">
                  <c:v>20218</c:v>
                </c:pt>
                <c:pt idx="50581">
                  <c:v>20218</c:v>
                </c:pt>
                <c:pt idx="50582">
                  <c:v>20217</c:v>
                </c:pt>
                <c:pt idx="50583">
                  <c:v>20217</c:v>
                </c:pt>
                <c:pt idx="50584">
                  <c:v>20216</c:v>
                </c:pt>
                <c:pt idx="50585">
                  <c:v>20216</c:v>
                </c:pt>
                <c:pt idx="50586">
                  <c:v>20216</c:v>
                </c:pt>
                <c:pt idx="50587">
                  <c:v>20216</c:v>
                </c:pt>
                <c:pt idx="50588">
                  <c:v>20216</c:v>
                </c:pt>
                <c:pt idx="50589">
                  <c:v>20214</c:v>
                </c:pt>
                <c:pt idx="50590">
                  <c:v>20214</c:v>
                </c:pt>
                <c:pt idx="50591">
                  <c:v>20214</c:v>
                </c:pt>
                <c:pt idx="50592">
                  <c:v>20214</c:v>
                </c:pt>
                <c:pt idx="50593">
                  <c:v>20212</c:v>
                </c:pt>
                <c:pt idx="50594">
                  <c:v>20212</c:v>
                </c:pt>
                <c:pt idx="50595">
                  <c:v>20211</c:v>
                </c:pt>
                <c:pt idx="50596">
                  <c:v>20211</c:v>
                </c:pt>
                <c:pt idx="50597">
                  <c:v>20211</c:v>
                </c:pt>
                <c:pt idx="50598">
                  <c:v>20210</c:v>
                </c:pt>
                <c:pt idx="50599">
                  <c:v>20209</c:v>
                </c:pt>
                <c:pt idx="50600">
                  <c:v>20209</c:v>
                </c:pt>
                <c:pt idx="50601">
                  <c:v>20208</c:v>
                </c:pt>
                <c:pt idx="50602">
                  <c:v>20208</c:v>
                </c:pt>
                <c:pt idx="50603">
                  <c:v>20208</c:v>
                </c:pt>
                <c:pt idx="50604">
                  <c:v>20207</c:v>
                </c:pt>
                <c:pt idx="50605">
                  <c:v>20207</c:v>
                </c:pt>
                <c:pt idx="50606">
                  <c:v>20207</c:v>
                </c:pt>
                <c:pt idx="50607">
                  <c:v>20207</c:v>
                </c:pt>
                <c:pt idx="50608">
                  <c:v>20207</c:v>
                </c:pt>
                <c:pt idx="50609">
                  <c:v>20207</c:v>
                </c:pt>
                <c:pt idx="50610">
                  <c:v>20206</c:v>
                </c:pt>
                <c:pt idx="50611">
                  <c:v>20205</c:v>
                </c:pt>
                <c:pt idx="50612">
                  <c:v>20204</c:v>
                </c:pt>
                <c:pt idx="50613">
                  <c:v>20203</c:v>
                </c:pt>
                <c:pt idx="50614">
                  <c:v>20203</c:v>
                </c:pt>
                <c:pt idx="50615">
                  <c:v>20203</c:v>
                </c:pt>
                <c:pt idx="50616">
                  <c:v>20201</c:v>
                </c:pt>
                <c:pt idx="50617">
                  <c:v>20201</c:v>
                </c:pt>
                <c:pt idx="50618">
                  <c:v>20201</c:v>
                </c:pt>
                <c:pt idx="50619">
                  <c:v>20201</c:v>
                </c:pt>
                <c:pt idx="50620">
                  <c:v>20201</c:v>
                </c:pt>
                <c:pt idx="50621">
                  <c:v>20200</c:v>
                </c:pt>
                <c:pt idx="50622">
                  <c:v>20200</c:v>
                </c:pt>
                <c:pt idx="50623">
                  <c:v>20199</c:v>
                </c:pt>
                <c:pt idx="50624">
                  <c:v>20199</c:v>
                </c:pt>
                <c:pt idx="50625">
                  <c:v>20198</c:v>
                </c:pt>
                <c:pt idx="50626">
                  <c:v>20198</c:v>
                </c:pt>
                <c:pt idx="50627">
                  <c:v>20197</c:v>
                </c:pt>
                <c:pt idx="50628">
                  <c:v>20197</c:v>
                </c:pt>
                <c:pt idx="50629">
                  <c:v>20197</c:v>
                </c:pt>
                <c:pt idx="50630">
                  <c:v>20197</c:v>
                </c:pt>
                <c:pt idx="50631">
                  <c:v>20195</c:v>
                </c:pt>
                <c:pt idx="50632">
                  <c:v>20195</c:v>
                </c:pt>
                <c:pt idx="50633">
                  <c:v>20195</c:v>
                </c:pt>
                <c:pt idx="50634">
                  <c:v>20194</c:v>
                </c:pt>
                <c:pt idx="50635">
                  <c:v>20194</c:v>
                </c:pt>
                <c:pt idx="50636">
                  <c:v>20193</c:v>
                </c:pt>
                <c:pt idx="50637">
                  <c:v>20193</c:v>
                </c:pt>
                <c:pt idx="50638">
                  <c:v>20192</c:v>
                </c:pt>
                <c:pt idx="50639">
                  <c:v>20192</c:v>
                </c:pt>
                <c:pt idx="50640">
                  <c:v>20191</c:v>
                </c:pt>
                <c:pt idx="50641">
                  <c:v>20190</c:v>
                </c:pt>
                <c:pt idx="50642">
                  <c:v>20190</c:v>
                </c:pt>
                <c:pt idx="50643">
                  <c:v>20189</c:v>
                </c:pt>
                <c:pt idx="50644">
                  <c:v>20189</c:v>
                </c:pt>
                <c:pt idx="50645">
                  <c:v>20189</c:v>
                </c:pt>
                <c:pt idx="50646">
                  <c:v>20188</c:v>
                </c:pt>
                <c:pt idx="50647">
                  <c:v>20188</c:v>
                </c:pt>
                <c:pt idx="50648">
                  <c:v>20187</c:v>
                </c:pt>
                <c:pt idx="50649">
                  <c:v>20187</c:v>
                </c:pt>
                <c:pt idx="50650">
                  <c:v>20186</c:v>
                </c:pt>
                <c:pt idx="50651">
                  <c:v>20186</c:v>
                </c:pt>
                <c:pt idx="50652">
                  <c:v>20185</c:v>
                </c:pt>
                <c:pt idx="50653">
                  <c:v>20185</c:v>
                </c:pt>
                <c:pt idx="50654">
                  <c:v>20185</c:v>
                </c:pt>
                <c:pt idx="50655">
                  <c:v>20184</c:v>
                </c:pt>
                <c:pt idx="50656">
                  <c:v>20184</c:v>
                </c:pt>
                <c:pt idx="50657">
                  <c:v>20184</c:v>
                </c:pt>
                <c:pt idx="50658">
                  <c:v>20182</c:v>
                </c:pt>
                <c:pt idx="50659">
                  <c:v>20182</c:v>
                </c:pt>
                <c:pt idx="50660">
                  <c:v>20182</c:v>
                </c:pt>
                <c:pt idx="50661">
                  <c:v>20182</c:v>
                </c:pt>
                <c:pt idx="50662">
                  <c:v>20182</c:v>
                </c:pt>
                <c:pt idx="50663">
                  <c:v>20181</c:v>
                </c:pt>
                <c:pt idx="50664">
                  <c:v>20181</c:v>
                </c:pt>
                <c:pt idx="50665">
                  <c:v>20181</c:v>
                </c:pt>
                <c:pt idx="50666">
                  <c:v>20180</c:v>
                </c:pt>
                <c:pt idx="50667">
                  <c:v>20180</c:v>
                </c:pt>
                <c:pt idx="50668">
                  <c:v>20179</c:v>
                </c:pt>
                <c:pt idx="50669">
                  <c:v>20179</c:v>
                </c:pt>
                <c:pt idx="50670">
                  <c:v>20179</c:v>
                </c:pt>
                <c:pt idx="50671">
                  <c:v>20179</c:v>
                </c:pt>
                <c:pt idx="50672">
                  <c:v>20178</c:v>
                </c:pt>
                <c:pt idx="50673">
                  <c:v>20178</c:v>
                </c:pt>
                <c:pt idx="50674">
                  <c:v>20177</c:v>
                </c:pt>
                <c:pt idx="50675">
                  <c:v>20177</c:v>
                </c:pt>
                <c:pt idx="50676">
                  <c:v>20177</c:v>
                </c:pt>
                <c:pt idx="50677">
                  <c:v>20177</c:v>
                </c:pt>
                <c:pt idx="50678">
                  <c:v>20175</c:v>
                </c:pt>
                <c:pt idx="50679">
                  <c:v>20175</c:v>
                </c:pt>
                <c:pt idx="50680">
                  <c:v>20175</c:v>
                </c:pt>
                <c:pt idx="50681">
                  <c:v>20175</c:v>
                </c:pt>
                <c:pt idx="50682">
                  <c:v>20174</c:v>
                </c:pt>
                <c:pt idx="50683">
                  <c:v>20174</c:v>
                </c:pt>
                <c:pt idx="50684">
                  <c:v>20174</c:v>
                </c:pt>
                <c:pt idx="50685">
                  <c:v>20174</c:v>
                </c:pt>
                <c:pt idx="50686">
                  <c:v>20173</c:v>
                </c:pt>
                <c:pt idx="50687">
                  <c:v>20172</c:v>
                </c:pt>
                <c:pt idx="50688">
                  <c:v>20172</c:v>
                </c:pt>
                <c:pt idx="50689">
                  <c:v>20172</c:v>
                </c:pt>
                <c:pt idx="50690">
                  <c:v>20171</c:v>
                </c:pt>
                <c:pt idx="50691">
                  <c:v>20170</c:v>
                </c:pt>
                <c:pt idx="50692">
                  <c:v>20169</c:v>
                </c:pt>
                <c:pt idx="50693">
                  <c:v>20168</c:v>
                </c:pt>
                <c:pt idx="50694">
                  <c:v>20168</c:v>
                </c:pt>
                <c:pt idx="50695">
                  <c:v>20167</c:v>
                </c:pt>
                <c:pt idx="50696">
                  <c:v>20166</c:v>
                </c:pt>
                <c:pt idx="50697">
                  <c:v>20166</c:v>
                </c:pt>
                <c:pt idx="50698">
                  <c:v>20165</c:v>
                </c:pt>
                <c:pt idx="50699">
                  <c:v>20165</c:v>
                </c:pt>
                <c:pt idx="50700">
                  <c:v>20165</c:v>
                </c:pt>
                <c:pt idx="50701">
                  <c:v>20163</c:v>
                </c:pt>
                <c:pt idx="50702">
                  <c:v>20162</c:v>
                </c:pt>
                <c:pt idx="50703">
                  <c:v>20162</c:v>
                </c:pt>
                <c:pt idx="50704">
                  <c:v>20162</c:v>
                </c:pt>
                <c:pt idx="50705">
                  <c:v>20161</c:v>
                </c:pt>
                <c:pt idx="50706">
                  <c:v>20161</c:v>
                </c:pt>
                <c:pt idx="50707">
                  <c:v>20160</c:v>
                </c:pt>
                <c:pt idx="50708">
                  <c:v>20159</c:v>
                </c:pt>
                <c:pt idx="50709">
                  <c:v>20158</c:v>
                </c:pt>
                <c:pt idx="50710">
                  <c:v>20158</c:v>
                </c:pt>
                <c:pt idx="50711">
                  <c:v>20157</c:v>
                </c:pt>
                <c:pt idx="50712">
                  <c:v>20157</c:v>
                </c:pt>
                <c:pt idx="50713">
                  <c:v>20157</c:v>
                </c:pt>
                <c:pt idx="50714">
                  <c:v>20156</c:v>
                </c:pt>
                <c:pt idx="50715">
                  <c:v>20155</c:v>
                </c:pt>
                <c:pt idx="50716">
                  <c:v>20155</c:v>
                </c:pt>
                <c:pt idx="50717">
                  <c:v>20154</c:v>
                </c:pt>
                <c:pt idx="50718">
                  <c:v>20154</c:v>
                </c:pt>
                <c:pt idx="50719">
                  <c:v>20151</c:v>
                </c:pt>
                <c:pt idx="50720">
                  <c:v>20151</c:v>
                </c:pt>
                <c:pt idx="50721">
                  <c:v>20149</c:v>
                </c:pt>
                <c:pt idx="50722">
                  <c:v>20149</c:v>
                </c:pt>
                <c:pt idx="50723">
                  <c:v>20149</c:v>
                </c:pt>
                <c:pt idx="50724">
                  <c:v>20148</c:v>
                </c:pt>
                <c:pt idx="50725">
                  <c:v>20148</c:v>
                </c:pt>
                <c:pt idx="50726">
                  <c:v>20148</c:v>
                </c:pt>
                <c:pt idx="50727">
                  <c:v>20148</c:v>
                </c:pt>
                <c:pt idx="50728">
                  <c:v>20147</c:v>
                </c:pt>
                <c:pt idx="50729">
                  <c:v>20147</c:v>
                </c:pt>
                <c:pt idx="50730">
                  <c:v>20146</c:v>
                </c:pt>
                <c:pt idx="50731">
                  <c:v>20145</c:v>
                </c:pt>
                <c:pt idx="50732">
                  <c:v>20145</c:v>
                </c:pt>
                <c:pt idx="50733">
                  <c:v>20145</c:v>
                </c:pt>
                <c:pt idx="50734">
                  <c:v>20144</c:v>
                </c:pt>
                <c:pt idx="50735">
                  <c:v>20144</c:v>
                </c:pt>
                <c:pt idx="50736">
                  <c:v>20143</c:v>
                </c:pt>
                <c:pt idx="50737">
                  <c:v>20143</c:v>
                </c:pt>
                <c:pt idx="50738">
                  <c:v>20142</c:v>
                </c:pt>
                <c:pt idx="50739">
                  <c:v>20142</c:v>
                </c:pt>
                <c:pt idx="50740">
                  <c:v>20142</c:v>
                </c:pt>
                <c:pt idx="50741">
                  <c:v>20141</c:v>
                </c:pt>
                <c:pt idx="50742">
                  <c:v>20141</c:v>
                </c:pt>
                <c:pt idx="50743">
                  <c:v>20141</c:v>
                </c:pt>
                <c:pt idx="50744">
                  <c:v>20141</c:v>
                </c:pt>
                <c:pt idx="50745">
                  <c:v>20140</c:v>
                </c:pt>
                <c:pt idx="50746">
                  <c:v>20139</c:v>
                </c:pt>
                <c:pt idx="50747">
                  <c:v>20138</c:v>
                </c:pt>
                <c:pt idx="50748">
                  <c:v>20138</c:v>
                </c:pt>
                <c:pt idx="50749">
                  <c:v>20138</c:v>
                </c:pt>
                <c:pt idx="50750">
                  <c:v>20136</c:v>
                </c:pt>
                <c:pt idx="50751">
                  <c:v>20135</c:v>
                </c:pt>
                <c:pt idx="50752">
                  <c:v>20134</c:v>
                </c:pt>
                <c:pt idx="50753">
                  <c:v>20133</c:v>
                </c:pt>
                <c:pt idx="50754">
                  <c:v>20133</c:v>
                </c:pt>
                <c:pt idx="50755">
                  <c:v>20133</c:v>
                </c:pt>
                <c:pt idx="50756">
                  <c:v>20132</c:v>
                </c:pt>
                <c:pt idx="50757">
                  <c:v>20132</c:v>
                </c:pt>
                <c:pt idx="50758">
                  <c:v>20131</c:v>
                </c:pt>
                <c:pt idx="50759">
                  <c:v>20131</c:v>
                </c:pt>
                <c:pt idx="50760">
                  <c:v>20131</c:v>
                </c:pt>
                <c:pt idx="50761">
                  <c:v>20131</c:v>
                </c:pt>
                <c:pt idx="50762">
                  <c:v>20130</c:v>
                </c:pt>
                <c:pt idx="50763">
                  <c:v>20130</c:v>
                </c:pt>
                <c:pt idx="50764">
                  <c:v>20128</c:v>
                </c:pt>
                <c:pt idx="50765">
                  <c:v>20128</c:v>
                </c:pt>
                <c:pt idx="50766">
                  <c:v>20128</c:v>
                </c:pt>
                <c:pt idx="50767">
                  <c:v>20127</c:v>
                </c:pt>
                <c:pt idx="50768">
                  <c:v>20127</c:v>
                </c:pt>
                <c:pt idx="50769">
                  <c:v>20127</c:v>
                </c:pt>
                <c:pt idx="50770">
                  <c:v>20127</c:v>
                </c:pt>
                <c:pt idx="50771">
                  <c:v>20126</c:v>
                </c:pt>
                <c:pt idx="50772">
                  <c:v>20124</c:v>
                </c:pt>
                <c:pt idx="50773">
                  <c:v>20124</c:v>
                </c:pt>
                <c:pt idx="50774">
                  <c:v>20124</c:v>
                </c:pt>
                <c:pt idx="50775">
                  <c:v>20123</c:v>
                </c:pt>
                <c:pt idx="50776">
                  <c:v>20122</c:v>
                </c:pt>
                <c:pt idx="50777">
                  <c:v>20120</c:v>
                </c:pt>
                <c:pt idx="50778">
                  <c:v>20120</c:v>
                </c:pt>
                <c:pt idx="50779">
                  <c:v>20118</c:v>
                </c:pt>
                <c:pt idx="50780">
                  <c:v>20118</c:v>
                </c:pt>
                <c:pt idx="50781">
                  <c:v>20117</c:v>
                </c:pt>
                <c:pt idx="50782">
                  <c:v>20116</c:v>
                </c:pt>
                <c:pt idx="50783">
                  <c:v>20115</c:v>
                </c:pt>
                <c:pt idx="50784">
                  <c:v>20114</c:v>
                </c:pt>
                <c:pt idx="50785">
                  <c:v>20113</c:v>
                </c:pt>
                <c:pt idx="50786">
                  <c:v>20110</c:v>
                </c:pt>
                <c:pt idx="50787">
                  <c:v>20109</c:v>
                </c:pt>
                <c:pt idx="50788">
                  <c:v>20108</c:v>
                </c:pt>
                <c:pt idx="50789">
                  <c:v>20108</c:v>
                </c:pt>
                <c:pt idx="50790">
                  <c:v>20107</c:v>
                </c:pt>
                <c:pt idx="50791">
                  <c:v>20106</c:v>
                </c:pt>
                <c:pt idx="50792">
                  <c:v>20106</c:v>
                </c:pt>
                <c:pt idx="50793">
                  <c:v>20106</c:v>
                </c:pt>
                <c:pt idx="50794">
                  <c:v>20106</c:v>
                </c:pt>
                <c:pt idx="50795">
                  <c:v>20106</c:v>
                </c:pt>
                <c:pt idx="50796">
                  <c:v>20105</c:v>
                </c:pt>
                <c:pt idx="50797">
                  <c:v>20104</c:v>
                </c:pt>
                <c:pt idx="50798">
                  <c:v>20102</c:v>
                </c:pt>
                <c:pt idx="50799">
                  <c:v>20102</c:v>
                </c:pt>
                <c:pt idx="50800">
                  <c:v>20102</c:v>
                </c:pt>
                <c:pt idx="50801">
                  <c:v>20101</c:v>
                </c:pt>
                <c:pt idx="50802">
                  <c:v>20101</c:v>
                </c:pt>
                <c:pt idx="50803">
                  <c:v>20099</c:v>
                </c:pt>
                <c:pt idx="50804">
                  <c:v>20099</c:v>
                </c:pt>
                <c:pt idx="50805">
                  <c:v>20098</c:v>
                </c:pt>
                <c:pt idx="50806">
                  <c:v>20098</c:v>
                </c:pt>
                <c:pt idx="50807">
                  <c:v>20098</c:v>
                </c:pt>
                <c:pt idx="50808">
                  <c:v>20097</c:v>
                </c:pt>
                <c:pt idx="50809">
                  <c:v>20097</c:v>
                </c:pt>
                <c:pt idx="50810">
                  <c:v>20097</c:v>
                </c:pt>
                <c:pt idx="50811">
                  <c:v>20097</c:v>
                </c:pt>
                <c:pt idx="50812">
                  <c:v>20096</c:v>
                </c:pt>
                <c:pt idx="50813">
                  <c:v>20095</c:v>
                </c:pt>
                <c:pt idx="50814">
                  <c:v>20095</c:v>
                </c:pt>
                <c:pt idx="50815">
                  <c:v>20095</c:v>
                </c:pt>
                <c:pt idx="50816">
                  <c:v>20095</c:v>
                </c:pt>
                <c:pt idx="50817">
                  <c:v>20094</c:v>
                </c:pt>
                <c:pt idx="50818">
                  <c:v>20094</c:v>
                </c:pt>
                <c:pt idx="50819">
                  <c:v>20093</c:v>
                </c:pt>
                <c:pt idx="50820">
                  <c:v>20093</c:v>
                </c:pt>
                <c:pt idx="50821">
                  <c:v>20093</c:v>
                </c:pt>
                <c:pt idx="50822">
                  <c:v>20092</c:v>
                </c:pt>
                <c:pt idx="50823">
                  <c:v>20092</c:v>
                </c:pt>
                <c:pt idx="50824">
                  <c:v>20091</c:v>
                </c:pt>
                <c:pt idx="50825">
                  <c:v>20090</c:v>
                </c:pt>
                <c:pt idx="50826">
                  <c:v>20090</c:v>
                </c:pt>
                <c:pt idx="50827">
                  <c:v>20089</c:v>
                </c:pt>
                <c:pt idx="50828">
                  <c:v>20088</c:v>
                </c:pt>
                <c:pt idx="50829">
                  <c:v>20088</c:v>
                </c:pt>
                <c:pt idx="50830">
                  <c:v>20088</c:v>
                </c:pt>
                <c:pt idx="50831">
                  <c:v>20087</c:v>
                </c:pt>
                <c:pt idx="50832">
                  <c:v>20087</c:v>
                </c:pt>
                <c:pt idx="50833">
                  <c:v>20087</c:v>
                </c:pt>
                <c:pt idx="50834">
                  <c:v>20086</c:v>
                </c:pt>
                <c:pt idx="50835">
                  <c:v>20085</c:v>
                </c:pt>
                <c:pt idx="50836">
                  <c:v>20084</c:v>
                </c:pt>
                <c:pt idx="50837">
                  <c:v>20082</c:v>
                </c:pt>
                <c:pt idx="50838">
                  <c:v>20082</c:v>
                </c:pt>
                <c:pt idx="50839">
                  <c:v>20082</c:v>
                </c:pt>
                <c:pt idx="50840">
                  <c:v>20081</c:v>
                </c:pt>
                <c:pt idx="50841">
                  <c:v>20080</c:v>
                </c:pt>
                <c:pt idx="50842">
                  <c:v>20079</c:v>
                </c:pt>
                <c:pt idx="50843">
                  <c:v>20078</c:v>
                </c:pt>
                <c:pt idx="50844">
                  <c:v>20077</c:v>
                </c:pt>
                <c:pt idx="50845">
                  <c:v>20076</c:v>
                </c:pt>
                <c:pt idx="50846">
                  <c:v>20076</c:v>
                </c:pt>
                <c:pt idx="50847">
                  <c:v>20076</c:v>
                </c:pt>
                <c:pt idx="50848">
                  <c:v>20076</c:v>
                </c:pt>
                <c:pt idx="50849">
                  <c:v>20075</c:v>
                </c:pt>
                <c:pt idx="50850">
                  <c:v>20074</c:v>
                </c:pt>
                <c:pt idx="50851">
                  <c:v>20073</c:v>
                </c:pt>
                <c:pt idx="50852">
                  <c:v>20073</c:v>
                </c:pt>
                <c:pt idx="50853">
                  <c:v>20073</c:v>
                </c:pt>
                <c:pt idx="50854">
                  <c:v>20072</c:v>
                </c:pt>
                <c:pt idx="50855">
                  <c:v>20071</c:v>
                </c:pt>
                <c:pt idx="50856">
                  <c:v>20070</c:v>
                </c:pt>
                <c:pt idx="50857">
                  <c:v>20070</c:v>
                </c:pt>
                <c:pt idx="50858">
                  <c:v>20069</c:v>
                </c:pt>
                <c:pt idx="50859">
                  <c:v>20066</c:v>
                </c:pt>
                <c:pt idx="50860">
                  <c:v>20066</c:v>
                </c:pt>
                <c:pt idx="50861">
                  <c:v>20066</c:v>
                </c:pt>
                <c:pt idx="50862">
                  <c:v>20065</c:v>
                </c:pt>
                <c:pt idx="50863">
                  <c:v>20065</c:v>
                </c:pt>
                <c:pt idx="50864">
                  <c:v>20065</c:v>
                </c:pt>
                <c:pt idx="50865">
                  <c:v>20064</c:v>
                </c:pt>
                <c:pt idx="50866">
                  <c:v>20064</c:v>
                </c:pt>
                <c:pt idx="50867">
                  <c:v>20064</c:v>
                </c:pt>
                <c:pt idx="50868">
                  <c:v>20063</c:v>
                </c:pt>
                <c:pt idx="50869">
                  <c:v>20062</c:v>
                </c:pt>
                <c:pt idx="50870">
                  <c:v>20060</c:v>
                </c:pt>
                <c:pt idx="50871">
                  <c:v>20060</c:v>
                </c:pt>
                <c:pt idx="50872">
                  <c:v>20060</c:v>
                </c:pt>
                <c:pt idx="50873">
                  <c:v>20059</c:v>
                </c:pt>
                <c:pt idx="50874">
                  <c:v>20058</c:v>
                </c:pt>
                <c:pt idx="50875">
                  <c:v>20058</c:v>
                </c:pt>
                <c:pt idx="50876">
                  <c:v>20057</c:v>
                </c:pt>
                <c:pt idx="50877">
                  <c:v>20056</c:v>
                </c:pt>
                <c:pt idx="50878">
                  <c:v>20056</c:v>
                </c:pt>
                <c:pt idx="50879">
                  <c:v>20055</c:v>
                </c:pt>
                <c:pt idx="50880">
                  <c:v>20055</c:v>
                </c:pt>
                <c:pt idx="50881">
                  <c:v>20055</c:v>
                </c:pt>
                <c:pt idx="50882">
                  <c:v>20055</c:v>
                </c:pt>
                <c:pt idx="50883">
                  <c:v>20055</c:v>
                </c:pt>
                <c:pt idx="50884">
                  <c:v>20053</c:v>
                </c:pt>
                <c:pt idx="50885">
                  <c:v>20052</c:v>
                </c:pt>
                <c:pt idx="50886">
                  <c:v>20052</c:v>
                </c:pt>
                <c:pt idx="50887">
                  <c:v>20051</c:v>
                </c:pt>
                <c:pt idx="50888">
                  <c:v>20051</c:v>
                </c:pt>
                <c:pt idx="50889">
                  <c:v>20050</c:v>
                </c:pt>
                <c:pt idx="50890">
                  <c:v>20049</c:v>
                </c:pt>
                <c:pt idx="50891">
                  <c:v>20049</c:v>
                </c:pt>
                <c:pt idx="50892">
                  <c:v>20049</c:v>
                </c:pt>
                <c:pt idx="50893">
                  <c:v>20048</c:v>
                </c:pt>
                <c:pt idx="50894">
                  <c:v>20048</c:v>
                </c:pt>
                <c:pt idx="50895">
                  <c:v>20048</c:v>
                </c:pt>
                <c:pt idx="50896">
                  <c:v>20048</c:v>
                </c:pt>
                <c:pt idx="50897">
                  <c:v>20047</c:v>
                </c:pt>
                <c:pt idx="50898">
                  <c:v>20047</c:v>
                </c:pt>
                <c:pt idx="50899">
                  <c:v>20046</c:v>
                </c:pt>
                <c:pt idx="50900">
                  <c:v>20046</c:v>
                </c:pt>
                <c:pt idx="50901">
                  <c:v>20043</c:v>
                </c:pt>
                <c:pt idx="50902">
                  <c:v>20043</c:v>
                </c:pt>
                <c:pt idx="50903">
                  <c:v>20041</c:v>
                </c:pt>
                <c:pt idx="50904">
                  <c:v>20041</c:v>
                </c:pt>
                <c:pt idx="50905">
                  <c:v>20040</c:v>
                </c:pt>
                <c:pt idx="50906">
                  <c:v>20039</c:v>
                </c:pt>
                <c:pt idx="50907">
                  <c:v>20039</c:v>
                </c:pt>
                <c:pt idx="50908">
                  <c:v>20038</c:v>
                </c:pt>
                <c:pt idx="50909">
                  <c:v>20038</c:v>
                </c:pt>
                <c:pt idx="50910">
                  <c:v>20037</c:v>
                </c:pt>
                <c:pt idx="50911">
                  <c:v>20037</c:v>
                </c:pt>
                <c:pt idx="50912">
                  <c:v>20036</c:v>
                </c:pt>
                <c:pt idx="50913">
                  <c:v>20036</c:v>
                </c:pt>
                <c:pt idx="50914">
                  <c:v>20036</c:v>
                </c:pt>
                <c:pt idx="50915">
                  <c:v>20035</c:v>
                </c:pt>
                <c:pt idx="50916">
                  <c:v>20035</c:v>
                </c:pt>
                <c:pt idx="50917">
                  <c:v>20034</c:v>
                </c:pt>
                <c:pt idx="50918">
                  <c:v>20033</c:v>
                </c:pt>
                <c:pt idx="50919">
                  <c:v>20033</c:v>
                </c:pt>
                <c:pt idx="50920">
                  <c:v>20033</c:v>
                </c:pt>
                <c:pt idx="50921">
                  <c:v>20032</c:v>
                </c:pt>
                <c:pt idx="50922">
                  <c:v>20032</c:v>
                </c:pt>
                <c:pt idx="50923">
                  <c:v>20030</c:v>
                </c:pt>
                <c:pt idx="50924">
                  <c:v>20030</c:v>
                </c:pt>
                <c:pt idx="50925">
                  <c:v>20030</c:v>
                </c:pt>
                <c:pt idx="50926">
                  <c:v>20028</c:v>
                </c:pt>
                <c:pt idx="50927">
                  <c:v>20028</c:v>
                </c:pt>
                <c:pt idx="50928">
                  <c:v>20028</c:v>
                </c:pt>
                <c:pt idx="50929">
                  <c:v>20028</c:v>
                </c:pt>
                <c:pt idx="50930">
                  <c:v>20028</c:v>
                </c:pt>
                <c:pt idx="50931">
                  <c:v>20028</c:v>
                </c:pt>
                <c:pt idx="50932">
                  <c:v>20027</c:v>
                </c:pt>
                <c:pt idx="50933">
                  <c:v>20026</c:v>
                </c:pt>
                <c:pt idx="50934">
                  <c:v>20026</c:v>
                </c:pt>
                <c:pt idx="50935">
                  <c:v>20026</c:v>
                </c:pt>
                <c:pt idx="50936">
                  <c:v>20025</c:v>
                </c:pt>
                <c:pt idx="50937">
                  <c:v>20025</c:v>
                </c:pt>
                <c:pt idx="50938">
                  <c:v>20022</c:v>
                </c:pt>
                <c:pt idx="50939">
                  <c:v>20022</c:v>
                </c:pt>
                <c:pt idx="50940">
                  <c:v>20021</c:v>
                </c:pt>
                <c:pt idx="50941">
                  <c:v>20020</c:v>
                </c:pt>
                <c:pt idx="50942">
                  <c:v>20020</c:v>
                </c:pt>
                <c:pt idx="50943">
                  <c:v>20020</c:v>
                </c:pt>
                <c:pt idx="50944">
                  <c:v>20020</c:v>
                </c:pt>
                <c:pt idx="50945">
                  <c:v>20020</c:v>
                </c:pt>
                <c:pt idx="50946">
                  <c:v>20019</c:v>
                </c:pt>
                <c:pt idx="50947">
                  <c:v>20018</c:v>
                </c:pt>
                <c:pt idx="50948">
                  <c:v>20018</c:v>
                </c:pt>
                <c:pt idx="50949">
                  <c:v>20018</c:v>
                </c:pt>
                <c:pt idx="50950">
                  <c:v>20017</c:v>
                </c:pt>
                <c:pt idx="50951">
                  <c:v>20017</c:v>
                </c:pt>
                <c:pt idx="50952">
                  <c:v>20017</c:v>
                </c:pt>
                <c:pt idx="50953">
                  <c:v>20016</c:v>
                </c:pt>
                <c:pt idx="50954">
                  <c:v>20016</c:v>
                </c:pt>
                <c:pt idx="50955">
                  <c:v>20016</c:v>
                </c:pt>
                <c:pt idx="50956">
                  <c:v>20016</c:v>
                </c:pt>
                <c:pt idx="50957">
                  <c:v>20014</c:v>
                </c:pt>
                <c:pt idx="50958">
                  <c:v>20014</c:v>
                </c:pt>
                <c:pt idx="50959">
                  <c:v>20014</c:v>
                </c:pt>
                <c:pt idx="50960">
                  <c:v>20014</c:v>
                </c:pt>
                <c:pt idx="50961">
                  <c:v>20014</c:v>
                </c:pt>
                <c:pt idx="50962">
                  <c:v>20013</c:v>
                </c:pt>
                <c:pt idx="50963">
                  <c:v>20013</c:v>
                </c:pt>
                <c:pt idx="50964">
                  <c:v>20012</c:v>
                </c:pt>
                <c:pt idx="50965">
                  <c:v>20011</c:v>
                </c:pt>
                <c:pt idx="50966">
                  <c:v>20011</c:v>
                </c:pt>
                <c:pt idx="50967">
                  <c:v>20011</c:v>
                </c:pt>
                <c:pt idx="50968">
                  <c:v>20010</c:v>
                </c:pt>
                <c:pt idx="50969">
                  <c:v>20009</c:v>
                </c:pt>
                <c:pt idx="50970">
                  <c:v>20009</c:v>
                </c:pt>
                <c:pt idx="50971">
                  <c:v>20008</c:v>
                </c:pt>
                <c:pt idx="50972">
                  <c:v>20007</c:v>
                </c:pt>
                <c:pt idx="50973">
                  <c:v>20007</c:v>
                </c:pt>
                <c:pt idx="50974">
                  <c:v>20005</c:v>
                </c:pt>
                <c:pt idx="50975">
                  <c:v>20005</c:v>
                </c:pt>
                <c:pt idx="50976">
                  <c:v>20005</c:v>
                </c:pt>
                <c:pt idx="50977">
                  <c:v>20004</c:v>
                </c:pt>
                <c:pt idx="50978">
                  <c:v>20003</c:v>
                </c:pt>
                <c:pt idx="50979">
                  <c:v>20003</c:v>
                </c:pt>
                <c:pt idx="50980">
                  <c:v>20001</c:v>
                </c:pt>
                <c:pt idx="50981">
                  <c:v>20001</c:v>
                </c:pt>
                <c:pt idx="50982">
                  <c:v>20001</c:v>
                </c:pt>
                <c:pt idx="50983">
                  <c:v>20000</c:v>
                </c:pt>
                <c:pt idx="50984">
                  <c:v>20000</c:v>
                </c:pt>
                <c:pt idx="50985">
                  <c:v>19999</c:v>
                </c:pt>
                <c:pt idx="50986">
                  <c:v>19998</c:v>
                </c:pt>
                <c:pt idx="50987">
                  <c:v>19998</c:v>
                </c:pt>
                <c:pt idx="50988">
                  <c:v>19997</c:v>
                </c:pt>
                <c:pt idx="50989">
                  <c:v>19997</c:v>
                </c:pt>
                <c:pt idx="50990">
                  <c:v>19997</c:v>
                </c:pt>
                <c:pt idx="50991">
                  <c:v>19996</c:v>
                </c:pt>
                <c:pt idx="50992">
                  <c:v>19996</c:v>
                </c:pt>
                <c:pt idx="50993">
                  <c:v>19995</c:v>
                </c:pt>
                <c:pt idx="50994">
                  <c:v>19995</c:v>
                </c:pt>
                <c:pt idx="50995">
                  <c:v>19994</c:v>
                </c:pt>
                <c:pt idx="50996">
                  <c:v>19993</c:v>
                </c:pt>
                <c:pt idx="50997">
                  <c:v>19993</c:v>
                </c:pt>
                <c:pt idx="50998">
                  <c:v>19992</c:v>
                </c:pt>
                <c:pt idx="50999">
                  <c:v>19992</c:v>
                </c:pt>
                <c:pt idx="51000">
                  <c:v>19992</c:v>
                </c:pt>
                <c:pt idx="51001">
                  <c:v>19991</c:v>
                </c:pt>
                <c:pt idx="51002">
                  <c:v>19991</c:v>
                </c:pt>
                <c:pt idx="51003">
                  <c:v>19991</c:v>
                </c:pt>
                <c:pt idx="51004">
                  <c:v>19991</c:v>
                </c:pt>
                <c:pt idx="51005">
                  <c:v>19991</c:v>
                </c:pt>
                <c:pt idx="51006">
                  <c:v>19990</c:v>
                </c:pt>
                <c:pt idx="51007">
                  <c:v>19989</c:v>
                </c:pt>
                <c:pt idx="51008">
                  <c:v>19989</c:v>
                </c:pt>
                <c:pt idx="51009">
                  <c:v>19988</c:v>
                </c:pt>
                <c:pt idx="51010">
                  <c:v>19988</c:v>
                </c:pt>
                <c:pt idx="51011">
                  <c:v>19988</c:v>
                </c:pt>
                <c:pt idx="51012">
                  <c:v>19987</c:v>
                </c:pt>
                <c:pt idx="51013">
                  <c:v>19986</c:v>
                </c:pt>
                <c:pt idx="51014">
                  <c:v>19985</c:v>
                </c:pt>
                <c:pt idx="51015">
                  <c:v>19984</c:v>
                </c:pt>
                <c:pt idx="51016">
                  <c:v>19984</c:v>
                </c:pt>
                <c:pt idx="51017">
                  <c:v>19982</c:v>
                </c:pt>
                <c:pt idx="51018">
                  <c:v>19982</c:v>
                </c:pt>
                <c:pt idx="51019">
                  <c:v>19981</c:v>
                </c:pt>
                <c:pt idx="51020">
                  <c:v>19981</c:v>
                </c:pt>
                <c:pt idx="51021">
                  <c:v>19981</c:v>
                </c:pt>
                <c:pt idx="51022">
                  <c:v>19980</c:v>
                </c:pt>
                <c:pt idx="51023">
                  <c:v>19980</c:v>
                </c:pt>
                <c:pt idx="51024">
                  <c:v>19979</c:v>
                </c:pt>
                <c:pt idx="51025">
                  <c:v>19979</c:v>
                </c:pt>
                <c:pt idx="51026">
                  <c:v>19978</c:v>
                </c:pt>
                <c:pt idx="51027">
                  <c:v>19978</c:v>
                </c:pt>
                <c:pt idx="51028">
                  <c:v>19978</c:v>
                </c:pt>
                <c:pt idx="51029">
                  <c:v>19978</c:v>
                </c:pt>
                <c:pt idx="51030">
                  <c:v>19978</c:v>
                </c:pt>
                <c:pt idx="51031">
                  <c:v>19977</c:v>
                </c:pt>
                <c:pt idx="51032">
                  <c:v>19977</c:v>
                </c:pt>
                <c:pt idx="51033">
                  <c:v>19976</c:v>
                </c:pt>
                <c:pt idx="51034">
                  <c:v>19976</c:v>
                </c:pt>
                <c:pt idx="51035">
                  <c:v>19975</c:v>
                </c:pt>
                <c:pt idx="51036">
                  <c:v>19975</c:v>
                </c:pt>
                <c:pt idx="51037">
                  <c:v>19975</c:v>
                </c:pt>
                <c:pt idx="51038">
                  <c:v>19975</c:v>
                </c:pt>
                <c:pt idx="51039">
                  <c:v>19975</c:v>
                </c:pt>
                <c:pt idx="51040">
                  <c:v>19972</c:v>
                </c:pt>
                <c:pt idx="51041">
                  <c:v>19972</c:v>
                </c:pt>
                <c:pt idx="51042">
                  <c:v>19971</c:v>
                </c:pt>
                <c:pt idx="51043">
                  <c:v>19970</c:v>
                </c:pt>
                <c:pt idx="51044">
                  <c:v>19969</c:v>
                </c:pt>
                <c:pt idx="51045">
                  <c:v>19969</c:v>
                </c:pt>
                <c:pt idx="51046">
                  <c:v>19968</c:v>
                </c:pt>
                <c:pt idx="51047">
                  <c:v>19967</c:v>
                </c:pt>
                <c:pt idx="51048">
                  <c:v>19967</c:v>
                </c:pt>
                <c:pt idx="51049">
                  <c:v>19966</c:v>
                </c:pt>
                <c:pt idx="51050">
                  <c:v>19966</c:v>
                </c:pt>
                <c:pt idx="51051">
                  <c:v>19966</c:v>
                </c:pt>
                <c:pt idx="51052">
                  <c:v>19965</c:v>
                </c:pt>
                <c:pt idx="51053">
                  <c:v>19964</c:v>
                </c:pt>
                <c:pt idx="51054">
                  <c:v>19964</c:v>
                </c:pt>
                <c:pt idx="51055">
                  <c:v>19964</c:v>
                </c:pt>
                <c:pt idx="51056">
                  <c:v>19964</c:v>
                </c:pt>
                <c:pt idx="51057">
                  <c:v>19963</c:v>
                </c:pt>
                <c:pt idx="51058">
                  <c:v>19962</c:v>
                </c:pt>
                <c:pt idx="51059">
                  <c:v>19962</c:v>
                </c:pt>
                <c:pt idx="51060">
                  <c:v>19962</c:v>
                </c:pt>
                <c:pt idx="51061">
                  <c:v>19962</c:v>
                </c:pt>
                <c:pt idx="51062">
                  <c:v>19961</c:v>
                </c:pt>
                <c:pt idx="51063">
                  <c:v>19960</c:v>
                </c:pt>
                <c:pt idx="51064">
                  <c:v>19959</c:v>
                </c:pt>
                <c:pt idx="51065">
                  <c:v>19959</c:v>
                </c:pt>
                <c:pt idx="51066">
                  <c:v>19958</c:v>
                </c:pt>
                <c:pt idx="51067">
                  <c:v>19957</c:v>
                </c:pt>
                <c:pt idx="51068">
                  <c:v>19957</c:v>
                </c:pt>
                <c:pt idx="51069">
                  <c:v>19955</c:v>
                </c:pt>
                <c:pt idx="51070">
                  <c:v>19955</c:v>
                </c:pt>
                <c:pt idx="51071">
                  <c:v>19954</c:v>
                </c:pt>
                <c:pt idx="51072">
                  <c:v>19954</c:v>
                </c:pt>
                <c:pt idx="51073">
                  <c:v>19953</c:v>
                </c:pt>
                <c:pt idx="51074">
                  <c:v>19953</c:v>
                </c:pt>
                <c:pt idx="51075">
                  <c:v>19952</c:v>
                </c:pt>
                <c:pt idx="51076">
                  <c:v>19951</c:v>
                </c:pt>
                <c:pt idx="51077">
                  <c:v>19951</c:v>
                </c:pt>
                <c:pt idx="51078">
                  <c:v>19951</c:v>
                </c:pt>
                <c:pt idx="51079">
                  <c:v>19949</c:v>
                </c:pt>
                <c:pt idx="51080">
                  <c:v>19949</c:v>
                </c:pt>
                <c:pt idx="51081">
                  <c:v>19949</c:v>
                </c:pt>
                <c:pt idx="51082">
                  <c:v>19949</c:v>
                </c:pt>
                <c:pt idx="51083">
                  <c:v>19948</c:v>
                </c:pt>
                <c:pt idx="51084">
                  <c:v>19948</c:v>
                </c:pt>
                <c:pt idx="51085">
                  <c:v>19947</c:v>
                </c:pt>
                <c:pt idx="51086">
                  <c:v>19947</c:v>
                </c:pt>
                <c:pt idx="51087">
                  <c:v>19946</c:v>
                </c:pt>
                <c:pt idx="51088">
                  <c:v>19945</c:v>
                </c:pt>
                <c:pt idx="51089">
                  <c:v>19945</c:v>
                </c:pt>
                <c:pt idx="51090">
                  <c:v>19943</c:v>
                </c:pt>
                <c:pt idx="51091">
                  <c:v>19942</c:v>
                </c:pt>
                <c:pt idx="51092">
                  <c:v>19939</c:v>
                </c:pt>
                <c:pt idx="51093">
                  <c:v>19939</c:v>
                </c:pt>
                <c:pt idx="51094">
                  <c:v>19938</c:v>
                </c:pt>
                <c:pt idx="51095">
                  <c:v>19938</c:v>
                </c:pt>
                <c:pt idx="51096">
                  <c:v>19938</c:v>
                </c:pt>
                <c:pt idx="51097">
                  <c:v>19937</c:v>
                </c:pt>
                <c:pt idx="51098">
                  <c:v>19937</c:v>
                </c:pt>
                <c:pt idx="51099">
                  <c:v>19937</c:v>
                </c:pt>
                <c:pt idx="51100">
                  <c:v>19937</c:v>
                </c:pt>
                <c:pt idx="51101">
                  <c:v>19935</c:v>
                </c:pt>
                <c:pt idx="51102">
                  <c:v>19934</c:v>
                </c:pt>
                <c:pt idx="51103">
                  <c:v>19934</c:v>
                </c:pt>
                <c:pt idx="51104">
                  <c:v>19933</c:v>
                </c:pt>
                <c:pt idx="51105">
                  <c:v>19932</c:v>
                </c:pt>
                <c:pt idx="51106">
                  <c:v>19932</c:v>
                </c:pt>
                <c:pt idx="51107">
                  <c:v>19931</c:v>
                </c:pt>
                <c:pt idx="51108">
                  <c:v>19931</c:v>
                </c:pt>
                <c:pt idx="51109">
                  <c:v>19931</c:v>
                </c:pt>
                <c:pt idx="51110">
                  <c:v>19930</c:v>
                </c:pt>
                <c:pt idx="51111">
                  <c:v>19930</c:v>
                </c:pt>
                <c:pt idx="51112">
                  <c:v>19930</c:v>
                </c:pt>
                <c:pt idx="51113">
                  <c:v>19929</c:v>
                </c:pt>
                <c:pt idx="51114">
                  <c:v>19925</c:v>
                </c:pt>
                <c:pt idx="51115">
                  <c:v>19925</c:v>
                </c:pt>
                <c:pt idx="51116">
                  <c:v>19924</c:v>
                </c:pt>
                <c:pt idx="51117">
                  <c:v>19924</c:v>
                </c:pt>
                <c:pt idx="51118">
                  <c:v>19923</c:v>
                </c:pt>
                <c:pt idx="51119">
                  <c:v>19922</c:v>
                </c:pt>
                <c:pt idx="51120">
                  <c:v>19921</c:v>
                </c:pt>
                <c:pt idx="51121">
                  <c:v>19920</c:v>
                </c:pt>
                <c:pt idx="51122">
                  <c:v>19920</c:v>
                </c:pt>
                <c:pt idx="51123">
                  <c:v>19919</c:v>
                </c:pt>
                <c:pt idx="51124">
                  <c:v>19919</c:v>
                </c:pt>
                <c:pt idx="51125">
                  <c:v>19918</c:v>
                </c:pt>
                <c:pt idx="51126">
                  <c:v>19918</c:v>
                </c:pt>
                <c:pt idx="51127">
                  <c:v>19916</c:v>
                </c:pt>
                <c:pt idx="51128">
                  <c:v>19916</c:v>
                </c:pt>
                <c:pt idx="51129">
                  <c:v>19915</c:v>
                </c:pt>
                <c:pt idx="51130">
                  <c:v>19915</c:v>
                </c:pt>
                <c:pt idx="51131">
                  <c:v>19915</c:v>
                </c:pt>
                <c:pt idx="51132">
                  <c:v>19914</c:v>
                </c:pt>
                <c:pt idx="51133">
                  <c:v>19914</c:v>
                </c:pt>
                <c:pt idx="51134">
                  <c:v>19913</c:v>
                </c:pt>
                <c:pt idx="51135">
                  <c:v>19913</c:v>
                </c:pt>
                <c:pt idx="51136">
                  <c:v>19910</c:v>
                </c:pt>
                <c:pt idx="51137">
                  <c:v>19909</c:v>
                </c:pt>
                <c:pt idx="51138">
                  <c:v>19909</c:v>
                </c:pt>
                <c:pt idx="51139">
                  <c:v>19907</c:v>
                </c:pt>
                <c:pt idx="51140">
                  <c:v>19907</c:v>
                </c:pt>
                <c:pt idx="51141">
                  <c:v>19907</c:v>
                </c:pt>
                <c:pt idx="51142">
                  <c:v>19907</c:v>
                </c:pt>
                <c:pt idx="51143">
                  <c:v>19906</c:v>
                </c:pt>
                <c:pt idx="51144">
                  <c:v>19906</c:v>
                </c:pt>
                <c:pt idx="51145">
                  <c:v>19904</c:v>
                </c:pt>
                <c:pt idx="51146">
                  <c:v>19904</c:v>
                </c:pt>
                <c:pt idx="51147">
                  <c:v>19904</c:v>
                </c:pt>
                <c:pt idx="51148">
                  <c:v>19903</c:v>
                </c:pt>
                <c:pt idx="51149">
                  <c:v>19903</c:v>
                </c:pt>
                <c:pt idx="51150">
                  <c:v>19903</c:v>
                </c:pt>
                <c:pt idx="51151">
                  <c:v>19903</c:v>
                </c:pt>
                <c:pt idx="51152">
                  <c:v>19902</c:v>
                </c:pt>
                <c:pt idx="51153">
                  <c:v>19902</c:v>
                </c:pt>
                <c:pt idx="51154">
                  <c:v>19902</c:v>
                </c:pt>
                <c:pt idx="51155">
                  <c:v>19901</c:v>
                </c:pt>
                <c:pt idx="51156">
                  <c:v>19901</c:v>
                </c:pt>
                <c:pt idx="51157">
                  <c:v>19900</c:v>
                </c:pt>
                <c:pt idx="51158">
                  <c:v>19900</c:v>
                </c:pt>
                <c:pt idx="51159">
                  <c:v>19899</c:v>
                </c:pt>
                <c:pt idx="51160">
                  <c:v>19899</c:v>
                </c:pt>
                <c:pt idx="51161">
                  <c:v>19899</c:v>
                </c:pt>
                <c:pt idx="51162">
                  <c:v>19899</c:v>
                </c:pt>
                <c:pt idx="51163">
                  <c:v>19898</c:v>
                </c:pt>
                <c:pt idx="51164">
                  <c:v>19898</c:v>
                </c:pt>
                <c:pt idx="51165">
                  <c:v>19898</c:v>
                </c:pt>
                <c:pt idx="51166">
                  <c:v>19897</c:v>
                </c:pt>
                <c:pt idx="51167">
                  <c:v>19897</c:v>
                </c:pt>
                <c:pt idx="51168">
                  <c:v>19896</c:v>
                </c:pt>
                <c:pt idx="51169">
                  <c:v>19896</c:v>
                </c:pt>
                <c:pt idx="51170">
                  <c:v>19896</c:v>
                </c:pt>
                <c:pt idx="51171">
                  <c:v>19895</c:v>
                </c:pt>
                <c:pt idx="51172">
                  <c:v>19895</c:v>
                </c:pt>
                <c:pt idx="51173">
                  <c:v>19895</c:v>
                </c:pt>
                <c:pt idx="51174">
                  <c:v>19893</c:v>
                </c:pt>
                <c:pt idx="51175">
                  <c:v>19893</c:v>
                </c:pt>
                <c:pt idx="51176">
                  <c:v>19893</c:v>
                </c:pt>
                <c:pt idx="51177">
                  <c:v>19892</c:v>
                </c:pt>
                <c:pt idx="51178">
                  <c:v>19892</c:v>
                </c:pt>
                <c:pt idx="51179">
                  <c:v>19892</c:v>
                </c:pt>
                <c:pt idx="51180">
                  <c:v>19891</c:v>
                </c:pt>
                <c:pt idx="51181">
                  <c:v>19891</c:v>
                </c:pt>
                <c:pt idx="51182">
                  <c:v>19890</c:v>
                </c:pt>
                <c:pt idx="51183">
                  <c:v>19890</c:v>
                </c:pt>
                <c:pt idx="51184">
                  <c:v>19890</c:v>
                </c:pt>
                <c:pt idx="51185">
                  <c:v>19889</c:v>
                </c:pt>
                <c:pt idx="51186">
                  <c:v>19889</c:v>
                </c:pt>
                <c:pt idx="51187">
                  <c:v>19888</c:v>
                </c:pt>
                <c:pt idx="51188">
                  <c:v>19888</c:v>
                </c:pt>
                <c:pt idx="51189">
                  <c:v>19887</c:v>
                </c:pt>
                <c:pt idx="51190">
                  <c:v>19886</c:v>
                </c:pt>
                <c:pt idx="51191">
                  <c:v>19885</c:v>
                </c:pt>
                <c:pt idx="51192">
                  <c:v>19885</c:v>
                </c:pt>
                <c:pt idx="51193">
                  <c:v>19884</c:v>
                </c:pt>
                <c:pt idx="51194">
                  <c:v>19884</c:v>
                </c:pt>
                <c:pt idx="51195">
                  <c:v>19883</c:v>
                </c:pt>
                <c:pt idx="51196">
                  <c:v>19883</c:v>
                </c:pt>
                <c:pt idx="51197">
                  <c:v>19883</c:v>
                </c:pt>
                <c:pt idx="51198">
                  <c:v>19883</c:v>
                </c:pt>
                <c:pt idx="51199">
                  <c:v>19882</c:v>
                </c:pt>
                <c:pt idx="51200">
                  <c:v>19881</c:v>
                </c:pt>
                <c:pt idx="51201">
                  <c:v>19881</c:v>
                </c:pt>
                <c:pt idx="51202">
                  <c:v>19881</c:v>
                </c:pt>
                <c:pt idx="51203">
                  <c:v>19880</c:v>
                </c:pt>
                <c:pt idx="51204">
                  <c:v>19880</c:v>
                </c:pt>
                <c:pt idx="51205">
                  <c:v>19879</c:v>
                </c:pt>
                <c:pt idx="51206">
                  <c:v>19877</c:v>
                </c:pt>
                <c:pt idx="51207">
                  <c:v>19877</c:v>
                </c:pt>
                <c:pt idx="51208">
                  <c:v>19876</c:v>
                </c:pt>
                <c:pt idx="51209">
                  <c:v>19876</c:v>
                </c:pt>
                <c:pt idx="51210">
                  <c:v>19876</c:v>
                </c:pt>
                <c:pt idx="51211">
                  <c:v>19875</c:v>
                </c:pt>
                <c:pt idx="51212">
                  <c:v>19874</c:v>
                </c:pt>
                <c:pt idx="51213">
                  <c:v>19874</c:v>
                </c:pt>
                <c:pt idx="51214">
                  <c:v>19873</c:v>
                </c:pt>
                <c:pt idx="51215">
                  <c:v>19872</c:v>
                </c:pt>
                <c:pt idx="51216">
                  <c:v>19871</c:v>
                </c:pt>
                <c:pt idx="51217">
                  <c:v>19871</c:v>
                </c:pt>
                <c:pt idx="51218">
                  <c:v>19871</c:v>
                </c:pt>
                <c:pt idx="51219">
                  <c:v>19870</c:v>
                </c:pt>
                <c:pt idx="51220">
                  <c:v>19870</c:v>
                </c:pt>
                <c:pt idx="51221">
                  <c:v>19869</c:v>
                </c:pt>
                <c:pt idx="51222">
                  <c:v>19869</c:v>
                </c:pt>
                <c:pt idx="51223">
                  <c:v>19869</c:v>
                </c:pt>
                <c:pt idx="51224">
                  <c:v>19868</c:v>
                </c:pt>
                <c:pt idx="51225">
                  <c:v>19868</c:v>
                </c:pt>
                <c:pt idx="51226">
                  <c:v>19868</c:v>
                </c:pt>
                <c:pt idx="51227">
                  <c:v>19868</c:v>
                </c:pt>
                <c:pt idx="51228">
                  <c:v>19866</c:v>
                </c:pt>
                <c:pt idx="51229">
                  <c:v>19866</c:v>
                </c:pt>
                <c:pt idx="51230">
                  <c:v>19865</c:v>
                </c:pt>
                <c:pt idx="51231">
                  <c:v>19865</c:v>
                </c:pt>
                <c:pt idx="51232">
                  <c:v>19865</c:v>
                </c:pt>
                <c:pt idx="51233">
                  <c:v>19864</c:v>
                </c:pt>
                <c:pt idx="51234">
                  <c:v>19862</c:v>
                </c:pt>
                <c:pt idx="51235">
                  <c:v>19862</c:v>
                </c:pt>
                <c:pt idx="51236">
                  <c:v>19862</c:v>
                </c:pt>
                <c:pt idx="51237">
                  <c:v>19861</c:v>
                </c:pt>
                <c:pt idx="51238">
                  <c:v>19861</c:v>
                </c:pt>
                <c:pt idx="51239">
                  <c:v>19861</c:v>
                </c:pt>
                <c:pt idx="51240">
                  <c:v>19858</c:v>
                </c:pt>
                <c:pt idx="51241">
                  <c:v>19857</c:v>
                </c:pt>
                <c:pt idx="51242">
                  <c:v>19855</c:v>
                </c:pt>
                <c:pt idx="51243">
                  <c:v>19855</c:v>
                </c:pt>
                <c:pt idx="51244">
                  <c:v>19854</c:v>
                </c:pt>
                <c:pt idx="51245">
                  <c:v>19854</c:v>
                </c:pt>
                <c:pt idx="51246">
                  <c:v>19854</c:v>
                </c:pt>
                <c:pt idx="51247">
                  <c:v>19853</c:v>
                </c:pt>
                <c:pt idx="51248">
                  <c:v>19852</c:v>
                </c:pt>
                <c:pt idx="51249">
                  <c:v>19850</c:v>
                </c:pt>
                <c:pt idx="51250">
                  <c:v>19850</c:v>
                </c:pt>
                <c:pt idx="51251">
                  <c:v>19849</c:v>
                </c:pt>
                <c:pt idx="51252">
                  <c:v>19848</c:v>
                </c:pt>
                <c:pt idx="51253">
                  <c:v>19848</c:v>
                </c:pt>
                <c:pt idx="51254">
                  <c:v>19847</c:v>
                </c:pt>
                <c:pt idx="51255">
                  <c:v>19847</c:v>
                </c:pt>
                <c:pt idx="51256">
                  <c:v>19846</c:v>
                </c:pt>
                <c:pt idx="51257">
                  <c:v>19845</c:v>
                </c:pt>
                <c:pt idx="51258">
                  <c:v>19845</c:v>
                </c:pt>
                <c:pt idx="51259">
                  <c:v>19845</c:v>
                </c:pt>
                <c:pt idx="51260">
                  <c:v>19844</c:v>
                </c:pt>
                <c:pt idx="51261">
                  <c:v>19844</c:v>
                </c:pt>
                <c:pt idx="51262">
                  <c:v>19844</c:v>
                </c:pt>
                <c:pt idx="51263">
                  <c:v>19843</c:v>
                </c:pt>
                <c:pt idx="51264">
                  <c:v>19841</c:v>
                </c:pt>
                <c:pt idx="51265">
                  <c:v>19841</c:v>
                </c:pt>
                <c:pt idx="51266">
                  <c:v>19841</c:v>
                </c:pt>
                <c:pt idx="51267">
                  <c:v>19840</c:v>
                </c:pt>
                <c:pt idx="51268">
                  <c:v>19840</c:v>
                </c:pt>
                <c:pt idx="51269">
                  <c:v>19838</c:v>
                </c:pt>
                <c:pt idx="51270">
                  <c:v>19838</c:v>
                </c:pt>
                <c:pt idx="51271">
                  <c:v>19837</c:v>
                </c:pt>
                <c:pt idx="51272">
                  <c:v>19836</c:v>
                </c:pt>
                <c:pt idx="51273">
                  <c:v>19836</c:v>
                </c:pt>
                <c:pt idx="51274">
                  <c:v>19836</c:v>
                </c:pt>
                <c:pt idx="51275">
                  <c:v>19835</c:v>
                </c:pt>
                <c:pt idx="51276">
                  <c:v>19834</c:v>
                </c:pt>
                <c:pt idx="51277">
                  <c:v>19834</c:v>
                </c:pt>
                <c:pt idx="51278">
                  <c:v>19834</c:v>
                </c:pt>
                <c:pt idx="51279">
                  <c:v>19833</c:v>
                </c:pt>
                <c:pt idx="51280">
                  <c:v>19832</c:v>
                </c:pt>
                <c:pt idx="51281">
                  <c:v>19832</c:v>
                </c:pt>
                <c:pt idx="51282">
                  <c:v>19832</c:v>
                </c:pt>
                <c:pt idx="51283">
                  <c:v>19830</c:v>
                </c:pt>
                <c:pt idx="51284">
                  <c:v>19829</c:v>
                </c:pt>
                <c:pt idx="51285">
                  <c:v>19828</c:v>
                </c:pt>
                <c:pt idx="51286">
                  <c:v>19828</c:v>
                </c:pt>
                <c:pt idx="51287">
                  <c:v>19827</c:v>
                </c:pt>
                <c:pt idx="51288">
                  <c:v>19826</c:v>
                </c:pt>
                <c:pt idx="51289">
                  <c:v>19826</c:v>
                </c:pt>
                <c:pt idx="51290">
                  <c:v>19825</c:v>
                </c:pt>
                <c:pt idx="51291">
                  <c:v>19823</c:v>
                </c:pt>
                <c:pt idx="51292">
                  <c:v>19821</c:v>
                </c:pt>
                <c:pt idx="51293">
                  <c:v>19821</c:v>
                </c:pt>
                <c:pt idx="51294">
                  <c:v>19820</c:v>
                </c:pt>
                <c:pt idx="51295">
                  <c:v>19819</c:v>
                </c:pt>
                <c:pt idx="51296">
                  <c:v>19818</c:v>
                </c:pt>
                <c:pt idx="51297">
                  <c:v>19817</c:v>
                </c:pt>
                <c:pt idx="51298">
                  <c:v>19816</c:v>
                </c:pt>
                <c:pt idx="51299">
                  <c:v>19816</c:v>
                </c:pt>
                <c:pt idx="51300">
                  <c:v>19815</c:v>
                </c:pt>
                <c:pt idx="51301">
                  <c:v>19815</c:v>
                </c:pt>
                <c:pt idx="51302">
                  <c:v>19815</c:v>
                </c:pt>
                <c:pt idx="51303">
                  <c:v>19813</c:v>
                </c:pt>
                <c:pt idx="51304">
                  <c:v>19812</c:v>
                </c:pt>
                <c:pt idx="51305">
                  <c:v>19812</c:v>
                </c:pt>
                <c:pt idx="51306">
                  <c:v>19811</c:v>
                </c:pt>
                <c:pt idx="51307">
                  <c:v>19810</c:v>
                </c:pt>
                <c:pt idx="51308">
                  <c:v>19809</c:v>
                </c:pt>
                <c:pt idx="51309">
                  <c:v>19809</c:v>
                </c:pt>
                <c:pt idx="51310">
                  <c:v>19808</c:v>
                </c:pt>
                <c:pt idx="51311">
                  <c:v>19807</c:v>
                </c:pt>
                <c:pt idx="51312">
                  <c:v>19806</c:v>
                </c:pt>
                <c:pt idx="51313">
                  <c:v>19805</c:v>
                </c:pt>
                <c:pt idx="51314">
                  <c:v>19804</c:v>
                </c:pt>
                <c:pt idx="51315">
                  <c:v>19803</c:v>
                </c:pt>
                <c:pt idx="51316">
                  <c:v>19802</c:v>
                </c:pt>
                <c:pt idx="51317">
                  <c:v>19802</c:v>
                </c:pt>
                <c:pt idx="51318">
                  <c:v>19801</c:v>
                </c:pt>
                <c:pt idx="51319">
                  <c:v>19800</c:v>
                </c:pt>
                <c:pt idx="51320">
                  <c:v>19800</c:v>
                </c:pt>
                <c:pt idx="51321">
                  <c:v>19798</c:v>
                </c:pt>
                <c:pt idx="51322">
                  <c:v>19798</c:v>
                </c:pt>
                <c:pt idx="51323">
                  <c:v>19798</c:v>
                </c:pt>
                <c:pt idx="51324">
                  <c:v>19797</c:v>
                </c:pt>
                <c:pt idx="51325">
                  <c:v>19797</c:v>
                </c:pt>
                <c:pt idx="51326">
                  <c:v>19796</c:v>
                </c:pt>
                <c:pt idx="51327">
                  <c:v>19795</c:v>
                </c:pt>
                <c:pt idx="51328">
                  <c:v>19795</c:v>
                </c:pt>
                <c:pt idx="51329">
                  <c:v>19794</c:v>
                </c:pt>
                <c:pt idx="51330">
                  <c:v>19794</c:v>
                </c:pt>
                <c:pt idx="51331">
                  <c:v>19792</c:v>
                </c:pt>
                <c:pt idx="51332">
                  <c:v>19792</c:v>
                </c:pt>
                <c:pt idx="51333">
                  <c:v>19792</c:v>
                </c:pt>
                <c:pt idx="51334">
                  <c:v>19791</c:v>
                </c:pt>
                <c:pt idx="51335">
                  <c:v>19791</c:v>
                </c:pt>
                <c:pt idx="51336">
                  <c:v>19789</c:v>
                </c:pt>
                <c:pt idx="51337">
                  <c:v>19788</c:v>
                </c:pt>
                <c:pt idx="51338">
                  <c:v>19787</c:v>
                </c:pt>
                <c:pt idx="51339">
                  <c:v>19785</c:v>
                </c:pt>
                <c:pt idx="51340">
                  <c:v>19785</c:v>
                </c:pt>
                <c:pt idx="51341">
                  <c:v>19784</c:v>
                </c:pt>
                <c:pt idx="51342">
                  <c:v>19783</c:v>
                </c:pt>
                <c:pt idx="51343">
                  <c:v>19783</c:v>
                </c:pt>
                <c:pt idx="51344">
                  <c:v>19782</c:v>
                </c:pt>
                <c:pt idx="51345">
                  <c:v>19782</c:v>
                </c:pt>
                <c:pt idx="51346">
                  <c:v>19782</c:v>
                </c:pt>
                <c:pt idx="51347">
                  <c:v>19782</c:v>
                </c:pt>
                <c:pt idx="51348">
                  <c:v>19781</c:v>
                </c:pt>
                <c:pt idx="51349">
                  <c:v>19781</c:v>
                </c:pt>
                <c:pt idx="51350">
                  <c:v>19781</c:v>
                </c:pt>
                <c:pt idx="51351">
                  <c:v>19781</c:v>
                </c:pt>
                <c:pt idx="51352">
                  <c:v>19779</c:v>
                </c:pt>
                <c:pt idx="51353">
                  <c:v>19778</c:v>
                </c:pt>
                <c:pt idx="51354">
                  <c:v>19778</c:v>
                </c:pt>
                <c:pt idx="51355">
                  <c:v>19778</c:v>
                </c:pt>
                <c:pt idx="51356">
                  <c:v>19777</c:v>
                </c:pt>
                <c:pt idx="51357">
                  <c:v>19777</c:v>
                </c:pt>
                <c:pt idx="51358">
                  <c:v>19777</c:v>
                </c:pt>
                <c:pt idx="51359">
                  <c:v>19776</c:v>
                </c:pt>
                <c:pt idx="51360">
                  <c:v>19775</c:v>
                </c:pt>
                <c:pt idx="51361">
                  <c:v>19774</c:v>
                </c:pt>
                <c:pt idx="51362">
                  <c:v>19771</c:v>
                </c:pt>
                <c:pt idx="51363">
                  <c:v>19771</c:v>
                </c:pt>
                <c:pt idx="51364">
                  <c:v>19769</c:v>
                </c:pt>
                <c:pt idx="51365">
                  <c:v>19768</c:v>
                </c:pt>
                <c:pt idx="51366">
                  <c:v>19768</c:v>
                </c:pt>
                <c:pt idx="51367">
                  <c:v>19767</c:v>
                </c:pt>
                <c:pt idx="51368">
                  <c:v>19767</c:v>
                </c:pt>
                <c:pt idx="51369">
                  <c:v>19766</c:v>
                </c:pt>
                <c:pt idx="51370">
                  <c:v>19765</c:v>
                </c:pt>
                <c:pt idx="51371">
                  <c:v>19764</c:v>
                </c:pt>
                <c:pt idx="51372">
                  <c:v>19761</c:v>
                </c:pt>
                <c:pt idx="51373">
                  <c:v>19761</c:v>
                </c:pt>
                <c:pt idx="51374">
                  <c:v>19760</c:v>
                </c:pt>
                <c:pt idx="51375">
                  <c:v>19760</c:v>
                </c:pt>
                <c:pt idx="51376">
                  <c:v>19758</c:v>
                </c:pt>
                <c:pt idx="51377">
                  <c:v>19757</c:v>
                </c:pt>
                <c:pt idx="51378">
                  <c:v>19755</c:v>
                </c:pt>
                <c:pt idx="51379">
                  <c:v>19755</c:v>
                </c:pt>
                <c:pt idx="51380">
                  <c:v>19754</c:v>
                </c:pt>
                <c:pt idx="51381">
                  <c:v>19754</c:v>
                </c:pt>
                <c:pt idx="51382">
                  <c:v>19754</c:v>
                </c:pt>
                <c:pt idx="51383">
                  <c:v>19753</c:v>
                </c:pt>
                <c:pt idx="51384">
                  <c:v>19753</c:v>
                </c:pt>
                <c:pt idx="51385">
                  <c:v>19753</c:v>
                </c:pt>
                <c:pt idx="51386">
                  <c:v>19752</c:v>
                </c:pt>
                <c:pt idx="51387">
                  <c:v>19752</c:v>
                </c:pt>
                <c:pt idx="51388">
                  <c:v>19752</c:v>
                </c:pt>
                <c:pt idx="51389">
                  <c:v>19751</c:v>
                </c:pt>
                <c:pt idx="51390">
                  <c:v>19748</c:v>
                </c:pt>
                <c:pt idx="51391">
                  <c:v>19748</c:v>
                </c:pt>
                <c:pt idx="51392">
                  <c:v>19748</c:v>
                </c:pt>
                <c:pt idx="51393">
                  <c:v>19748</c:v>
                </c:pt>
                <c:pt idx="51394">
                  <c:v>19747</c:v>
                </c:pt>
                <c:pt idx="51395">
                  <c:v>19747</c:v>
                </c:pt>
                <c:pt idx="51396">
                  <c:v>19747</c:v>
                </c:pt>
                <c:pt idx="51397">
                  <c:v>19747</c:v>
                </c:pt>
                <c:pt idx="51398">
                  <c:v>19747</c:v>
                </c:pt>
                <c:pt idx="51399">
                  <c:v>19746</c:v>
                </c:pt>
                <c:pt idx="51400">
                  <c:v>19745</c:v>
                </c:pt>
                <c:pt idx="51401">
                  <c:v>19744</c:v>
                </c:pt>
                <c:pt idx="51402">
                  <c:v>19744</c:v>
                </c:pt>
                <c:pt idx="51403">
                  <c:v>19744</c:v>
                </c:pt>
                <c:pt idx="51404">
                  <c:v>19742</c:v>
                </c:pt>
                <c:pt idx="51405">
                  <c:v>19741</c:v>
                </c:pt>
                <c:pt idx="51406">
                  <c:v>19741</c:v>
                </c:pt>
                <c:pt idx="51407">
                  <c:v>19740</c:v>
                </c:pt>
                <c:pt idx="51408">
                  <c:v>19740</c:v>
                </c:pt>
                <c:pt idx="51409">
                  <c:v>19739</c:v>
                </c:pt>
                <c:pt idx="51410">
                  <c:v>19739</c:v>
                </c:pt>
                <c:pt idx="51411">
                  <c:v>19738</c:v>
                </c:pt>
                <c:pt idx="51412">
                  <c:v>19738</c:v>
                </c:pt>
                <c:pt idx="51413">
                  <c:v>19735</c:v>
                </c:pt>
                <c:pt idx="51414">
                  <c:v>19735</c:v>
                </c:pt>
                <c:pt idx="51415">
                  <c:v>19734</c:v>
                </c:pt>
                <c:pt idx="51416">
                  <c:v>19733</c:v>
                </c:pt>
                <c:pt idx="51417">
                  <c:v>19732</c:v>
                </c:pt>
                <c:pt idx="51418">
                  <c:v>19732</c:v>
                </c:pt>
                <c:pt idx="51419">
                  <c:v>19732</c:v>
                </c:pt>
                <c:pt idx="51420">
                  <c:v>19732</c:v>
                </c:pt>
                <c:pt idx="51421">
                  <c:v>19732</c:v>
                </c:pt>
                <c:pt idx="51422">
                  <c:v>19731</c:v>
                </c:pt>
                <c:pt idx="51423">
                  <c:v>19731</c:v>
                </c:pt>
                <c:pt idx="51424">
                  <c:v>19730</c:v>
                </c:pt>
                <c:pt idx="51425">
                  <c:v>19730</c:v>
                </c:pt>
                <c:pt idx="51426">
                  <c:v>19729</c:v>
                </c:pt>
                <c:pt idx="51427">
                  <c:v>19728</c:v>
                </c:pt>
                <c:pt idx="51428">
                  <c:v>19728</c:v>
                </c:pt>
                <c:pt idx="51429">
                  <c:v>19728</c:v>
                </c:pt>
                <c:pt idx="51430">
                  <c:v>19727</c:v>
                </c:pt>
                <c:pt idx="51431">
                  <c:v>19727</c:v>
                </c:pt>
                <c:pt idx="51432">
                  <c:v>19725</c:v>
                </c:pt>
                <c:pt idx="51433">
                  <c:v>19724</c:v>
                </c:pt>
                <c:pt idx="51434">
                  <c:v>19724</c:v>
                </c:pt>
                <c:pt idx="51435">
                  <c:v>19722</c:v>
                </c:pt>
                <c:pt idx="51436">
                  <c:v>19721</c:v>
                </c:pt>
                <c:pt idx="51437">
                  <c:v>19720</c:v>
                </c:pt>
                <c:pt idx="51438">
                  <c:v>19719</c:v>
                </c:pt>
                <c:pt idx="51439">
                  <c:v>19718</c:v>
                </c:pt>
                <c:pt idx="51440">
                  <c:v>19718</c:v>
                </c:pt>
                <c:pt idx="51441">
                  <c:v>19717</c:v>
                </c:pt>
                <c:pt idx="51442">
                  <c:v>19717</c:v>
                </c:pt>
                <c:pt idx="51443">
                  <c:v>19717</c:v>
                </c:pt>
                <c:pt idx="51444">
                  <c:v>19716</c:v>
                </c:pt>
                <c:pt idx="51445">
                  <c:v>19716</c:v>
                </c:pt>
                <c:pt idx="51446">
                  <c:v>19714</c:v>
                </c:pt>
                <c:pt idx="51447">
                  <c:v>19713</c:v>
                </c:pt>
                <c:pt idx="51448">
                  <c:v>19711</c:v>
                </c:pt>
                <c:pt idx="51449">
                  <c:v>19711</c:v>
                </c:pt>
                <c:pt idx="51450">
                  <c:v>19710</c:v>
                </c:pt>
                <c:pt idx="51451">
                  <c:v>19709</c:v>
                </c:pt>
                <c:pt idx="51452">
                  <c:v>19708</c:v>
                </c:pt>
                <c:pt idx="51453">
                  <c:v>19708</c:v>
                </c:pt>
                <c:pt idx="51454">
                  <c:v>19708</c:v>
                </c:pt>
                <c:pt idx="51455">
                  <c:v>19708</c:v>
                </c:pt>
                <c:pt idx="51456">
                  <c:v>19707</c:v>
                </c:pt>
                <c:pt idx="51457">
                  <c:v>19706</c:v>
                </c:pt>
                <c:pt idx="51458">
                  <c:v>19705</c:v>
                </c:pt>
                <c:pt idx="51459">
                  <c:v>19704</c:v>
                </c:pt>
                <c:pt idx="51460">
                  <c:v>19704</c:v>
                </c:pt>
                <c:pt idx="51461">
                  <c:v>19704</c:v>
                </c:pt>
                <c:pt idx="51462">
                  <c:v>19703</c:v>
                </c:pt>
                <c:pt idx="51463">
                  <c:v>19703</c:v>
                </c:pt>
                <c:pt idx="51464">
                  <c:v>19703</c:v>
                </c:pt>
                <c:pt idx="51465">
                  <c:v>19701</c:v>
                </c:pt>
                <c:pt idx="51466">
                  <c:v>19700</c:v>
                </c:pt>
                <c:pt idx="51467">
                  <c:v>19698</c:v>
                </c:pt>
                <c:pt idx="51468">
                  <c:v>19698</c:v>
                </c:pt>
                <c:pt idx="51469">
                  <c:v>19697</c:v>
                </c:pt>
                <c:pt idx="51470">
                  <c:v>19695</c:v>
                </c:pt>
                <c:pt idx="51471">
                  <c:v>19695</c:v>
                </c:pt>
                <c:pt idx="51472">
                  <c:v>19694</c:v>
                </c:pt>
                <c:pt idx="51473">
                  <c:v>19694</c:v>
                </c:pt>
                <c:pt idx="51474">
                  <c:v>19693</c:v>
                </c:pt>
                <c:pt idx="51475">
                  <c:v>19692</c:v>
                </c:pt>
                <c:pt idx="51476">
                  <c:v>19692</c:v>
                </c:pt>
                <c:pt idx="51477">
                  <c:v>19692</c:v>
                </c:pt>
                <c:pt idx="51478">
                  <c:v>19691</c:v>
                </c:pt>
                <c:pt idx="51479">
                  <c:v>19690</c:v>
                </c:pt>
                <c:pt idx="51480">
                  <c:v>19689</c:v>
                </c:pt>
                <c:pt idx="51481">
                  <c:v>19688</c:v>
                </c:pt>
                <c:pt idx="51482">
                  <c:v>19688</c:v>
                </c:pt>
                <c:pt idx="51483">
                  <c:v>19687</c:v>
                </c:pt>
                <c:pt idx="51484">
                  <c:v>19686</c:v>
                </c:pt>
                <c:pt idx="51485">
                  <c:v>19683</c:v>
                </c:pt>
                <c:pt idx="51486">
                  <c:v>19683</c:v>
                </c:pt>
                <c:pt idx="51487">
                  <c:v>19683</c:v>
                </c:pt>
                <c:pt idx="51488">
                  <c:v>19682</c:v>
                </c:pt>
                <c:pt idx="51489">
                  <c:v>19679</c:v>
                </c:pt>
                <c:pt idx="51490">
                  <c:v>19678</c:v>
                </c:pt>
                <c:pt idx="51491">
                  <c:v>19677</c:v>
                </c:pt>
                <c:pt idx="51492">
                  <c:v>19677</c:v>
                </c:pt>
                <c:pt idx="51493">
                  <c:v>19677</c:v>
                </c:pt>
                <c:pt idx="51494">
                  <c:v>19673</c:v>
                </c:pt>
                <c:pt idx="51495">
                  <c:v>19671</c:v>
                </c:pt>
                <c:pt idx="51496">
                  <c:v>19671</c:v>
                </c:pt>
                <c:pt idx="51497">
                  <c:v>19671</c:v>
                </c:pt>
                <c:pt idx="51498">
                  <c:v>19670</c:v>
                </c:pt>
                <c:pt idx="51499">
                  <c:v>19669</c:v>
                </c:pt>
                <c:pt idx="51500">
                  <c:v>19669</c:v>
                </c:pt>
                <c:pt idx="51501">
                  <c:v>19667</c:v>
                </c:pt>
                <c:pt idx="51502">
                  <c:v>19667</c:v>
                </c:pt>
                <c:pt idx="51503">
                  <c:v>19667</c:v>
                </c:pt>
                <c:pt idx="51504">
                  <c:v>19666</c:v>
                </c:pt>
                <c:pt idx="51505">
                  <c:v>19664</c:v>
                </c:pt>
                <c:pt idx="51506">
                  <c:v>19664</c:v>
                </c:pt>
                <c:pt idx="51507">
                  <c:v>19664</c:v>
                </c:pt>
                <c:pt idx="51508">
                  <c:v>19663</c:v>
                </c:pt>
                <c:pt idx="51509">
                  <c:v>19663</c:v>
                </c:pt>
                <c:pt idx="51510">
                  <c:v>19663</c:v>
                </c:pt>
                <c:pt idx="51511">
                  <c:v>19663</c:v>
                </c:pt>
                <c:pt idx="51512">
                  <c:v>19662</c:v>
                </c:pt>
                <c:pt idx="51513">
                  <c:v>19662</c:v>
                </c:pt>
                <c:pt idx="51514">
                  <c:v>19662</c:v>
                </c:pt>
                <c:pt idx="51515">
                  <c:v>19661</c:v>
                </c:pt>
                <c:pt idx="51516">
                  <c:v>19661</c:v>
                </c:pt>
                <c:pt idx="51517">
                  <c:v>19661</c:v>
                </c:pt>
                <c:pt idx="51518">
                  <c:v>19660</c:v>
                </c:pt>
                <c:pt idx="51519">
                  <c:v>19660</c:v>
                </c:pt>
                <c:pt idx="51520">
                  <c:v>19659</c:v>
                </c:pt>
                <c:pt idx="51521">
                  <c:v>19659</c:v>
                </c:pt>
                <c:pt idx="51522">
                  <c:v>19659</c:v>
                </c:pt>
                <c:pt idx="51523">
                  <c:v>19659</c:v>
                </c:pt>
                <c:pt idx="51524">
                  <c:v>19659</c:v>
                </c:pt>
                <c:pt idx="51525">
                  <c:v>19658</c:v>
                </c:pt>
                <c:pt idx="51526">
                  <c:v>19657</c:v>
                </c:pt>
                <c:pt idx="51527">
                  <c:v>19656</c:v>
                </c:pt>
                <c:pt idx="51528">
                  <c:v>19656</c:v>
                </c:pt>
                <c:pt idx="51529">
                  <c:v>19655</c:v>
                </c:pt>
                <c:pt idx="51530">
                  <c:v>19655</c:v>
                </c:pt>
                <c:pt idx="51531">
                  <c:v>19652</c:v>
                </c:pt>
                <c:pt idx="51532">
                  <c:v>19651</c:v>
                </c:pt>
                <c:pt idx="51533">
                  <c:v>19651</c:v>
                </c:pt>
                <c:pt idx="51534">
                  <c:v>19650</c:v>
                </c:pt>
                <c:pt idx="51535">
                  <c:v>19650</c:v>
                </c:pt>
                <c:pt idx="51536">
                  <c:v>19649</c:v>
                </c:pt>
                <c:pt idx="51537">
                  <c:v>19649</c:v>
                </c:pt>
                <c:pt idx="51538">
                  <c:v>19648</c:v>
                </c:pt>
                <c:pt idx="51539">
                  <c:v>19644</c:v>
                </c:pt>
                <c:pt idx="51540">
                  <c:v>19644</c:v>
                </c:pt>
                <c:pt idx="51541">
                  <c:v>19641</c:v>
                </c:pt>
                <c:pt idx="51542">
                  <c:v>19641</c:v>
                </c:pt>
                <c:pt idx="51543">
                  <c:v>19641</c:v>
                </c:pt>
                <c:pt idx="51544">
                  <c:v>19641</c:v>
                </c:pt>
                <c:pt idx="51545">
                  <c:v>19641</c:v>
                </c:pt>
                <c:pt idx="51546">
                  <c:v>19640</c:v>
                </c:pt>
                <c:pt idx="51547">
                  <c:v>19639</c:v>
                </c:pt>
                <c:pt idx="51548">
                  <c:v>19638</c:v>
                </c:pt>
                <c:pt idx="51549">
                  <c:v>19638</c:v>
                </c:pt>
                <c:pt idx="51550">
                  <c:v>19638</c:v>
                </c:pt>
                <c:pt idx="51551">
                  <c:v>19636</c:v>
                </c:pt>
                <c:pt idx="51552">
                  <c:v>19636</c:v>
                </c:pt>
                <c:pt idx="51553">
                  <c:v>19634</c:v>
                </c:pt>
                <c:pt idx="51554">
                  <c:v>19634</c:v>
                </c:pt>
                <c:pt idx="51555">
                  <c:v>19634</c:v>
                </c:pt>
                <c:pt idx="51556">
                  <c:v>19634</c:v>
                </c:pt>
                <c:pt idx="51557">
                  <c:v>19633</c:v>
                </c:pt>
                <c:pt idx="51558">
                  <c:v>19633</c:v>
                </c:pt>
                <c:pt idx="51559">
                  <c:v>19632</c:v>
                </c:pt>
                <c:pt idx="51560">
                  <c:v>19631</c:v>
                </c:pt>
                <c:pt idx="51561">
                  <c:v>19630</c:v>
                </c:pt>
                <c:pt idx="51562">
                  <c:v>19630</c:v>
                </c:pt>
                <c:pt idx="51563">
                  <c:v>19629</c:v>
                </c:pt>
                <c:pt idx="51564">
                  <c:v>19629</c:v>
                </c:pt>
                <c:pt idx="51565">
                  <c:v>19629</c:v>
                </c:pt>
                <c:pt idx="51566">
                  <c:v>19628</c:v>
                </c:pt>
                <c:pt idx="51567">
                  <c:v>19628</c:v>
                </c:pt>
                <c:pt idx="51568">
                  <c:v>19625</c:v>
                </c:pt>
                <c:pt idx="51569">
                  <c:v>19624</c:v>
                </c:pt>
                <c:pt idx="51570">
                  <c:v>19624</c:v>
                </c:pt>
                <c:pt idx="51571">
                  <c:v>19622</c:v>
                </c:pt>
                <c:pt idx="51572">
                  <c:v>19622</c:v>
                </c:pt>
                <c:pt idx="51573">
                  <c:v>19621</c:v>
                </c:pt>
                <c:pt idx="51574">
                  <c:v>19620</c:v>
                </c:pt>
                <c:pt idx="51575">
                  <c:v>19618</c:v>
                </c:pt>
                <c:pt idx="51576">
                  <c:v>19617</c:v>
                </c:pt>
                <c:pt idx="51577">
                  <c:v>19617</c:v>
                </c:pt>
                <c:pt idx="51578">
                  <c:v>19617</c:v>
                </c:pt>
                <c:pt idx="51579">
                  <c:v>19615</c:v>
                </c:pt>
                <c:pt idx="51580">
                  <c:v>19615</c:v>
                </c:pt>
                <c:pt idx="51581">
                  <c:v>19615</c:v>
                </c:pt>
                <c:pt idx="51582">
                  <c:v>19615</c:v>
                </c:pt>
                <c:pt idx="51583">
                  <c:v>19614</c:v>
                </c:pt>
                <c:pt idx="51584">
                  <c:v>19614</c:v>
                </c:pt>
                <c:pt idx="51585">
                  <c:v>19613</c:v>
                </c:pt>
                <c:pt idx="51586">
                  <c:v>19612</c:v>
                </c:pt>
                <c:pt idx="51587">
                  <c:v>19612</c:v>
                </c:pt>
                <c:pt idx="51588">
                  <c:v>19610</c:v>
                </c:pt>
                <c:pt idx="51589">
                  <c:v>19610</c:v>
                </c:pt>
                <c:pt idx="51590">
                  <c:v>19609</c:v>
                </c:pt>
                <c:pt idx="51591">
                  <c:v>19608</c:v>
                </c:pt>
                <c:pt idx="51592">
                  <c:v>19608</c:v>
                </c:pt>
                <c:pt idx="51593">
                  <c:v>19608</c:v>
                </c:pt>
                <c:pt idx="51594">
                  <c:v>19606</c:v>
                </c:pt>
                <c:pt idx="51595">
                  <c:v>19606</c:v>
                </c:pt>
                <c:pt idx="51596">
                  <c:v>19605</c:v>
                </c:pt>
                <c:pt idx="51597">
                  <c:v>19605</c:v>
                </c:pt>
                <c:pt idx="51598">
                  <c:v>19604</c:v>
                </c:pt>
                <c:pt idx="51599">
                  <c:v>19604</c:v>
                </c:pt>
                <c:pt idx="51600">
                  <c:v>19603</c:v>
                </c:pt>
                <c:pt idx="51601">
                  <c:v>19603</c:v>
                </c:pt>
                <c:pt idx="51602">
                  <c:v>19603</c:v>
                </c:pt>
                <c:pt idx="51603">
                  <c:v>19602</c:v>
                </c:pt>
                <c:pt idx="51604">
                  <c:v>19602</c:v>
                </c:pt>
                <c:pt idx="51605">
                  <c:v>19601</c:v>
                </c:pt>
                <c:pt idx="51606">
                  <c:v>19601</c:v>
                </c:pt>
                <c:pt idx="51607">
                  <c:v>19601</c:v>
                </c:pt>
                <c:pt idx="51608">
                  <c:v>19601</c:v>
                </c:pt>
                <c:pt idx="51609">
                  <c:v>19601</c:v>
                </c:pt>
                <c:pt idx="51610">
                  <c:v>19598</c:v>
                </c:pt>
                <c:pt idx="51611">
                  <c:v>19598</c:v>
                </c:pt>
                <c:pt idx="51612">
                  <c:v>19598</c:v>
                </c:pt>
                <c:pt idx="51613">
                  <c:v>19598</c:v>
                </c:pt>
                <c:pt idx="51614">
                  <c:v>19597</c:v>
                </c:pt>
                <c:pt idx="51615">
                  <c:v>19596</c:v>
                </c:pt>
                <c:pt idx="51616">
                  <c:v>19595</c:v>
                </c:pt>
                <c:pt idx="51617">
                  <c:v>19594</c:v>
                </c:pt>
                <c:pt idx="51618">
                  <c:v>19593</c:v>
                </c:pt>
                <c:pt idx="51619">
                  <c:v>19593</c:v>
                </c:pt>
                <c:pt idx="51620">
                  <c:v>19592</c:v>
                </c:pt>
                <c:pt idx="51621">
                  <c:v>19592</c:v>
                </c:pt>
                <c:pt idx="51622">
                  <c:v>19591</c:v>
                </c:pt>
                <c:pt idx="51623">
                  <c:v>19590</c:v>
                </c:pt>
                <c:pt idx="51624">
                  <c:v>19589</c:v>
                </c:pt>
                <c:pt idx="51625">
                  <c:v>19589</c:v>
                </c:pt>
                <c:pt idx="51626">
                  <c:v>19588</c:v>
                </c:pt>
                <c:pt idx="51627">
                  <c:v>19587</c:v>
                </c:pt>
                <c:pt idx="51628">
                  <c:v>19585</c:v>
                </c:pt>
                <c:pt idx="51629">
                  <c:v>19585</c:v>
                </c:pt>
                <c:pt idx="51630">
                  <c:v>19582</c:v>
                </c:pt>
                <c:pt idx="51631">
                  <c:v>19582</c:v>
                </c:pt>
                <c:pt idx="51632">
                  <c:v>19582</c:v>
                </c:pt>
                <c:pt idx="51633">
                  <c:v>19582</c:v>
                </c:pt>
                <c:pt idx="51634">
                  <c:v>19582</c:v>
                </c:pt>
                <c:pt idx="51635">
                  <c:v>19582</c:v>
                </c:pt>
                <c:pt idx="51636">
                  <c:v>19581</c:v>
                </c:pt>
                <c:pt idx="51637">
                  <c:v>19580</c:v>
                </c:pt>
                <c:pt idx="51638">
                  <c:v>19579</c:v>
                </c:pt>
                <c:pt idx="51639">
                  <c:v>19579</c:v>
                </c:pt>
                <c:pt idx="51640">
                  <c:v>19578</c:v>
                </c:pt>
                <c:pt idx="51641">
                  <c:v>19578</c:v>
                </c:pt>
                <c:pt idx="51642">
                  <c:v>19578</c:v>
                </c:pt>
                <c:pt idx="51643">
                  <c:v>19577</c:v>
                </c:pt>
                <c:pt idx="51644">
                  <c:v>19577</c:v>
                </c:pt>
                <c:pt idx="51645">
                  <c:v>19576</c:v>
                </c:pt>
                <c:pt idx="51646">
                  <c:v>19575</c:v>
                </c:pt>
                <c:pt idx="51647">
                  <c:v>19575</c:v>
                </c:pt>
                <c:pt idx="51648">
                  <c:v>19574</c:v>
                </c:pt>
                <c:pt idx="51649">
                  <c:v>19573</c:v>
                </c:pt>
                <c:pt idx="51650">
                  <c:v>19568</c:v>
                </c:pt>
                <c:pt idx="51651">
                  <c:v>19568</c:v>
                </c:pt>
                <c:pt idx="51652">
                  <c:v>19565</c:v>
                </c:pt>
                <c:pt idx="51653">
                  <c:v>19565</c:v>
                </c:pt>
                <c:pt idx="51654">
                  <c:v>19564</c:v>
                </c:pt>
                <c:pt idx="51655">
                  <c:v>19563</c:v>
                </c:pt>
                <c:pt idx="51656">
                  <c:v>19562</c:v>
                </c:pt>
                <c:pt idx="51657">
                  <c:v>19561</c:v>
                </c:pt>
                <c:pt idx="51658">
                  <c:v>19560</c:v>
                </c:pt>
                <c:pt idx="51659">
                  <c:v>19560</c:v>
                </c:pt>
                <c:pt idx="51660">
                  <c:v>19560</c:v>
                </c:pt>
                <c:pt idx="51661">
                  <c:v>19559</c:v>
                </c:pt>
                <c:pt idx="51662">
                  <c:v>19558</c:v>
                </c:pt>
                <c:pt idx="51663">
                  <c:v>19556</c:v>
                </c:pt>
                <c:pt idx="51664">
                  <c:v>19556</c:v>
                </c:pt>
                <c:pt idx="51665">
                  <c:v>19555</c:v>
                </c:pt>
                <c:pt idx="51666">
                  <c:v>19555</c:v>
                </c:pt>
                <c:pt idx="51667">
                  <c:v>19555</c:v>
                </c:pt>
                <c:pt idx="51668">
                  <c:v>19555</c:v>
                </c:pt>
                <c:pt idx="51669">
                  <c:v>19555</c:v>
                </c:pt>
                <c:pt idx="51670">
                  <c:v>19555</c:v>
                </c:pt>
                <c:pt idx="51671">
                  <c:v>19554</c:v>
                </c:pt>
                <c:pt idx="51672">
                  <c:v>19553</c:v>
                </c:pt>
                <c:pt idx="51673">
                  <c:v>19553</c:v>
                </c:pt>
                <c:pt idx="51674">
                  <c:v>19552</c:v>
                </c:pt>
                <c:pt idx="51675">
                  <c:v>19552</c:v>
                </c:pt>
                <c:pt idx="51676">
                  <c:v>19551</c:v>
                </c:pt>
                <c:pt idx="51677">
                  <c:v>19551</c:v>
                </c:pt>
                <c:pt idx="51678">
                  <c:v>19551</c:v>
                </c:pt>
                <c:pt idx="51679">
                  <c:v>19550</c:v>
                </c:pt>
                <c:pt idx="51680">
                  <c:v>19550</c:v>
                </c:pt>
                <c:pt idx="51681">
                  <c:v>19549</c:v>
                </c:pt>
                <c:pt idx="51682">
                  <c:v>19548</c:v>
                </c:pt>
                <c:pt idx="51683">
                  <c:v>19548</c:v>
                </c:pt>
                <c:pt idx="51684">
                  <c:v>19548</c:v>
                </c:pt>
                <c:pt idx="51685">
                  <c:v>19547</c:v>
                </c:pt>
                <c:pt idx="51686">
                  <c:v>19547</c:v>
                </c:pt>
                <c:pt idx="51687">
                  <c:v>19545</c:v>
                </c:pt>
                <c:pt idx="51688">
                  <c:v>19545</c:v>
                </c:pt>
                <c:pt idx="51689">
                  <c:v>19544</c:v>
                </c:pt>
                <c:pt idx="51690">
                  <c:v>19544</c:v>
                </c:pt>
                <c:pt idx="51691">
                  <c:v>19543</c:v>
                </c:pt>
                <c:pt idx="51692">
                  <c:v>19543</c:v>
                </c:pt>
                <c:pt idx="51693">
                  <c:v>19543</c:v>
                </c:pt>
                <c:pt idx="51694">
                  <c:v>19542</c:v>
                </c:pt>
                <c:pt idx="51695">
                  <c:v>19542</c:v>
                </c:pt>
                <c:pt idx="51696">
                  <c:v>19540</c:v>
                </c:pt>
                <c:pt idx="51697">
                  <c:v>19540</c:v>
                </c:pt>
                <c:pt idx="51698">
                  <c:v>19540</c:v>
                </c:pt>
                <c:pt idx="51699">
                  <c:v>19538</c:v>
                </c:pt>
                <c:pt idx="51700">
                  <c:v>19538</c:v>
                </c:pt>
                <c:pt idx="51701">
                  <c:v>19537</c:v>
                </c:pt>
                <c:pt idx="51702">
                  <c:v>19537</c:v>
                </c:pt>
                <c:pt idx="51703">
                  <c:v>19537</c:v>
                </c:pt>
                <c:pt idx="51704">
                  <c:v>19536</c:v>
                </c:pt>
                <c:pt idx="51705">
                  <c:v>19535</c:v>
                </c:pt>
                <c:pt idx="51706">
                  <c:v>19534</c:v>
                </c:pt>
                <c:pt idx="51707">
                  <c:v>19534</c:v>
                </c:pt>
                <c:pt idx="51708">
                  <c:v>19533</c:v>
                </c:pt>
                <c:pt idx="51709">
                  <c:v>19533</c:v>
                </c:pt>
                <c:pt idx="51710">
                  <c:v>19532</c:v>
                </c:pt>
                <c:pt idx="51711">
                  <c:v>19532</c:v>
                </c:pt>
                <c:pt idx="51712">
                  <c:v>19531</c:v>
                </c:pt>
                <c:pt idx="51713">
                  <c:v>19531</c:v>
                </c:pt>
                <c:pt idx="51714">
                  <c:v>19530</c:v>
                </c:pt>
                <c:pt idx="51715">
                  <c:v>19529</c:v>
                </c:pt>
                <c:pt idx="51716">
                  <c:v>19528</c:v>
                </c:pt>
                <c:pt idx="51717">
                  <c:v>19526</c:v>
                </c:pt>
                <c:pt idx="51718">
                  <c:v>19526</c:v>
                </c:pt>
                <c:pt idx="51719">
                  <c:v>19526</c:v>
                </c:pt>
                <c:pt idx="51720">
                  <c:v>19525</c:v>
                </c:pt>
                <c:pt idx="51721">
                  <c:v>19524</c:v>
                </c:pt>
                <c:pt idx="51722">
                  <c:v>19524</c:v>
                </c:pt>
                <c:pt idx="51723">
                  <c:v>19523</c:v>
                </c:pt>
                <c:pt idx="51724">
                  <c:v>19523</c:v>
                </c:pt>
                <c:pt idx="51725">
                  <c:v>19523</c:v>
                </c:pt>
                <c:pt idx="51726">
                  <c:v>19521</c:v>
                </c:pt>
                <c:pt idx="51727">
                  <c:v>19521</c:v>
                </c:pt>
                <c:pt idx="51728">
                  <c:v>19520</c:v>
                </c:pt>
                <c:pt idx="51729">
                  <c:v>19519</c:v>
                </c:pt>
                <c:pt idx="51730">
                  <c:v>19518</c:v>
                </c:pt>
                <c:pt idx="51731">
                  <c:v>19517</c:v>
                </c:pt>
                <c:pt idx="51732">
                  <c:v>19516</c:v>
                </c:pt>
                <c:pt idx="51733">
                  <c:v>19514</c:v>
                </c:pt>
                <c:pt idx="51734">
                  <c:v>19514</c:v>
                </c:pt>
                <c:pt idx="51735">
                  <c:v>19514</c:v>
                </c:pt>
                <c:pt idx="51736">
                  <c:v>19514</c:v>
                </c:pt>
                <c:pt idx="51737">
                  <c:v>19513</c:v>
                </c:pt>
                <c:pt idx="51738">
                  <c:v>19512</c:v>
                </c:pt>
                <c:pt idx="51739">
                  <c:v>19512</c:v>
                </c:pt>
                <c:pt idx="51740">
                  <c:v>19512</c:v>
                </c:pt>
                <c:pt idx="51741">
                  <c:v>19510</c:v>
                </c:pt>
                <c:pt idx="51742">
                  <c:v>19510</c:v>
                </c:pt>
                <c:pt idx="51743">
                  <c:v>19510</c:v>
                </c:pt>
                <c:pt idx="51744">
                  <c:v>19509</c:v>
                </c:pt>
                <c:pt idx="51745">
                  <c:v>19508</c:v>
                </c:pt>
                <c:pt idx="51746">
                  <c:v>19507</c:v>
                </c:pt>
                <c:pt idx="51747">
                  <c:v>19506</c:v>
                </c:pt>
                <c:pt idx="51748">
                  <c:v>19506</c:v>
                </c:pt>
                <c:pt idx="51749">
                  <c:v>19506</c:v>
                </c:pt>
                <c:pt idx="51750">
                  <c:v>19505</c:v>
                </c:pt>
                <c:pt idx="51751">
                  <c:v>19505</c:v>
                </c:pt>
                <c:pt idx="51752">
                  <c:v>19503</c:v>
                </c:pt>
                <c:pt idx="51753">
                  <c:v>19503</c:v>
                </c:pt>
                <c:pt idx="51754">
                  <c:v>19502</c:v>
                </c:pt>
                <c:pt idx="51755">
                  <c:v>19502</c:v>
                </c:pt>
                <c:pt idx="51756">
                  <c:v>19502</c:v>
                </c:pt>
                <c:pt idx="51757">
                  <c:v>19500</c:v>
                </c:pt>
                <c:pt idx="51758">
                  <c:v>19498</c:v>
                </c:pt>
                <c:pt idx="51759">
                  <c:v>19498</c:v>
                </c:pt>
                <c:pt idx="51760">
                  <c:v>19497</c:v>
                </c:pt>
                <c:pt idx="51761">
                  <c:v>19496</c:v>
                </c:pt>
                <c:pt idx="51762">
                  <c:v>19495</c:v>
                </c:pt>
                <c:pt idx="51763">
                  <c:v>19495</c:v>
                </c:pt>
                <c:pt idx="51764">
                  <c:v>19495</c:v>
                </c:pt>
                <c:pt idx="51765">
                  <c:v>19495</c:v>
                </c:pt>
                <c:pt idx="51766">
                  <c:v>19495</c:v>
                </c:pt>
                <c:pt idx="51767">
                  <c:v>19494</c:v>
                </c:pt>
                <c:pt idx="51768">
                  <c:v>19494</c:v>
                </c:pt>
                <c:pt idx="51769">
                  <c:v>19494</c:v>
                </c:pt>
                <c:pt idx="51770">
                  <c:v>19493</c:v>
                </c:pt>
                <c:pt idx="51771">
                  <c:v>19493</c:v>
                </c:pt>
                <c:pt idx="51772">
                  <c:v>19493</c:v>
                </c:pt>
                <c:pt idx="51773">
                  <c:v>19493</c:v>
                </c:pt>
                <c:pt idx="51774">
                  <c:v>19493</c:v>
                </c:pt>
                <c:pt idx="51775">
                  <c:v>19492</c:v>
                </c:pt>
                <c:pt idx="51776">
                  <c:v>19491</c:v>
                </c:pt>
                <c:pt idx="51777">
                  <c:v>19491</c:v>
                </c:pt>
                <c:pt idx="51778">
                  <c:v>19489</c:v>
                </c:pt>
                <c:pt idx="51779">
                  <c:v>19489</c:v>
                </c:pt>
                <c:pt idx="51780">
                  <c:v>19489</c:v>
                </c:pt>
                <c:pt idx="51781">
                  <c:v>19489</c:v>
                </c:pt>
                <c:pt idx="51782">
                  <c:v>19489</c:v>
                </c:pt>
                <c:pt idx="51783">
                  <c:v>19488</c:v>
                </c:pt>
                <c:pt idx="51784">
                  <c:v>19488</c:v>
                </c:pt>
                <c:pt idx="51785">
                  <c:v>19487</c:v>
                </c:pt>
                <c:pt idx="51786">
                  <c:v>19487</c:v>
                </c:pt>
                <c:pt idx="51787">
                  <c:v>19485</c:v>
                </c:pt>
                <c:pt idx="51788">
                  <c:v>19485</c:v>
                </c:pt>
                <c:pt idx="51789">
                  <c:v>19483</c:v>
                </c:pt>
                <c:pt idx="51790">
                  <c:v>19483</c:v>
                </c:pt>
                <c:pt idx="51791">
                  <c:v>19483</c:v>
                </c:pt>
                <c:pt idx="51792">
                  <c:v>19483</c:v>
                </c:pt>
                <c:pt idx="51793">
                  <c:v>19483</c:v>
                </c:pt>
                <c:pt idx="51794">
                  <c:v>19481</c:v>
                </c:pt>
                <c:pt idx="51795">
                  <c:v>19480</c:v>
                </c:pt>
                <c:pt idx="51796">
                  <c:v>19479</c:v>
                </c:pt>
                <c:pt idx="51797">
                  <c:v>19479</c:v>
                </c:pt>
                <c:pt idx="51798">
                  <c:v>19475</c:v>
                </c:pt>
                <c:pt idx="51799">
                  <c:v>19475</c:v>
                </c:pt>
                <c:pt idx="51800">
                  <c:v>19474</c:v>
                </c:pt>
                <c:pt idx="51801">
                  <c:v>19473</c:v>
                </c:pt>
                <c:pt idx="51802">
                  <c:v>19471</c:v>
                </c:pt>
                <c:pt idx="51803">
                  <c:v>19470</c:v>
                </c:pt>
                <c:pt idx="51804">
                  <c:v>19470</c:v>
                </c:pt>
                <c:pt idx="51805">
                  <c:v>19466</c:v>
                </c:pt>
                <c:pt idx="51806">
                  <c:v>19466</c:v>
                </c:pt>
                <c:pt idx="51807">
                  <c:v>19464</c:v>
                </c:pt>
                <c:pt idx="51808">
                  <c:v>19464</c:v>
                </c:pt>
                <c:pt idx="51809">
                  <c:v>19463</c:v>
                </c:pt>
                <c:pt idx="51810">
                  <c:v>19463</c:v>
                </c:pt>
                <c:pt idx="51811">
                  <c:v>19462</c:v>
                </c:pt>
                <c:pt idx="51812">
                  <c:v>19462</c:v>
                </c:pt>
                <c:pt idx="51813">
                  <c:v>19461</c:v>
                </c:pt>
                <c:pt idx="51814">
                  <c:v>19461</c:v>
                </c:pt>
                <c:pt idx="51815">
                  <c:v>19461</c:v>
                </c:pt>
                <c:pt idx="51816">
                  <c:v>19460</c:v>
                </c:pt>
                <c:pt idx="51817">
                  <c:v>19460</c:v>
                </c:pt>
                <c:pt idx="51818">
                  <c:v>19459</c:v>
                </c:pt>
                <c:pt idx="51819">
                  <c:v>19458</c:v>
                </c:pt>
                <c:pt idx="51820">
                  <c:v>19458</c:v>
                </c:pt>
                <c:pt idx="51821">
                  <c:v>19455</c:v>
                </c:pt>
                <c:pt idx="51822">
                  <c:v>19453</c:v>
                </c:pt>
                <c:pt idx="51823">
                  <c:v>19452</c:v>
                </c:pt>
                <c:pt idx="51824">
                  <c:v>19449</c:v>
                </c:pt>
                <c:pt idx="51825">
                  <c:v>19449</c:v>
                </c:pt>
                <c:pt idx="51826">
                  <c:v>19449</c:v>
                </c:pt>
                <c:pt idx="51827">
                  <c:v>19448</c:v>
                </c:pt>
                <c:pt idx="51828">
                  <c:v>19448</c:v>
                </c:pt>
                <c:pt idx="51829">
                  <c:v>19448</c:v>
                </c:pt>
                <c:pt idx="51830">
                  <c:v>19447</c:v>
                </c:pt>
                <c:pt idx="51831">
                  <c:v>19446</c:v>
                </c:pt>
                <c:pt idx="51832">
                  <c:v>19445</c:v>
                </c:pt>
                <c:pt idx="51833">
                  <c:v>19445</c:v>
                </c:pt>
                <c:pt idx="51834">
                  <c:v>19445</c:v>
                </c:pt>
                <c:pt idx="51835">
                  <c:v>19444</c:v>
                </c:pt>
                <c:pt idx="51836">
                  <c:v>19442</c:v>
                </c:pt>
                <c:pt idx="51837">
                  <c:v>19442</c:v>
                </c:pt>
                <c:pt idx="51838">
                  <c:v>19440</c:v>
                </c:pt>
                <c:pt idx="51839">
                  <c:v>19440</c:v>
                </c:pt>
                <c:pt idx="51840">
                  <c:v>19439</c:v>
                </c:pt>
                <c:pt idx="51841">
                  <c:v>19439</c:v>
                </c:pt>
                <c:pt idx="51842">
                  <c:v>19439</c:v>
                </c:pt>
                <c:pt idx="51843">
                  <c:v>19438</c:v>
                </c:pt>
                <c:pt idx="51844">
                  <c:v>19438</c:v>
                </c:pt>
                <c:pt idx="51845">
                  <c:v>19437</c:v>
                </c:pt>
                <c:pt idx="51846">
                  <c:v>19437</c:v>
                </c:pt>
                <c:pt idx="51847">
                  <c:v>19435</c:v>
                </c:pt>
                <c:pt idx="51848">
                  <c:v>19435</c:v>
                </c:pt>
                <c:pt idx="51849">
                  <c:v>19434</c:v>
                </c:pt>
                <c:pt idx="51850">
                  <c:v>19434</c:v>
                </c:pt>
                <c:pt idx="51851">
                  <c:v>19432</c:v>
                </c:pt>
                <c:pt idx="51852">
                  <c:v>19430</c:v>
                </c:pt>
                <c:pt idx="51853">
                  <c:v>19429</c:v>
                </c:pt>
                <c:pt idx="51854">
                  <c:v>19429</c:v>
                </c:pt>
                <c:pt idx="51855">
                  <c:v>19429</c:v>
                </c:pt>
                <c:pt idx="51856">
                  <c:v>19427</c:v>
                </c:pt>
                <c:pt idx="51857">
                  <c:v>19427</c:v>
                </c:pt>
                <c:pt idx="51858">
                  <c:v>19427</c:v>
                </c:pt>
                <c:pt idx="51859">
                  <c:v>19426</c:v>
                </c:pt>
                <c:pt idx="51860">
                  <c:v>19426</c:v>
                </c:pt>
                <c:pt idx="51861">
                  <c:v>19426</c:v>
                </c:pt>
                <c:pt idx="51862">
                  <c:v>19426</c:v>
                </c:pt>
                <c:pt idx="51863">
                  <c:v>19426</c:v>
                </c:pt>
                <c:pt idx="51864">
                  <c:v>19425</c:v>
                </c:pt>
                <c:pt idx="51865">
                  <c:v>19424</c:v>
                </c:pt>
                <c:pt idx="51866">
                  <c:v>19424</c:v>
                </c:pt>
                <c:pt idx="51867">
                  <c:v>19423</c:v>
                </c:pt>
                <c:pt idx="51868">
                  <c:v>19423</c:v>
                </c:pt>
                <c:pt idx="51869">
                  <c:v>19423</c:v>
                </c:pt>
                <c:pt idx="51870">
                  <c:v>19422</c:v>
                </c:pt>
                <c:pt idx="51871">
                  <c:v>19422</c:v>
                </c:pt>
                <c:pt idx="51872">
                  <c:v>19421</c:v>
                </c:pt>
                <c:pt idx="51873">
                  <c:v>19421</c:v>
                </c:pt>
                <c:pt idx="51874">
                  <c:v>19420</c:v>
                </c:pt>
                <c:pt idx="51875">
                  <c:v>19420</c:v>
                </c:pt>
                <c:pt idx="51876">
                  <c:v>19419</c:v>
                </c:pt>
                <c:pt idx="51877">
                  <c:v>19419</c:v>
                </c:pt>
                <c:pt idx="51878">
                  <c:v>19415</c:v>
                </c:pt>
                <c:pt idx="51879">
                  <c:v>19415</c:v>
                </c:pt>
                <c:pt idx="51880">
                  <c:v>19414</c:v>
                </c:pt>
                <c:pt idx="51881">
                  <c:v>19413</c:v>
                </c:pt>
                <c:pt idx="51882">
                  <c:v>19413</c:v>
                </c:pt>
                <c:pt idx="51883">
                  <c:v>19412</c:v>
                </c:pt>
                <c:pt idx="51884">
                  <c:v>19412</c:v>
                </c:pt>
                <c:pt idx="51885">
                  <c:v>19411</c:v>
                </c:pt>
                <c:pt idx="51886">
                  <c:v>19411</c:v>
                </c:pt>
                <c:pt idx="51887">
                  <c:v>19410</c:v>
                </c:pt>
                <c:pt idx="51888">
                  <c:v>19408</c:v>
                </c:pt>
                <c:pt idx="51889">
                  <c:v>19407</c:v>
                </c:pt>
                <c:pt idx="51890">
                  <c:v>19407</c:v>
                </c:pt>
                <c:pt idx="51891">
                  <c:v>19406</c:v>
                </c:pt>
                <c:pt idx="51892">
                  <c:v>19405</c:v>
                </c:pt>
                <c:pt idx="51893">
                  <c:v>19404</c:v>
                </c:pt>
                <c:pt idx="51894">
                  <c:v>19404</c:v>
                </c:pt>
                <c:pt idx="51895">
                  <c:v>19404</c:v>
                </c:pt>
                <c:pt idx="51896">
                  <c:v>19403</c:v>
                </c:pt>
                <c:pt idx="51897">
                  <c:v>19403</c:v>
                </c:pt>
                <c:pt idx="51898">
                  <c:v>19400</c:v>
                </c:pt>
                <c:pt idx="51899">
                  <c:v>19400</c:v>
                </c:pt>
                <c:pt idx="51900">
                  <c:v>19399</c:v>
                </c:pt>
                <c:pt idx="51901">
                  <c:v>19399</c:v>
                </c:pt>
                <c:pt idx="51902">
                  <c:v>19397</c:v>
                </c:pt>
                <c:pt idx="51903">
                  <c:v>19396</c:v>
                </c:pt>
                <c:pt idx="51904">
                  <c:v>19396</c:v>
                </c:pt>
                <c:pt idx="51905">
                  <c:v>19396</c:v>
                </c:pt>
                <c:pt idx="51906">
                  <c:v>19395</c:v>
                </c:pt>
                <c:pt idx="51907">
                  <c:v>19392</c:v>
                </c:pt>
                <c:pt idx="51908">
                  <c:v>19391</c:v>
                </c:pt>
                <c:pt idx="51909">
                  <c:v>19391</c:v>
                </c:pt>
                <c:pt idx="51910">
                  <c:v>19390</c:v>
                </c:pt>
                <c:pt idx="51911">
                  <c:v>19389</c:v>
                </c:pt>
                <c:pt idx="51912">
                  <c:v>19388</c:v>
                </c:pt>
                <c:pt idx="51913">
                  <c:v>19388</c:v>
                </c:pt>
                <c:pt idx="51914">
                  <c:v>19388</c:v>
                </c:pt>
                <c:pt idx="51915">
                  <c:v>19387</c:v>
                </c:pt>
                <c:pt idx="51916">
                  <c:v>19386</c:v>
                </c:pt>
                <c:pt idx="51917">
                  <c:v>19386</c:v>
                </c:pt>
                <c:pt idx="51918">
                  <c:v>19385</c:v>
                </c:pt>
                <c:pt idx="51919">
                  <c:v>19385</c:v>
                </c:pt>
                <c:pt idx="51920">
                  <c:v>19384</c:v>
                </c:pt>
                <c:pt idx="51921">
                  <c:v>19383</c:v>
                </c:pt>
                <c:pt idx="51922">
                  <c:v>19383</c:v>
                </c:pt>
                <c:pt idx="51923">
                  <c:v>19383</c:v>
                </c:pt>
                <c:pt idx="51924">
                  <c:v>19381</c:v>
                </c:pt>
                <c:pt idx="51925">
                  <c:v>19380</c:v>
                </c:pt>
                <c:pt idx="51926">
                  <c:v>19380</c:v>
                </c:pt>
                <c:pt idx="51927">
                  <c:v>19379</c:v>
                </c:pt>
                <c:pt idx="51928">
                  <c:v>19379</c:v>
                </c:pt>
                <c:pt idx="51929">
                  <c:v>19379</c:v>
                </c:pt>
                <c:pt idx="51930">
                  <c:v>19378</c:v>
                </c:pt>
                <c:pt idx="51931">
                  <c:v>19378</c:v>
                </c:pt>
                <c:pt idx="51932">
                  <c:v>19378</c:v>
                </c:pt>
                <c:pt idx="51933">
                  <c:v>19378</c:v>
                </c:pt>
                <c:pt idx="51934">
                  <c:v>19377</c:v>
                </c:pt>
                <c:pt idx="51935">
                  <c:v>19376</c:v>
                </c:pt>
                <c:pt idx="51936">
                  <c:v>19374</c:v>
                </c:pt>
                <c:pt idx="51937">
                  <c:v>19374</c:v>
                </c:pt>
                <c:pt idx="51938">
                  <c:v>19374</c:v>
                </c:pt>
                <c:pt idx="51939">
                  <c:v>19374</c:v>
                </c:pt>
                <c:pt idx="51940">
                  <c:v>19373</c:v>
                </c:pt>
                <c:pt idx="51941">
                  <c:v>19372</c:v>
                </c:pt>
                <c:pt idx="51942">
                  <c:v>19370</c:v>
                </c:pt>
                <c:pt idx="51943">
                  <c:v>19370</c:v>
                </c:pt>
                <c:pt idx="51944">
                  <c:v>19369</c:v>
                </c:pt>
                <c:pt idx="51945">
                  <c:v>19367</c:v>
                </c:pt>
                <c:pt idx="51946">
                  <c:v>19366</c:v>
                </c:pt>
                <c:pt idx="51947">
                  <c:v>19365</c:v>
                </c:pt>
                <c:pt idx="51948">
                  <c:v>19365</c:v>
                </c:pt>
                <c:pt idx="51949">
                  <c:v>19364</c:v>
                </c:pt>
                <c:pt idx="51950">
                  <c:v>19364</c:v>
                </c:pt>
                <c:pt idx="51951">
                  <c:v>19364</c:v>
                </c:pt>
                <c:pt idx="51952">
                  <c:v>19364</c:v>
                </c:pt>
                <c:pt idx="51953">
                  <c:v>19363</c:v>
                </c:pt>
                <c:pt idx="51954">
                  <c:v>19363</c:v>
                </c:pt>
                <c:pt idx="51955">
                  <c:v>19363</c:v>
                </c:pt>
                <c:pt idx="51956">
                  <c:v>19362</c:v>
                </c:pt>
                <c:pt idx="51957">
                  <c:v>19359</c:v>
                </c:pt>
                <c:pt idx="51958">
                  <c:v>19359</c:v>
                </c:pt>
                <c:pt idx="51959">
                  <c:v>19359</c:v>
                </c:pt>
                <c:pt idx="51960">
                  <c:v>19358</c:v>
                </c:pt>
                <c:pt idx="51961">
                  <c:v>19357</c:v>
                </c:pt>
                <c:pt idx="51962">
                  <c:v>19356</c:v>
                </c:pt>
                <c:pt idx="51963">
                  <c:v>19356</c:v>
                </c:pt>
                <c:pt idx="51964">
                  <c:v>19355</c:v>
                </c:pt>
                <c:pt idx="51965">
                  <c:v>19355</c:v>
                </c:pt>
                <c:pt idx="51966">
                  <c:v>19354</c:v>
                </c:pt>
                <c:pt idx="51967">
                  <c:v>19354</c:v>
                </c:pt>
                <c:pt idx="51968">
                  <c:v>19354</c:v>
                </c:pt>
                <c:pt idx="51969">
                  <c:v>19352</c:v>
                </c:pt>
                <c:pt idx="51970">
                  <c:v>19352</c:v>
                </c:pt>
                <c:pt idx="51971">
                  <c:v>19352</c:v>
                </c:pt>
                <c:pt idx="51972">
                  <c:v>19351</c:v>
                </c:pt>
                <c:pt idx="51973">
                  <c:v>19350</c:v>
                </c:pt>
                <c:pt idx="51974">
                  <c:v>19349</c:v>
                </c:pt>
                <c:pt idx="51975">
                  <c:v>19349</c:v>
                </c:pt>
                <c:pt idx="51976">
                  <c:v>19346</c:v>
                </c:pt>
                <c:pt idx="51977">
                  <c:v>19346</c:v>
                </c:pt>
                <c:pt idx="51978">
                  <c:v>19344</c:v>
                </c:pt>
                <c:pt idx="51979">
                  <c:v>19343</c:v>
                </c:pt>
                <c:pt idx="51980">
                  <c:v>19343</c:v>
                </c:pt>
                <c:pt idx="51981">
                  <c:v>19342</c:v>
                </c:pt>
                <c:pt idx="51982">
                  <c:v>19342</c:v>
                </c:pt>
                <c:pt idx="51983">
                  <c:v>19339</c:v>
                </c:pt>
                <c:pt idx="51984">
                  <c:v>19339</c:v>
                </c:pt>
                <c:pt idx="51985">
                  <c:v>19336</c:v>
                </c:pt>
                <c:pt idx="51986">
                  <c:v>19334</c:v>
                </c:pt>
                <c:pt idx="51987">
                  <c:v>19334</c:v>
                </c:pt>
                <c:pt idx="51988">
                  <c:v>19333</c:v>
                </c:pt>
                <c:pt idx="51989">
                  <c:v>19333</c:v>
                </c:pt>
                <c:pt idx="51990">
                  <c:v>19332</c:v>
                </c:pt>
                <c:pt idx="51991">
                  <c:v>19332</c:v>
                </c:pt>
                <c:pt idx="51992">
                  <c:v>19331</c:v>
                </c:pt>
                <c:pt idx="51993">
                  <c:v>19329</c:v>
                </c:pt>
                <c:pt idx="51994">
                  <c:v>19329</c:v>
                </c:pt>
                <c:pt idx="51995">
                  <c:v>19327</c:v>
                </c:pt>
                <c:pt idx="51996">
                  <c:v>19325</c:v>
                </c:pt>
                <c:pt idx="51997">
                  <c:v>19324</c:v>
                </c:pt>
                <c:pt idx="51998">
                  <c:v>19323</c:v>
                </c:pt>
                <c:pt idx="51999">
                  <c:v>19323</c:v>
                </c:pt>
                <c:pt idx="52000">
                  <c:v>19322</c:v>
                </c:pt>
                <c:pt idx="52001">
                  <c:v>19322</c:v>
                </c:pt>
                <c:pt idx="52002">
                  <c:v>19322</c:v>
                </c:pt>
                <c:pt idx="52003">
                  <c:v>19322</c:v>
                </c:pt>
                <c:pt idx="52004">
                  <c:v>19321</c:v>
                </c:pt>
                <c:pt idx="52005">
                  <c:v>19320</c:v>
                </c:pt>
                <c:pt idx="52006">
                  <c:v>19320</c:v>
                </c:pt>
                <c:pt idx="52007">
                  <c:v>19320</c:v>
                </c:pt>
                <c:pt idx="52008">
                  <c:v>19320</c:v>
                </c:pt>
                <c:pt idx="52009">
                  <c:v>19318</c:v>
                </c:pt>
                <c:pt idx="52010">
                  <c:v>19317</c:v>
                </c:pt>
                <c:pt idx="52011">
                  <c:v>19315</c:v>
                </c:pt>
                <c:pt idx="52012">
                  <c:v>19314</c:v>
                </c:pt>
                <c:pt idx="52013">
                  <c:v>19313</c:v>
                </c:pt>
                <c:pt idx="52014">
                  <c:v>19313</c:v>
                </c:pt>
                <c:pt idx="52015">
                  <c:v>19313</c:v>
                </c:pt>
                <c:pt idx="52016">
                  <c:v>19313</c:v>
                </c:pt>
                <c:pt idx="52017">
                  <c:v>19312</c:v>
                </c:pt>
                <c:pt idx="52018">
                  <c:v>19312</c:v>
                </c:pt>
                <c:pt idx="52019">
                  <c:v>19310</c:v>
                </c:pt>
                <c:pt idx="52020">
                  <c:v>19309</c:v>
                </c:pt>
                <c:pt idx="52021">
                  <c:v>19309</c:v>
                </c:pt>
                <c:pt idx="52022">
                  <c:v>19308</c:v>
                </c:pt>
                <c:pt idx="52023">
                  <c:v>19308</c:v>
                </c:pt>
                <c:pt idx="52024">
                  <c:v>19306</c:v>
                </c:pt>
                <c:pt idx="52025">
                  <c:v>19306</c:v>
                </c:pt>
                <c:pt idx="52026">
                  <c:v>19305</c:v>
                </c:pt>
                <c:pt idx="52027">
                  <c:v>19304</c:v>
                </c:pt>
                <c:pt idx="52028">
                  <c:v>19303</c:v>
                </c:pt>
                <c:pt idx="52029">
                  <c:v>19300</c:v>
                </c:pt>
                <c:pt idx="52030">
                  <c:v>19299</c:v>
                </c:pt>
                <c:pt idx="52031">
                  <c:v>19298</c:v>
                </c:pt>
                <c:pt idx="52032">
                  <c:v>19296</c:v>
                </c:pt>
                <c:pt idx="52033">
                  <c:v>19295</c:v>
                </c:pt>
                <c:pt idx="52034">
                  <c:v>19295</c:v>
                </c:pt>
                <c:pt idx="52035">
                  <c:v>19293</c:v>
                </c:pt>
                <c:pt idx="52036">
                  <c:v>19293</c:v>
                </c:pt>
                <c:pt idx="52037">
                  <c:v>19292</c:v>
                </c:pt>
                <c:pt idx="52038">
                  <c:v>19290</c:v>
                </c:pt>
                <c:pt idx="52039">
                  <c:v>19289</c:v>
                </c:pt>
                <c:pt idx="52040">
                  <c:v>19289</c:v>
                </c:pt>
                <c:pt idx="52041">
                  <c:v>19289</c:v>
                </c:pt>
                <c:pt idx="52042">
                  <c:v>19288</c:v>
                </c:pt>
                <c:pt idx="52043">
                  <c:v>19288</c:v>
                </c:pt>
                <c:pt idx="52044">
                  <c:v>19287</c:v>
                </c:pt>
                <c:pt idx="52045">
                  <c:v>19286</c:v>
                </c:pt>
                <c:pt idx="52046">
                  <c:v>19286</c:v>
                </c:pt>
                <c:pt idx="52047">
                  <c:v>19285</c:v>
                </c:pt>
                <c:pt idx="52048">
                  <c:v>19281</c:v>
                </c:pt>
                <c:pt idx="52049">
                  <c:v>19280</c:v>
                </c:pt>
                <c:pt idx="52050">
                  <c:v>19278</c:v>
                </c:pt>
                <c:pt idx="52051">
                  <c:v>19275</c:v>
                </c:pt>
                <c:pt idx="52052">
                  <c:v>19275</c:v>
                </c:pt>
                <c:pt idx="52053">
                  <c:v>19274</c:v>
                </c:pt>
                <c:pt idx="52054">
                  <c:v>19273</c:v>
                </c:pt>
                <c:pt idx="52055">
                  <c:v>19272</c:v>
                </c:pt>
                <c:pt idx="52056">
                  <c:v>19271</c:v>
                </c:pt>
                <c:pt idx="52057">
                  <c:v>19269</c:v>
                </c:pt>
                <c:pt idx="52058">
                  <c:v>19266</c:v>
                </c:pt>
                <c:pt idx="52059">
                  <c:v>19266</c:v>
                </c:pt>
                <c:pt idx="52060">
                  <c:v>19265</c:v>
                </c:pt>
                <c:pt idx="52061">
                  <c:v>19264</c:v>
                </c:pt>
                <c:pt idx="52062">
                  <c:v>19261</c:v>
                </c:pt>
                <c:pt idx="52063">
                  <c:v>19261</c:v>
                </c:pt>
                <c:pt idx="52064">
                  <c:v>19260</c:v>
                </c:pt>
                <c:pt idx="52065">
                  <c:v>19260</c:v>
                </c:pt>
                <c:pt idx="52066">
                  <c:v>19259</c:v>
                </c:pt>
                <c:pt idx="52067">
                  <c:v>19258</c:v>
                </c:pt>
                <c:pt idx="52068">
                  <c:v>19257</c:v>
                </c:pt>
                <c:pt idx="52069">
                  <c:v>19257</c:v>
                </c:pt>
                <c:pt idx="52070">
                  <c:v>19255</c:v>
                </c:pt>
                <c:pt idx="52071">
                  <c:v>19255</c:v>
                </c:pt>
                <c:pt idx="52072">
                  <c:v>19254</c:v>
                </c:pt>
                <c:pt idx="52073">
                  <c:v>19252</c:v>
                </c:pt>
                <c:pt idx="52074">
                  <c:v>19252</c:v>
                </c:pt>
                <c:pt idx="52075">
                  <c:v>19250</c:v>
                </c:pt>
                <c:pt idx="52076">
                  <c:v>19249</c:v>
                </c:pt>
                <c:pt idx="52077">
                  <c:v>19247</c:v>
                </c:pt>
                <c:pt idx="52078">
                  <c:v>19243</c:v>
                </c:pt>
                <c:pt idx="52079">
                  <c:v>19239</c:v>
                </c:pt>
                <c:pt idx="52080">
                  <c:v>19237</c:v>
                </c:pt>
                <c:pt idx="52081">
                  <c:v>19236</c:v>
                </c:pt>
                <c:pt idx="52082">
                  <c:v>19235</c:v>
                </c:pt>
                <c:pt idx="52083">
                  <c:v>19234</c:v>
                </c:pt>
                <c:pt idx="52084">
                  <c:v>19234</c:v>
                </c:pt>
                <c:pt idx="52085">
                  <c:v>19234</c:v>
                </c:pt>
                <c:pt idx="52086">
                  <c:v>19234</c:v>
                </c:pt>
                <c:pt idx="52087">
                  <c:v>19233</c:v>
                </c:pt>
                <c:pt idx="52088">
                  <c:v>19233</c:v>
                </c:pt>
                <c:pt idx="52089">
                  <c:v>19233</c:v>
                </c:pt>
                <c:pt idx="52090">
                  <c:v>19230</c:v>
                </c:pt>
                <c:pt idx="52091">
                  <c:v>19229</c:v>
                </c:pt>
                <c:pt idx="52092">
                  <c:v>19228</c:v>
                </c:pt>
                <c:pt idx="52093">
                  <c:v>19228</c:v>
                </c:pt>
                <c:pt idx="52094">
                  <c:v>19228</c:v>
                </c:pt>
                <c:pt idx="52095">
                  <c:v>19227</c:v>
                </c:pt>
                <c:pt idx="52096">
                  <c:v>19227</c:v>
                </c:pt>
                <c:pt idx="52097">
                  <c:v>19226</c:v>
                </c:pt>
                <c:pt idx="52098">
                  <c:v>19225</c:v>
                </c:pt>
                <c:pt idx="52099">
                  <c:v>19224</c:v>
                </c:pt>
                <c:pt idx="52100">
                  <c:v>19224</c:v>
                </c:pt>
                <c:pt idx="52101">
                  <c:v>19222</c:v>
                </c:pt>
                <c:pt idx="52102">
                  <c:v>19221</c:v>
                </c:pt>
                <c:pt idx="52103">
                  <c:v>19221</c:v>
                </c:pt>
                <c:pt idx="52104">
                  <c:v>19220</c:v>
                </c:pt>
                <c:pt idx="52105">
                  <c:v>19218</c:v>
                </c:pt>
                <c:pt idx="52106">
                  <c:v>19218</c:v>
                </c:pt>
                <c:pt idx="52107">
                  <c:v>19218</c:v>
                </c:pt>
                <c:pt idx="52108">
                  <c:v>19216</c:v>
                </c:pt>
                <c:pt idx="52109">
                  <c:v>19215</c:v>
                </c:pt>
                <c:pt idx="52110">
                  <c:v>19215</c:v>
                </c:pt>
                <c:pt idx="52111">
                  <c:v>19214</c:v>
                </c:pt>
                <c:pt idx="52112">
                  <c:v>19214</c:v>
                </c:pt>
                <c:pt idx="52113">
                  <c:v>19212</c:v>
                </c:pt>
                <c:pt idx="52114">
                  <c:v>19211</c:v>
                </c:pt>
                <c:pt idx="52115">
                  <c:v>19210</c:v>
                </c:pt>
                <c:pt idx="52116">
                  <c:v>19210</c:v>
                </c:pt>
                <c:pt idx="52117">
                  <c:v>19210</c:v>
                </c:pt>
                <c:pt idx="52118">
                  <c:v>19209</c:v>
                </c:pt>
                <c:pt idx="52119">
                  <c:v>19207</c:v>
                </c:pt>
                <c:pt idx="52120">
                  <c:v>19206</c:v>
                </c:pt>
                <c:pt idx="52121">
                  <c:v>19205</c:v>
                </c:pt>
                <c:pt idx="52122">
                  <c:v>19205</c:v>
                </c:pt>
                <c:pt idx="52123">
                  <c:v>19200</c:v>
                </c:pt>
                <c:pt idx="52124">
                  <c:v>19200</c:v>
                </c:pt>
                <c:pt idx="52125">
                  <c:v>19198</c:v>
                </c:pt>
                <c:pt idx="52126">
                  <c:v>19196</c:v>
                </c:pt>
                <c:pt idx="52127">
                  <c:v>19193</c:v>
                </c:pt>
                <c:pt idx="52128">
                  <c:v>19192</c:v>
                </c:pt>
                <c:pt idx="52129">
                  <c:v>19192</c:v>
                </c:pt>
                <c:pt idx="52130">
                  <c:v>19191</c:v>
                </c:pt>
                <c:pt idx="52131">
                  <c:v>19190</c:v>
                </c:pt>
                <c:pt idx="52132">
                  <c:v>19190</c:v>
                </c:pt>
                <c:pt idx="52133">
                  <c:v>19189</c:v>
                </c:pt>
                <c:pt idx="52134">
                  <c:v>19188</c:v>
                </c:pt>
                <c:pt idx="52135">
                  <c:v>19188</c:v>
                </c:pt>
                <c:pt idx="52136">
                  <c:v>19188</c:v>
                </c:pt>
                <c:pt idx="52137">
                  <c:v>19187</c:v>
                </c:pt>
                <c:pt idx="52138">
                  <c:v>19186</c:v>
                </c:pt>
                <c:pt idx="52139">
                  <c:v>19186</c:v>
                </c:pt>
                <c:pt idx="52140">
                  <c:v>19186</c:v>
                </c:pt>
                <c:pt idx="52141">
                  <c:v>19185</c:v>
                </c:pt>
                <c:pt idx="52142">
                  <c:v>19185</c:v>
                </c:pt>
                <c:pt idx="52143">
                  <c:v>19185</c:v>
                </c:pt>
                <c:pt idx="52144">
                  <c:v>19184</c:v>
                </c:pt>
                <c:pt idx="52145">
                  <c:v>19184</c:v>
                </c:pt>
                <c:pt idx="52146">
                  <c:v>19182</c:v>
                </c:pt>
                <c:pt idx="52147">
                  <c:v>19181</c:v>
                </c:pt>
                <c:pt idx="52148">
                  <c:v>19181</c:v>
                </c:pt>
                <c:pt idx="52149">
                  <c:v>19180</c:v>
                </c:pt>
                <c:pt idx="52150">
                  <c:v>19179</c:v>
                </c:pt>
                <c:pt idx="52151">
                  <c:v>19177</c:v>
                </c:pt>
                <c:pt idx="52152">
                  <c:v>19176</c:v>
                </c:pt>
                <c:pt idx="52153">
                  <c:v>19174</c:v>
                </c:pt>
                <c:pt idx="52154">
                  <c:v>19172</c:v>
                </c:pt>
                <c:pt idx="52155">
                  <c:v>19170</c:v>
                </c:pt>
                <c:pt idx="52156">
                  <c:v>19169</c:v>
                </c:pt>
                <c:pt idx="52157">
                  <c:v>19169</c:v>
                </c:pt>
                <c:pt idx="52158">
                  <c:v>19168</c:v>
                </c:pt>
                <c:pt idx="52159">
                  <c:v>19167</c:v>
                </c:pt>
                <c:pt idx="52160">
                  <c:v>19167</c:v>
                </c:pt>
                <c:pt idx="52161">
                  <c:v>19166</c:v>
                </c:pt>
                <c:pt idx="52162">
                  <c:v>19165</c:v>
                </c:pt>
                <c:pt idx="52163">
                  <c:v>19164</c:v>
                </c:pt>
                <c:pt idx="52164">
                  <c:v>19164</c:v>
                </c:pt>
                <c:pt idx="52165">
                  <c:v>19164</c:v>
                </c:pt>
                <c:pt idx="52166">
                  <c:v>19163</c:v>
                </c:pt>
                <c:pt idx="52167">
                  <c:v>19158</c:v>
                </c:pt>
                <c:pt idx="52168">
                  <c:v>19158</c:v>
                </c:pt>
                <c:pt idx="52169">
                  <c:v>19157</c:v>
                </c:pt>
                <c:pt idx="52170">
                  <c:v>19157</c:v>
                </c:pt>
                <c:pt idx="52171">
                  <c:v>19157</c:v>
                </c:pt>
                <c:pt idx="52172">
                  <c:v>19156</c:v>
                </c:pt>
                <c:pt idx="52173">
                  <c:v>19155</c:v>
                </c:pt>
                <c:pt idx="52174">
                  <c:v>19154</c:v>
                </c:pt>
                <c:pt idx="52175">
                  <c:v>19152</c:v>
                </c:pt>
                <c:pt idx="52176">
                  <c:v>19152</c:v>
                </c:pt>
                <c:pt idx="52177">
                  <c:v>19152</c:v>
                </c:pt>
                <c:pt idx="52178">
                  <c:v>19149</c:v>
                </c:pt>
                <c:pt idx="52179">
                  <c:v>19148</c:v>
                </c:pt>
                <c:pt idx="52180">
                  <c:v>19146</c:v>
                </c:pt>
                <c:pt idx="52181">
                  <c:v>19146</c:v>
                </c:pt>
                <c:pt idx="52182">
                  <c:v>19144</c:v>
                </c:pt>
                <c:pt idx="52183">
                  <c:v>19144</c:v>
                </c:pt>
                <c:pt idx="52184">
                  <c:v>19143</c:v>
                </c:pt>
                <c:pt idx="52185">
                  <c:v>19143</c:v>
                </c:pt>
                <c:pt idx="52186">
                  <c:v>19143</c:v>
                </c:pt>
                <c:pt idx="52187">
                  <c:v>19142</c:v>
                </c:pt>
                <c:pt idx="52188">
                  <c:v>19142</c:v>
                </c:pt>
                <c:pt idx="52189">
                  <c:v>19142</c:v>
                </c:pt>
                <c:pt idx="52190">
                  <c:v>19142</c:v>
                </c:pt>
                <c:pt idx="52191">
                  <c:v>19142</c:v>
                </c:pt>
                <c:pt idx="52192">
                  <c:v>19138</c:v>
                </c:pt>
                <c:pt idx="52193">
                  <c:v>19138</c:v>
                </c:pt>
                <c:pt idx="52194">
                  <c:v>19135</c:v>
                </c:pt>
                <c:pt idx="52195">
                  <c:v>19135</c:v>
                </c:pt>
                <c:pt idx="52196">
                  <c:v>19135</c:v>
                </c:pt>
                <c:pt idx="52197">
                  <c:v>19134</c:v>
                </c:pt>
                <c:pt idx="52198">
                  <c:v>19134</c:v>
                </c:pt>
                <c:pt idx="52199">
                  <c:v>19133</c:v>
                </c:pt>
                <c:pt idx="52200">
                  <c:v>19133</c:v>
                </c:pt>
                <c:pt idx="52201">
                  <c:v>19133</c:v>
                </c:pt>
                <c:pt idx="52202">
                  <c:v>19132</c:v>
                </c:pt>
                <c:pt idx="52203">
                  <c:v>19131</c:v>
                </c:pt>
                <c:pt idx="52204">
                  <c:v>19131</c:v>
                </c:pt>
                <c:pt idx="52205">
                  <c:v>19130</c:v>
                </c:pt>
                <c:pt idx="52206">
                  <c:v>19130</c:v>
                </c:pt>
                <c:pt idx="52207">
                  <c:v>19129</c:v>
                </c:pt>
                <c:pt idx="52208">
                  <c:v>19129</c:v>
                </c:pt>
                <c:pt idx="52209">
                  <c:v>19128</c:v>
                </c:pt>
                <c:pt idx="52210">
                  <c:v>19125</c:v>
                </c:pt>
                <c:pt idx="52211">
                  <c:v>19125</c:v>
                </c:pt>
                <c:pt idx="52212">
                  <c:v>19125</c:v>
                </c:pt>
                <c:pt idx="52213">
                  <c:v>19124</c:v>
                </c:pt>
                <c:pt idx="52214">
                  <c:v>19124</c:v>
                </c:pt>
                <c:pt idx="52215">
                  <c:v>19123</c:v>
                </c:pt>
                <c:pt idx="52216">
                  <c:v>19122</c:v>
                </c:pt>
                <c:pt idx="52217">
                  <c:v>19121</c:v>
                </c:pt>
                <c:pt idx="52218">
                  <c:v>19121</c:v>
                </c:pt>
                <c:pt idx="52219">
                  <c:v>19121</c:v>
                </c:pt>
                <c:pt idx="52220">
                  <c:v>19118</c:v>
                </c:pt>
                <c:pt idx="52221">
                  <c:v>19118</c:v>
                </c:pt>
                <c:pt idx="52222">
                  <c:v>19117</c:v>
                </c:pt>
                <c:pt idx="52223">
                  <c:v>19116</c:v>
                </c:pt>
                <c:pt idx="52224">
                  <c:v>19114</c:v>
                </c:pt>
                <c:pt idx="52225">
                  <c:v>19113</c:v>
                </c:pt>
                <c:pt idx="52226">
                  <c:v>19113</c:v>
                </c:pt>
                <c:pt idx="52227">
                  <c:v>19110</c:v>
                </c:pt>
                <c:pt idx="52228">
                  <c:v>19109</c:v>
                </c:pt>
                <c:pt idx="52229">
                  <c:v>19106</c:v>
                </c:pt>
                <c:pt idx="52230">
                  <c:v>19106</c:v>
                </c:pt>
                <c:pt idx="52231">
                  <c:v>19106</c:v>
                </c:pt>
                <c:pt idx="52232">
                  <c:v>19105</c:v>
                </c:pt>
                <c:pt idx="52233">
                  <c:v>19105</c:v>
                </c:pt>
                <c:pt idx="52234">
                  <c:v>19104</c:v>
                </c:pt>
                <c:pt idx="52235">
                  <c:v>19103</c:v>
                </c:pt>
                <c:pt idx="52236">
                  <c:v>19103</c:v>
                </c:pt>
                <c:pt idx="52237">
                  <c:v>19102</c:v>
                </c:pt>
                <c:pt idx="52238">
                  <c:v>19102</c:v>
                </c:pt>
                <c:pt idx="52239">
                  <c:v>19099</c:v>
                </c:pt>
                <c:pt idx="52240">
                  <c:v>19097</c:v>
                </c:pt>
                <c:pt idx="52241">
                  <c:v>19096</c:v>
                </c:pt>
                <c:pt idx="52242">
                  <c:v>19095</c:v>
                </c:pt>
                <c:pt idx="52243">
                  <c:v>19094</c:v>
                </c:pt>
                <c:pt idx="52244">
                  <c:v>19094</c:v>
                </c:pt>
                <c:pt idx="52245">
                  <c:v>19093</c:v>
                </c:pt>
                <c:pt idx="52246">
                  <c:v>19093</c:v>
                </c:pt>
                <c:pt idx="52247">
                  <c:v>19091</c:v>
                </c:pt>
                <c:pt idx="52248">
                  <c:v>19091</c:v>
                </c:pt>
                <c:pt idx="52249">
                  <c:v>19090</c:v>
                </c:pt>
                <c:pt idx="52250">
                  <c:v>19090</c:v>
                </c:pt>
                <c:pt idx="52251">
                  <c:v>19090</c:v>
                </c:pt>
                <c:pt idx="52252">
                  <c:v>19088</c:v>
                </c:pt>
                <c:pt idx="52253">
                  <c:v>19088</c:v>
                </c:pt>
                <c:pt idx="52254">
                  <c:v>19088</c:v>
                </c:pt>
                <c:pt idx="52255">
                  <c:v>19088</c:v>
                </c:pt>
                <c:pt idx="52256">
                  <c:v>19087</c:v>
                </c:pt>
                <c:pt idx="52257">
                  <c:v>19087</c:v>
                </c:pt>
                <c:pt idx="52258">
                  <c:v>19086</c:v>
                </c:pt>
                <c:pt idx="52259">
                  <c:v>19086</c:v>
                </c:pt>
                <c:pt idx="52260">
                  <c:v>19085</c:v>
                </c:pt>
                <c:pt idx="52261">
                  <c:v>19085</c:v>
                </c:pt>
                <c:pt idx="52262">
                  <c:v>19084</c:v>
                </c:pt>
                <c:pt idx="52263">
                  <c:v>19083</c:v>
                </c:pt>
                <c:pt idx="52264">
                  <c:v>19082</c:v>
                </c:pt>
                <c:pt idx="52265">
                  <c:v>19081</c:v>
                </c:pt>
                <c:pt idx="52266">
                  <c:v>19081</c:v>
                </c:pt>
                <c:pt idx="52267">
                  <c:v>19080</c:v>
                </c:pt>
                <c:pt idx="52268">
                  <c:v>19080</c:v>
                </c:pt>
                <c:pt idx="52269">
                  <c:v>19075</c:v>
                </c:pt>
                <c:pt idx="52270">
                  <c:v>19074</c:v>
                </c:pt>
                <c:pt idx="52271">
                  <c:v>19073</c:v>
                </c:pt>
                <c:pt idx="52272">
                  <c:v>19072</c:v>
                </c:pt>
                <c:pt idx="52273">
                  <c:v>19072</c:v>
                </c:pt>
                <c:pt idx="52274">
                  <c:v>19071</c:v>
                </c:pt>
                <c:pt idx="52275">
                  <c:v>19071</c:v>
                </c:pt>
                <c:pt idx="52276">
                  <c:v>19070</c:v>
                </c:pt>
                <c:pt idx="52277">
                  <c:v>19070</c:v>
                </c:pt>
                <c:pt idx="52278">
                  <c:v>19069</c:v>
                </c:pt>
                <c:pt idx="52279">
                  <c:v>19069</c:v>
                </c:pt>
                <c:pt idx="52280">
                  <c:v>19069</c:v>
                </c:pt>
                <c:pt idx="52281">
                  <c:v>19068</c:v>
                </c:pt>
                <c:pt idx="52282">
                  <c:v>19066</c:v>
                </c:pt>
                <c:pt idx="52283">
                  <c:v>19064</c:v>
                </c:pt>
                <c:pt idx="52284">
                  <c:v>19064</c:v>
                </c:pt>
                <c:pt idx="52285">
                  <c:v>19063</c:v>
                </c:pt>
                <c:pt idx="52286">
                  <c:v>19061</c:v>
                </c:pt>
                <c:pt idx="52287">
                  <c:v>19060</c:v>
                </c:pt>
                <c:pt idx="52288">
                  <c:v>19060</c:v>
                </c:pt>
                <c:pt idx="52289">
                  <c:v>19060</c:v>
                </c:pt>
                <c:pt idx="52290">
                  <c:v>19058</c:v>
                </c:pt>
                <c:pt idx="52291">
                  <c:v>19058</c:v>
                </c:pt>
                <c:pt idx="52292">
                  <c:v>19057</c:v>
                </c:pt>
                <c:pt idx="52293">
                  <c:v>19056</c:v>
                </c:pt>
                <c:pt idx="52294">
                  <c:v>19055</c:v>
                </c:pt>
                <c:pt idx="52295">
                  <c:v>19055</c:v>
                </c:pt>
                <c:pt idx="52296">
                  <c:v>19049</c:v>
                </c:pt>
                <c:pt idx="52297">
                  <c:v>19048</c:v>
                </c:pt>
                <c:pt idx="52298">
                  <c:v>19048</c:v>
                </c:pt>
                <c:pt idx="52299">
                  <c:v>19047</c:v>
                </c:pt>
                <c:pt idx="52300">
                  <c:v>19046</c:v>
                </c:pt>
                <c:pt idx="52301">
                  <c:v>19046</c:v>
                </c:pt>
                <c:pt idx="52302">
                  <c:v>19046</c:v>
                </c:pt>
                <c:pt idx="52303">
                  <c:v>19045</c:v>
                </c:pt>
                <c:pt idx="52304">
                  <c:v>19044</c:v>
                </c:pt>
                <c:pt idx="52305">
                  <c:v>19043</c:v>
                </c:pt>
                <c:pt idx="52306">
                  <c:v>19042</c:v>
                </c:pt>
                <c:pt idx="52307">
                  <c:v>19042</c:v>
                </c:pt>
                <c:pt idx="52308">
                  <c:v>19040</c:v>
                </c:pt>
                <c:pt idx="52309">
                  <c:v>19040</c:v>
                </c:pt>
                <c:pt idx="52310">
                  <c:v>19036</c:v>
                </c:pt>
                <c:pt idx="52311">
                  <c:v>19036</c:v>
                </c:pt>
                <c:pt idx="52312">
                  <c:v>19035</c:v>
                </c:pt>
                <c:pt idx="52313">
                  <c:v>19032</c:v>
                </c:pt>
                <c:pt idx="52314">
                  <c:v>19030</c:v>
                </c:pt>
                <c:pt idx="52315">
                  <c:v>19029</c:v>
                </c:pt>
                <c:pt idx="52316">
                  <c:v>19029</c:v>
                </c:pt>
                <c:pt idx="52317">
                  <c:v>19029</c:v>
                </c:pt>
                <c:pt idx="52318">
                  <c:v>19028</c:v>
                </c:pt>
                <c:pt idx="52319">
                  <c:v>19028</c:v>
                </c:pt>
                <c:pt idx="52320">
                  <c:v>19027</c:v>
                </c:pt>
                <c:pt idx="52321">
                  <c:v>19026</c:v>
                </c:pt>
                <c:pt idx="52322">
                  <c:v>19025</c:v>
                </c:pt>
                <c:pt idx="52323">
                  <c:v>19024</c:v>
                </c:pt>
                <c:pt idx="52324">
                  <c:v>19023</c:v>
                </c:pt>
                <c:pt idx="52325">
                  <c:v>19022</c:v>
                </c:pt>
                <c:pt idx="52326">
                  <c:v>19022</c:v>
                </c:pt>
                <c:pt idx="52327">
                  <c:v>19021</c:v>
                </c:pt>
                <c:pt idx="52328">
                  <c:v>19020</c:v>
                </c:pt>
                <c:pt idx="52329">
                  <c:v>19020</c:v>
                </c:pt>
                <c:pt idx="52330">
                  <c:v>19019</c:v>
                </c:pt>
                <c:pt idx="52331">
                  <c:v>19019</c:v>
                </c:pt>
                <c:pt idx="52332">
                  <c:v>19018</c:v>
                </c:pt>
                <c:pt idx="52333">
                  <c:v>19017</c:v>
                </c:pt>
                <c:pt idx="52334">
                  <c:v>19016</c:v>
                </c:pt>
                <c:pt idx="52335">
                  <c:v>19016</c:v>
                </c:pt>
                <c:pt idx="52336">
                  <c:v>19015</c:v>
                </c:pt>
                <c:pt idx="52337">
                  <c:v>19011</c:v>
                </c:pt>
                <c:pt idx="52338">
                  <c:v>19010</c:v>
                </c:pt>
                <c:pt idx="52339">
                  <c:v>19008</c:v>
                </c:pt>
                <c:pt idx="52340">
                  <c:v>19006</c:v>
                </c:pt>
                <c:pt idx="52341">
                  <c:v>19004</c:v>
                </c:pt>
                <c:pt idx="52342">
                  <c:v>19003</c:v>
                </c:pt>
                <c:pt idx="52343">
                  <c:v>19003</c:v>
                </c:pt>
                <c:pt idx="52344">
                  <c:v>19003</c:v>
                </c:pt>
                <c:pt idx="52345">
                  <c:v>19003</c:v>
                </c:pt>
                <c:pt idx="52346">
                  <c:v>19002</c:v>
                </c:pt>
                <c:pt idx="52347">
                  <c:v>19002</c:v>
                </c:pt>
                <c:pt idx="52348">
                  <c:v>19002</c:v>
                </c:pt>
                <c:pt idx="52349">
                  <c:v>19001</c:v>
                </c:pt>
                <c:pt idx="52350">
                  <c:v>18998</c:v>
                </c:pt>
                <c:pt idx="52351">
                  <c:v>18998</c:v>
                </c:pt>
                <c:pt idx="52352">
                  <c:v>18998</c:v>
                </c:pt>
                <c:pt idx="52353">
                  <c:v>18997</c:v>
                </c:pt>
                <c:pt idx="52354">
                  <c:v>18997</c:v>
                </c:pt>
                <c:pt idx="52355">
                  <c:v>18995</c:v>
                </c:pt>
                <c:pt idx="52356">
                  <c:v>18991</c:v>
                </c:pt>
                <c:pt idx="52357">
                  <c:v>18991</c:v>
                </c:pt>
                <c:pt idx="52358">
                  <c:v>18990</c:v>
                </c:pt>
                <c:pt idx="52359">
                  <c:v>18989</c:v>
                </c:pt>
                <c:pt idx="52360">
                  <c:v>18988</c:v>
                </c:pt>
                <c:pt idx="52361">
                  <c:v>18987</c:v>
                </c:pt>
                <c:pt idx="52362">
                  <c:v>18987</c:v>
                </c:pt>
                <c:pt idx="52363">
                  <c:v>18986</c:v>
                </c:pt>
                <c:pt idx="52364">
                  <c:v>18986</c:v>
                </c:pt>
                <c:pt idx="52365">
                  <c:v>18983</c:v>
                </c:pt>
                <c:pt idx="52366">
                  <c:v>18983</c:v>
                </c:pt>
                <c:pt idx="52367">
                  <c:v>18981</c:v>
                </c:pt>
                <c:pt idx="52368">
                  <c:v>18980</c:v>
                </c:pt>
                <c:pt idx="52369">
                  <c:v>18979</c:v>
                </c:pt>
                <c:pt idx="52370">
                  <c:v>18978</c:v>
                </c:pt>
                <c:pt idx="52371">
                  <c:v>18978</c:v>
                </c:pt>
                <c:pt idx="52372">
                  <c:v>18978</c:v>
                </c:pt>
                <c:pt idx="52373">
                  <c:v>18977</c:v>
                </c:pt>
                <c:pt idx="52374">
                  <c:v>18974</c:v>
                </c:pt>
                <c:pt idx="52375">
                  <c:v>18974</c:v>
                </c:pt>
                <c:pt idx="52376">
                  <c:v>18973</c:v>
                </c:pt>
                <c:pt idx="52377">
                  <c:v>18972</c:v>
                </c:pt>
                <c:pt idx="52378">
                  <c:v>18971</c:v>
                </c:pt>
                <c:pt idx="52379">
                  <c:v>18971</c:v>
                </c:pt>
                <c:pt idx="52380">
                  <c:v>18971</c:v>
                </c:pt>
                <c:pt idx="52381">
                  <c:v>18969</c:v>
                </c:pt>
                <c:pt idx="52382">
                  <c:v>18969</c:v>
                </c:pt>
                <c:pt idx="52383">
                  <c:v>18968</c:v>
                </c:pt>
                <c:pt idx="52384">
                  <c:v>18966</c:v>
                </c:pt>
                <c:pt idx="52385">
                  <c:v>18959</c:v>
                </c:pt>
                <c:pt idx="52386">
                  <c:v>18959</c:v>
                </c:pt>
                <c:pt idx="52387">
                  <c:v>18956</c:v>
                </c:pt>
                <c:pt idx="52388">
                  <c:v>18955</c:v>
                </c:pt>
                <c:pt idx="52389">
                  <c:v>18955</c:v>
                </c:pt>
                <c:pt idx="52390">
                  <c:v>18953</c:v>
                </c:pt>
                <c:pt idx="52391">
                  <c:v>18952</c:v>
                </c:pt>
                <c:pt idx="52392">
                  <c:v>18952</c:v>
                </c:pt>
                <c:pt idx="52393">
                  <c:v>18951</c:v>
                </c:pt>
                <c:pt idx="52394">
                  <c:v>18949</c:v>
                </c:pt>
                <c:pt idx="52395">
                  <c:v>18947</c:v>
                </c:pt>
                <c:pt idx="52396">
                  <c:v>18945</c:v>
                </c:pt>
                <c:pt idx="52397">
                  <c:v>18945</c:v>
                </c:pt>
                <c:pt idx="52398">
                  <c:v>18945</c:v>
                </c:pt>
                <c:pt idx="52399">
                  <c:v>18942</c:v>
                </c:pt>
                <c:pt idx="52400">
                  <c:v>18942</c:v>
                </c:pt>
                <c:pt idx="52401">
                  <c:v>18942</c:v>
                </c:pt>
                <c:pt idx="52402">
                  <c:v>18942</c:v>
                </c:pt>
                <c:pt idx="52403">
                  <c:v>18941</c:v>
                </c:pt>
                <c:pt idx="52404">
                  <c:v>18940</c:v>
                </c:pt>
                <c:pt idx="52405">
                  <c:v>18938</c:v>
                </c:pt>
                <c:pt idx="52406">
                  <c:v>18938</c:v>
                </c:pt>
                <c:pt idx="52407">
                  <c:v>18936</c:v>
                </c:pt>
                <c:pt idx="52408">
                  <c:v>18935</c:v>
                </c:pt>
                <c:pt idx="52409">
                  <c:v>18934</c:v>
                </c:pt>
                <c:pt idx="52410">
                  <c:v>18933</c:v>
                </c:pt>
                <c:pt idx="52411">
                  <c:v>18932</c:v>
                </c:pt>
                <c:pt idx="52412">
                  <c:v>18932</c:v>
                </c:pt>
                <c:pt idx="52413">
                  <c:v>18931</c:v>
                </c:pt>
                <c:pt idx="52414">
                  <c:v>18931</c:v>
                </c:pt>
                <c:pt idx="52415">
                  <c:v>18930</c:v>
                </c:pt>
                <c:pt idx="52416">
                  <c:v>18928</c:v>
                </c:pt>
                <c:pt idx="52417">
                  <c:v>18927</c:v>
                </c:pt>
                <c:pt idx="52418">
                  <c:v>18925</c:v>
                </c:pt>
                <c:pt idx="52419">
                  <c:v>18925</c:v>
                </c:pt>
                <c:pt idx="52420">
                  <c:v>18925</c:v>
                </c:pt>
                <c:pt idx="52421">
                  <c:v>18923</c:v>
                </c:pt>
                <c:pt idx="52422">
                  <c:v>18921</c:v>
                </c:pt>
                <c:pt idx="52423">
                  <c:v>18918</c:v>
                </c:pt>
                <c:pt idx="52424">
                  <c:v>18917</c:v>
                </c:pt>
                <c:pt idx="52425">
                  <c:v>18917</c:v>
                </c:pt>
                <c:pt idx="52426">
                  <c:v>18917</c:v>
                </c:pt>
                <c:pt idx="52427">
                  <c:v>18916</c:v>
                </c:pt>
                <c:pt idx="52428">
                  <c:v>18916</c:v>
                </c:pt>
                <c:pt idx="52429">
                  <c:v>18916</c:v>
                </c:pt>
                <c:pt idx="52430">
                  <c:v>18915</c:v>
                </c:pt>
                <c:pt idx="52431">
                  <c:v>18915</c:v>
                </c:pt>
                <c:pt idx="52432">
                  <c:v>18913</c:v>
                </c:pt>
                <c:pt idx="52433">
                  <c:v>18912</c:v>
                </c:pt>
                <c:pt idx="52434">
                  <c:v>18912</c:v>
                </c:pt>
                <c:pt idx="52435">
                  <c:v>18911</c:v>
                </c:pt>
                <c:pt idx="52436">
                  <c:v>18910</c:v>
                </c:pt>
                <c:pt idx="52437">
                  <c:v>18910</c:v>
                </c:pt>
                <c:pt idx="52438">
                  <c:v>18910</c:v>
                </c:pt>
                <c:pt idx="52439">
                  <c:v>18908</c:v>
                </c:pt>
                <c:pt idx="52440">
                  <c:v>18908</c:v>
                </c:pt>
                <c:pt idx="52441">
                  <c:v>18907</c:v>
                </c:pt>
                <c:pt idx="52442">
                  <c:v>18907</c:v>
                </c:pt>
                <c:pt idx="52443">
                  <c:v>18907</c:v>
                </c:pt>
                <c:pt idx="52444">
                  <c:v>18907</c:v>
                </c:pt>
                <c:pt idx="52445">
                  <c:v>18904</c:v>
                </c:pt>
                <c:pt idx="52446">
                  <c:v>18904</c:v>
                </c:pt>
                <c:pt idx="52447">
                  <c:v>18904</c:v>
                </c:pt>
                <c:pt idx="52448">
                  <c:v>18903</c:v>
                </c:pt>
                <c:pt idx="52449">
                  <c:v>18899</c:v>
                </c:pt>
                <c:pt idx="52450">
                  <c:v>18898</c:v>
                </c:pt>
                <c:pt idx="52451">
                  <c:v>18897</c:v>
                </c:pt>
                <c:pt idx="52452">
                  <c:v>18897</c:v>
                </c:pt>
                <c:pt idx="52453">
                  <c:v>18897</c:v>
                </c:pt>
                <c:pt idx="52454">
                  <c:v>18895</c:v>
                </c:pt>
                <c:pt idx="52455">
                  <c:v>18895</c:v>
                </c:pt>
                <c:pt idx="52456">
                  <c:v>18892</c:v>
                </c:pt>
                <c:pt idx="52457">
                  <c:v>18889</c:v>
                </c:pt>
                <c:pt idx="52458">
                  <c:v>18889</c:v>
                </c:pt>
                <c:pt idx="52459">
                  <c:v>18886</c:v>
                </c:pt>
                <c:pt idx="52460">
                  <c:v>18885</c:v>
                </c:pt>
                <c:pt idx="52461">
                  <c:v>18885</c:v>
                </c:pt>
                <c:pt idx="52462">
                  <c:v>18885</c:v>
                </c:pt>
                <c:pt idx="52463">
                  <c:v>18884</c:v>
                </c:pt>
                <c:pt idx="52464">
                  <c:v>18881</c:v>
                </c:pt>
                <c:pt idx="52465">
                  <c:v>18881</c:v>
                </c:pt>
                <c:pt idx="52466">
                  <c:v>18879</c:v>
                </c:pt>
                <c:pt idx="52467">
                  <c:v>18878</c:v>
                </c:pt>
                <c:pt idx="52468">
                  <c:v>18877</c:v>
                </c:pt>
                <c:pt idx="52469">
                  <c:v>18877</c:v>
                </c:pt>
                <c:pt idx="52470">
                  <c:v>18876</c:v>
                </c:pt>
                <c:pt idx="52471">
                  <c:v>18871</c:v>
                </c:pt>
                <c:pt idx="52472">
                  <c:v>18869</c:v>
                </c:pt>
                <c:pt idx="52473">
                  <c:v>18866</c:v>
                </c:pt>
                <c:pt idx="52474">
                  <c:v>18866</c:v>
                </c:pt>
                <c:pt idx="52475">
                  <c:v>18865</c:v>
                </c:pt>
                <c:pt idx="52476">
                  <c:v>18864</c:v>
                </c:pt>
                <c:pt idx="52477">
                  <c:v>18864</c:v>
                </c:pt>
                <c:pt idx="52478">
                  <c:v>18862</c:v>
                </c:pt>
                <c:pt idx="52479">
                  <c:v>18860</c:v>
                </c:pt>
                <c:pt idx="52480">
                  <c:v>18859</c:v>
                </c:pt>
                <c:pt idx="52481">
                  <c:v>18858</c:v>
                </c:pt>
                <c:pt idx="52482">
                  <c:v>18858</c:v>
                </c:pt>
                <c:pt idx="52483">
                  <c:v>18858</c:v>
                </c:pt>
                <c:pt idx="52484">
                  <c:v>18857</c:v>
                </c:pt>
                <c:pt idx="52485">
                  <c:v>18856</c:v>
                </c:pt>
                <c:pt idx="52486">
                  <c:v>18856</c:v>
                </c:pt>
                <c:pt idx="52487">
                  <c:v>18855</c:v>
                </c:pt>
                <c:pt idx="52488">
                  <c:v>18854</c:v>
                </c:pt>
                <c:pt idx="52489">
                  <c:v>18853</c:v>
                </c:pt>
                <c:pt idx="52490">
                  <c:v>18851</c:v>
                </c:pt>
                <c:pt idx="52491">
                  <c:v>18848</c:v>
                </c:pt>
                <c:pt idx="52492">
                  <c:v>18848</c:v>
                </c:pt>
                <c:pt idx="52493">
                  <c:v>18845</c:v>
                </c:pt>
                <c:pt idx="52494">
                  <c:v>18845</c:v>
                </c:pt>
                <c:pt idx="52495">
                  <c:v>18845</c:v>
                </c:pt>
                <c:pt idx="52496">
                  <c:v>18843</c:v>
                </c:pt>
                <c:pt idx="52497">
                  <c:v>18842</c:v>
                </c:pt>
                <c:pt idx="52498">
                  <c:v>18840</c:v>
                </c:pt>
                <c:pt idx="52499">
                  <c:v>18840</c:v>
                </c:pt>
                <c:pt idx="52500">
                  <c:v>18838</c:v>
                </c:pt>
                <c:pt idx="52501">
                  <c:v>18836</c:v>
                </c:pt>
                <c:pt idx="52502">
                  <c:v>18833</c:v>
                </c:pt>
                <c:pt idx="52503">
                  <c:v>18828</c:v>
                </c:pt>
                <c:pt idx="52504">
                  <c:v>18828</c:v>
                </c:pt>
                <c:pt idx="52505">
                  <c:v>18828</c:v>
                </c:pt>
                <c:pt idx="52506">
                  <c:v>18827</c:v>
                </c:pt>
                <c:pt idx="52507">
                  <c:v>18827</c:v>
                </c:pt>
                <c:pt idx="52508">
                  <c:v>18826</c:v>
                </c:pt>
                <c:pt idx="52509">
                  <c:v>18826</c:v>
                </c:pt>
                <c:pt idx="52510">
                  <c:v>18824</c:v>
                </c:pt>
                <c:pt idx="52511">
                  <c:v>18824</c:v>
                </c:pt>
                <c:pt idx="52512">
                  <c:v>18824</c:v>
                </c:pt>
                <c:pt idx="52513">
                  <c:v>18822</c:v>
                </c:pt>
                <c:pt idx="52514">
                  <c:v>18816</c:v>
                </c:pt>
                <c:pt idx="52515">
                  <c:v>18814</c:v>
                </c:pt>
                <c:pt idx="52516">
                  <c:v>18813</c:v>
                </c:pt>
                <c:pt idx="52517">
                  <c:v>18812</c:v>
                </c:pt>
                <c:pt idx="52518">
                  <c:v>18812</c:v>
                </c:pt>
                <c:pt idx="52519">
                  <c:v>18810</c:v>
                </c:pt>
                <c:pt idx="52520">
                  <c:v>18808</c:v>
                </c:pt>
                <c:pt idx="52521">
                  <c:v>18805</c:v>
                </c:pt>
                <c:pt idx="52522">
                  <c:v>18803</c:v>
                </c:pt>
                <c:pt idx="52523">
                  <c:v>18803</c:v>
                </c:pt>
                <c:pt idx="52524">
                  <c:v>18802</c:v>
                </c:pt>
                <c:pt idx="52525">
                  <c:v>18802</c:v>
                </c:pt>
                <c:pt idx="52526">
                  <c:v>18802</c:v>
                </c:pt>
                <c:pt idx="52527">
                  <c:v>18801</c:v>
                </c:pt>
                <c:pt idx="52528">
                  <c:v>18801</c:v>
                </c:pt>
                <c:pt idx="52529">
                  <c:v>18799</c:v>
                </c:pt>
                <c:pt idx="52530">
                  <c:v>18798</c:v>
                </c:pt>
                <c:pt idx="52531">
                  <c:v>18797</c:v>
                </c:pt>
                <c:pt idx="52532">
                  <c:v>18797</c:v>
                </c:pt>
                <c:pt idx="52533">
                  <c:v>18797</c:v>
                </c:pt>
                <c:pt idx="52534">
                  <c:v>18796</c:v>
                </c:pt>
                <c:pt idx="52535">
                  <c:v>18792</c:v>
                </c:pt>
                <c:pt idx="52536">
                  <c:v>18791</c:v>
                </c:pt>
                <c:pt idx="52537">
                  <c:v>18790</c:v>
                </c:pt>
                <c:pt idx="52538">
                  <c:v>18789</c:v>
                </c:pt>
                <c:pt idx="52539">
                  <c:v>18789</c:v>
                </c:pt>
                <c:pt idx="52540">
                  <c:v>18786</c:v>
                </c:pt>
                <c:pt idx="52541">
                  <c:v>18786</c:v>
                </c:pt>
                <c:pt idx="52542">
                  <c:v>18785</c:v>
                </c:pt>
                <c:pt idx="52543">
                  <c:v>18783</c:v>
                </c:pt>
                <c:pt idx="52544">
                  <c:v>18781</c:v>
                </c:pt>
                <c:pt idx="52545">
                  <c:v>18781</c:v>
                </c:pt>
                <c:pt idx="52546">
                  <c:v>18780</c:v>
                </c:pt>
                <c:pt idx="52547">
                  <c:v>18780</c:v>
                </c:pt>
                <c:pt idx="52548">
                  <c:v>18779</c:v>
                </c:pt>
                <c:pt idx="52549">
                  <c:v>18778</c:v>
                </c:pt>
                <c:pt idx="52550">
                  <c:v>18777</c:v>
                </c:pt>
                <c:pt idx="52551">
                  <c:v>18777</c:v>
                </c:pt>
                <c:pt idx="52552">
                  <c:v>18775</c:v>
                </c:pt>
                <c:pt idx="52553">
                  <c:v>18775</c:v>
                </c:pt>
                <c:pt idx="52554">
                  <c:v>18775</c:v>
                </c:pt>
                <c:pt idx="52555">
                  <c:v>18774</c:v>
                </c:pt>
                <c:pt idx="52556">
                  <c:v>18773</c:v>
                </c:pt>
                <c:pt idx="52557">
                  <c:v>18773</c:v>
                </c:pt>
                <c:pt idx="52558">
                  <c:v>18772</c:v>
                </c:pt>
                <c:pt idx="52559">
                  <c:v>18772</c:v>
                </c:pt>
                <c:pt idx="52560">
                  <c:v>18770</c:v>
                </c:pt>
                <c:pt idx="52561">
                  <c:v>18770</c:v>
                </c:pt>
                <c:pt idx="52562">
                  <c:v>18769</c:v>
                </c:pt>
                <c:pt idx="52563">
                  <c:v>18767</c:v>
                </c:pt>
                <c:pt idx="52564">
                  <c:v>18765</c:v>
                </c:pt>
                <c:pt idx="52565">
                  <c:v>18764</c:v>
                </c:pt>
                <c:pt idx="52566">
                  <c:v>18763</c:v>
                </c:pt>
                <c:pt idx="52567">
                  <c:v>18763</c:v>
                </c:pt>
                <c:pt idx="52568">
                  <c:v>18763</c:v>
                </c:pt>
                <c:pt idx="52569">
                  <c:v>18761</c:v>
                </c:pt>
                <c:pt idx="52570">
                  <c:v>18761</c:v>
                </c:pt>
                <c:pt idx="52571">
                  <c:v>18758</c:v>
                </c:pt>
                <c:pt idx="52572">
                  <c:v>18758</c:v>
                </c:pt>
                <c:pt idx="52573">
                  <c:v>18756</c:v>
                </c:pt>
                <c:pt idx="52574">
                  <c:v>18755</c:v>
                </c:pt>
                <c:pt idx="52575">
                  <c:v>18753</c:v>
                </c:pt>
                <c:pt idx="52576">
                  <c:v>18753</c:v>
                </c:pt>
                <c:pt idx="52577">
                  <c:v>18753</c:v>
                </c:pt>
                <c:pt idx="52578">
                  <c:v>18751</c:v>
                </c:pt>
                <c:pt idx="52579">
                  <c:v>18749</c:v>
                </c:pt>
                <c:pt idx="52580">
                  <c:v>18746</c:v>
                </c:pt>
                <c:pt idx="52581">
                  <c:v>18745</c:v>
                </c:pt>
                <c:pt idx="52582">
                  <c:v>18745</c:v>
                </c:pt>
                <c:pt idx="52583">
                  <c:v>18745</c:v>
                </c:pt>
                <c:pt idx="52584">
                  <c:v>18744</c:v>
                </c:pt>
                <c:pt idx="52585">
                  <c:v>18743</c:v>
                </c:pt>
                <c:pt idx="52586">
                  <c:v>18743</c:v>
                </c:pt>
                <c:pt idx="52587">
                  <c:v>18742</c:v>
                </c:pt>
                <c:pt idx="52588">
                  <c:v>18742</c:v>
                </c:pt>
                <c:pt idx="52589">
                  <c:v>18740</c:v>
                </c:pt>
                <c:pt idx="52590">
                  <c:v>18738</c:v>
                </c:pt>
                <c:pt idx="52591">
                  <c:v>18736</c:v>
                </c:pt>
                <c:pt idx="52592">
                  <c:v>18734</c:v>
                </c:pt>
                <c:pt idx="52593">
                  <c:v>18734</c:v>
                </c:pt>
                <c:pt idx="52594">
                  <c:v>18734</c:v>
                </c:pt>
                <c:pt idx="52595">
                  <c:v>18732</c:v>
                </c:pt>
                <c:pt idx="52596">
                  <c:v>18731</c:v>
                </c:pt>
                <c:pt idx="52597">
                  <c:v>18730</c:v>
                </c:pt>
                <c:pt idx="52598">
                  <c:v>18729</c:v>
                </c:pt>
                <c:pt idx="52599">
                  <c:v>18728</c:v>
                </c:pt>
                <c:pt idx="52600">
                  <c:v>18725</c:v>
                </c:pt>
                <c:pt idx="52601">
                  <c:v>18721</c:v>
                </c:pt>
                <c:pt idx="52602">
                  <c:v>18721</c:v>
                </c:pt>
                <c:pt idx="52603">
                  <c:v>18720</c:v>
                </c:pt>
                <c:pt idx="52604">
                  <c:v>18719</c:v>
                </c:pt>
                <c:pt idx="52605">
                  <c:v>18718</c:v>
                </c:pt>
                <c:pt idx="52606">
                  <c:v>18718</c:v>
                </c:pt>
                <c:pt idx="52607">
                  <c:v>18718</c:v>
                </c:pt>
                <c:pt idx="52608">
                  <c:v>18718</c:v>
                </c:pt>
                <c:pt idx="52609">
                  <c:v>18717</c:v>
                </c:pt>
                <c:pt idx="52610">
                  <c:v>18716</c:v>
                </c:pt>
                <c:pt idx="52611">
                  <c:v>18715</c:v>
                </c:pt>
                <c:pt idx="52612">
                  <c:v>18715</c:v>
                </c:pt>
                <c:pt idx="52613">
                  <c:v>18713</c:v>
                </c:pt>
                <c:pt idx="52614">
                  <c:v>18713</c:v>
                </c:pt>
                <c:pt idx="52615">
                  <c:v>18713</c:v>
                </c:pt>
                <c:pt idx="52616">
                  <c:v>18712</c:v>
                </c:pt>
                <c:pt idx="52617">
                  <c:v>18712</c:v>
                </c:pt>
                <c:pt idx="52618">
                  <c:v>18711</c:v>
                </c:pt>
                <c:pt idx="52619">
                  <c:v>18711</c:v>
                </c:pt>
                <c:pt idx="52620">
                  <c:v>18710</c:v>
                </c:pt>
                <c:pt idx="52621">
                  <c:v>18708</c:v>
                </c:pt>
                <c:pt idx="52622">
                  <c:v>18707</c:v>
                </c:pt>
                <c:pt idx="52623">
                  <c:v>18707</c:v>
                </c:pt>
                <c:pt idx="52624">
                  <c:v>18702</c:v>
                </c:pt>
                <c:pt idx="52625">
                  <c:v>18701</c:v>
                </c:pt>
                <c:pt idx="52626">
                  <c:v>18699</c:v>
                </c:pt>
                <c:pt idx="52627">
                  <c:v>18698</c:v>
                </c:pt>
                <c:pt idx="52628">
                  <c:v>18698</c:v>
                </c:pt>
                <c:pt idx="52629">
                  <c:v>18697</c:v>
                </c:pt>
                <c:pt idx="52630">
                  <c:v>18697</c:v>
                </c:pt>
                <c:pt idx="52631">
                  <c:v>18696</c:v>
                </c:pt>
                <c:pt idx="52632">
                  <c:v>18696</c:v>
                </c:pt>
                <c:pt idx="52633">
                  <c:v>18694</c:v>
                </c:pt>
                <c:pt idx="52634">
                  <c:v>18691</c:v>
                </c:pt>
                <c:pt idx="52635">
                  <c:v>18691</c:v>
                </c:pt>
                <c:pt idx="52636">
                  <c:v>18691</c:v>
                </c:pt>
                <c:pt idx="52637">
                  <c:v>18690</c:v>
                </c:pt>
                <c:pt idx="52638">
                  <c:v>18690</c:v>
                </c:pt>
                <c:pt idx="52639">
                  <c:v>18689</c:v>
                </c:pt>
                <c:pt idx="52640">
                  <c:v>18689</c:v>
                </c:pt>
                <c:pt idx="52641">
                  <c:v>18688</c:v>
                </c:pt>
                <c:pt idx="52642">
                  <c:v>18688</c:v>
                </c:pt>
                <c:pt idx="52643">
                  <c:v>18686</c:v>
                </c:pt>
                <c:pt idx="52644">
                  <c:v>18685</c:v>
                </c:pt>
                <c:pt idx="52645">
                  <c:v>18685</c:v>
                </c:pt>
                <c:pt idx="52646">
                  <c:v>18685</c:v>
                </c:pt>
                <c:pt idx="52647">
                  <c:v>18683</c:v>
                </c:pt>
                <c:pt idx="52648">
                  <c:v>18683</c:v>
                </c:pt>
                <c:pt idx="52649">
                  <c:v>18681</c:v>
                </c:pt>
                <c:pt idx="52650">
                  <c:v>18680</c:v>
                </c:pt>
                <c:pt idx="52651">
                  <c:v>18678</c:v>
                </c:pt>
                <c:pt idx="52652">
                  <c:v>18677</c:v>
                </c:pt>
                <c:pt idx="52653">
                  <c:v>18677</c:v>
                </c:pt>
                <c:pt idx="52654">
                  <c:v>18676</c:v>
                </c:pt>
                <c:pt idx="52655">
                  <c:v>18676</c:v>
                </c:pt>
                <c:pt idx="52656">
                  <c:v>18676</c:v>
                </c:pt>
                <c:pt idx="52657">
                  <c:v>18673</c:v>
                </c:pt>
                <c:pt idx="52658">
                  <c:v>18672</c:v>
                </c:pt>
                <c:pt idx="52659">
                  <c:v>18672</c:v>
                </c:pt>
                <c:pt idx="52660">
                  <c:v>18671</c:v>
                </c:pt>
                <c:pt idx="52661">
                  <c:v>18671</c:v>
                </c:pt>
                <c:pt idx="52662">
                  <c:v>18670</c:v>
                </c:pt>
                <c:pt idx="52663">
                  <c:v>18668</c:v>
                </c:pt>
                <c:pt idx="52664">
                  <c:v>18668</c:v>
                </c:pt>
                <c:pt idx="52665">
                  <c:v>18665</c:v>
                </c:pt>
                <c:pt idx="52666">
                  <c:v>18664</c:v>
                </c:pt>
                <c:pt idx="52667">
                  <c:v>18663</c:v>
                </c:pt>
                <c:pt idx="52668">
                  <c:v>18660</c:v>
                </c:pt>
                <c:pt idx="52669">
                  <c:v>18659</c:v>
                </c:pt>
                <c:pt idx="52670">
                  <c:v>18658</c:v>
                </c:pt>
                <c:pt idx="52671">
                  <c:v>18658</c:v>
                </c:pt>
                <c:pt idx="52672">
                  <c:v>18657</c:v>
                </c:pt>
                <c:pt idx="52673">
                  <c:v>18657</c:v>
                </c:pt>
                <c:pt idx="52674">
                  <c:v>18657</c:v>
                </c:pt>
                <c:pt idx="52675">
                  <c:v>18657</c:v>
                </c:pt>
                <c:pt idx="52676">
                  <c:v>18656</c:v>
                </c:pt>
                <c:pt idx="52677">
                  <c:v>18654</c:v>
                </c:pt>
                <c:pt idx="52678">
                  <c:v>18653</c:v>
                </c:pt>
                <c:pt idx="52679">
                  <c:v>18651</c:v>
                </c:pt>
                <c:pt idx="52680">
                  <c:v>18651</c:v>
                </c:pt>
                <c:pt idx="52681">
                  <c:v>18650</c:v>
                </c:pt>
                <c:pt idx="52682">
                  <c:v>18649</c:v>
                </c:pt>
                <c:pt idx="52683">
                  <c:v>18647</c:v>
                </c:pt>
                <c:pt idx="52684">
                  <c:v>18646</c:v>
                </c:pt>
                <c:pt idx="52685">
                  <c:v>18645</c:v>
                </c:pt>
                <c:pt idx="52686">
                  <c:v>18645</c:v>
                </c:pt>
                <c:pt idx="52687">
                  <c:v>18644</c:v>
                </c:pt>
                <c:pt idx="52688">
                  <c:v>18643</c:v>
                </c:pt>
                <c:pt idx="52689">
                  <c:v>18643</c:v>
                </c:pt>
                <c:pt idx="52690">
                  <c:v>18642</c:v>
                </c:pt>
                <c:pt idx="52691">
                  <c:v>18641</c:v>
                </c:pt>
                <c:pt idx="52692">
                  <c:v>18638</c:v>
                </c:pt>
                <c:pt idx="52693">
                  <c:v>18637</c:v>
                </c:pt>
                <c:pt idx="52694">
                  <c:v>18636</c:v>
                </c:pt>
                <c:pt idx="52695">
                  <c:v>18636</c:v>
                </c:pt>
                <c:pt idx="52696">
                  <c:v>18635</c:v>
                </c:pt>
                <c:pt idx="52697">
                  <c:v>18635</c:v>
                </c:pt>
                <c:pt idx="52698">
                  <c:v>18634</c:v>
                </c:pt>
                <c:pt idx="52699">
                  <c:v>18633</c:v>
                </c:pt>
                <c:pt idx="52700">
                  <c:v>18632</c:v>
                </c:pt>
                <c:pt idx="52701">
                  <c:v>18632</c:v>
                </c:pt>
                <c:pt idx="52702">
                  <c:v>18631</c:v>
                </c:pt>
                <c:pt idx="52703">
                  <c:v>18630</c:v>
                </c:pt>
                <c:pt idx="52704">
                  <c:v>18630</c:v>
                </c:pt>
                <c:pt idx="52705">
                  <c:v>18630</c:v>
                </c:pt>
                <c:pt idx="52706">
                  <c:v>18625</c:v>
                </c:pt>
                <c:pt idx="52707">
                  <c:v>18624</c:v>
                </c:pt>
                <c:pt idx="52708">
                  <c:v>18622</c:v>
                </c:pt>
                <c:pt idx="52709">
                  <c:v>18621</c:v>
                </c:pt>
                <c:pt idx="52710">
                  <c:v>18621</c:v>
                </c:pt>
                <c:pt idx="52711">
                  <c:v>18620</c:v>
                </c:pt>
                <c:pt idx="52712">
                  <c:v>18618</c:v>
                </c:pt>
                <c:pt idx="52713">
                  <c:v>18618</c:v>
                </c:pt>
                <c:pt idx="52714">
                  <c:v>18617</c:v>
                </c:pt>
                <c:pt idx="52715">
                  <c:v>18616</c:v>
                </c:pt>
                <c:pt idx="52716">
                  <c:v>18616</c:v>
                </c:pt>
                <c:pt idx="52717">
                  <c:v>18615</c:v>
                </c:pt>
                <c:pt idx="52718">
                  <c:v>18614</c:v>
                </c:pt>
                <c:pt idx="52719">
                  <c:v>18613</c:v>
                </c:pt>
                <c:pt idx="52720">
                  <c:v>18612</c:v>
                </c:pt>
                <c:pt idx="52721">
                  <c:v>18610</c:v>
                </c:pt>
                <c:pt idx="52722">
                  <c:v>18610</c:v>
                </c:pt>
                <c:pt idx="52723">
                  <c:v>18610</c:v>
                </c:pt>
                <c:pt idx="52724">
                  <c:v>18610</c:v>
                </c:pt>
                <c:pt idx="52725">
                  <c:v>18606</c:v>
                </c:pt>
                <c:pt idx="52726">
                  <c:v>18605</c:v>
                </c:pt>
                <c:pt idx="52727">
                  <c:v>18604</c:v>
                </c:pt>
                <c:pt idx="52728">
                  <c:v>18604</c:v>
                </c:pt>
                <c:pt idx="52729">
                  <c:v>18604</c:v>
                </c:pt>
                <c:pt idx="52730">
                  <c:v>18604</c:v>
                </c:pt>
                <c:pt idx="52731">
                  <c:v>18603</c:v>
                </c:pt>
                <c:pt idx="52732">
                  <c:v>18602</c:v>
                </c:pt>
                <c:pt idx="52733">
                  <c:v>18601</c:v>
                </c:pt>
                <c:pt idx="52734">
                  <c:v>18600</c:v>
                </c:pt>
                <c:pt idx="52735">
                  <c:v>18597</c:v>
                </c:pt>
                <c:pt idx="52736">
                  <c:v>18597</c:v>
                </c:pt>
                <c:pt idx="52737">
                  <c:v>18596</c:v>
                </c:pt>
                <c:pt idx="52738">
                  <c:v>18594</c:v>
                </c:pt>
                <c:pt idx="52739">
                  <c:v>18594</c:v>
                </c:pt>
                <c:pt idx="52740">
                  <c:v>18593</c:v>
                </c:pt>
                <c:pt idx="52741">
                  <c:v>18593</c:v>
                </c:pt>
                <c:pt idx="52742">
                  <c:v>18592</c:v>
                </c:pt>
                <c:pt idx="52743">
                  <c:v>18592</c:v>
                </c:pt>
                <c:pt idx="52744">
                  <c:v>18591</c:v>
                </c:pt>
                <c:pt idx="52745">
                  <c:v>18591</c:v>
                </c:pt>
                <c:pt idx="52746">
                  <c:v>18590</c:v>
                </c:pt>
                <c:pt idx="52747">
                  <c:v>18590</c:v>
                </c:pt>
                <c:pt idx="52748">
                  <c:v>18586</c:v>
                </c:pt>
                <c:pt idx="52749">
                  <c:v>18585</c:v>
                </c:pt>
                <c:pt idx="52750">
                  <c:v>18584</c:v>
                </c:pt>
                <c:pt idx="52751">
                  <c:v>18584</c:v>
                </c:pt>
                <c:pt idx="52752">
                  <c:v>18584</c:v>
                </c:pt>
                <c:pt idx="52753">
                  <c:v>18582</c:v>
                </c:pt>
                <c:pt idx="52754">
                  <c:v>18580</c:v>
                </c:pt>
                <c:pt idx="52755">
                  <c:v>18580</c:v>
                </c:pt>
                <c:pt idx="52756">
                  <c:v>18579</c:v>
                </c:pt>
                <c:pt idx="52757">
                  <c:v>18579</c:v>
                </c:pt>
                <c:pt idx="52758">
                  <c:v>18577</c:v>
                </c:pt>
                <c:pt idx="52759">
                  <c:v>18577</c:v>
                </c:pt>
                <c:pt idx="52760">
                  <c:v>18575</c:v>
                </c:pt>
                <c:pt idx="52761">
                  <c:v>18574</c:v>
                </c:pt>
                <c:pt idx="52762">
                  <c:v>18573</c:v>
                </c:pt>
                <c:pt idx="52763">
                  <c:v>18572</c:v>
                </c:pt>
                <c:pt idx="52764">
                  <c:v>18571</c:v>
                </c:pt>
                <c:pt idx="52765">
                  <c:v>18567</c:v>
                </c:pt>
                <c:pt idx="52766">
                  <c:v>18567</c:v>
                </c:pt>
                <c:pt idx="52767">
                  <c:v>18567</c:v>
                </c:pt>
                <c:pt idx="52768">
                  <c:v>18565</c:v>
                </c:pt>
                <c:pt idx="52769">
                  <c:v>18565</c:v>
                </c:pt>
                <c:pt idx="52770">
                  <c:v>18565</c:v>
                </c:pt>
                <c:pt idx="52771">
                  <c:v>18565</c:v>
                </c:pt>
                <c:pt idx="52772">
                  <c:v>18564</c:v>
                </c:pt>
                <c:pt idx="52773">
                  <c:v>18561</c:v>
                </c:pt>
                <c:pt idx="52774">
                  <c:v>18561</c:v>
                </c:pt>
                <c:pt idx="52775">
                  <c:v>18559</c:v>
                </c:pt>
                <c:pt idx="52776">
                  <c:v>18558</c:v>
                </c:pt>
                <c:pt idx="52777">
                  <c:v>18558</c:v>
                </c:pt>
                <c:pt idx="52778">
                  <c:v>18557</c:v>
                </c:pt>
                <c:pt idx="52779">
                  <c:v>18556</c:v>
                </c:pt>
                <c:pt idx="52780">
                  <c:v>18556</c:v>
                </c:pt>
                <c:pt idx="52781">
                  <c:v>18555</c:v>
                </c:pt>
                <c:pt idx="52782">
                  <c:v>18555</c:v>
                </c:pt>
                <c:pt idx="52783">
                  <c:v>18555</c:v>
                </c:pt>
                <c:pt idx="52784">
                  <c:v>18555</c:v>
                </c:pt>
                <c:pt idx="52785">
                  <c:v>18554</c:v>
                </c:pt>
                <c:pt idx="52786">
                  <c:v>18553</c:v>
                </c:pt>
                <c:pt idx="52787">
                  <c:v>18552</c:v>
                </c:pt>
                <c:pt idx="52788">
                  <c:v>18549</c:v>
                </c:pt>
                <c:pt idx="52789">
                  <c:v>18549</c:v>
                </c:pt>
                <c:pt idx="52790">
                  <c:v>18547</c:v>
                </c:pt>
                <c:pt idx="52791">
                  <c:v>18546</c:v>
                </c:pt>
                <c:pt idx="52792">
                  <c:v>18545</c:v>
                </c:pt>
                <c:pt idx="52793">
                  <c:v>18545</c:v>
                </c:pt>
                <c:pt idx="52794">
                  <c:v>18543</c:v>
                </c:pt>
                <c:pt idx="52795">
                  <c:v>18542</c:v>
                </c:pt>
                <c:pt idx="52796">
                  <c:v>18542</c:v>
                </c:pt>
                <c:pt idx="52797">
                  <c:v>18541</c:v>
                </c:pt>
                <c:pt idx="52798">
                  <c:v>18539</c:v>
                </c:pt>
                <c:pt idx="52799">
                  <c:v>18539</c:v>
                </c:pt>
                <c:pt idx="52800">
                  <c:v>18539</c:v>
                </c:pt>
                <c:pt idx="52801">
                  <c:v>18538</c:v>
                </c:pt>
                <c:pt idx="52802">
                  <c:v>18537</c:v>
                </c:pt>
                <c:pt idx="52803">
                  <c:v>18535</c:v>
                </c:pt>
                <c:pt idx="52804">
                  <c:v>18534</c:v>
                </c:pt>
                <c:pt idx="52805">
                  <c:v>18534</c:v>
                </c:pt>
                <c:pt idx="52806">
                  <c:v>18532</c:v>
                </c:pt>
                <c:pt idx="52807">
                  <c:v>18532</c:v>
                </c:pt>
                <c:pt idx="52808">
                  <c:v>18531</c:v>
                </c:pt>
                <c:pt idx="52809">
                  <c:v>18530</c:v>
                </c:pt>
                <c:pt idx="52810">
                  <c:v>18529</c:v>
                </c:pt>
                <c:pt idx="52811">
                  <c:v>18525</c:v>
                </c:pt>
                <c:pt idx="52812">
                  <c:v>18525</c:v>
                </c:pt>
                <c:pt idx="52813">
                  <c:v>18525</c:v>
                </c:pt>
                <c:pt idx="52814">
                  <c:v>18524</c:v>
                </c:pt>
                <c:pt idx="52815">
                  <c:v>18523</c:v>
                </c:pt>
                <c:pt idx="52816">
                  <c:v>18522</c:v>
                </c:pt>
                <c:pt idx="52817">
                  <c:v>18519</c:v>
                </c:pt>
                <c:pt idx="52818">
                  <c:v>18518</c:v>
                </c:pt>
                <c:pt idx="52819">
                  <c:v>18517</c:v>
                </c:pt>
                <c:pt idx="52820">
                  <c:v>18515</c:v>
                </c:pt>
                <c:pt idx="52821">
                  <c:v>18513</c:v>
                </c:pt>
                <c:pt idx="52822">
                  <c:v>18512</c:v>
                </c:pt>
                <c:pt idx="52823">
                  <c:v>18512</c:v>
                </c:pt>
                <c:pt idx="52824">
                  <c:v>18510</c:v>
                </c:pt>
                <c:pt idx="52825">
                  <c:v>18504</c:v>
                </c:pt>
                <c:pt idx="52826">
                  <c:v>18503</c:v>
                </c:pt>
                <c:pt idx="52827">
                  <c:v>18498</c:v>
                </c:pt>
                <c:pt idx="52828">
                  <c:v>18498</c:v>
                </c:pt>
                <c:pt idx="52829">
                  <c:v>18497</c:v>
                </c:pt>
                <c:pt idx="52830">
                  <c:v>18497</c:v>
                </c:pt>
                <c:pt idx="52831">
                  <c:v>18496</c:v>
                </c:pt>
                <c:pt idx="52832">
                  <c:v>18496</c:v>
                </c:pt>
                <c:pt idx="52833">
                  <c:v>18496</c:v>
                </c:pt>
                <c:pt idx="52834">
                  <c:v>18494</c:v>
                </c:pt>
                <c:pt idx="52835">
                  <c:v>18491</c:v>
                </c:pt>
                <c:pt idx="52836">
                  <c:v>18490</c:v>
                </c:pt>
                <c:pt idx="52837">
                  <c:v>18488</c:v>
                </c:pt>
                <c:pt idx="52838">
                  <c:v>18485</c:v>
                </c:pt>
                <c:pt idx="52839">
                  <c:v>18484</c:v>
                </c:pt>
                <c:pt idx="52840">
                  <c:v>18484</c:v>
                </c:pt>
                <c:pt idx="52841">
                  <c:v>18484</c:v>
                </c:pt>
                <c:pt idx="52842">
                  <c:v>18483</c:v>
                </c:pt>
                <c:pt idx="52843">
                  <c:v>18483</c:v>
                </c:pt>
                <c:pt idx="52844">
                  <c:v>18483</c:v>
                </c:pt>
                <c:pt idx="52845">
                  <c:v>18483</c:v>
                </c:pt>
                <c:pt idx="52846">
                  <c:v>18482</c:v>
                </c:pt>
                <c:pt idx="52847">
                  <c:v>18481</c:v>
                </c:pt>
                <c:pt idx="52848">
                  <c:v>18481</c:v>
                </c:pt>
                <c:pt idx="52849">
                  <c:v>18481</c:v>
                </c:pt>
                <c:pt idx="52850">
                  <c:v>18479</c:v>
                </c:pt>
                <c:pt idx="52851">
                  <c:v>18475</c:v>
                </c:pt>
                <c:pt idx="52852">
                  <c:v>18475</c:v>
                </c:pt>
                <c:pt idx="52853">
                  <c:v>18474</c:v>
                </c:pt>
                <c:pt idx="52854">
                  <c:v>18473</c:v>
                </c:pt>
                <c:pt idx="52855">
                  <c:v>18472</c:v>
                </c:pt>
                <c:pt idx="52856">
                  <c:v>18471</c:v>
                </c:pt>
                <c:pt idx="52857">
                  <c:v>18469</c:v>
                </c:pt>
                <c:pt idx="52858">
                  <c:v>18466</c:v>
                </c:pt>
                <c:pt idx="52859">
                  <c:v>18466</c:v>
                </c:pt>
                <c:pt idx="52860">
                  <c:v>18464</c:v>
                </c:pt>
                <c:pt idx="52861">
                  <c:v>18463</c:v>
                </c:pt>
                <c:pt idx="52862">
                  <c:v>18461</c:v>
                </c:pt>
                <c:pt idx="52863">
                  <c:v>18460</c:v>
                </c:pt>
                <c:pt idx="52864">
                  <c:v>18459</c:v>
                </c:pt>
                <c:pt idx="52865">
                  <c:v>18458</c:v>
                </c:pt>
                <c:pt idx="52866">
                  <c:v>18458</c:v>
                </c:pt>
                <c:pt idx="52867">
                  <c:v>18457</c:v>
                </c:pt>
                <c:pt idx="52868">
                  <c:v>18457</c:v>
                </c:pt>
                <c:pt idx="52869">
                  <c:v>18457</c:v>
                </c:pt>
                <c:pt idx="52870">
                  <c:v>18453</c:v>
                </c:pt>
                <c:pt idx="52871">
                  <c:v>18453</c:v>
                </c:pt>
                <c:pt idx="52872">
                  <c:v>18450</c:v>
                </c:pt>
                <c:pt idx="52873">
                  <c:v>18450</c:v>
                </c:pt>
                <c:pt idx="52874">
                  <c:v>18447</c:v>
                </c:pt>
                <c:pt idx="52875">
                  <c:v>18447</c:v>
                </c:pt>
                <c:pt idx="52876">
                  <c:v>18446</c:v>
                </c:pt>
                <c:pt idx="52877">
                  <c:v>18445</c:v>
                </c:pt>
                <c:pt idx="52878">
                  <c:v>18444</c:v>
                </c:pt>
                <c:pt idx="52879">
                  <c:v>18443</c:v>
                </c:pt>
                <c:pt idx="52880">
                  <c:v>18442</c:v>
                </c:pt>
                <c:pt idx="52881">
                  <c:v>18442</c:v>
                </c:pt>
                <c:pt idx="52882">
                  <c:v>18440</c:v>
                </c:pt>
                <c:pt idx="52883">
                  <c:v>18437</c:v>
                </c:pt>
                <c:pt idx="52884">
                  <c:v>18435</c:v>
                </c:pt>
                <c:pt idx="52885">
                  <c:v>18434</c:v>
                </c:pt>
                <c:pt idx="52886">
                  <c:v>18433</c:v>
                </c:pt>
                <c:pt idx="52887">
                  <c:v>18430</c:v>
                </c:pt>
                <c:pt idx="52888">
                  <c:v>18429</c:v>
                </c:pt>
                <c:pt idx="52889">
                  <c:v>18425</c:v>
                </c:pt>
                <c:pt idx="52890">
                  <c:v>18423</c:v>
                </c:pt>
                <c:pt idx="52891">
                  <c:v>18421</c:v>
                </c:pt>
                <c:pt idx="52892">
                  <c:v>18420</c:v>
                </c:pt>
                <c:pt idx="52893">
                  <c:v>18419</c:v>
                </c:pt>
                <c:pt idx="52894">
                  <c:v>18419</c:v>
                </c:pt>
                <c:pt idx="52895">
                  <c:v>18417</c:v>
                </c:pt>
                <c:pt idx="52896">
                  <c:v>18416</c:v>
                </c:pt>
                <c:pt idx="52897">
                  <c:v>18416</c:v>
                </c:pt>
                <c:pt idx="52898">
                  <c:v>18415</c:v>
                </c:pt>
                <c:pt idx="52899">
                  <c:v>18412</c:v>
                </c:pt>
                <c:pt idx="52900">
                  <c:v>18412</c:v>
                </c:pt>
                <c:pt idx="52901">
                  <c:v>18409</c:v>
                </c:pt>
                <c:pt idx="52902">
                  <c:v>18407</c:v>
                </c:pt>
                <c:pt idx="52903">
                  <c:v>18406</c:v>
                </c:pt>
                <c:pt idx="52904">
                  <c:v>18401</c:v>
                </c:pt>
                <c:pt idx="52905">
                  <c:v>18399</c:v>
                </c:pt>
                <c:pt idx="52906">
                  <c:v>18399</c:v>
                </c:pt>
                <c:pt idx="52907">
                  <c:v>18398</c:v>
                </c:pt>
                <c:pt idx="52908">
                  <c:v>18397</c:v>
                </c:pt>
                <c:pt idx="52909">
                  <c:v>18396</c:v>
                </c:pt>
                <c:pt idx="52910">
                  <c:v>18395</c:v>
                </c:pt>
                <c:pt idx="52911">
                  <c:v>18391</c:v>
                </c:pt>
                <c:pt idx="52912">
                  <c:v>18387</c:v>
                </c:pt>
                <c:pt idx="52913">
                  <c:v>18386</c:v>
                </c:pt>
                <c:pt idx="52914">
                  <c:v>18385</c:v>
                </c:pt>
                <c:pt idx="52915">
                  <c:v>18384</c:v>
                </c:pt>
                <c:pt idx="52916">
                  <c:v>18382</c:v>
                </c:pt>
                <c:pt idx="52917">
                  <c:v>18381</c:v>
                </c:pt>
                <c:pt idx="52918">
                  <c:v>18379</c:v>
                </c:pt>
                <c:pt idx="52919">
                  <c:v>18378</c:v>
                </c:pt>
                <c:pt idx="52920">
                  <c:v>18376</c:v>
                </c:pt>
                <c:pt idx="52921">
                  <c:v>18376</c:v>
                </c:pt>
                <c:pt idx="52922">
                  <c:v>18376</c:v>
                </c:pt>
                <c:pt idx="52923">
                  <c:v>18373</c:v>
                </c:pt>
                <c:pt idx="52924">
                  <c:v>18373</c:v>
                </c:pt>
                <c:pt idx="52925">
                  <c:v>18371</c:v>
                </c:pt>
                <c:pt idx="52926">
                  <c:v>18370</c:v>
                </c:pt>
                <c:pt idx="52927">
                  <c:v>18370</c:v>
                </c:pt>
                <c:pt idx="52928">
                  <c:v>18369</c:v>
                </c:pt>
                <c:pt idx="52929">
                  <c:v>18367</c:v>
                </c:pt>
                <c:pt idx="52930">
                  <c:v>18364</c:v>
                </c:pt>
                <c:pt idx="52931">
                  <c:v>18362</c:v>
                </c:pt>
                <c:pt idx="52932">
                  <c:v>18360</c:v>
                </c:pt>
                <c:pt idx="52933">
                  <c:v>18359</c:v>
                </c:pt>
                <c:pt idx="52934">
                  <c:v>18359</c:v>
                </c:pt>
                <c:pt idx="52935">
                  <c:v>18357</c:v>
                </c:pt>
                <c:pt idx="52936">
                  <c:v>18356</c:v>
                </c:pt>
                <c:pt idx="52937">
                  <c:v>18355</c:v>
                </c:pt>
                <c:pt idx="52938">
                  <c:v>18355</c:v>
                </c:pt>
                <c:pt idx="52939">
                  <c:v>18354</c:v>
                </c:pt>
                <c:pt idx="52940">
                  <c:v>18353</c:v>
                </c:pt>
                <c:pt idx="52941">
                  <c:v>18352</c:v>
                </c:pt>
                <c:pt idx="52942">
                  <c:v>18352</c:v>
                </c:pt>
                <c:pt idx="52943">
                  <c:v>18351</c:v>
                </c:pt>
                <c:pt idx="52944">
                  <c:v>18350</c:v>
                </c:pt>
                <c:pt idx="52945">
                  <c:v>18349</c:v>
                </c:pt>
                <c:pt idx="52946">
                  <c:v>18345</c:v>
                </c:pt>
                <c:pt idx="52947">
                  <c:v>18344</c:v>
                </c:pt>
                <c:pt idx="52948">
                  <c:v>18343</c:v>
                </c:pt>
                <c:pt idx="52949">
                  <c:v>18340</c:v>
                </c:pt>
                <c:pt idx="52950">
                  <c:v>18338</c:v>
                </c:pt>
                <c:pt idx="52951">
                  <c:v>18337</c:v>
                </c:pt>
                <c:pt idx="52952">
                  <c:v>18335</c:v>
                </c:pt>
                <c:pt idx="52953">
                  <c:v>18333</c:v>
                </c:pt>
                <c:pt idx="52954">
                  <c:v>18332</c:v>
                </c:pt>
                <c:pt idx="52955">
                  <c:v>18330</c:v>
                </c:pt>
                <c:pt idx="52956">
                  <c:v>18328</c:v>
                </c:pt>
                <c:pt idx="52957">
                  <c:v>18328</c:v>
                </c:pt>
                <c:pt idx="52958">
                  <c:v>18323</c:v>
                </c:pt>
                <c:pt idx="52959">
                  <c:v>18321</c:v>
                </c:pt>
                <c:pt idx="52960">
                  <c:v>18319</c:v>
                </c:pt>
                <c:pt idx="52961">
                  <c:v>18318</c:v>
                </c:pt>
                <c:pt idx="52962">
                  <c:v>18317</c:v>
                </c:pt>
                <c:pt idx="52963">
                  <c:v>18316</c:v>
                </c:pt>
                <c:pt idx="52964">
                  <c:v>18314</c:v>
                </c:pt>
                <c:pt idx="52965">
                  <c:v>18313</c:v>
                </c:pt>
                <c:pt idx="52966">
                  <c:v>18312</c:v>
                </c:pt>
                <c:pt idx="52967">
                  <c:v>18311</c:v>
                </c:pt>
                <c:pt idx="52968">
                  <c:v>18310</c:v>
                </c:pt>
                <c:pt idx="52969">
                  <c:v>18308</c:v>
                </c:pt>
                <c:pt idx="52970">
                  <c:v>18306</c:v>
                </c:pt>
                <c:pt idx="52971">
                  <c:v>18305</c:v>
                </c:pt>
                <c:pt idx="52972">
                  <c:v>18305</c:v>
                </c:pt>
                <c:pt idx="52973">
                  <c:v>18305</c:v>
                </c:pt>
                <c:pt idx="52974">
                  <c:v>18300</c:v>
                </c:pt>
                <c:pt idx="52975">
                  <c:v>18300</c:v>
                </c:pt>
                <c:pt idx="52976">
                  <c:v>18300</c:v>
                </c:pt>
                <c:pt idx="52977">
                  <c:v>18296</c:v>
                </c:pt>
                <c:pt idx="52978">
                  <c:v>18294</c:v>
                </c:pt>
                <c:pt idx="52979">
                  <c:v>18294</c:v>
                </c:pt>
                <c:pt idx="52980">
                  <c:v>18294</c:v>
                </c:pt>
                <c:pt idx="52981">
                  <c:v>18293</c:v>
                </c:pt>
                <c:pt idx="52982">
                  <c:v>18293</c:v>
                </c:pt>
                <c:pt idx="52983">
                  <c:v>18290</c:v>
                </c:pt>
                <c:pt idx="52984">
                  <c:v>18282</c:v>
                </c:pt>
                <c:pt idx="52985">
                  <c:v>18282</c:v>
                </c:pt>
                <c:pt idx="52986">
                  <c:v>18277</c:v>
                </c:pt>
                <c:pt idx="52987">
                  <c:v>18275</c:v>
                </c:pt>
                <c:pt idx="52988">
                  <c:v>18273</c:v>
                </c:pt>
                <c:pt idx="52989">
                  <c:v>18273</c:v>
                </c:pt>
                <c:pt idx="52990">
                  <c:v>18271</c:v>
                </c:pt>
                <c:pt idx="52991">
                  <c:v>18270</c:v>
                </c:pt>
                <c:pt idx="52992">
                  <c:v>18266</c:v>
                </c:pt>
                <c:pt idx="52993">
                  <c:v>18266</c:v>
                </c:pt>
                <c:pt idx="52994">
                  <c:v>18265</c:v>
                </c:pt>
                <c:pt idx="52995">
                  <c:v>18265</c:v>
                </c:pt>
                <c:pt idx="52996">
                  <c:v>18264</c:v>
                </c:pt>
                <c:pt idx="52997">
                  <c:v>18262</c:v>
                </c:pt>
                <c:pt idx="52998">
                  <c:v>18260</c:v>
                </c:pt>
                <c:pt idx="52999">
                  <c:v>18260</c:v>
                </c:pt>
                <c:pt idx="53000">
                  <c:v>18259</c:v>
                </c:pt>
                <c:pt idx="53001">
                  <c:v>18259</c:v>
                </c:pt>
                <c:pt idx="53002">
                  <c:v>18259</c:v>
                </c:pt>
                <c:pt idx="53003">
                  <c:v>18255</c:v>
                </c:pt>
                <c:pt idx="53004">
                  <c:v>18253</c:v>
                </c:pt>
                <c:pt idx="53005">
                  <c:v>18253</c:v>
                </c:pt>
                <c:pt idx="53006">
                  <c:v>18252</c:v>
                </c:pt>
                <c:pt idx="53007">
                  <c:v>18252</c:v>
                </c:pt>
                <c:pt idx="53008">
                  <c:v>18252</c:v>
                </c:pt>
                <c:pt idx="53009">
                  <c:v>18251</c:v>
                </c:pt>
                <c:pt idx="53010">
                  <c:v>18251</c:v>
                </c:pt>
                <c:pt idx="53011">
                  <c:v>18249</c:v>
                </c:pt>
                <c:pt idx="53012">
                  <c:v>18248</c:v>
                </c:pt>
                <c:pt idx="53013">
                  <c:v>18248</c:v>
                </c:pt>
                <c:pt idx="53014">
                  <c:v>18247</c:v>
                </c:pt>
                <c:pt idx="53015">
                  <c:v>18245</c:v>
                </c:pt>
                <c:pt idx="53016">
                  <c:v>18245</c:v>
                </c:pt>
                <c:pt idx="53017">
                  <c:v>18238</c:v>
                </c:pt>
                <c:pt idx="53018">
                  <c:v>18237</c:v>
                </c:pt>
                <c:pt idx="53019">
                  <c:v>18237</c:v>
                </c:pt>
                <c:pt idx="53020">
                  <c:v>18236</c:v>
                </c:pt>
                <c:pt idx="53021">
                  <c:v>18233</c:v>
                </c:pt>
                <c:pt idx="53022">
                  <c:v>18233</c:v>
                </c:pt>
                <c:pt idx="53023">
                  <c:v>18232</c:v>
                </c:pt>
                <c:pt idx="53024">
                  <c:v>18232</c:v>
                </c:pt>
                <c:pt idx="53025">
                  <c:v>18228</c:v>
                </c:pt>
                <c:pt idx="53026">
                  <c:v>18227</c:v>
                </c:pt>
                <c:pt idx="53027">
                  <c:v>18226</c:v>
                </c:pt>
                <c:pt idx="53028">
                  <c:v>18224</c:v>
                </c:pt>
                <c:pt idx="53029">
                  <c:v>18218</c:v>
                </c:pt>
                <c:pt idx="53030">
                  <c:v>18218</c:v>
                </c:pt>
                <c:pt idx="53031">
                  <c:v>18215</c:v>
                </c:pt>
                <c:pt idx="53032">
                  <c:v>18213</c:v>
                </c:pt>
                <c:pt idx="53033">
                  <c:v>18212</c:v>
                </c:pt>
                <c:pt idx="53034">
                  <c:v>18208</c:v>
                </c:pt>
                <c:pt idx="53035">
                  <c:v>18206</c:v>
                </c:pt>
                <c:pt idx="53036">
                  <c:v>18201</c:v>
                </c:pt>
                <c:pt idx="53037">
                  <c:v>18201</c:v>
                </c:pt>
                <c:pt idx="53038">
                  <c:v>18200</c:v>
                </c:pt>
                <c:pt idx="53039">
                  <c:v>18200</c:v>
                </c:pt>
                <c:pt idx="53040">
                  <c:v>18197</c:v>
                </c:pt>
                <c:pt idx="53041">
                  <c:v>18197</c:v>
                </c:pt>
                <c:pt idx="53042">
                  <c:v>18196</c:v>
                </c:pt>
                <c:pt idx="53043">
                  <c:v>18194</c:v>
                </c:pt>
                <c:pt idx="53044">
                  <c:v>18194</c:v>
                </c:pt>
                <c:pt idx="53045">
                  <c:v>18192</c:v>
                </c:pt>
                <c:pt idx="53046">
                  <c:v>18191</c:v>
                </c:pt>
                <c:pt idx="53047">
                  <c:v>18190</c:v>
                </c:pt>
                <c:pt idx="53048">
                  <c:v>18189</c:v>
                </c:pt>
                <c:pt idx="53049">
                  <c:v>18188</c:v>
                </c:pt>
                <c:pt idx="53050">
                  <c:v>18187</c:v>
                </c:pt>
                <c:pt idx="53051">
                  <c:v>18187</c:v>
                </c:pt>
                <c:pt idx="53052">
                  <c:v>18179</c:v>
                </c:pt>
                <c:pt idx="53053">
                  <c:v>18172</c:v>
                </c:pt>
                <c:pt idx="53054">
                  <c:v>18171</c:v>
                </c:pt>
                <c:pt idx="53055">
                  <c:v>18166</c:v>
                </c:pt>
                <c:pt idx="53056">
                  <c:v>18161</c:v>
                </c:pt>
                <c:pt idx="53057">
                  <c:v>18160</c:v>
                </c:pt>
                <c:pt idx="53058">
                  <c:v>18158</c:v>
                </c:pt>
                <c:pt idx="53059">
                  <c:v>18157</c:v>
                </c:pt>
                <c:pt idx="53060">
                  <c:v>18157</c:v>
                </c:pt>
                <c:pt idx="53061">
                  <c:v>18156</c:v>
                </c:pt>
                <c:pt idx="53062">
                  <c:v>18154</c:v>
                </c:pt>
                <c:pt idx="53063">
                  <c:v>18154</c:v>
                </c:pt>
                <c:pt idx="53064">
                  <c:v>18153</c:v>
                </c:pt>
                <c:pt idx="53065">
                  <c:v>18153</c:v>
                </c:pt>
                <c:pt idx="53066">
                  <c:v>18150</c:v>
                </c:pt>
                <c:pt idx="53067">
                  <c:v>18149</c:v>
                </c:pt>
                <c:pt idx="53068">
                  <c:v>18148</c:v>
                </c:pt>
                <c:pt idx="53069">
                  <c:v>18148</c:v>
                </c:pt>
                <c:pt idx="53070">
                  <c:v>18146</c:v>
                </c:pt>
                <c:pt idx="53071">
                  <c:v>18142</c:v>
                </c:pt>
                <c:pt idx="53072">
                  <c:v>18140</c:v>
                </c:pt>
                <c:pt idx="53073">
                  <c:v>18138</c:v>
                </c:pt>
                <c:pt idx="53074">
                  <c:v>18136</c:v>
                </c:pt>
                <c:pt idx="53075">
                  <c:v>18134</c:v>
                </c:pt>
                <c:pt idx="53076">
                  <c:v>18133</c:v>
                </c:pt>
                <c:pt idx="53077">
                  <c:v>18130</c:v>
                </c:pt>
                <c:pt idx="53078">
                  <c:v>18128</c:v>
                </c:pt>
                <c:pt idx="53079">
                  <c:v>18127</c:v>
                </c:pt>
                <c:pt idx="53080">
                  <c:v>18124</c:v>
                </c:pt>
                <c:pt idx="53081">
                  <c:v>18123</c:v>
                </c:pt>
                <c:pt idx="53082">
                  <c:v>18122</c:v>
                </c:pt>
                <c:pt idx="53083">
                  <c:v>18118</c:v>
                </c:pt>
                <c:pt idx="53084">
                  <c:v>18118</c:v>
                </c:pt>
                <c:pt idx="53085">
                  <c:v>18115</c:v>
                </c:pt>
                <c:pt idx="53086">
                  <c:v>18115</c:v>
                </c:pt>
                <c:pt idx="53087">
                  <c:v>18115</c:v>
                </c:pt>
                <c:pt idx="53088">
                  <c:v>18115</c:v>
                </c:pt>
                <c:pt idx="53089">
                  <c:v>18115</c:v>
                </c:pt>
                <c:pt idx="53090">
                  <c:v>18113</c:v>
                </c:pt>
                <c:pt idx="53091">
                  <c:v>18110</c:v>
                </c:pt>
                <c:pt idx="53092">
                  <c:v>18108</c:v>
                </c:pt>
                <c:pt idx="53093">
                  <c:v>18105</c:v>
                </c:pt>
                <c:pt idx="53094">
                  <c:v>18104</c:v>
                </c:pt>
                <c:pt idx="53095">
                  <c:v>18100</c:v>
                </c:pt>
                <c:pt idx="53096">
                  <c:v>18097</c:v>
                </c:pt>
                <c:pt idx="53097">
                  <c:v>18094</c:v>
                </c:pt>
                <c:pt idx="53098">
                  <c:v>18088</c:v>
                </c:pt>
                <c:pt idx="53099">
                  <c:v>18088</c:v>
                </c:pt>
                <c:pt idx="53100">
                  <c:v>18085</c:v>
                </c:pt>
                <c:pt idx="53101">
                  <c:v>18080</c:v>
                </c:pt>
                <c:pt idx="53102">
                  <c:v>18077</c:v>
                </c:pt>
                <c:pt idx="53103">
                  <c:v>18075</c:v>
                </c:pt>
                <c:pt idx="53104">
                  <c:v>18070</c:v>
                </c:pt>
                <c:pt idx="53105">
                  <c:v>18067</c:v>
                </c:pt>
                <c:pt idx="53106">
                  <c:v>18067</c:v>
                </c:pt>
                <c:pt idx="53107">
                  <c:v>18066</c:v>
                </c:pt>
                <c:pt idx="53108">
                  <c:v>18062</c:v>
                </c:pt>
                <c:pt idx="53109">
                  <c:v>18060</c:v>
                </c:pt>
                <c:pt idx="53110">
                  <c:v>18058</c:v>
                </c:pt>
                <c:pt idx="53111">
                  <c:v>18055</c:v>
                </c:pt>
                <c:pt idx="53112">
                  <c:v>18055</c:v>
                </c:pt>
                <c:pt idx="53113">
                  <c:v>18055</c:v>
                </c:pt>
                <c:pt idx="53114">
                  <c:v>18055</c:v>
                </c:pt>
                <c:pt idx="53115">
                  <c:v>18052</c:v>
                </c:pt>
                <c:pt idx="53116">
                  <c:v>18051</c:v>
                </c:pt>
                <c:pt idx="53117">
                  <c:v>18047</c:v>
                </c:pt>
                <c:pt idx="53118">
                  <c:v>18044</c:v>
                </c:pt>
                <c:pt idx="53119">
                  <c:v>18044</c:v>
                </c:pt>
                <c:pt idx="53120">
                  <c:v>18041</c:v>
                </c:pt>
                <c:pt idx="53121">
                  <c:v>18041</c:v>
                </c:pt>
                <c:pt idx="53122">
                  <c:v>18038</c:v>
                </c:pt>
                <c:pt idx="53123">
                  <c:v>18038</c:v>
                </c:pt>
                <c:pt idx="53124">
                  <c:v>18036</c:v>
                </c:pt>
                <c:pt idx="53125">
                  <c:v>18032</c:v>
                </c:pt>
                <c:pt idx="53126">
                  <c:v>18030</c:v>
                </c:pt>
                <c:pt idx="53127">
                  <c:v>18028</c:v>
                </c:pt>
                <c:pt idx="53128">
                  <c:v>18026</c:v>
                </c:pt>
                <c:pt idx="53129">
                  <c:v>18024</c:v>
                </c:pt>
                <c:pt idx="53130">
                  <c:v>18023</c:v>
                </c:pt>
                <c:pt idx="53131">
                  <c:v>18014</c:v>
                </c:pt>
                <c:pt idx="53132">
                  <c:v>18012</c:v>
                </c:pt>
                <c:pt idx="53133">
                  <c:v>18011</c:v>
                </c:pt>
                <c:pt idx="53134">
                  <c:v>18005</c:v>
                </c:pt>
                <c:pt idx="53135">
                  <c:v>18004</c:v>
                </c:pt>
                <c:pt idx="53136">
                  <c:v>18004</c:v>
                </c:pt>
                <c:pt idx="53137">
                  <c:v>18000</c:v>
                </c:pt>
                <c:pt idx="53138">
                  <c:v>17999</c:v>
                </c:pt>
                <c:pt idx="53139">
                  <c:v>17998</c:v>
                </c:pt>
                <c:pt idx="53140">
                  <c:v>17996</c:v>
                </c:pt>
                <c:pt idx="53141">
                  <c:v>17993</c:v>
                </c:pt>
                <c:pt idx="53142">
                  <c:v>17989</c:v>
                </c:pt>
                <c:pt idx="53143">
                  <c:v>17988</c:v>
                </c:pt>
                <c:pt idx="53144">
                  <c:v>17988</c:v>
                </c:pt>
                <c:pt idx="53145">
                  <c:v>17987</c:v>
                </c:pt>
                <c:pt idx="53146">
                  <c:v>17986</c:v>
                </c:pt>
                <c:pt idx="53147">
                  <c:v>17981</c:v>
                </c:pt>
                <c:pt idx="53148">
                  <c:v>17979</c:v>
                </c:pt>
                <c:pt idx="53149">
                  <c:v>17978</c:v>
                </c:pt>
                <c:pt idx="53150">
                  <c:v>17978</c:v>
                </c:pt>
                <c:pt idx="53151">
                  <c:v>17978</c:v>
                </c:pt>
                <c:pt idx="53152">
                  <c:v>17977</c:v>
                </c:pt>
                <c:pt idx="53153">
                  <c:v>17976</c:v>
                </c:pt>
                <c:pt idx="53154">
                  <c:v>17974</c:v>
                </c:pt>
                <c:pt idx="53155">
                  <c:v>17973</c:v>
                </c:pt>
                <c:pt idx="53156">
                  <c:v>17967</c:v>
                </c:pt>
                <c:pt idx="53157">
                  <c:v>17966</c:v>
                </c:pt>
                <c:pt idx="53158">
                  <c:v>17966</c:v>
                </c:pt>
                <c:pt idx="53159">
                  <c:v>17960</c:v>
                </c:pt>
                <c:pt idx="53160">
                  <c:v>17957</c:v>
                </c:pt>
                <c:pt idx="53161">
                  <c:v>17957</c:v>
                </c:pt>
                <c:pt idx="53162">
                  <c:v>17956</c:v>
                </c:pt>
                <c:pt idx="53163">
                  <c:v>17954</c:v>
                </c:pt>
                <c:pt idx="53164">
                  <c:v>17950</c:v>
                </c:pt>
                <c:pt idx="53165">
                  <c:v>17949</c:v>
                </c:pt>
                <c:pt idx="53166">
                  <c:v>17949</c:v>
                </c:pt>
                <c:pt idx="53167">
                  <c:v>17948</c:v>
                </c:pt>
                <c:pt idx="53168">
                  <c:v>17945</c:v>
                </c:pt>
                <c:pt idx="53169">
                  <c:v>17941</c:v>
                </c:pt>
                <c:pt idx="53170">
                  <c:v>17938</c:v>
                </c:pt>
                <c:pt idx="53171">
                  <c:v>17933</c:v>
                </c:pt>
                <c:pt idx="53172">
                  <c:v>17931</c:v>
                </c:pt>
                <c:pt idx="53173">
                  <c:v>17930</c:v>
                </c:pt>
                <c:pt idx="53174">
                  <c:v>17928</c:v>
                </c:pt>
                <c:pt idx="53175">
                  <c:v>17926</c:v>
                </c:pt>
                <c:pt idx="53176">
                  <c:v>17926</c:v>
                </c:pt>
                <c:pt idx="53177">
                  <c:v>17926</c:v>
                </c:pt>
                <c:pt idx="53178">
                  <c:v>17923</c:v>
                </c:pt>
                <c:pt idx="53179">
                  <c:v>17922</c:v>
                </c:pt>
                <c:pt idx="53180">
                  <c:v>17919</c:v>
                </c:pt>
                <c:pt idx="53181">
                  <c:v>17909</c:v>
                </c:pt>
                <c:pt idx="53182">
                  <c:v>17908</c:v>
                </c:pt>
                <c:pt idx="53183">
                  <c:v>17907</c:v>
                </c:pt>
                <c:pt idx="53184">
                  <c:v>17906</c:v>
                </c:pt>
                <c:pt idx="53185">
                  <c:v>17893</c:v>
                </c:pt>
                <c:pt idx="53186">
                  <c:v>17892</c:v>
                </c:pt>
                <c:pt idx="53187">
                  <c:v>17891</c:v>
                </c:pt>
                <c:pt idx="53188">
                  <c:v>17891</c:v>
                </c:pt>
                <c:pt idx="53189">
                  <c:v>17890</c:v>
                </c:pt>
                <c:pt idx="53190">
                  <c:v>17887</c:v>
                </c:pt>
                <c:pt idx="53191">
                  <c:v>17885</c:v>
                </c:pt>
                <c:pt idx="53192">
                  <c:v>17882</c:v>
                </c:pt>
                <c:pt idx="53193">
                  <c:v>17879</c:v>
                </c:pt>
                <c:pt idx="53194">
                  <c:v>17879</c:v>
                </c:pt>
                <c:pt idx="53195">
                  <c:v>17878</c:v>
                </c:pt>
                <c:pt idx="53196">
                  <c:v>17876</c:v>
                </c:pt>
                <c:pt idx="53197">
                  <c:v>17876</c:v>
                </c:pt>
                <c:pt idx="53198">
                  <c:v>17875</c:v>
                </c:pt>
                <c:pt idx="53199">
                  <c:v>17872</c:v>
                </c:pt>
                <c:pt idx="53200">
                  <c:v>17871</c:v>
                </c:pt>
                <c:pt idx="53201">
                  <c:v>17871</c:v>
                </c:pt>
                <c:pt idx="53202">
                  <c:v>17868</c:v>
                </c:pt>
                <c:pt idx="53203">
                  <c:v>17867</c:v>
                </c:pt>
                <c:pt idx="53204">
                  <c:v>17865</c:v>
                </c:pt>
                <c:pt idx="53205">
                  <c:v>17862</c:v>
                </c:pt>
                <c:pt idx="53206">
                  <c:v>17860</c:v>
                </c:pt>
                <c:pt idx="53207">
                  <c:v>17860</c:v>
                </c:pt>
                <c:pt idx="53208">
                  <c:v>17859</c:v>
                </c:pt>
                <c:pt idx="53209">
                  <c:v>17853</c:v>
                </c:pt>
                <c:pt idx="53210">
                  <c:v>17852</c:v>
                </c:pt>
                <c:pt idx="53211">
                  <c:v>17852</c:v>
                </c:pt>
                <c:pt idx="53212">
                  <c:v>17846</c:v>
                </c:pt>
                <c:pt idx="53213">
                  <c:v>17846</c:v>
                </c:pt>
                <c:pt idx="53214">
                  <c:v>17846</c:v>
                </c:pt>
                <c:pt idx="53215">
                  <c:v>17840</c:v>
                </c:pt>
                <c:pt idx="53216">
                  <c:v>17836</c:v>
                </c:pt>
                <c:pt idx="53217">
                  <c:v>17835</c:v>
                </c:pt>
                <c:pt idx="53218">
                  <c:v>17833</c:v>
                </c:pt>
                <c:pt idx="53219">
                  <c:v>17829</c:v>
                </c:pt>
                <c:pt idx="53220">
                  <c:v>17828</c:v>
                </c:pt>
                <c:pt idx="53221">
                  <c:v>17825</c:v>
                </c:pt>
                <c:pt idx="53222">
                  <c:v>17824</c:v>
                </c:pt>
                <c:pt idx="53223">
                  <c:v>17823</c:v>
                </c:pt>
                <c:pt idx="53224">
                  <c:v>17821</c:v>
                </c:pt>
                <c:pt idx="53225">
                  <c:v>17821</c:v>
                </c:pt>
                <c:pt idx="53226">
                  <c:v>17820</c:v>
                </c:pt>
                <c:pt idx="53227">
                  <c:v>17818</c:v>
                </c:pt>
                <c:pt idx="53228">
                  <c:v>17812</c:v>
                </c:pt>
                <c:pt idx="53229">
                  <c:v>17811</c:v>
                </c:pt>
                <c:pt idx="53230">
                  <c:v>17811</c:v>
                </c:pt>
                <c:pt idx="53231">
                  <c:v>17811</c:v>
                </c:pt>
                <c:pt idx="53232">
                  <c:v>17808</c:v>
                </c:pt>
                <c:pt idx="53233">
                  <c:v>17808</c:v>
                </c:pt>
                <c:pt idx="53234">
                  <c:v>17805</c:v>
                </c:pt>
                <c:pt idx="53235">
                  <c:v>17804</c:v>
                </c:pt>
                <c:pt idx="53236">
                  <c:v>17802</c:v>
                </c:pt>
                <c:pt idx="53237">
                  <c:v>17800</c:v>
                </c:pt>
                <c:pt idx="53238">
                  <c:v>17794</c:v>
                </c:pt>
                <c:pt idx="53239">
                  <c:v>17794</c:v>
                </c:pt>
                <c:pt idx="53240">
                  <c:v>17793</c:v>
                </c:pt>
                <c:pt idx="53241">
                  <c:v>17791</c:v>
                </c:pt>
                <c:pt idx="53242">
                  <c:v>17790</c:v>
                </c:pt>
                <c:pt idx="53243">
                  <c:v>17789</c:v>
                </c:pt>
                <c:pt idx="53244">
                  <c:v>17788</c:v>
                </c:pt>
                <c:pt idx="53245">
                  <c:v>17786</c:v>
                </c:pt>
                <c:pt idx="53246">
                  <c:v>17784</c:v>
                </c:pt>
                <c:pt idx="53247">
                  <c:v>17783</c:v>
                </c:pt>
                <c:pt idx="53248">
                  <c:v>17783</c:v>
                </c:pt>
                <c:pt idx="53249">
                  <c:v>17780</c:v>
                </c:pt>
                <c:pt idx="53250">
                  <c:v>17779</c:v>
                </c:pt>
                <c:pt idx="53251">
                  <c:v>17776</c:v>
                </c:pt>
                <c:pt idx="53252">
                  <c:v>17773</c:v>
                </c:pt>
                <c:pt idx="53253">
                  <c:v>17770</c:v>
                </c:pt>
                <c:pt idx="53254">
                  <c:v>17766</c:v>
                </c:pt>
                <c:pt idx="53255">
                  <c:v>17765</c:v>
                </c:pt>
                <c:pt idx="53256">
                  <c:v>17760</c:v>
                </c:pt>
                <c:pt idx="53257">
                  <c:v>17760</c:v>
                </c:pt>
                <c:pt idx="53258">
                  <c:v>17759</c:v>
                </c:pt>
                <c:pt idx="53259">
                  <c:v>17756</c:v>
                </c:pt>
                <c:pt idx="53260">
                  <c:v>17753</c:v>
                </c:pt>
                <c:pt idx="53261">
                  <c:v>17751</c:v>
                </c:pt>
                <c:pt idx="53262">
                  <c:v>17750</c:v>
                </c:pt>
                <c:pt idx="53263">
                  <c:v>17748</c:v>
                </c:pt>
                <c:pt idx="53264">
                  <c:v>17748</c:v>
                </c:pt>
                <c:pt idx="53265">
                  <c:v>17745</c:v>
                </c:pt>
                <c:pt idx="53266">
                  <c:v>17743</c:v>
                </c:pt>
                <c:pt idx="53267">
                  <c:v>17738</c:v>
                </c:pt>
                <c:pt idx="53268">
                  <c:v>17738</c:v>
                </c:pt>
                <c:pt idx="53269">
                  <c:v>17737</c:v>
                </c:pt>
                <c:pt idx="53270">
                  <c:v>17736</c:v>
                </c:pt>
                <c:pt idx="53271">
                  <c:v>17733</c:v>
                </c:pt>
                <c:pt idx="53272">
                  <c:v>17732</c:v>
                </c:pt>
                <c:pt idx="53273">
                  <c:v>17726</c:v>
                </c:pt>
                <c:pt idx="53274">
                  <c:v>17720</c:v>
                </c:pt>
                <c:pt idx="53275">
                  <c:v>17719</c:v>
                </c:pt>
                <c:pt idx="53276">
                  <c:v>17710</c:v>
                </c:pt>
                <c:pt idx="53277">
                  <c:v>17710</c:v>
                </c:pt>
                <c:pt idx="53278">
                  <c:v>17705</c:v>
                </c:pt>
                <c:pt idx="53279">
                  <c:v>17705</c:v>
                </c:pt>
                <c:pt idx="53280">
                  <c:v>17700</c:v>
                </c:pt>
                <c:pt idx="53281">
                  <c:v>17700</c:v>
                </c:pt>
                <c:pt idx="53282">
                  <c:v>17699</c:v>
                </c:pt>
                <c:pt idx="53283">
                  <c:v>17694</c:v>
                </c:pt>
                <c:pt idx="53284">
                  <c:v>17693</c:v>
                </c:pt>
                <c:pt idx="53285">
                  <c:v>17693</c:v>
                </c:pt>
                <c:pt idx="53286">
                  <c:v>17687</c:v>
                </c:pt>
                <c:pt idx="53287">
                  <c:v>17686</c:v>
                </c:pt>
                <c:pt idx="53288">
                  <c:v>17685</c:v>
                </c:pt>
                <c:pt idx="53289">
                  <c:v>17685</c:v>
                </c:pt>
                <c:pt idx="53290">
                  <c:v>17682</c:v>
                </c:pt>
                <c:pt idx="53291">
                  <c:v>17681</c:v>
                </c:pt>
                <c:pt idx="53292">
                  <c:v>17679</c:v>
                </c:pt>
                <c:pt idx="53293">
                  <c:v>17674</c:v>
                </c:pt>
                <c:pt idx="53294">
                  <c:v>17674</c:v>
                </c:pt>
                <c:pt idx="53295">
                  <c:v>17673</c:v>
                </c:pt>
                <c:pt idx="53296">
                  <c:v>17670</c:v>
                </c:pt>
                <c:pt idx="53297">
                  <c:v>17663</c:v>
                </c:pt>
                <c:pt idx="53298">
                  <c:v>17660</c:v>
                </c:pt>
                <c:pt idx="53299">
                  <c:v>17658</c:v>
                </c:pt>
                <c:pt idx="53300">
                  <c:v>17657</c:v>
                </c:pt>
                <c:pt idx="53301">
                  <c:v>17653</c:v>
                </c:pt>
                <c:pt idx="53302">
                  <c:v>17652</c:v>
                </c:pt>
                <c:pt idx="53303">
                  <c:v>17649</c:v>
                </c:pt>
                <c:pt idx="53304">
                  <c:v>17641</c:v>
                </c:pt>
                <c:pt idx="53305">
                  <c:v>17639</c:v>
                </c:pt>
                <c:pt idx="53306">
                  <c:v>17639</c:v>
                </c:pt>
                <c:pt idx="53307">
                  <c:v>17638</c:v>
                </c:pt>
                <c:pt idx="53308">
                  <c:v>17638</c:v>
                </c:pt>
                <c:pt idx="53309">
                  <c:v>17635</c:v>
                </c:pt>
                <c:pt idx="53310">
                  <c:v>17635</c:v>
                </c:pt>
                <c:pt idx="53311">
                  <c:v>17635</c:v>
                </c:pt>
                <c:pt idx="53312">
                  <c:v>17634</c:v>
                </c:pt>
                <c:pt idx="53313">
                  <c:v>17631</c:v>
                </c:pt>
                <c:pt idx="53314">
                  <c:v>17630</c:v>
                </c:pt>
                <c:pt idx="53315">
                  <c:v>17629</c:v>
                </c:pt>
                <c:pt idx="53316">
                  <c:v>17618</c:v>
                </c:pt>
                <c:pt idx="53317">
                  <c:v>17615</c:v>
                </c:pt>
                <c:pt idx="53318">
                  <c:v>17610</c:v>
                </c:pt>
                <c:pt idx="53319">
                  <c:v>17610</c:v>
                </c:pt>
                <c:pt idx="53320">
                  <c:v>17604</c:v>
                </c:pt>
                <c:pt idx="53321">
                  <c:v>17604</c:v>
                </c:pt>
                <c:pt idx="53322">
                  <c:v>17603</c:v>
                </c:pt>
                <c:pt idx="53323">
                  <c:v>17601</c:v>
                </c:pt>
                <c:pt idx="53324">
                  <c:v>17599</c:v>
                </c:pt>
                <c:pt idx="53325">
                  <c:v>17598</c:v>
                </c:pt>
                <c:pt idx="53326">
                  <c:v>17598</c:v>
                </c:pt>
                <c:pt idx="53327">
                  <c:v>17583</c:v>
                </c:pt>
                <c:pt idx="53328">
                  <c:v>17581</c:v>
                </c:pt>
                <c:pt idx="53329">
                  <c:v>17569</c:v>
                </c:pt>
                <c:pt idx="53330">
                  <c:v>17565</c:v>
                </c:pt>
                <c:pt idx="53331">
                  <c:v>17563</c:v>
                </c:pt>
                <c:pt idx="53332">
                  <c:v>17563</c:v>
                </c:pt>
                <c:pt idx="53333">
                  <c:v>17560</c:v>
                </c:pt>
                <c:pt idx="53334">
                  <c:v>17558</c:v>
                </c:pt>
                <c:pt idx="53335">
                  <c:v>17556</c:v>
                </c:pt>
                <c:pt idx="53336">
                  <c:v>17553</c:v>
                </c:pt>
                <c:pt idx="53337">
                  <c:v>17553</c:v>
                </c:pt>
                <c:pt idx="53338">
                  <c:v>17549</c:v>
                </c:pt>
                <c:pt idx="53339">
                  <c:v>17549</c:v>
                </c:pt>
                <c:pt idx="53340">
                  <c:v>17548</c:v>
                </c:pt>
                <c:pt idx="53341">
                  <c:v>17547</c:v>
                </c:pt>
                <c:pt idx="53342">
                  <c:v>17546</c:v>
                </c:pt>
                <c:pt idx="53343">
                  <c:v>17542</c:v>
                </c:pt>
                <c:pt idx="53344">
                  <c:v>17541</c:v>
                </c:pt>
                <c:pt idx="53345">
                  <c:v>17540</c:v>
                </c:pt>
                <c:pt idx="53346">
                  <c:v>17539</c:v>
                </c:pt>
                <c:pt idx="53347">
                  <c:v>17536</c:v>
                </c:pt>
                <c:pt idx="53348">
                  <c:v>17533</c:v>
                </c:pt>
                <c:pt idx="53349">
                  <c:v>17530</c:v>
                </c:pt>
                <c:pt idx="53350">
                  <c:v>17529</c:v>
                </c:pt>
                <c:pt idx="53351">
                  <c:v>17522</c:v>
                </c:pt>
                <c:pt idx="53352">
                  <c:v>17522</c:v>
                </c:pt>
                <c:pt idx="53353">
                  <c:v>17520</c:v>
                </c:pt>
                <c:pt idx="53354">
                  <c:v>17518</c:v>
                </c:pt>
                <c:pt idx="53355">
                  <c:v>17515</c:v>
                </c:pt>
                <c:pt idx="53356">
                  <c:v>17512</c:v>
                </c:pt>
                <c:pt idx="53357">
                  <c:v>17510</c:v>
                </c:pt>
                <c:pt idx="53358">
                  <c:v>17506</c:v>
                </c:pt>
                <c:pt idx="53359">
                  <c:v>17506</c:v>
                </c:pt>
                <c:pt idx="53360">
                  <c:v>17503</c:v>
                </c:pt>
                <c:pt idx="53361">
                  <c:v>17499</c:v>
                </c:pt>
                <c:pt idx="53362">
                  <c:v>17498</c:v>
                </c:pt>
                <c:pt idx="53363">
                  <c:v>17497</c:v>
                </c:pt>
                <c:pt idx="53364">
                  <c:v>17493</c:v>
                </c:pt>
                <c:pt idx="53365">
                  <c:v>17491</c:v>
                </c:pt>
                <c:pt idx="53366">
                  <c:v>17490</c:v>
                </c:pt>
                <c:pt idx="53367">
                  <c:v>17485</c:v>
                </c:pt>
                <c:pt idx="53368">
                  <c:v>17485</c:v>
                </c:pt>
                <c:pt idx="53369">
                  <c:v>17480</c:v>
                </c:pt>
                <c:pt idx="53370">
                  <c:v>17479</c:v>
                </c:pt>
                <c:pt idx="53371">
                  <c:v>17478</c:v>
                </c:pt>
                <c:pt idx="53372">
                  <c:v>17474</c:v>
                </c:pt>
                <c:pt idx="53373">
                  <c:v>17468</c:v>
                </c:pt>
                <c:pt idx="53374">
                  <c:v>17464</c:v>
                </c:pt>
                <c:pt idx="53375">
                  <c:v>17464</c:v>
                </c:pt>
                <c:pt idx="53376">
                  <c:v>17464</c:v>
                </c:pt>
                <c:pt idx="53377">
                  <c:v>17457</c:v>
                </c:pt>
                <c:pt idx="53378">
                  <c:v>17457</c:v>
                </c:pt>
                <c:pt idx="53379">
                  <c:v>17451</c:v>
                </c:pt>
                <c:pt idx="53380">
                  <c:v>17450</c:v>
                </c:pt>
                <c:pt idx="53381">
                  <c:v>17448</c:v>
                </c:pt>
                <c:pt idx="53382">
                  <c:v>17448</c:v>
                </c:pt>
                <c:pt idx="53383">
                  <c:v>17442</c:v>
                </c:pt>
                <c:pt idx="53384">
                  <c:v>17439</c:v>
                </c:pt>
                <c:pt idx="53385">
                  <c:v>17438</c:v>
                </c:pt>
                <c:pt idx="53386">
                  <c:v>17437</c:v>
                </c:pt>
                <c:pt idx="53387">
                  <c:v>17435</c:v>
                </c:pt>
                <c:pt idx="53388">
                  <c:v>17435</c:v>
                </c:pt>
                <c:pt idx="53389">
                  <c:v>17434</c:v>
                </c:pt>
                <c:pt idx="53390">
                  <c:v>17430</c:v>
                </c:pt>
                <c:pt idx="53391">
                  <c:v>17426</c:v>
                </c:pt>
                <c:pt idx="53392">
                  <c:v>17422</c:v>
                </c:pt>
                <c:pt idx="53393">
                  <c:v>17421</c:v>
                </c:pt>
                <c:pt idx="53394">
                  <c:v>17419</c:v>
                </c:pt>
                <c:pt idx="53395">
                  <c:v>17411</c:v>
                </c:pt>
                <c:pt idx="53396">
                  <c:v>17408</c:v>
                </c:pt>
                <c:pt idx="53397">
                  <c:v>17401</c:v>
                </c:pt>
                <c:pt idx="53398">
                  <c:v>17397</c:v>
                </c:pt>
                <c:pt idx="53399">
                  <c:v>17391</c:v>
                </c:pt>
                <c:pt idx="53400">
                  <c:v>17389</c:v>
                </c:pt>
                <c:pt idx="53401">
                  <c:v>17385</c:v>
                </c:pt>
                <c:pt idx="53402">
                  <c:v>17382</c:v>
                </c:pt>
                <c:pt idx="53403">
                  <c:v>17381</c:v>
                </c:pt>
                <c:pt idx="53404">
                  <c:v>17381</c:v>
                </c:pt>
                <c:pt idx="53405">
                  <c:v>17379</c:v>
                </c:pt>
                <c:pt idx="53406">
                  <c:v>17379</c:v>
                </c:pt>
                <c:pt idx="53407">
                  <c:v>17360</c:v>
                </c:pt>
                <c:pt idx="53408">
                  <c:v>17354</c:v>
                </c:pt>
                <c:pt idx="53409">
                  <c:v>17346</c:v>
                </c:pt>
                <c:pt idx="53410">
                  <c:v>17343</c:v>
                </c:pt>
                <c:pt idx="53411">
                  <c:v>17336</c:v>
                </c:pt>
                <c:pt idx="53412">
                  <c:v>17332</c:v>
                </c:pt>
                <c:pt idx="53413">
                  <c:v>17331</c:v>
                </c:pt>
                <c:pt idx="53414">
                  <c:v>17330</c:v>
                </c:pt>
                <c:pt idx="53415">
                  <c:v>17328</c:v>
                </c:pt>
                <c:pt idx="53416">
                  <c:v>17327</c:v>
                </c:pt>
                <c:pt idx="53417">
                  <c:v>17323</c:v>
                </c:pt>
                <c:pt idx="53418">
                  <c:v>17311</c:v>
                </c:pt>
                <c:pt idx="53419">
                  <c:v>17309</c:v>
                </c:pt>
                <c:pt idx="53420">
                  <c:v>17308</c:v>
                </c:pt>
                <c:pt idx="53421">
                  <c:v>17297</c:v>
                </c:pt>
                <c:pt idx="53422">
                  <c:v>17295</c:v>
                </c:pt>
                <c:pt idx="53423">
                  <c:v>17282</c:v>
                </c:pt>
                <c:pt idx="53424">
                  <c:v>17280</c:v>
                </c:pt>
                <c:pt idx="53425">
                  <c:v>17279</c:v>
                </c:pt>
                <c:pt idx="53426">
                  <c:v>17275</c:v>
                </c:pt>
                <c:pt idx="53427">
                  <c:v>17263</c:v>
                </c:pt>
                <c:pt idx="53428">
                  <c:v>17259</c:v>
                </c:pt>
                <c:pt idx="53429">
                  <c:v>17255</c:v>
                </c:pt>
                <c:pt idx="53430">
                  <c:v>17238</c:v>
                </c:pt>
                <c:pt idx="53431">
                  <c:v>17226</c:v>
                </c:pt>
                <c:pt idx="53432">
                  <c:v>17226</c:v>
                </c:pt>
                <c:pt idx="53433">
                  <c:v>17209</c:v>
                </c:pt>
                <c:pt idx="53434">
                  <c:v>17197</c:v>
                </c:pt>
                <c:pt idx="53435">
                  <c:v>17190</c:v>
                </c:pt>
                <c:pt idx="53436">
                  <c:v>17183</c:v>
                </c:pt>
                <c:pt idx="53437">
                  <c:v>17179</c:v>
                </c:pt>
                <c:pt idx="53438">
                  <c:v>17172</c:v>
                </c:pt>
                <c:pt idx="53439">
                  <c:v>17170</c:v>
                </c:pt>
                <c:pt idx="53440">
                  <c:v>17155</c:v>
                </c:pt>
                <c:pt idx="53441">
                  <c:v>17152</c:v>
                </c:pt>
                <c:pt idx="53442">
                  <c:v>17129</c:v>
                </c:pt>
                <c:pt idx="53443">
                  <c:v>17123</c:v>
                </c:pt>
                <c:pt idx="53444">
                  <c:v>17123</c:v>
                </c:pt>
                <c:pt idx="53445">
                  <c:v>17122</c:v>
                </c:pt>
                <c:pt idx="53446">
                  <c:v>17122</c:v>
                </c:pt>
                <c:pt idx="53447">
                  <c:v>17116</c:v>
                </c:pt>
                <c:pt idx="53448">
                  <c:v>17114</c:v>
                </c:pt>
                <c:pt idx="53449">
                  <c:v>17098</c:v>
                </c:pt>
                <c:pt idx="53450">
                  <c:v>17096</c:v>
                </c:pt>
                <c:pt idx="53451">
                  <c:v>17091</c:v>
                </c:pt>
                <c:pt idx="53452">
                  <c:v>17090</c:v>
                </c:pt>
                <c:pt idx="53453">
                  <c:v>17077</c:v>
                </c:pt>
                <c:pt idx="53454">
                  <c:v>17076</c:v>
                </c:pt>
                <c:pt idx="53455">
                  <c:v>17075</c:v>
                </c:pt>
                <c:pt idx="53456">
                  <c:v>17065</c:v>
                </c:pt>
                <c:pt idx="53457">
                  <c:v>17051</c:v>
                </c:pt>
                <c:pt idx="53458">
                  <c:v>17036</c:v>
                </c:pt>
                <c:pt idx="53459">
                  <c:v>17033</c:v>
                </c:pt>
                <c:pt idx="53460">
                  <c:v>17024</c:v>
                </c:pt>
                <c:pt idx="53461">
                  <c:v>17014</c:v>
                </c:pt>
                <c:pt idx="53462">
                  <c:v>17011</c:v>
                </c:pt>
                <c:pt idx="53463">
                  <c:v>17002</c:v>
                </c:pt>
                <c:pt idx="53464">
                  <c:v>17000</c:v>
                </c:pt>
                <c:pt idx="53465">
                  <c:v>16986</c:v>
                </c:pt>
                <c:pt idx="53466">
                  <c:v>16973</c:v>
                </c:pt>
                <c:pt idx="53467">
                  <c:v>16970</c:v>
                </c:pt>
                <c:pt idx="53468">
                  <c:v>16958</c:v>
                </c:pt>
                <c:pt idx="53469">
                  <c:v>16954</c:v>
                </c:pt>
                <c:pt idx="53470">
                  <c:v>16953</c:v>
                </c:pt>
                <c:pt idx="53471">
                  <c:v>16953</c:v>
                </c:pt>
                <c:pt idx="53472">
                  <c:v>16943</c:v>
                </c:pt>
                <c:pt idx="53473">
                  <c:v>16938</c:v>
                </c:pt>
                <c:pt idx="53474">
                  <c:v>16933</c:v>
                </c:pt>
                <c:pt idx="53475">
                  <c:v>16932</c:v>
                </c:pt>
                <c:pt idx="53476">
                  <c:v>16928</c:v>
                </c:pt>
                <c:pt idx="53477">
                  <c:v>16918</c:v>
                </c:pt>
                <c:pt idx="53478">
                  <c:v>16913</c:v>
                </c:pt>
                <c:pt idx="53479">
                  <c:v>16905</c:v>
                </c:pt>
                <c:pt idx="53480">
                  <c:v>16885</c:v>
                </c:pt>
                <c:pt idx="53481">
                  <c:v>16882</c:v>
                </c:pt>
                <c:pt idx="53482">
                  <c:v>16865</c:v>
                </c:pt>
                <c:pt idx="53483">
                  <c:v>16863</c:v>
                </c:pt>
                <c:pt idx="53484">
                  <c:v>16846</c:v>
                </c:pt>
                <c:pt idx="53485">
                  <c:v>16844</c:v>
                </c:pt>
                <c:pt idx="53486">
                  <c:v>16841</c:v>
                </c:pt>
                <c:pt idx="53487">
                  <c:v>16826</c:v>
                </c:pt>
                <c:pt idx="53488">
                  <c:v>16826</c:v>
                </c:pt>
                <c:pt idx="53489">
                  <c:v>16825</c:v>
                </c:pt>
                <c:pt idx="53490">
                  <c:v>16818</c:v>
                </c:pt>
                <c:pt idx="53491">
                  <c:v>16811</c:v>
                </c:pt>
                <c:pt idx="53492">
                  <c:v>16803</c:v>
                </c:pt>
                <c:pt idx="53493">
                  <c:v>16802</c:v>
                </c:pt>
                <c:pt idx="53494">
                  <c:v>16799</c:v>
                </c:pt>
                <c:pt idx="53495">
                  <c:v>16794</c:v>
                </c:pt>
                <c:pt idx="53496">
                  <c:v>16791</c:v>
                </c:pt>
                <c:pt idx="53497">
                  <c:v>16789</c:v>
                </c:pt>
                <c:pt idx="53498">
                  <c:v>16789</c:v>
                </c:pt>
                <c:pt idx="53499">
                  <c:v>16785</c:v>
                </c:pt>
                <c:pt idx="53500">
                  <c:v>16768</c:v>
                </c:pt>
                <c:pt idx="53501">
                  <c:v>16766</c:v>
                </c:pt>
                <c:pt idx="53502">
                  <c:v>16757</c:v>
                </c:pt>
                <c:pt idx="53503">
                  <c:v>16752</c:v>
                </c:pt>
                <c:pt idx="53504">
                  <c:v>16751</c:v>
                </c:pt>
                <c:pt idx="53505">
                  <c:v>16744</c:v>
                </c:pt>
                <c:pt idx="53506">
                  <c:v>16741</c:v>
                </c:pt>
                <c:pt idx="53507">
                  <c:v>16738</c:v>
                </c:pt>
                <c:pt idx="53508">
                  <c:v>16737</c:v>
                </c:pt>
                <c:pt idx="53509">
                  <c:v>16732</c:v>
                </c:pt>
                <c:pt idx="53510">
                  <c:v>16731</c:v>
                </c:pt>
                <c:pt idx="53511">
                  <c:v>16727</c:v>
                </c:pt>
                <c:pt idx="53512">
                  <c:v>16720</c:v>
                </c:pt>
                <c:pt idx="53513">
                  <c:v>16711</c:v>
                </c:pt>
                <c:pt idx="53514">
                  <c:v>16708</c:v>
                </c:pt>
                <c:pt idx="53515">
                  <c:v>16702</c:v>
                </c:pt>
                <c:pt idx="53516">
                  <c:v>16681</c:v>
                </c:pt>
                <c:pt idx="53517">
                  <c:v>16665</c:v>
                </c:pt>
                <c:pt idx="53518">
                  <c:v>16652</c:v>
                </c:pt>
                <c:pt idx="53519">
                  <c:v>16646</c:v>
                </c:pt>
                <c:pt idx="53520">
                  <c:v>16639</c:v>
                </c:pt>
                <c:pt idx="53521">
                  <c:v>16638</c:v>
                </c:pt>
                <c:pt idx="53522">
                  <c:v>16628</c:v>
                </c:pt>
                <c:pt idx="53523">
                  <c:v>16622</c:v>
                </c:pt>
                <c:pt idx="53524">
                  <c:v>16618</c:v>
                </c:pt>
                <c:pt idx="53525">
                  <c:v>16607</c:v>
                </c:pt>
                <c:pt idx="53526">
                  <c:v>16604</c:v>
                </c:pt>
                <c:pt idx="53527">
                  <c:v>16589</c:v>
                </c:pt>
                <c:pt idx="53528">
                  <c:v>16585</c:v>
                </c:pt>
                <c:pt idx="53529">
                  <c:v>16581</c:v>
                </c:pt>
                <c:pt idx="53530">
                  <c:v>16569</c:v>
                </c:pt>
                <c:pt idx="53531">
                  <c:v>16561</c:v>
                </c:pt>
                <c:pt idx="53532">
                  <c:v>16556</c:v>
                </c:pt>
                <c:pt idx="53533">
                  <c:v>16539</c:v>
                </c:pt>
                <c:pt idx="53534">
                  <c:v>16537</c:v>
                </c:pt>
                <c:pt idx="53535">
                  <c:v>16527</c:v>
                </c:pt>
                <c:pt idx="53536">
                  <c:v>16511</c:v>
                </c:pt>
                <c:pt idx="53537">
                  <c:v>16490</c:v>
                </c:pt>
                <c:pt idx="53538">
                  <c:v>16476</c:v>
                </c:pt>
                <c:pt idx="53539">
                  <c:v>16466</c:v>
                </c:pt>
                <c:pt idx="53540">
                  <c:v>16445</c:v>
                </c:pt>
                <c:pt idx="53541">
                  <c:v>16429</c:v>
                </c:pt>
                <c:pt idx="53542">
                  <c:v>16424</c:v>
                </c:pt>
                <c:pt idx="53543">
                  <c:v>16421</c:v>
                </c:pt>
                <c:pt idx="53544">
                  <c:v>16404</c:v>
                </c:pt>
                <c:pt idx="53545">
                  <c:v>16404</c:v>
                </c:pt>
                <c:pt idx="53546">
                  <c:v>16394</c:v>
                </c:pt>
                <c:pt idx="53547">
                  <c:v>16387</c:v>
                </c:pt>
                <c:pt idx="53548">
                  <c:v>16387</c:v>
                </c:pt>
                <c:pt idx="53549">
                  <c:v>16386</c:v>
                </c:pt>
                <c:pt idx="53550">
                  <c:v>16382</c:v>
                </c:pt>
                <c:pt idx="53551">
                  <c:v>16375</c:v>
                </c:pt>
                <c:pt idx="53552">
                  <c:v>16355</c:v>
                </c:pt>
                <c:pt idx="53553">
                  <c:v>16341</c:v>
                </c:pt>
                <c:pt idx="53554">
                  <c:v>16311</c:v>
                </c:pt>
                <c:pt idx="53555">
                  <c:v>16304</c:v>
                </c:pt>
                <c:pt idx="53556">
                  <c:v>16290</c:v>
                </c:pt>
                <c:pt idx="53557">
                  <c:v>16283</c:v>
                </c:pt>
                <c:pt idx="53558">
                  <c:v>16275</c:v>
                </c:pt>
                <c:pt idx="53559">
                  <c:v>16261</c:v>
                </c:pt>
                <c:pt idx="53560">
                  <c:v>16260</c:v>
                </c:pt>
                <c:pt idx="53561">
                  <c:v>16254</c:v>
                </c:pt>
                <c:pt idx="53562">
                  <c:v>16237</c:v>
                </c:pt>
                <c:pt idx="53563">
                  <c:v>16232</c:v>
                </c:pt>
                <c:pt idx="53564">
                  <c:v>16204</c:v>
                </c:pt>
                <c:pt idx="53565">
                  <c:v>16201</c:v>
                </c:pt>
                <c:pt idx="53566">
                  <c:v>16196</c:v>
                </c:pt>
                <c:pt idx="53567">
                  <c:v>16172</c:v>
                </c:pt>
                <c:pt idx="53568">
                  <c:v>16148</c:v>
                </c:pt>
                <c:pt idx="53569">
                  <c:v>16142</c:v>
                </c:pt>
                <c:pt idx="53570">
                  <c:v>16136</c:v>
                </c:pt>
                <c:pt idx="53571">
                  <c:v>16134</c:v>
                </c:pt>
                <c:pt idx="53572">
                  <c:v>16130</c:v>
                </c:pt>
                <c:pt idx="53573">
                  <c:v>16117</c:v>
                </c:pt>
                <c:pt idx="53574">
                  <c:v>16117</c:v>
                </c:pt>
                <c:pt idx="53575">
                  <c:v>16092</c:v>
                </c:pt>
                <c:pt idx="53576">
                  <c:v>16087</c:v>
                </c:pt>
                <c:pt idx="53577">
                  <c:v>16071</c:v>
                </c:pt>
                <c:pt idx="53578">
                  <c:v>16068</c:v>
                </c:pt>
                <c:pt idx="53579">
                  <c:v>16066</c:v>
                </c:pt>
                <c:pt idx="53580">
                  <c:v>16056</c:v>
                </c:pt>
                <c:pt idx="53581">
                  <c:v>16048</c:v>
                </c:pt>
                <c:pt idx="53582">
                  <c:v>16046</c:v>
                </c:pt>
                <c:pt idx="53583">
                  <c:v>16005</c:v>
                </c:pt>
                <c:pt idx="53584">
                  <c:v>15981</c:v>
                </c:pt>
                <c:pt idx="53585">
                  <c:v>15972</c:v>
                </c:pt>
                <c:pt idx="53586">
                  <c:v>15926</c:v>
                </c:pt>
                <c:pt idx="53587">
                  <c:v>15913</c:v>
                </c:pt>
                <c:pt idx="53588">
                  <c:v>15907</c:v>
                </c:pt>
                <c:pt idx="53589">
                  <c:v>15903</c:v>
                </c:pt>
                <c:pt idx="53590">
                  <c:v>15879</c:v>
                </c:pt>
                <c:pt idx="53591">
                  <c:v>15867</c:v>
                </c:pt>
                <c:pt idx="53592">
                  <c:v>15858</c:v>
                </c:pt>
                <c:pt idx="53593">
                  <c:v>15837</c:v>
                </c:pt>
                <c:pt idx="53594">
                  <c:v>15833</c:v>
                </c:pt>
                <c:pt idx="53595">
                  <c:v>15829</c:v>
                </c:pt>
                <c:pt idx="53596">
                  <c:v>15779</c:v>
                </c:pt>
                <c:pt idx="53597">
                  <c:v>15763</c:v>
                </c:pt>
                <c:pt idx="53598">
                  <c:v>15717</c:v>
                </c:pt>
                <c:pt idx="53599">
                  <c:v>15709</c:v>
                </c:pt>
                <c:pt idx="53600">
                  <c:v>15707</c:v>
                </c:pt>
                <c:pt idx="53601">
                  <c:v>15636</c:v>
                </c:pt>
                <c:pt idx="53602">
                  <c:v>15577</c:v>
                </c:pt>
                <c:pt idx="53603">
                  <c:v>15457</c:v>
                </c:pt>
                <c:pt idx="53604">
                  <c:v>15405</c:v>
                </c:pt>
                <c:pt idx="53605">
                  <c:v>15342</c:v>
                </c:pt>
                <c:pt idx="53606">
                  <c:v>14948</c:v>
                </c:pt>
                <c:pt idx="53607">
                  <c:v>14612</c:v>
                </c:pt>
              </c:numCache>
            </c:numRef>
          </c:val>
          <c:extLst xmlns:c16r2="http://schemas.microsoft.com/office/drawing/2015/06/chart">
            <c:ext xmlns:c16="http://schemas.microsoft.com/office/drawing/2014/chart" uri="{C3380CC4-5D6E-409C-BE32-E72D297353CC}">
              <c16:uniqueId val="{00000000-467C-4112-88A9-DD28CEA21EF4}"/>
            </c:ext>
          </c:extLst>
        </c:ser>
        <c:dLbls>
          <c:showLegendKey val="0"/>
          <c:showVal val="0"/>
          <c:showCatName val="0"/>
          <c:showSerName val="0"/>
          <c:showPercent val="0"/>
          <c:showBubbleSize val="0"/>
        </c:dLbls>
        <c:gapWidth val="219"/>
        <c:overlap val="-27"/>
        <c:axId val="-1379884832"/>
        <c:axId val="-1379874496"/>
      </c:barChart>
      <c:catAx>
        <c:axId val="-137988483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4496"/>
        <c:crosses val="autoZero"/>
        <c:auto val="1"/>
        <c:lblAlgn val="ctr"/>
        <c:lblOffset val="100"/>
        <c:noMultiLvlLbl val="0"/>
      </c:catAx>
      <c:valAx>
        <c:axId val="-1379874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848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t>オーダ登録</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autoTitleDeleted val="0"/>
    <c:plotArea>
      <c:layout/>
      <c:barChart>
        <c:barDir val="col"/>
        <c:grouping val="clustered"/>
        <c:varyColors val="0"/>
        <c:ser>
          <c:idx val="0"/>
          <c:order val="0"/>
          <c:spPr>
            <a:solidFill>
              <a:schemeClr val="accent1"/>
            </a:solidFill>
            <a:ln>
              <a:noFill/>
            </a:ln>
            <a:effectLst/>
          </c:spPr>
          <c:invertIfNegative val="0"/>
          <c:val>
            <c:numRef>
              <c:f>商品登録!$J$2:$J$10707</c:f>
              <c:numCache>
                <c:formatCode>General</c:formatCode>
                <c:ptCount val="10706"/>
                <c:pt idx="0">
                  <c:v>5768539</c:v>
                </c:pt>
                <c:pt idx="1">
                  <c:v>5265884</c:v>
                </c:pt>
                <c:pt idx="2">
                  <c:v>5220500</c:v>
                </c:pt>
                <c:pt idx="3">
                  <c:v>5126660</c:v>
                </c:pt>
                <c:pt idx="4">
                  <c:v>5100515</c:v>
                </c:pt>
                <c:pt idx="5">
                  <c:v>5089686</c:v>
                </c:pt>
                <c:pt idx="6">
                  <c:v>5087654</c:v>
                </c:pt>
                <c:pt idx="7">
                  <c:v>5049273</c:v>
                </c:pt>
                <c:pt idx="8">
                  <c:v>5007595</c:v>
                </c:pt>
                <c:pt idx="9">
                  <c:v>4997129</c:v>
                </c:pt>
                <c:pt idx="10">
                  <c:v>4980507</c:v>
                </c:pt>
                <c:pt idx="11">
                  <c:v>4906940</c:v>
                </c:pt>
                <c:pt idx="12">
                  <c:v>4896580</c:v>
                </c:pt>
                <c:pt idx="13">
                  <c:v>4893751</c:v>
                </c:pt>
                <c:pt idx="14">
                  <c:v>4892981</c:v>
                </c:pt>
                <c:pt idx="15">
                  <c:v>4889315</c:v>
                </c:pt>
                <c:pt idx="16">
                  <c:v>4803005</c:v>
                </c:pt>
                <c:pt idx="17">
                  <c:v>4751851</c:v>
                </c:pt>
                <c:pt idx="18">
                  <c:v>4735868</c:v>
                </c:pt>
                <c:pt idx="19">
                  <c:v>4698205</c:v>
                </c:pt>
                <c:pt idx="20">
                  <c:v>4673941</c:v>
                </c:pt>
                <c:pt idx="21">
                  <c:v>4636263</c:v>
                </c:pt>
                <c:pt idx="22">
                  <c:v>4635040</c:v>
                </c:pt>
                <c:pt idx="23">
                  <c:v>4620794</c:v>
                </c:pt>
                <c:pt idx="24">
                  <c:v>4595984</c:v>
                </c:pt>
                <c:pt idx="25">
                  <c:v>4568910</c:v>
                </c:pt>
                <c:pt idx="26">
                  <c:v>4551526</c:v>
                </c:pt>
                <c:pt idx="27">
                  <c:v>4356206</c:v>
                </c:pt>
                <c:pt idx="28">
                  <c:v>4343855</c:v>
                </c:pt>
                <c:pt idx="29">
                  <c:v>4312830</c:v>
                </c:pt>
                <c:pt idx="30">
                  <c:v>4289995</c:v>
                </c:pt>
                <c:pt idx="31">
                  <c:v>4272398</c:v>
                </c:pt>
                <c:pt idx="32">
                  <c:v>4240587</c:v>
                </c:pt>
                <c:pt idx="33">
                  <c:v>4203404</c:v>
                </c:pt>
                <c:pt idx="34">
                  <c:v>4194027</c:v>
                </c:pt>
                <c:pt idx="35">
                  <c:v>4119311</c:v>
                </c:pt>
                <c:pt idx="36">
                  <c:v>4078990</c:v>
                </c:pt>
                <c:pt idx="37">
                  <c:v>3989941</c:v>
                </c:pt>
                <c:pt idx="38">
                  <c:v>3989621</c:v>
                </c:pt>
                <c:pt idx="39">
                  <c:v>3807474</c:v>
                </c:pt>
                <c:pt idx="40">
                  <c:v>3799373</c:v>
                </c:pt>
                <c:pt idx="41">
                  <c:v>3775141</c:v>
                </c:pt>
                <c:pt idx="42">
                  <c:v>3746157</c:v>
                </c:pt>
                <c:pt idx="43">
                  <c:v>3700751</c:v>
                </c:pt>
                <c:pt idx="44">
                  <c:v>3695420</c:v>
                </c:pt>
                <c:pt idx="45">
                  <c:v>3546775</c:v>
                </c:pt>
                <c:pt idx="46">
                  <c:v>3523251</c:v>
                </c:pt>
                <c:pt idx="47">
                  <c:v>3482154</c:v>
                </c:pt>
                <c:pt idx="48">
                  <c:v>3462762</c:v>
                </c:pt>
                <c:pt idx="49">
                  <c:v>3422960</c:v>
                </c:pt>
                <c:pt idx="50">
                  <c:v>3398589</c:v>
                </c:pt>
                <c:pt idx="51">
                  <c:v>3266502</c:v>
                </c:pt>
                <c:pt idx="52">
                  <c:v>3261536</c:v>
                </c:pt>
                <c:pt idx="53">
                  <c:v>3255366</c:v>
                </c:pt>
                <c:pt idx="54">
                  <c:v>3189869</c:v>
                </c:pt>
                <c:pt idx="55">
                  <c:v>3186604</c:v>
                </c:pt>
                <c:pt idx="56">
                  <c:v>3182965</c:v>
                </c:pt>
                <c:pt idx="57">
                  <c:v>3151262</c:v>
                </c:pt>
                <c:pt idx="58">
                  <c:v>3151228</c:v>
                </c:pt>
                <c:pt idx="59">
                  <c:v>3109536</c:v>
                </c:pt>
                <c:pt idx="60">
                  <c:v>3101240</c:v>
                </c:pt>
                <c:pt idx="61">
                  <c:v>3080720</c:v>
                </c:pt>
                <c:pt idx="62">
                  <c:v>3031746</c:v>
                </c:pt>
                <c:pt idx="63">
                  <c:v>3027632</c:v>
                </c:pt>
                <c:pt idx="64">
                  <c:v>3022788</c:v>
                </c:pt>
                <c:pt idx="65">
                  <c:v>3013876</c:v>
                </c:pt>
                <c:pt idx="66">
                  <c:v>2989722</c:v>
                </c:pt>
                <c:pt idx="67">
                  <c:v>2989197</c:v>
                </c:pt>
                <c:pt idx="68">
                  <c:v>2979038</c:v>
                </c:pt>
                <c:pt idx="69">
                  <c:v>2942243</c:v>
                </c:pt>
                <c:pt idx="70">
                  <c:v>2937565</c:v>
                </c:pt>
                <c:pt idx="71">
                  <c:v>2932277</c:v>
                </c:pt>
                <c:pt idx="72">
                  <c:v>2924281</c:v>
                </c:pt>
                <c:pt idx="73">
                  <c:v>2916182</c:v>
                </c:pt>
                <c:pt idx="74">
                  <c:v>2915026</c:v>
                </c:pt>
                <c:pt idx="75">
                  <c:v>2913001</c:v>
                </c:pt>
                <c:pt idx="76">
                  <c:v>2886509</c:v>
                </c:pt>
                <c:pt idx="77">
                  <c:v>2883848</c:v>
                </c:pt>
                <c:pt idx="78">
                  <c:v>2859321</c:v>
                </c:pt>
                <c:pt idx="79">
                  <c:v>2815521</c:v>
                </c:pt>
                <c:pt idx="80">
                  <c:v>2810771</c:v>
                </c:pt>
                <c:pt idx="81">
                  <c:v>2807327</c:v>
                </c:pt>
                <c:pt idx="82">
                  <c:v>2803476</c:v>
                </c:pt>
                <c:pt idx="83">
                  <c:v>2801579</c:v>
                </c:pt>
                <c:pt idx="84">
                  <c:v>2780207</c:v>
                </c:pt>
                <c:pt idx="85">
                  <c:v>2779475</c:v>
                </c:pt>
                <c:pt idx="86">
                  <c:v>2752143</c:v>
                </c:pt>
                <c:pt idx="87">
                  <c:v>2745894</c:v>
                </c:pt>
                <c:pt idx="88">
                  <c:v>2723512</c:v>
                </c:pt>
                <c:pt idx="89">
                  <c:v>2712707</c:v>
                </c:pt>
                <c:pt idx="90">
                  <c:v>2708840</c:v>
                </c:pt>
                <c:pt idx="91">
                  <c:v>2702520</c:v>
                </c:pt>
                <c:pt idx="92">
                  <c:v>2691456</c:v>
                </c:pt>
                <c:pt idx="93">
                  <c:v>2676393</c:v>
                </c:pt>
                <c:pt idx="94">
                  <c:v>2670362</c:v>
                </c:pt>
                <c:pt idx="95">
                  <c:v>2666773</c:v>
                </c:pt>
                <c:pt idx="96">
                  <c:v>2661410</c:v>
                </c:pt>
                <c:pt idx="97">
                  <c:v>2653158</c:v>
                </c:pt>
                <c:pt idx="98">
                  <c:v>2652567</c:v>
                </c:pt>
                <c:pt idx="99">
                  <c:v>2644536</c:v>
                </c:pt>
                <c:pt idx="100">
                  <c:v>2613035</c:v>
                </c:pt>
                <c:pt idx="101">
                  <c:v>2597448</c:v>
                </c:pt>
                <c:pt idx="102">
                  <c:v>2590193</c:v>
                </c:pt>
                <c:pt idx="103">
                  <c:v>2589916</c:v>
                </c:pt>
                <c:pt idx="104">
                  <c:v>2584731</c:v>
                </c:pt>
                <c:pt idx="105">
                  <c:v>2571318</c:v>
                </c:pt>
                <c:pt idx="106">
                  <c:v>2564794</c:v>
                </c:pt>
                <c:pt idx="107">
                  <c:v>2542980</c:v>
                </c:pt>
                <c:pt idx="108">
                  <c:v>2538545</c:v>
                </c:pt>
                <c:pt idx="109">
                  <c:v>2535293</c:v>
                </c:pt>
                <c:pt idx="110">
                  <c:v>2526198</c:v>
                </c:pt>
                <c:pt idx="111">
                  <c:v>2518434</c:v>
                </c:pt>
                <c:pt idx="112">
                  <c:v>2517643</c:v>
                </c:pt>
                <c:pt idx="113">
                  <c:v>2506252</c:v>
                </c:pt>
                <c:pt idx="114">
                  <c:v>2497424</c:v>
                </c:pt>
                <c:pt idx="115">
                  <c:v>2482728</c:v>
                </c:pt>
                <c:pt idx="116">
                  <c:v>2465157</c:v>
                </c:pt>
                <c:pt idx="117">
                  <c:v>2462711</c:v>
                </c:pt>
                <c:pt idx="118">
                  <c:v>2455352</c:v>
                </c:pt>
                <c:pt idx="119">
                  <c:v>2444752</c:v>
                </c:pt>
                <c:pt idx="120">
                  <c:v>2442062</c:v>
                </c:pt>
                <c:pt idx="121">
                  <c:v>2434368</c:v>
                </c:pt>
                <c:pt idx="122">
                  <c:v>2427732</c:v>
                </c:pt>
                <c:pt idx="123">
                  <c:v>2424266</c:v>
                </c:pt>
                <c:pt idx="124">
                  <c:v>2422513</c:v>
                </c:pt>
                <c:pt idx="125">
                  <c:v>2414587</c:v>
                </c:pt>
                <c:pt idx="126">
                  <c:v>2413801</c:v>
                </c:pt>
                <c:pt idx="127">
                  <c:v>2401692</c:v>
                </c:pt>
                <c:pt idx="128">
                  <c:v>2398872</c:v>
                </c:pt>
                <c:pt idx="129">
                  <c:v>2387199</c:v>
                </c:pt>
                <c:pt idx="130">
                  <c:v>2355297</c:v>
                </c:pt>
                <c:pt idx="131">
                  <c:v>2352578</c:v>
                </c:pt>
                <c:pt idx="132">
                  <c:v>2349342</c:v>
                </c:pt>
                <c:pt idx="133">
                  <c:v>2344422</c:v>
                </c:pt>
                <c:pt idx="134">
                  <c:v>2344080</c:v>
                </c:pt>
                <c:pt idx="135">
                  <c:v>2339227</c:v>
                </c:pt>
                <c:pt idx="136">
                  <c:v>2327089</c:v>
                </c:pt>
                <c:pt idx="137">
                  <c:v>2324214</c:v>
                </c:pt>
                <c:pt idx="138">
                  <c:v>2324056</c:v>
                </c:pt>
                <c:pt idx="139">
                  <c:v>2311294</c:v>
                </c:pt>
                <c:pt idx="140">
                  <c:v>2307683</c:v>
                </c:pt>
                <c:pt idx="141">
                  <c:v>2307248</c:v>
                </c:pt>
                <c:pt idx="142">
                  <c:v>2302142</c:v>
                </c:pt>
                <c:pt idx="143">
                  <c:v>2298900</c:v>
                </c:pt>
                <c:pt idx="144">
                  <c:v>2273337</c:v>
                </c:pt>
                <c:pt idx="145">
                  <c:v>2271468</c:v>
                </c:pt>
                <c:pt idx="146">
                  <c:v>2266085</c:v>
                </c:pt>
                <c:pt idx="147">
                  <c:v>2264167</c:v>
                </c:pt>
                <c:pt idx="148">
                  <c:v>2263913</c:v>
                </c:pt>
                <c:pt idx="149">
                  <c:v>2259885</c:v>
                </c:pt>
                <c:pt idx="150">
                  <c:v>2258812</c:v>
                </c:pt>
                <c:pt idx="151">
                  <c:v>2257771</c:v>
                </c:pt>
                <c:pt idx="152">
                  <c:v>2236110</c:v>
                </c:pt>
                <c:pt idx="153">
                  <c:v>2235427</c:v>
                </c:pt>
                <c:pt idx="154">
                  <c:v>2221979</c:v>
                </c:pt>
                <c:pt idx="155">
                  <c:v>2210999</c:v>
                </c:pt>
                <c:pt idx="156">
                  <c:v>2209498</c:v>
                </c:pt>
                <c:pt idx="157">
                  <c:v>2199437</c:v>
                </c:pt>
                <c:pt idx="158">
                  <c:v>2195272</c:v>
                </c:pt>
                <c:pt idx="159">
                  <c:v>2173227</c:v>
                </c:pt>
                <c:pt idx="160">
                  <c:v>2168127</c:v>
                </c:pt>
                <c:pt idx="161">
                  <c:v>2166908</c:v>
                </c:pt>
                <c:pt idx="162">
                  <c:v>2160768</c:v>
                </c:pt>
                <c:pt idx="163">
                  <c:v>2160411</c:v>
                </c:pt>
                <c:pt idx="164">
                  <c:v>2160051</c:v>
                </c:pt>
                <c:pt idx="165">
                  <c:v>2151463</c:v>
                </c:pt>
                <c:pt idx="166">
                  <c:v>2148036</c:v>
                </c:pt>
                <c:pt idx="167">
                  <c:v>2147421</c:v>
                </c:pt>
                <c:pt idx="168">
                  <c:v>2135895</c:v>
                </c:pt>
                <c:pt idx="169">
                  <c:v>2132290</c:v>
                </c:pt>
                <c:pt idx="170">
                  <c:v>2127968</c:v>
                </c:pt>
                <c:pt idx="171">
                  <c:v>2126739</c:v>
                </c:pt>
                <c:pt idx="172">
                  <c:v>2119328</c:v>
                </c:pt>
                <c:pt idx="173">
                  <c:v>2114669</c:v>
                </c:pt>
                <c:pt idx="174">
                  <c:v>2112268</c:v>
                </c:pt>
                <c:pt idx="175">
                  <c:v>2109428</c:v>
                </c:pt>
                <c:pt idx="176">
                  <c:v>2106903</c:v>
                </c:pt>
                <c:pt idx="177">
                  <c:v>2106538</c:v>
                </c:pt>
                <c:pt idx="178">
                  <c:v>2105959</c:v>
                </c:pt>
                <c:pt idx="179">
                  <c:v>2103406</c:v>
                </c:pt>
                <c:pt idx="180">
                  <c:v>2100694</c:v>
                </c:pt>
                <c:pt idx="181">
                  <c:v>2086970</c:v>
                </c:pt>
                <c:pt idx="182">
                  <c:v>2084279</c:v>
                </c:pt>
                <c:pt idx="183">
                  <c:v>2083657</c:v>
                </c:pt>
                <c:pt idx="184">
                  <c:v>2083617</c:v>
                </c:pt>
                <c:pt idx="185">
                  <c:v>2080922</c:v>
                </c:pt>
                <c:pt idx="186">
                  <c:v>2068594</c:v>
                </c:pt>
                <c:pt idx="187">
                  <c:v>2066330</c:v>
                </c:pt>
                <c:pt idx="188">
                  <c:v>2060091</c:v>
                </c:pt>
                <c:pt idx="189">
                  <c:v>2051724</c:v>
                </c:pt>
                <c:pt idx="190">
                  <c:v>2049157</c:v>
                </c:pt>
                <c:pt idx="191">
                  <c:v>2045773</c:v>
                </c:pt>
                <c:pt idx="192">
                  <c:v>2044501</c:v>
                </c:pt>
                <c:pt idx="193">
                  <c:v>2044030</c:v>
                </c:pt>
                <c:pt idx="194">
                  <c:v>2041516</c:v>
                </c:pt>
                <c:pt idx="195">
                  <c:v>2036554</c:v>
                </c:pt>
                <c:pt idx="196">
                  <c:v>2028055</c:v>
                </c:pt>
                <c:pt idx="197">
                  <c:v>2017134</c:v>
                </c:pt>
                <c:pt idx="198">
                  <c:v>2016631</c:v>
                </c:pt>
                <c:pt idx="199">
                  <c:v>2012975</c:v>
                </c:pt>
                <c:pt idx="200">
                  <c:v>2010815</c:v>
                </c:pt>
                <c:pt idx="201">
                  <c:v>2006945</c:v>
                </c:pt>
                <c:pt idx="202">
                  <c:v>2003037</c:v>
                </c:pt>
                <c:pt idx="203">
                  <c:v>2000399</c:v>
                </c:pt>
                <c:pt idx="204">
                  <c:v>1994326</c:v>
                </c:pt>
                <c:pt idx="205">
                  <c:v>1990912</c:v>
                </c:pt>
                <c:pt idx="206">
                  <c:v>1988730</c:v>
                </c:pt>
                <c:pt idx="207">
                  <c:v>1986332</c:v>
                </c:pt>
                <c:pt idx="208">
                  <c:v>1986317</c:v>
                </c:pt>
                <c:pt idx="209">
                  <c:v>1982609</c:v>
                </c:pt>
                <c:pt idx="210">
                  <c:v>1977239</c:v>
                </c:pt>
                <c:pt idx="211">
                  <c:v>1976737</c:v>
                </c:pt>
                <c:pt idx="212">
                  <c:v>1971957</c:v>
                </c:pt>
                <c:pt idx="213">
                  <c:v>1965093</c:v>
                </c:pt>
                <c:pt idx="214">
                  <c:v>1961860</c:v>
                </c:pt>
                <c:pt idx="215">
                  <c:v>1955800</c:v>
                </c:pt>
                <c:pt idx="216">
                  <c:v>1955634</c:v>
                </c:pt>
                <c:pt idx="217">
                  <c:v>1946159</c:v>
                </c:pt>
                <c:pt idx="218">
                  <c:v>1945913</c:v>
                </c:pt>
                <c:pt idx="219">
                  <c:v>1941716</c:v>
                </c:pt>
                <c:pt idx="220">
                  <c:v>1934742</c:v>
                </c:pt>
                <c:pt idx="221">
                  <c:v>1932762</c:v>
                </c:pt>
                <c:pt idx="222">
                  <c:v>1932681</c:v>
                </c:pt>
                <c:pt idx="223">
                  <c:v>1932140</c:v>
                </c:pt>
                <c:pt idx="224">
                  <c:v>1930932</c:v>
                </c:pt>
                <c:pt idx="225">
                  <c:v>1927935</c:v>
                </c:pt>
                <c:pt idx="226">
                  <c:v>1923793</c:v>
                </c:pt>
                <c:pt idx="227">
                  <c:v>1923180</c:v>
                </c:pt>
                <c:pt idx="228">
                  <c:v>1914613</c:v>
                </c:pt>
                <c:pt idx="229">
                  <c:v>1913201</c:v>
                </c:pt>
                <c:pt idx="230">
                  <c:v>1908449</c:v>
                </c:pt>
                <c:pt idx="231">
                  <c:v>1903624</c:v>
                </c:pt>
                <c:pt idx="232">
                  <c:v>1903520</c:v>
                </c:pt>
                <c:pt idx="233">
                  <c:v>1902617</c:v>
                </c:pt>
                <c:pt idx="234">
                  <c:v>1899659</c:v>
                </c:pt>
                <c:pt idx="235">
                  <c:v>1885942</c:v>
                </c:pt>
                <c:pt idx="236">
                  <c:v>1885941</c:v>
                </c:pt>
                <c:pt idx="237">
                  <c:v>1885109</c:v>
                </c:pt>
                <c:pt idx="238">
                  <c:v>1884871</c:v>
                </c:pt>
                <c:pt idx="239">
                  <c:v>1880473</c:v>
                </c:pt>
                <c:pt idx="240">
                  <c:v>1879742</c:v>
                </c:pt>
                <c:pt idx="241">
                  <c:v>1877789</c:v>
                </c:pt>
                <c:pt idx="242">
                  <c:v>1865859</c:v>
                </c:pt>
                <c:pt idx="243">
                  <c:v>1862604</c:v>
                </c:pt>
                <c:pt idx="244">
                  <c:v>1861109</c:v>
                </c:pt>
                <c:pt idx="245">
                  <c:v>1859878</c:v>
                </c:pt>
                <c:pt idx="246">
                  <c:v>1857865</c:v>
                </c:pt>
                <c:pt idx="247">
                  <c:v>1855928</c:v>
                </c:pt>
                <c:pt idx="248">
                  <c:v>1855926</c:v>
                </c:pt>
                <c:pt idx="249">
                  <c:v>1855039</c:v>
                </c:pt>
                <c:pt idx="250">
                  <c:v>1846041</c:v>
                </c:pt>
                <c:pt idx="251">
                  <c:v>1845527</c:v>
                </c:pt>
                <c:pt idx="252">
                  <c:v>1844834</c:v>
                </c:pt>
                <c:pt idx="253">
                  <c:v>1843238</c:v>
                </c:pt>
                <c:pt idx="254">
                  <c:v>1843019</c:v>
                </c:pt>
                <c:pt idx="255">
                  <c:v>1842081</c:v>
                </c:pt>
                <c:pt idx="256">
                  <c:v>1841606</c:v>
                </c:pt>
                <c:pt idx="257">
                  <c:v>1840667</c:v>
                </c:pt>
                <c:pt idx="258">
                  <c:v>1840199</c:v>
                </c:pt>
                <c:pt idx="259">
                  <c:v>1836864</c:v>
                </c:pt>
                <c:pt idx="260">
                  <c:v>1827376</c:v>
                </c:pt>
                <c:pt idx="261">
                  <c:v>1827190</c:v>
                </c:pt>
                <c:pt idx="262">
                  <c:v>1824166</c:v>
                </c:pt>
                <c:pt idx="263">
                  <c:v>1823911</c:v>
                </c:pt>
                <c:pt idx="264">
                  <c:v>1821274</c:v>
                </c:pt>
                <c:pt idx="265">
                  <c:v>1819875</c:v>
                </c:pt>
                <c:pt idx="266">
                  <c:v>1811600</c:v>
                </c:pt>
                <c:pt idx="267">
                  <c:v>1810179</c:v>
                </c:pt>
                <c:pt idx="268">
                  <c:v>1808079</c:v>
                </c:pt>
                <c:pt idx="269">
                  <c:v>1805482</c:v>
                </c:pt>
                <c:pt idx="270">
                  <c:v>1805008</c:v>
                </c:pt>
                <c:pt idx="271">
                  <c:v>1802222</c:v>
                </c:pt>
                <c:pt idx="272">
                  <c:v>1800685</c:v>
                </c:pt>
                <c:pt idx="273">
                  <c:v>1798672</c:v>
                </c:pt>
                <c:pt idx="274">
                  <c:v>1796768</c:v>
                </c:pt>
                <c:pt idx="275">
                  <c:v>1794274</c:v>
                </c:pt>
                <c:pt idx="276">
                  <c:v>1789267</c:v>
                </c:pt>
                <c:pt idx="277">
                  <c:v>1788295</c:v>
                </c:pt>
                <c:pt idx="278">
                  <c:v>1788215</c:v>
                </c:pt>
                <c:pt idx="279">
                  <c:v>1787881</c:v>
                </c:pt>
                <c:pt idx="280">
                  <c:v>1787784</c:v>
                </c:pt>
                <c:pt idx="281">
                  <c:v>1786921</c:v>
                </c:pt>
                <c:pt idx="282">
                  <c:v>1784729</c:v>
                </c:pt>
                <c:pt idx="283">
                  <c:v>1783128</c:v>
                </c:pt>
                <c:pt idx="284">
                  <c:v>1781427</c:v>
                </c:pt>
                <c:pt idx="285">
                  <c:v>1780277</c:v>
                </c:pt>
                <c:pt idx="286">
                  <c:v>1775716</c:v>
                </c:pt>
                <c:pt idx="287">
                  <c:v>1772917</c:v>
                </c:pt>
                <c:pt idx="288">
                  <c:v>1771863</c:v>
                </c:pt>
                <c:pt idx="289">
                  <c:v>1771700</c:v>
                </c:pt>
                <c:pt idx="290">
                  <c:v>1771309</c:v>
                </c:pt>
                <c:pt idx="291">
                  <c:v>1766989</c:v>
                </c:pt>
                <c:pt idx="292">
                  <c:v>1764733</c:v>
                </c:pt>
                <c:pt idx="293">
                  <c:v>1764120</c:v>
                </c:pt>
                <c:pt idx="294">
                  <c:v>1760391</c:v>
                </c:pt>
                <c:pt idx="295">
                  <c:v>1758290</c:v>
                </c:pt>
                <c:pt idx="296">
                  <c:v>1755930</c:v>
                </c:pt>
                <c:pt idx="297">
                  <c:v>1754965</c:v>
                </c:pt>
                <c:pt idx="298">
                  <c:v>1750453</c:v>
                </c:pt>
                <c:pt idx="299">
                  <c:v>1746405</c:v>
                </c:pt>
                <c:pt idx="300">
                  <c:v>1745168</c:v>
                </c:pt>
                <c:pt idx="301">
                  <c:v>1744510</c:v>
                </c:pt>
                <c:pt idx="302">
                  <c:v>1743677</c:v>
                </c:pt>
                <c:pt idx="303">
                  <c:v>1743066</c:v>
                </c:pt>
                <c:pt idx="304">
                  <c:v>1740825</c:v>
                </c:pt>
                <c:pt idx="305">
                  <c:v>1736906</c:v>
                </c:pt>
                <c:pt idx="306">
                  <c:v>1735561</c:v>
                </c:pt>
                <c:pt idx="307">
                  <c:v>1734153</c:v>
                </c:pt>
                <c:pt idx="308">
                  <c:v>1733007</c:v>
                </c:pt>
                <c:pt idx="309">
                  <c:v>1732279</c:v>
                </c:pt>
                <c:pt idx="310">
                  <c:v>1730959</c:v>
                </c:pt>
                <c:pt idx="311">
                  <c:v>1729039</c:v>
                </c:pt>
                <c:pt idx="312">
                  <c:v>1726640</c:v>
                </c:pt>
                <c:pt idx="313">
                  <c:v>1725760</c:v>
                </c:pt>
                <c:pt idx="314">
                  <c:v>1724078</c:v>
                </c:pt>
                <c:pt idx="315">
                  <c:v>1721086</c:v>
                </c:pt>
                <c:pt idx="316">
                  <c:v>1720390</c:v>
                </c:pt>
                <c:pt idx="317">
                  <c:v>1719514</c:v>
                </c:pt>
                <c:pt idx="318">
                  <c:v>1717530</c:v>
                </c:pt>
                <c:pt idx="319">
                  <c:v>1716068</c:v>
                </c:pt>
                <c:pt idx="320">
                  <c:v>1715622</c:v>
                </c:pt>
                <c:pt idx="321">
                  <c:v>1712132</c:v>
                </c:pt>
                <c:pt idx="322">
                  <c:v>1708839</c:v>
                </c:pt>
                <c:pt idx="323">
                  <c:v>1708837</c:v>
                </c:pt>
                <c:pt idx="324">
                  <c:v>1708671</c:v>
                </c:pt>
                <c:pt idx="325">
                  <c:v>1708177</c:v>
                </c:pt>
                <c:pt idx="326">
                  <c:v>1708163</c:v>
                </c:pt>
                <c:pt idx="327">
                  <c:v>1707471</c:v>
                </c:pt>
                <c:pt idx="328">
                  <c:v>1707323</c:v>
                </c:pt>
                <c:pt idx="329">
                  <c:v>1706880</c:v>
                </c:pt>
                <c:pt idx="330">
                  <c:v>1706481</c:v>
                </c:pt>
                <c:pt idx="331">
                  <c:v>1704007</c:v>
                </c:pt>
                <c:pt idx="332">
                  <c:v>1702742</c:v>
                </c:pt>
                <c:pt idx="333">
                  <c:v>1702076</c:v>
                </c:pt>
                <c:pt idx="334">
                  <c:v>1701495</c:v>
                </c:pt>
                <c:pt idx="335">
                  <c:v>1700616</c:v>
                </c:pt>
                <c:pt idx="336">
                  <c:v>1699758</c:v>
                </c:pt>
                <c:pt idx="337">
                  <c:v>1699755</c:v>
                </c:pt>
                <c:pt idx="338">
                  <c:v>1698322</c:v>
                </c:pt>
                <c:pt idx="339">
                  <c:v>1697299</c:v>
                </c:pt>
                <c:pt idx="340">
                  <c:v>1697136</c:v>
                </c:pt>
                <c:pt idx="341">
                  <c:v>1696996</c:v>
                </c:pt>
                <c:pt idx="342">
                  <c:v>1696212</c:v>
                </c:pt>
                <c:pt idx="343">
                  <c:v>1695945</c:v>
                </c:pt>
                <c:pt idx="344">
                  <c:v>1693390</c:v>
                </c:pt>
                <c:pt idx="345">
                  <c:v>1691708</c:v>
                </c:pt>
                <c:pt idx="346">
                  <c:v>1690833</c:v>
                </c:pt>
                <c:pt idx="347">
                  <c:v>1690405</c:v>
                </c:pt>
                <c:pt idx="348">
                  <c:v>1688746</c:v>
                </c:pt>
                <c:pt idx="349">
                  <c:v>1685032</c:v>
                </c:pt>
                <c:pt idx="350">
                  <c:v>1684817</c:v>
                </c:pt>
                <c:pt idx="351">
                  <c:v>1682941</c:v>
                </c:pt>
                <c:pt idx="352">
                  <c:v>1682742</c:v>
                </c:pt>
                <c:pt idx="353">
                  <c:v>1681452</c:v>
                </c:pt>
                <c:pt idx="354">
                  <c:v>1680868</c:v>
                </c:pt>
                <c:pt idx="355">
                  <c:v>1677820</c:v>
                </c:pt>
                <c:pt idx="356">
                  <c:v>1677379</c:v>
                </c:pt>
                <c:pt idx="357">
                  <c:v>1676491</c:v>
                </c:pt>
                <c:pt idx="358">
                  <c:v>1675256</c:v>
                </c:pt>
                <c:pt idx="359">
                  <c:v>1674416</c:v>
                </c:pt>
                <c:pt idx="360">
                  <c:v>1674278</c:v>
                </c:pt>
                <c:pt idx="361">
                  <c:v>1673469</c:v>
                </c:pt>
                <c:pt idx="362">
                  <c:v>1672480</c:v>
                </c:pt>
                <c:pt idx="363">
                  <c:v>1672361</c:v>
                </c:pt>
                <c:pt idx="364">
                  <c:v>1672225</c:v>
                </c:pt>
                <c:pt idx="365">
                  <c:v>1671529</c:v>
                </c:pt>
                <c:pt idx="366">
                  <c:v>1671440</c:v>
                </c:pt>
                <c:pt idx="367">
                  <c:v>1670909</c:v>
                </c:pt>
                <c:pt idx="368">
                  <c:v>1669302</c:v>
                </c:pt>
                <c:pt idx="369">
                  <c:v>1667680</c:v>
                </c:pt>
                <c:pt idx="370">
                  <c:v>1665259</c:v>
                </c:pt>
                <c:pt idx="371">
                  <c:v>1664520</c:v>
                </c:pt>
                <c:pt idx="372">
                  <c:v>1664373</c:v>
                </c:pt>
                <c:pt idx="373">
                  <c:v>1664074</c:v>
                </c:pt>
                <c:pt idx="374">
                  <c:v>1663003</c:v>
                </c:pt>
                <c:pt idx="375">
                  <c:v>1661556</c:v>
                </c:pt>
                <c:pt idx="376">
                  <c:v>1661370</c:v>
                </c:pt>
                <c:pt idx="377">
                  <c:v>1661093</c:v>
                </c:pt>
                <c:pt idx="378">
                  <c:v>1661064</c:v>
                </c:pt>
                <c:pt idx="379">
                  <c:v>1658785</c:v>
                </c:pt>
                <c:pt idx="380">
                  <c:v>1658348</c:v>
                </c:pt>
                <c:pt idx="381">
                  <c:v>1657376</c:v>
                </c:pt>
                <c:pt idx="382">
                  <c:v>1654199</c:v>
                </c:pt>
                <c:pt idx="383">
                  <c:v>1653109</c:v>
                </c:pt>
                <c:pt idx="384">
                  <c:v>1653064</c:v>
                </c:pt>
                <c:pt idx="385">
                  <c:v>1651158</c:v>
                </c:pt>
                <c:pt idx="386">
                  <c:v>1649339</c:v>
                </c:pt>
                <c:pt idx="387">
                  <c:v>1648306</c:v>
                </c:pt>
                <c:pt idx="388">
                  <c:v>1648242</c:v>
                </c:pt>
                <c:pt idx="389">
                  <c:v>1648204</c:v>
                </c:pt>
                <c:pt idx="390">
                  <c:v>1647789</c:v>
                </c:pt>
                <c:pt idx="391">
                  <c:v>1646787</c:v>
                </c:pt>
                <c:pt idx="392">
                  <c:v>1646780</c:v>
                </c:pt>
                <c:pt idx="393">
                  <c:v>1645559</c:v>
                </c:pt>
                <c:pt idx="394">
                  <c:v>1644957</c:v>
                </c:pt>
                <c:pt idx="395">
                  <c:v>1644862</c:v>
                </c:pt>
                <c:pt idx="396">
                  <c:v>1643636</c:v>
                </c:pt>
                <c:pt idx="397">
                  <c:v>1641164</c:v>
                </c:pt>
                <c:pt idx="398">
                  <c:v>1638938</c:v>
                </c:pt>
                <c:pt idx="399">
                  <c:v>1638473</c:v>
                </c:pt>
                <c:pt idx="400">
                  <c:v>1637679</c:v>
                </c:pt>
                <c:pt idx="401">
                  <c:v>1637661</c:v>
                </c:pt>
                <c:pt idx="402">
                  <c:v>1637447</c:v>
                </c:pt>
                <c:pt idx="403">
                  <c:v>1637306</c:v>
                </c:pt>
                <c:pt idx="404">
                  <c:v>1636473</c:v>
                </c:pt>
                <c:pt idx="405">
                  <c:v>1635951</c:v>
                </c:pt>
                <c:pt idx="406">
                  <c:v>1634531</c:v>
                </c:pt>
                <c:pt idx="407">
                  <c:v>1634010</c:v>
                </c:pt>
                <c:pt idx="408">
                  <c:v>1633749</c:v>
                </c:pt>
                <c:pt idx="409">
                  <c:v>1633233</c:v>
                </c:pt>
                <c:pt idx="410">
                  <c:v>1631813</c:v>
                </c:pt>
                <c:pt idx="411">
                  <c:v>1631394</c:v>
                </c:pt>
                <c:pt idx="412">
                  <c:v>1631126</c:v>
                </c:pt>
                <c:pt idx="413">
                  <c:v>1629822</c:v>
                </c:pt>
                <c:pt idx="414">
                  <c:v>1629498</c:v>
                </c:pt>
                <c:pt idx="415">
                  <c:v>1627303</c:v>
                </c:pt>
                <c:pt idx="416">
                  <c:v>1627233</c:v>
                </c:pt>
                <c:pt idx="417">
                  <c:v>1626989</c:v>
                </c:pt>
                <c:pt idx="418">
                  <c:v>1626970</c:v>
                </c:pt>
                <c:pt idx="419">
                  <c:v>1626329</c:v>
                </c:pt>
                <c:pt idx="420">
                  <c:v>1626301</c:v>
                </c:pt>
                <c:pt idx="421">
                  <c:v>1626270</c:v>
                </c:pt>
                <c:pt idx="422">
                  <c:v>1625754</c:v>
                </c:pt>
                <c:pt idx="423">
                  <c:v>1624339</c:v>
                </c:pt>
                <c:pt idx="424">
                  <c:v>1623867</c:v>
                </c:pt>
                <c:pt idx="425">
                  <c:v>1622414</c:v>
                </c:pt>
                <c:pt idx="426">
                  <c:v>1621763</c:v>
                </c:pt>
                <c:pt idx="427">
                  <c:v>1621709</c:v>
                </c:pt>
                <c:pt idx="428">
                  <c:v>1621291</c:v>
                </c:pt>
                <c:pt idx="429">
                  <c:v>1620436</c:v>
                </c:pt>
                <c:pt idx="430">
                  <c:v>1620409</c:v>
                </c:pt>
                <c:pt idx="431">
                  <c:v>1619270</c:v>
                </c:pt>
                <c:pt idx="432">
                  <c:v>1619263</c:v>
                </c:pt>
                <c:pt idx="433">
                  <c:v>1618823</c:v>
                </c:pt>
                <c:pt idx="434">
                  <c:v>1618245</c:v>
                </c:pt>
                <c:pt idx="435">
                  <c:v>1617974</c:v>
                </c:pt>
                <c:pt idx="436">
                  <c:v>1616390</c:v>
                </c:pt>
                <c:pt idx="437">
                  <c:v>1616325</c:v>
                </c:pt>
                <c:pt idx="438">
                  <c:v>1616242</c:v>
                </c:pt>
                <c:pt idx="439">
                  <c:v>1615167</c:v>
                </c:pt>
                <c:pt idx="440">
                  <c:v>1615165</c:v>
                </c:pt>
                <c:pt idx="441">
                  <c:v>1614631</c:v>
                </c:pt>
                <c:pt idx="442">
                  <c:v>1614001</c:v>
                </c:pt>
                <c:pt idx="443">
                  <c:v>1612140</c:v>
                </c:pt>
                <c:pt idx="444">
                  <c:v>1611786</c:v>
                </c:pt>
                <c:pt idx="445">
                  <c:v>1611431</c:v>
                </c:pt>
                <c:pt idx="446">
                  <c:v>1611061</c:v>
                </c:pt>
                <c:pt idx="447">
                  <c:v>1610843</c:v>
                </c:pt>
                <c:pt idx="448">
                  <c:v>1610332</c:v>
                </c:pt>
                <c:pt idx="449">
                  <c:v>1610256</c:v>
                </c:pt>
                <c:pt idx="450">
                  <c:v>1610053</c:v>
                </c:pt>
                <c:pt idx="451">
                  <c:v>1609774</c:v>
                </c:pt>
                <c:pt idx="452">
                  <c:v>1608804</c:v>
                </c:pt>
                <c:pt idx="453">
                  <c:v>1607438</c:v>
                </c:pt>
                <c:pt idx="454">
                  <c:v>1606693</c:v>
                </c:pt>
                <c:pt idx="455">
                  <c:v>1606560</c:v>
                </c:pt>
                <c:pt idx="456">
                  <c:v>1606358</c:v>
                </c:pt>
                <c:pt idx="457">
                  <c:v>1605348</c:v>
                </c:pt>
                <c:pt idx="458">
                  <c:v>1604963</c:v>
                </c:pt>
                <c:pt idx="459">
                  <c:v>1604949</c:v>
                </c:pt>
                <c:pt idx="460">
                  <c:v>1604084</c:v>
                </c:pt>
                <c:pt idx="461">
                  <c:v>1603734</c:v>
                </c:pt>
                <c:pt idx="462">
                  <c:v>1603692</c:v>
                </c:pt>
                <c:pt idx="463">
                  <c:v>1603208</c:v>
                </c:pt>
                <c:pt idx="464">
                  <c:v>1602996</c:v>
                </c:pt>
                <c:pt idx="465">
                  <c:v>1602834</c:v>
                </c:pt>
                <c:pt idx="466">
                  <c:v>1602610</c:v>
                </c:pt>
                <c:pt idx="467">
                  <c:v>1601895</c:v>
                </c:pt>
                <c:pt idx="468">
                  <c:v>1601303</c:v>
                </c:pt>
                <c:pt idx="469">
                  <c:v>1600957</c:v>
                </c:pt>
                <c:pt idx="470">
                  <c:v>1600607</c:v>
                </c:pt>
                <c:pt idx="471">
                  <c:v>1600485</c:v>
                </c:pt>
                <c:pt idx="472">
                  <c:v>1599750</c:v>
                </c:pt>
                <c:pt idx="473">
                  <c:v>1599638</c:v>
                </c:pt>
                <c:pt idx="474">
                  <c:v>1599475</c:v>
                </c:pt>
                <c:pt idx="475">
                  <c:v>1599425</c:v>
                </c:pt>
                <c:pt idx="476">
                  <c:v>1599075</c:v>
                </c:pt>
                <c:pt idx="477">
                  <c:v>1598965</c:v>
                </c:pt>
                <c:pt idx="478">
                  <c:v>1598470</c:v>
                </c:pt>
                <c:pt idx="479">
                  <c:v>1598176</c:v>
                </c:pt>
                <c:pt idx="480">
                  <c:v>1597771</c:v>
                </c:pt>
                <c:pt idx="481">
                  <c:v>1597479</c:v>
                </c:pt>
                <c:pt idx="482">
                  <c:v>1596506</c:v>
                </c:pt>
                <c:pt idx="483">
                  <c:v>1596422</c:v>
                </c:pt>
                <c:pt idx="484">
                  <c:v>1595875</c:v>
                </c:pt>
                <c:pt idx="485">
                  <c:v>1595626</c:v>
                </c:pt>
                <c:pt idx="486">
                  <c:v>1595614</c:v>
                </c:pt>
                <c:pt idx="487">
                  <c:v>1594641</c:v>
                </c:pt>
                <c:pt idx="488">
                  <c:v>1593514</c:v>
                </c:pt>
                <c:pt idx="489">
                  <c:v>1593233</c:v>
                </c:pt>
                <c:pt idx="490">
                  <c:v>1592873</c:v>
                </c:pt>
                <c:pt idx="491">
                  <c:v>1591344</c:v>
                </c:pt>
                <c:pt idx="492">
                  <c:v>1590167</c:v>
                </c:pt>
                <c:pt idx="493">
                  <c:v>1589919</c:v>
                </c:pt>
                <c:pt idx="494">
                  <c:v>1589918</c:v>
                </c:pt>
                <c:pt idx="495">
                  <c:v>1589752</c:v>
                </c:pt>
                <c:pt idx="496">
                  <c:v>1589398</c:v>
                </c:pt>
                <c:pt idx="497">
                  <c:v>1588977</c:v>
                </c:pt>
                <c:pt idx="498">
                  <c:v>1588324</c:v>
                </c:pt>
                <c:pt idx="499">
                  <c:v>1587762</c:v>
                </c:pt>
                <c:pt idx="500">
                  <c:v>1587634</c:v>
                </c:pt>
                <c:pt idx="501">
                  <c:v>1587570</c:v>
                </c:pt>
                <c:pt idx="502">
                  <c:v>1587369</c:v>
                </c:pt>
                <c:pt idx="503">
                  <c:v>1586332</c:v>
                </c:pt>
                <c:pt idx="504">
                  <c:v>1586064</c:v>
                </c:pt>
                <c:pt idx="505">
                  <c:v>1585316</c:v>
                </c:pt>
                <c:pt idx="506">
                  <c:v>1583440</c:v>
                </c:pt>
                <c:pt idx="507">
                  <c:v>1583066</c:v>
                </c:pt>
                <c:pt idx="508">
                  <c:v>1582804</c:v>
                </c:pt>
                <c:pt idx="509">
                  <c:v>1582774</c:v>
                </c:pt>
                <c:pt idx="510">
                  <c:v>1582510</c:v>
                </c:pt>
                <c:pt idx="511">
                  <c:v>1581086</c:v>
                </c:pt>
                <c:pt idx="512">
                  <c:v>1580905</c:v>
                </c:pt>
                <c:pt idx="513">
                  <c:v>1580475</c:v>
                </c:pt>
                <c:pt idx="514">
                  <c:v>1580101</c:v>
                </c:pt>
                <c:pt idx="515">
                  <c:v>1579976</c:v>
                </c:pt>
                <c:pt idx="516">
                  <c:v>1579862</c:v>
                </c:pt>
                <c:pt idx="517">
                  <c:v>1579188</c:v>
                </c:pt>
                <c:pt idx="518">
                  <c:v>1578901</c:v>
                </c:pt>
                <c:pt idx="519">
                  <c:v>1577863</c:v>
                </c:pt>
                <c:pt idx="520">
                  <c:v>1577279</c:v>
                </c:pt>
                <c:pt idx="521">
                  <c:v>1577217</c:v>
                </c:pt>
                <c:pt idx="522">
                  <c:v>1576683</c:v>
                </c:pt>
                <c:pt idx="523">
                  <c:v>1575170</c:v>
                </c:pt>
                <c:pt idx="524">
                  <c:v>1574268</c:v>
                </c:pt>
                <c:pt idx="525">
                  <c:v>1573968</c:v>
                </c:pt>
                <c:pt idx="526">
                  <c:v>1573946</c:v>
                </c:pt>
                <c:pt idx="527">
                  <c:v>1573900</c:v>
                </c:pt>
                <c:pt idx="528">
                  <c:v>1572971</c:v>
                </c:pt>
                <c:pt idx="529">
                  <c:v>1571668</c:v>
                </c:pt>
                <c:pt idx="530">
                  <c:v>1571645</c:v>
                </c:pt>
                <c:pt idx="531">
                  <c:v>1570599</c:v>
                </c:pt>
                <c:pt idx="532">
                  <c:v>1570599</c:v>
                </c:pt>
                <c:pt idx="533">
                  <c:v>1570373</c:v>
                </c:pt>
                <c:pt idx="534">
                  <c:v>1570176</c:v>
                </c:pt>
                <c:pt idx="535">
                  <c:v>1570077</c:v>
                </c:pt>
                <c:pt idx="536">
                  <c:v>1569921</c:v>
                </c:pt>
                <c:pt idx="537">
                  <c:v>1569900</c:v>
                </c:pt>
                <c:pt idx="538">
                  <c:v>1569567</c:v>
                </c:pt>
                <c:pt idx="539">
                  <c:v>1569127</c:v>
                </c:pt>
                <c:pt idx="540">
                  <c:v>1568967</c:v>
                </c:pt>
                <c:pt idx="541">
                  <c:v>1568773</c:v>
                </c:pt>
                <c:pt idx="542">
                  <c:v>1567923</c:v>
                </c:pt>
                <c:pt idx="543">
                  <c:v>1567876</c:v>
                </c:pt>
                <c:pt idx="544">
                  <c:v>1567853</c:v>
                </c:pt>
                <c:pt idx="545">
                  <c:v>1567761</c:v>
                </c:pt>
                <c:pt idx="546">
                  <c:v>1567744</c:v>
                </c:pt>
                <c:pt idx="547">
                  <c:v>1567505</c:v>
                </c:pt>
                <c:pt idx="548">
                  <c:v>1566633</c:v>
                </c:pt>
                <c:pt idx="549">
                  <c:v>1565770</c:v>
                </c:pt>
                <c:pt idx="550">
                  <c:v>1565422</c:v>
                </c:pt>
                <c:pt idx="551">
                  <c:v>1564576</c:v>
                </c:pt>
                <c:pt idx="552">
                  <c:v>1563564</c:v>
                </c:pt>
                <c:pt idx="553">
                  <c:v>1563106</c:v>
                </c:pt>
                <c:pt idx="554">
                  <c:v>1563015</c:v>
                </c:pt>
                <c:pt idx="555">
                  <c:v>1562764</c:v>
                </c:pt>
                <c:pt idx="556">
                  <c:v>1562677</c:v>
                </c:pt>
                <c:pt idx="557">
                  <c:v>1562230</c:v>
                </c:pt>
                <c:pt idx="558">
                  <c:v>1561927</c:v>
                </c:pt>
                <c:pt idx="559">
                  <c:v>1561507</c:v>
                </c:pt>
                <c:pt idx="560">
                  <c:v>1561362</c:v>
                </c:pt>
                <c:pt idx="561">
                  <c:v>1561292</c:v>
                </c:pt>
                <c:pt idx="562">
                  <c:v>1560884</c:v>
                </c:pt>
                <c:pt idx="563">
                  <c:v>1560529</c:v>
                </c:pt>
                <c:pt idx="564">
                  <c:v>1559512</c:v>
                </c:pt>
                <c:pt idx="565">
                  <c:v>1559371</c:v>
                </c:pt>
                <c:pt idx="566">
                  <c:v>1559259</c:v>
                </c:pt>
                <c:pt idx="567">
                  <c:v>1558986</c:v>
                </c:pt>
                <c:pt idx="568">
                  <c:v>1558954</c:v>
                </c:pt>
                <c:pt idx="569">
                  <c:v>1558585</c:v>
                </c:pt>
                <c:pt idx="570">
                  <c:v>1558482</c:v>
                </c:pt>
                <c:pt idx="571">
                  <c:v>1558367</c:v>
                </c:pt>
                <c:pt idx="572">
                  <c:v>1557626</c:v>
                </c:pt>
                <c:pt idx="573">
                  <c:v>1557582</c:v>
                </c:pt>
                <c:pt idx="574">
                  <c:v>1557457</c:v>
                </c:pt>
                <c:pt idx="575">
                  <c:v>1557339</c:v>
                </c:pt>
                <c:pt idx="576">
                  <c:v>1557267</c:v>
                </c:pt>
                <c:pt idx="577">
                  <c:v>1557153</c:v>
                </c:pt>
                <c:pt idx="578">
                  <c:v>1557034</c:v>
                </c:pt>
                <c:pt idx="579">
                  <c:v>1556903</c:v>
                </c:pt>
                <c:pt idx="580">
                  <c:v>1556637</c:v>
                </c:pt>
                <c:pt idx="581">
                  <c:v>1556623</c:v>
                </c:pt>
                <c:pt idx="582">
                  <c:v>1555970</c:v>
                </c:pt>
                <c:pt idx="583">
                  <c:v>1553443</c:v>
                </c:pt>
                <c:pt idx="584">
                  <c:v>1553160</c:v>
                </c:pt>
                <c:pt idx="585">
                  <c:v>1553057</c:v>
                </c:pt>
                <c:pt idx="586">
                  <c:v>1552159</c:v>
                </c:pt>
                <c:pt idx="587">
                  <c:v>1552155</c:v>
                </c:pt>
                <c:pt idx="588">
                  <c:v>1551880</c:v>
                </c:pt>
                <c:pt idx="589">
                  <c:v>1551848</c:v>
                </c:pt>
                <c:pt idx="590">
                  <c:v>1551744</c:v>
                </c:pt>
                <c:pt idx="591">
                  <c:v>1551289</c:v>
                </c:pt>
                <c:pt idx="592">
                  <c:v>1551251</c:v>
                </c:pt>
                <c:pt idx="593">
                  <c:v>1551014</c:v>
                </c:pt>
                <c:pt idx="594">
                  <c:v>1550828</c:v>
                </c:pt>
                <c:pt idx="595">
                  <c:v>1550624</c:v>
                </c:pt>
                <c:pt idx="596">
                  <c:v>1550425</c:v>
                </c:pt>
                <c:pt idx="597">
                  <c:v>1550291</c:v>
                </c:pt>
                <c:pt idx="598">
                  <c:v>1550246</c:v>
                </c:pt>
                <c:pt idx="599">
                  <c:v>1550145</c:v>
                </c:pt>
                <c:pt idx="600">
                  <c:v>1549967</c:v>
                </c:pt>
                <c:pt idx="601">
                  <c:v>1549919</c:v>
                </c:pt>
                <c:pt idx="602">
                  <c:v>1549610</c:v>
                </c:pt>
                <c:pt idx="603">
                  <c:v>1549466</c:v>
                </c:pt>
                <c:pt idx="604">
                  <c:v>1549264</c:v>
                </c:pt>
                <c:pt idx="605">
                  <c:v>1549055</c:v>
                </c:pt>
                <c:pt idx="606">
                  <c:v>1548669</c:v>
                </c:pt>
                <c:pt idx="607">
                  <c:v>1548409</c:v>
                </c:pt>
                <c:pt idx="608">
                  <c:v>1547711</c:v>
                </c:pt>
                <c:pt idx="609">
                  <c:v>1547038</c:v>
                </c:pt>
                <c:pt idx="610">
                  <c:v>1546859</c:v>
                </c:pt>
                <c:pt idx="611">
                  <c:v>1546661</c:v>
                </c:pt>
                <c:pt idx="612">
                  <c:v>1546650</c:v>
                </c:pt>
                <c:pt idx="613">
                  <c:v>1546533</c:v>
                </c:pt>
                <c:pt idx="614">
                  <c:v>1546449</c:v>
                </c:pt>
                <c:pt idx="615">
                  <c:v>1546001</c:v>
                </c:pt>
                <c:pt idx="616">
                  <c:v>1545981</c:v>
                </c:pt>
                <c:pt idx="617">
                  <c:v>1545898</c:v>
                </c:pt>
                <c:pt idx="618">
                  <c:v>1543551</c:v>
                </c:pt>
                <c:pt idx="619">
                  <c:v>1543299</c:v>
                </c:pt>
                <c:pt idx="620">
                  <c:v>1543172</c:v>
                </c:pt>
                <c:pt idx="621">
                  <c:v>1542930</c:v>
                </c:pt>
                <c:pt idx="622">
                  <c:v>1542156</c:v>
                </c:pt>
                <c:pt idx="623">
                  <c:v>1541452</c:v>
                </c:pt>
                <c:pt idx="624">
                  <c:v>1541358</c:v>
                </c:pt>
                <c:pt idx="625">
                  <c:v>1541349</c:v>
                </c:pt>
                <c:pt idx="626">
                  <c:v>1541343</c:v>
                </c:pt>
                <c:pt idx="627">
                  <c:v>1541249</c:v>
                </c:pt>
                <c:pt idx="628">
                  <c:v>1541227</c:v>
                </c:pt>
                <c:pt idx="629">
                  <c:v>1540739</c:v>
                </c:pt>
                <c:pt idx="630">
                  <c:v>1540523</c:v>
                </c:pt>
                <c:pt idx="631">
                  <c:v>1540510</c:v>
                </c:pt>
                <c:pt idx="632">
                  <c:v>1540442</c:v>
                </c:pt>
                <c:pt idx="633">
                  <c:v>1540198</c:v>
                </c:pt>
                <c:pt idx="634">
                  <c:v>1540176</c:v>
                </c:pt>
                <c:pt idx="635">
                  <c:v>1539750</c:v>
                </c:pt>
                <c:pt idx="636">
                  <c:v>1539391</c:v>
                </c:pt>
                <c:pt idx="637">
                  <c:v>1539113</c:v>
                </c:pt>
                <c:pt idx="638">
                  <c:v>1538789</c:v>
                </c:pt>
                <c:pt idx="639">
                  <c:v>1538354</c:v>
                </c:pt>
                <c:pt idx="640">
                  <c:v>1538259</c:v>
                </c:pt>
                <c:pt idx="641">
                  <c:v>1538083</c:v>
                </c:pt>
                <c:pt idx="642">
                  <c:v>1537995</c:v>
                </c:pt>
                <c:pt idx="643">
                  <c:v>1537524</c:v>
                </c:pt>
                <c:pt idx="644">
                  <c:v>1537317</c:v>
                </c:pt>
                <c:pt idx="645">
                  <c:v>1537273</c:v>
                </c:pt>
                <c:pt idx="646">
                  <c:v>1537199</c:v>
                </c:pt>
                <c:pt idx="647">
                  <c:v>1537022</c:v>
                </c:pt>
                <c:pt idx="648">
                  <c:v>1536820</c:v>
                </c:pt>
                <c:pt idx="649">
                  <c:v>1536592</c:v>
                </c:pt>
                <c:pt idx="650">
                  <c:v>1535928</c:v>
                </c:pt>
                <c:pt idx="651">
                  <c:v>1535880</c:v>
                </c:pt>
                <c:pt idx="652">
                  <c:v>1535793</c:v>
                </c:pt>
                <c:pt idx="653">
                  <c:v>1535766</c:v>
                </c:pt>
                <c:pt idx="654">
                  <c:v>1535321</c:v>
                </c:pt>
                <c:pt idx="655">
                  <c:v>1535287</c:v>
                </c:pt>
                <c:pt idx="656">
                  <c:v>1535058</c:v>
                </c:pt>
                <c:pt idx="657">
                  <c:v>1535007</c:v>
                </c:pt>
                <c:pt idx="658">
                  <c:v>1534976</c:v>
                </c:pt>
                <c:pt idx="659">
                  <c:v>1534791</c:v>
                </c:pt>
                <c:pt idx="660">
                  <c:v>1534556</c:v>
                </c:pt>
                <c:pt idx="661">
                  <c:v>1534380</c:v>
                </c:pt>
                <c:pt idx="662">
                  <c:v>1534345</c:v>
                </c:pt>
                <c:pt idx="663">
                  <c:v>1534299</c:v>
                </c:pt>
                <c:pt idx="664">
                  <c:v>1534110</c:v>
                </c:pt>
                <c:pt idx="665">
                  <c:v>1533635</c:v>
                </c:pt>
                <c:pt idx="666">
                  <c:v>1533510</c:v>
                </c:pt>
                <c:pt idx="667">
                  <c:v>1533488</c:v>
                </c:pt>
                <c:pt idx="668">
                  <c:v>1533312</c:v>
                </c:pt>
                <c:pt idx="669">
                  <c:v>1533164</c:v>
                </c:pt>
                <c:pt idx="670">
                  <c:v>1533044</c:v>
                </c:pt>
                <c:pt idx="671">
                  <c:v>1532824</c:v>
                </c:pt>
                <c:pt idx="672">
                  <c:v>1532783</c:v>
                </c:pt>
                <c:pt idx="673">
                  <c:v>1532470</c:v>
                </c:pt>
                <c:pt idx="674">
                  <c:v>1532168</c:v>
                </c:pt>
                <c:pt idx="675">
                  <c:v>1531931</c:v>
                </c:pt>
                <c:pt idx="676">
                  <c:v>1531915</c:v>
                </c:pt>
                <c:pt idx="677">
                  <c:v>1531646</c:v>
                </c:pt>
                <c:pt idx="678">
                  <c:v>1531402</c:v>
                </c:pt>
                <c:pt idx="679">
                  <c:v>1531304</c:v>
                </c:pt>
                <c:pt idx="680">
                  <c:v>1530450</c:v>
                </c:pt>
                <c:pt idx="681">
                  <c:v>1530388</c:v>
                </c:pt>
                <c:pt idx="682">
                  <c:v>1530317</c:v>
                </c:pt>
                <c:pt idx="683">
                  <c:v>1529698</c:v>
                </c:pt>
                <c:pt idx="684">
                  <c:v>1529494</c:v>
                </c:pt>
                <c:pt idx="685">
                  <c:v>1529460</c:v>
                </c:pt>
                <c:pt idx="686">
                  <c:v>1529358</c:v>
                </c:pt>
                <c:pt idx="687">
                  <c:v>1529016</c:v>
                </c:pt>
                <c:pt idx="688">
                  <c:v>1528771</c:v>
                </c:pt>
                <c:pt idx="689">
                  <c:v>1528302</c:v>
                </c:pt>
                <c:pt idx="690">
                  <c:v>1528190</c:v>
                </c:pt>
                <c:pt idx="691">
                  <c:v>1528096</c:v>
                </c:pt>
                <c:pt idx="692">
                  <c:v>1528065</c:v>
                </c:pt>
                <c:pt idx="693">
                  <c:v>1527822</c:v>
                </c:pt>
                <c:pt idx="694">
                  <c:v>1527601</c:v>
                </c:pt>
                <c:pt idx="695">
                  <c:v>1527461</c:v>
                </c:pt>
                <c:pt idx="696">
                  <c:v>1527050</c:v>
                </c:pt>
                <c:pt idx="697">
                  <c:v>1527031</c:v>
                </c:pt>
                <c:pt idx="698">
                  <c:v>1527012</c:v>
                </c:pt>
                <c:pt idx="699">
                  <c:v>1526805</c:v>
                </c:pt>
                <c:pt idx="700">
                  <c:v>1526369</c:v>
                </c:pt>
                <c:pt idx="701">
                  <c:v>1526315</c:v>
                </c:pt>
                <c:pt idx="702">
                  <c:v>1526031</c:v>
                </c:pt>
                <c:pt idx="703">
                  <c:v>1525620</c:v>
                </c:pt>
                <c:pt idx="704">
                  <c:v>1525508</c:v>
                </c:pt>
                <c:pt idx="705">
                  <c:v>1524994</c:v>
                </c:pt>
                <c:pt idx="706">
                  <c:v>1524980</c:v>
                </c:pt>
                <c:pt idx="707">
                  <c:v>1524923</c:v>
                </c:pt>
                <c:pt idx="708">
                  <c:v>1524889</c:v>
                </c:pt>
                <c:pt idx="709">
                  <c:v>1524793</c:v>
                </c:pt>
                <c:pt idx="710">
                  <c:v>1524115</c:v>
                </c:pt>
                <c:pt idx="711">
                  <c:v>1523956</c:v>
                </c:pt>
                <c:pt idx="712">
                  <c:v>1523862</c:v>
                </c:pt>
                <c:pt idx="713">
                  <c:v>1523622</c:v>
                </c:pt>
                <c:pt idx="714">
                  <c:v>1523405</c:v>
                </c:pt>
                <c:pt idx="715">
                  <c:v>1522525</c:v>
                </c:pt>
                <c:pt idx="716">
                  <c:v>1522166</c:v>
                </c:pt>
                <c:pt idx="717">
                  <c:v>1522085</c:v>
                </c:pt>
                <c:pt idx="718">
                  <c:v>1521959</c:v>
                </c:pt>
                <c:pt idx="719">
                  <c:v>1521828</c:v>
                </c:pt>
                <c:pt idx="720">
                  <c:v>1521449</c:v>
                </c:pt>
                <c:pt idx="721">
                  <c:v>1521342</c:v>
                </c:pt>
                <c:pt idx="722">
                  <c:v>1521315</c:v>
                </c:pt>
                <c:pt idx="723">
                  <c:v>1521006</c:v>
                </c:pt>
                <c:pt idx="724">
                  <c:v>1520544</c:v>
                </c:pt>
                <c:pt idx="725">
                  <c:v>1520532</c:v>
                </c:pt>
                <c:pt idx="726">
                  <c:v>1520259</c:v>
                </c:pt>
                <c:pt idx="727">
                  <c:v>1519905</c:v>
                </c:pt>
                <c:pt idx="728">
                  <c:v>1519755</c:v>
                </c:pt>
                <c:pt idx="729">
                  <c:v>1519529</c:v>
                </c:pt>
                <c:pt idx="730">
                  <c:v>1519062</c:v>
                </c:pt>
                <c:pt idx="731">
                  <c:v>1518974</c:v>
                </c:pt>
                <c:pt idx="732">
                  <c:v>1518799</c:v>
                </c:pt>
                <c:pt idx="733">
                  <c:v>1518756</c:v>
                </c:pt>
                <c:pt idx="734">
                  <c:v>1518419</c:v>
                </c:pt>
                <c:pt idx="735">
                  <c:v>1518306</c:v>
                </c:pt>
                <c:pt idx="736">
                  <c:v>1518256</c:v>
                </c:pt>
                <c:pt idx="737">
                  <c:v>1518231</c:v>
                </c:pt>
                <c:pt idx="738">
                  <c:v>1518059</c:v>
                </c:pt>
                <c:pt idx="739">
                  <c:v>1517828</c:v>
                </c:pt>
                <c:pt idx="740">
                  <c:v>1517652</c:v>
                </c:pt>
                <c:pt idx="741">
                  <c:v>1517519</c:v>
                </c:pt>
                <c:pt idx="742">
                  <c:v>1517430</c:v>
                </c:pt>
                <c:pt idx="743">
                  <c:v>1517163</c:v>
                </c:pt>
                <c:pt idx="744">
                  <c:v>1517109</c:v>
                </c:pt>
                <c:pt idx="745">
                  <c:v>1516479</c:v>
                </c:pt>
                <c:pt idx="746">
                  <c:v>1516130</c:v>
                </c:pt>
                <c:pt idx="747">
                  <c:v>1515899</c:v>
                </c:pt>
                <c:pt idx="748">
                  <c:v>1515875</c:v>
                </c:pt>
                <c:pt idx="749">
                  <c:v>1515566</c:v>
                </c:pt>
                <c:pt idx="750">
                  <c:v>1515548</c:v>
                </c:pt>
                <c:pt idx="751">
                  <c:v>1515241</c:v>
                </c:pt>
                <c:pt idx="752">
                  <c:v>1515164</c:v>
                </c:pt>
                <c:pt idx="753">
                  <c:v>1515002</c:v>
                </c:pt>
                <c:pt idx="754">
                  <c:v>1514860</c:v>
                </c:pt>
                <c:pt idx="755">
                  <c:v>1514723</c:v>
                </c:pt>
                <c:pt idx="756">
                  <c:v>1514722</c:v>
                </c:pt>
                <c:pt idx="757">
                  <c:v>1514585</c:v>
                </c:pt>
                <c:pt idx="758">
                  <c:v>1514554</c:v>
                </c:pt>
                <c:pt idx="759">
                  <c:v>1514519</c:v>
                </c:pt>
                <c:pt idx="760">
                  <c:v>1514156</c:v>
                </c:pt>
                <c:pt idx="761">
                  <c:v>1513874</c:v>
                </c:pt>
                <c:pt idx="762">
                  <c:v>1513692</c:v>
                </c:pt>
                <c:pt idx="763">
                  <c:v>1513648</c:v>
                </c:pt>
                <c:pt idx="764">
                  <c:v>1513609</c:v>
                </c:pt>
                <c:pt idx="765">
                  <c:v>1513485</c:v>
                </c:pt>
                <c:pt idx="766">
                  <c:v>1513450</c:v>
                </c:pt>
                <c:pt idx="767">
                  <c:v>1513388</c:v>
                </c:pt>
                <c:pt idx="768">
                  <c:v>1513315</c:v>
                </c:pt>
                <c:pt idx="769">
                  <c:v>1513202</c:v>
                </c:pt>
                <c:pt idx="770">
                  <c:v>1513108</c:v>
                </c:pt>
                <c:pt idx="771">
                  <c:v>1513103</c:v>
                </c:pt>
                <c:pt idx="772">
                  <c:v>1512879</c:v>
                </c:pt>
                <c:pt idx="773">
                  <c:v>1512514</c:v>
                </c:pt>
                <c:pt idx="774">
                  <c:v>1512451</c:v>
                </c:pt>
                <c:pt idx="775">
                  <c:v>1512444</c:v>
                </c:pt>
                <c:pt idx="776">
                  <c:v>1512395</c:v>
                </c:pt>
                <c:pt idx="777">
                  <c:v>1512252</c:v>
                </c:pt>
                <c:pt idx="778">
                  <c:v>1512101</c:v>
                </c:pt>
                <c:pt idx="779">
                  <c:v>1511763</c:v>
                </c:pt>
                <c:pt idx="780">
                  <c:v>1511751</c:v>
                </c:pt>
                <c:pt idx="781">
                  <c:v>1511639</c:v>
                </c:pt>
                <c:pt idx="782">
                  <c:v>1511204</c:v>
                </c:pt>
                <c:pt idx="783">
                  <c:v>1511046</c:v>
                </c:pt>
                <c:pt idx="784">
                  <c:v>1510676</c:v>
                </c:pt>
                <c:pt idx="785">
                  <c:v>1510646</c:v>
                </c:pt>
                <c:pt idx="786">
                  <c:v>1510483</c:v>
                </c:pt>
                <c:pt idx="787">
                  <c:v>1510446</c:v>
                </c:pt>
                <c:pt idx="788">
                  <c:v>1510251</c:v>
                </c:pt>
                <c:pt idx="789">
                  <c:v>1510166</c:v>
                </c:pt>
                <c:pt idx="790">
                  <c:v>1510004</c:v>
                </c:pt>
                <c:pt idx="791">
                  <c:v>1509792</c:v>
                </c:pt>
                <c:pt idx="792">
                  <c:v>1509541</c:v>
                </c:pt>
                <c:pt idx="793">
                  <c:v>1509456</c:v>
                </c:pt>
                <c:pt idx="794">
                  <c:v>1509117</c:v>
                </c:pt>
                <c:pt idx="795">
                  <c:v>1508933</c:v>
                </c:pt>
                <c:pt idx="796">
                  <c:v>1508687</c:v>
                </c:pt>
                <c:pt idx="797">
                  <c:v>1508644</c:v>
                </c:pt>
                <c:pt idx="798">
                  <c:v>1508385</c:v>
                </c:pt>
                <c:pt idx="799">
                  <c:v>1508213</c:v>
                </c:pt>
                <c:pt idx="800">
                  <c:v>1508150</c:v>
                </c:pt>
                <c:pt idx="801">
                  <c:v>1508073</c:v>
                </c:pt>
                <c:pt idx="802">
                  <c:v>1507895</c:v>
                </c:pt>
                <c:pt idx="803">
                  <c:v>1507636</c:v>
                </c:pt>
                <c:pt idx="804">
                  <c:v>1507317</c:v>
                </c:pt>
                <c:pt idx="805">
                  <c:v>1507257</c:v>
                </c:pt>
                <c:pt idx="806">
                  <c:v>1507144</c:v>
                </c:pt>
                <c:pt idx="807">
                  <c:v>1506861</c:v>
                </c:pt>
                <c:pt idx="808">
                  <c:v>1506843</c:v>
                </c:pt>
                <c:pt idx="809">
                  <c:v>1506757</c:v>
                </c:pt>
                <c:pt idx="810">
                  <c:v>1506631</c:v>
                </c:pt>
                <c:pt idx="811">
                  <c:v>1505491</c:v>
                </c:pt>
                <c:pt idx="812">
                  <c:v>1505349</c:v>
                </c:pt>
                <c:pt idx="813">
                  <c:v>1505105</c:v>
                </c:pt>
                <c:pt idx="814">
                  <c:v>1504997</c:v>
                </c:pt>
                <c:pt idx="815">
                  <c:v>1504918</c:v>
                </c:pt>
                <c:pt idx="816">
                  <c:v>1504635</c:v>
                </c:pt>
                <c:pt idx="817">
                  <c:v>1504401</c:v>
                </c:pt>
                <c:pt idx="818">
                  <c:v>1503894</c:v>
                </c:pt>
                <c:pt idx="819">
                  <c:v>1503835</c:v>
                </c:pt>
                <c:pt idx="820">
                  <c:v>1503716</c:v>
                </c:pt>
                <c:pt idx="821">
                  <c:v>1503673</c:v>
                </c:pt>
                <c:pt idx="822">
                  <c:v>1503612</c:v>
                </c:pt>
                <c:pt idx="823">
                  <c:v>1503328</c:v>
                </c:pt>
                <c:pt idx="824">
                  <c:v>1503230</c:v>
                </c:pt>
                <c:pt idx="825">
                  <c:v>1502653</c:v>
                </c:pt>
                <c:pt idx="826">
                  <c:v>1502210</c:v>
                </c:pt>
                <c:pt idx="827">
                  <c:v>1501950</c:v>
                </c:pt>
                <c:pt idx="828">
                  <c:v>1501874</c:v>
                </c:pt>
                <c:pt idx="829">
                  <c:v>1501590</c:v>
                </c:pt>
                <c:pt idx="830">
                  <c:v>1501490</c:v>
                </c:pt>
                <c:pt idx="831">
                  <c:v>1501345</c:v>
                </c:pt>
                <c:pt idx="832">
                  <c:v>1501038</c:v>
                </c:pt>
                <c:pt idx="833">
                  <c:v>1500966</c:v>
                </c:pt>
                <c:pt idx="834">
                  <c:v>1500784</c:v>
                </c:pt>
                <c:pt idx="835">
                  <c:v>1500493</c:v>
                </c:pt>
                <c:pt idx="836">
                  <c:v>1500216</c:v>
                </c:pt>
                <c:pt idx="837">
                  <c:v>1499906</c:v>
                </c:pt>
                <c:pt idx="838">
                  <c:v>1499844</c:v>
                </c:pt>
                <c:pt idx="839">
                  <c:v>1499774</c:v>
                </c:pt>
                <c:pt idx="840">
                  <c:v>1499660</c:v>
                </c:pt>
                <c:pt idx="841">
                  <c:v>1499429</c:v>
                </c:pt>
                <c:pt idx="842">
                  <c:v>1499127</c:v>
                </c:pt>
                <c:pt idx="843">
                  <c:v>1499122</c:v>
                </c:pt>
                <c:pt idx="844">
                  <c:v>1498962</c:v>
                </c:pt>
                <c:pt idx="845">
                  <c:v>1498808</c:v>
                </c:pt>
                <c:pt idx="846">
                  <c:v>1498277</c:v>
                </c:pt>
                <c:pt idx="847">
                  <c:v>1498059</c:v>
                </c:pt>
                <c:pt idx="848">
                  <c:v>1498027</c:v>
                </c:pt>
                <c:pt idx="849">
                  <c:v>1497702</c:v>
                </c:pt>
                <c:pt idx="850">
                  <c:v>1497650</c:v>
                </c:pt>
                <c:pt idx="851">
                  <c:v>1497470</c:v>
                </c:pt>
                <c:pt idx="852">
                  <c:v>1497225</c:v>
                </c:pt>
                <c:pt idx="853">
                  <c:v>1497202</c:v>
                </c:pt>
                <c:pt idx="854">
                  <c:v>1496917</c:v>
                </c:pt>
                <c:pt idx="855">
                  <c:v>1496875</c:v>
                </c:pt>
                <c:pt idx="856">
                  <c:v>1496622</c:v>
                </c:pt>
                <c:pt idx="857">
                  <c:v>1496583</c:v>
                </c:pt>
                <c:pt idx="858">
                  <c:v>1496307</c:v>
                </c:pt>
                <c:pt idx="859">
                  <c:v>1496199</c:v>
                </c:pt>
                <c:pt idx="860">
                  <c:v>1496100</c:v>
                </c:pt>
                <c:pt idx="861">
                  <c:v>1496018</c:v>
                </c:pt>
                <c:pt idx="862">
                  <c:v>1495922</c:v>
                </c:pt>
                <c:pt idx="863">
                  <c:v>1495771</c:v>
                </c:pt>
                <c:pt idx="864">
                  <c:v>1495690</c:v>
                </c:pt>
                <c:pt idx="865">
                  <c:v>1495660</c:v>
                </c:pt>
                <c:pt idx="866">
                  <c:v>1495654</c:v>
                </c:pt>
                <c:pt idx="867">
                  <c:v>1494998</c:v>
                </c:pt>
                <c:pt idx="868">
                  <c:v>1494915</c:v>
                </c:pt>
                <c:pt idx="869">
                  <c:v>1494844</c:v>
                </c:pt>
                <c:pt idx="870">
                  <c:v>1494481</c:v>
                </c:pt>
                <c:pt idx="871">
                  <c:v>1494398</c:v>
                </c:pt>
                <c:pt idx="872">
                  <c:v>1493910</c:v>
                </c:pt>
                <c:pt idx="873">
                  <c:v>1493578</c:v>
                </c:pt>
                <c:pt idx="874">
                  <c:v>1493458</c:v>
                </c:pt>
                <c:pt idx="875">
                  <c:v>1493267</c:v>
                </c:pt>
                <c:pt idx="876">
                  <c:v>1493251</c:v>
                </c:pt>
                <c:pt idx="877">
                  <c:v>1493044</c:v>
                </c:pt>
                <c:pt idx="878">
                  <c:v>1492881</c:v>
                </c:pt>
                <c:pt idx="879">
                  <c:v>1492832</c:v>
                </c:pt>
                <c:pt idx="880">
                  <c:v>1492491</c:v>
                </c:pt>
                <c:pt idx="881">
                  <c:v>1492326</c:v>
                </c:pt>
                <c:pt idx="882">
                  <c:v>1491746</c:v>
                </c:pt>
                <c:pt idx="883">
                  <c:v>1491599</c:v>
                </c:pt>
                <c:pt idx="884">
                  <c:v>1491596</c:v>
                </c:pt>
                <c:pt idx="885">
                  <c:v>1491465</c:v>
                </c:pt>
                <c:pt idx="886">
                  <c:v>1491284</c:v>
                </c:pt>
                <c:pt idx="887">
                  <c:v>1490929</c:v>
                </c:pt>
                <c:pt idx="888">
                  <c:v>1490905</c:v>
                </c:pt>
                <c:pt idx="889">
                  <c:v>1490825</c:v>
                </c:pt>
                <c:pt idx="890">
                  <c:v>1490705</c:v>
                </c:pt>
                <c:pt idx="891">
                  <c:v>1490700</c:v>
                </c:pt>
                <c:pt idx="892">
                  <c:v>1490468</c:v>
                </c:pt>
                <c:pt idx="893">
                  <c:v>1489882</c:v>
                </c:pt>
                <c:pt idx="894">
                  <c:v>1489597</c:v>
                </c:pt>
                <c:pt idx="895">
                  <c:v>1489234</c:v>
                </c:pt>
                <c:pt idx="896">
                  <c:v>1489228</c:v>
                </c:pt>
                <c:pt idx="897">
                  <c:v>1489055</c:v>
                </c:pt>
                <c:pt idx="898">
                  <c:v>1488827</c:v>
                </c:pt>
                <c:pt idx="899">
                  <c:v>1488652</c:v>
                </c:pt>
                <c:pt idx="900">
                  <c:v>1488426</c:v>
                </c:pt>
                <c:pt idx="901">
                  <c:v>1488300</c:v>
                </c:pt>
                <c:pt idx="902">
                  <c:v>1488253</c:v>
                </c:pt>
                <c:pt idx="903">
                  <c:v>1488231</c:v>
                </c:pt>
                <c:pt idx="904">
                  <c:v>1487903</c:v>
                </c:pt>
                <c:pt idx="905">
                  <c:v>1487780</c:v>
                </c:pt>
                <c:pt idx="906">
                  <c:v>1487401</c:v>
                </c:pt>
                <c:pt idx="907">
                  <c:v>1487357</c:v>
                </c:pt>
                <c:pt idx="908">
                  <c:v>1487329</c:v>
                </c:pt>
                <c:pt idx="909">
                  <c:v>1487205</c:v>
                </c:pt>
                <c:pt idx="910">
                  <c:v>1486834</c:v>
                </c:pt>
                <c:pt idx="911">
                  <c:v>1486731</c:v>
                </c:pt>
                <c:pt idx="912">
                  <c:v>1486696</c:v>
                </c:pt>
                <c:pt idx="913">
                  <c:v>1486160</c:v>
                </c:pt>
                <c:pt idx="914">
                  <c:v>1486146</c:v>
                </c:pt>
                <c:pt idx="915">
                  <c:v>1486017</c:v>
                </c:pt>
                <c:pt idx="916">
                  <c:v>1485562</c:v>
                </c:pt>
                <c:pt idx="917">
                  <c:v>1485173</c:v>
                </c:pt>
                <c:pt idx="918">
                  <c:v>1485088</c:v>
                </c:pt>
                <c:pt idx="919">
                  <c:v>1484709</c:v>
                </c:pt>
                <c:pt idx="920">
                  <c:v>1484641</c:v>
                </c:pt>
                <c:pt idx="921">
                  <c:v>1484448</c:v>
                </c:pt>
                <c:pt idx="922">
                  <c:v>1484266</c:v>
                </c:pt>
                <c:pt idx="923">
                  <c:v>1484141</c:v>
                </c:pt>
                <c:pt idx="924">
                  <c:v>1484010</c:v>
                </c:pt>
                <c:pt idx="925">
                  <c:v>1483844</c:v>
                </c:pt>
                <c:pt idx="926">
                  <c:v>1483413</c:v>
                </c:pt>
                <c:pt idx="927">
                  <c:v>1483319</c:v>
                </c:pt>
                <c:pt idx="928">
                  <c:v>1483228</c:v>
                </c:pt>
                <c:pt idx="929">
                  <c:v>1483198</c:v>
                </c:pt>
                <c:pt idx="930">
                  <c:v>1483182</c:v>
                </c:pt>
                <c:pt idx="931">
                  <c:v>1482990</c:v>
                </c:pt>
                <c:pt idx="932">
                  <c:v>1482956</c:v>
                </c:pt>
                <c:pt idx="933">
                  <c:v>1482900</c:v>
                </c:pt>
                <c:pt idx="934">
                  <c:v>1482649</c:v>
                </c:pt>
                <c:pt idx="935">
                  <c:v>1482600</c:v>
                </c:pt>
                <c:pt idx="936">
                  <c:v>1482294</c:v>
                </c:pt>
                <c:pt idx="937">
                  <c:v>1482271</c:v>
                </c:pt>
                <c:pt idx="938">
                  <c:v>1482206</c:v>
                </c:pt>
                <c:pt idx="939">
                  <c:v>1482204</c:v>
                </c:pt>
                <c:pt idx="940">
                  <c:v>1481830</c:v>
                </c:pt>
                <c:pt idx="941">
                  <c:v>1481759</c:v>
                </c:pt>
                <c:pt idx="942">
                  <c:v>1481631</c:v>
                </c:pt>
                <c:pt idx="943">
                  <c:v>1481483</c:v>
                </c:pt>
                <c:pt idx="944">
                  <c:v>1481430</c:v>
                </c:pt>
                <c:pt idx="945">
                  <c:v>1481300</c:v>
                </c:pt>
                <c:pt idx="946">
                  <c:v>1480992</c:v>
                </c:pt>
                <c:pt idx="947">
                  <c:v>1480811</c:v>
                </c:pt>
                <c:pt idx="948">
                  <c:v>1480600</c:v>
                </c:pt>
                <c:pt idx="949">
                  <c:v>1480570</c:v>
                </c:pt>
                <c:pt idx="950">
                  <c:v>1480503</c:v>
                </c:pt>
                <c:pt idx="951">
                  <c:v>1479656</c:v>
                </c:pt>
                <c:pt idx="952">
                  <c:v>1479629</c:v>
                </c:pt>
                <c:pt idx="953">
                  <c:v>1479345</c:v>
                </c:pt>
                <c:pt idx="954">
                  <c:v>1479121</c:v>
                </c:pt>
                <c:pt idx="955">
                  <c:v>1478957</c:v>
                </c:pt>
                <c:pt idx="956">
                  <c:v>1477992</c:v>
                </c:pt>
                <c:pt idx="957">
                  <c:v>1477964</c:v>
                </c:pt>
                <c:pt idx="958">
                  <c:v>1477847</c:v>
                </c:pt>
                <c:pt idx="959">
                  <c:v>1477818</c:v>
                </c:pt>
                <c:pt idx="960">
                  <c:v>1477520</c:v>
                </c:pt>
                <c:pt idx="961">
                  <c:v>1477498</c:v>
                </c:pt>
                <c:pt idx="962">
                  <c:v>1477351</c:v>
                </c:pt>
                <c:pt idx="963">
                  <c:v>1477304</c:v>
                </c:pt>
                <c:pt idx="964">
                  <c:v>1477021</c:v>
                </c:pt>
                <c:pt idx="965">
                  <c:v>1476949</c:v>
                </c:pt>
                <c:pt idx="966">
                  <c:v>1476703</c:v>
                </c:pt>
                <c:pt idx="967">
                  <c:v>1476606</c:v>
                </c:pt>
                <c:pt idx="968">
                  <c:v>1476552</c:v>
                </c:pt>
                <c:pt idx="969">
                  <c:v>1476497</c:v>
                </c:pt>
                <c:pt idx="970">
                  <c:v>1476061</c:v>
                </c:pt>
                <c:pt idx="971">
                  <c:v>1476060</c:v>
                </c:pt>
                <c:pt idx="972">
                  <c:v>1475955</c:v>
                </c:pt>
                <c:pt idx="973">
                  <c:v>1475930</c:v>
                </c:pt>
                <c:pt idx="974">
                  <c:v>1475345</c:v>
                </c:pt>
                <c:pt idx="975">
                  <c:v>1475304</c:v>
                </c:pt>
                <c:pt idx="976">
                  <c:v>1475266</c:v>
                </c:pt>
                <c:pt idx="977">
                  <c:v>1475167</c:v>
                </c:pt>
                <c:pt idx="978">
                  <c:v>1475061</c:v>
                </c:pt>
                <c:pt idx="979">
                  <c:v>1474668</c:v>
                </c:pt>
                <c:pt idx="980">
                  <c:v>1474164</c:v>
                </c:pt>
                <c:pt idx="981">
                  <c:v>1474090</c:v>
                </c:pt>
                <c:pt idx="982">
                  <c:v>1473718</c:v>
                </c:pt>
                <c:pt idx="983">
                  <c:v>1473439</c:v>
                </c:pt>
                <c:pt idx="984">
                  <c:v>1473392</c:v>
                </c:pt>
                <c:pt idx="985">
                  <c:v>1473239</c:v>
                </c:pt>
                <c:pt idx="986">
                  <c:v>1473187</c:v>
                </c:pt>
                <c:pt idx="987">
                  <c:v>1473160</c:v>
                </c:pt>
                <c:pt idx="988">
                  <c:v>1472990</c:v>
                </c:pt>
                <c:pt idx="989">
                  <c:v>1472874</c:v>
                </c:pt>
                <c:pt idx="990">
                  <c:v>1472689</c:v>
                </c:pt>
                <c:pt idx="991">
                  <c:v>1472085</c:v>
                </c:pt>
                <c:pt idx="992">
                  <c:v>1472070</c:v>
                </c:pt>
                <c:pt idx="993">
                  <c:v>1471892</c:v>
                </c:pt>
                <c:pt idx="994">
                  <c:v>1471739</c:v>
                </c:pt>
                <c:pt idx="995">
                  <c:v>1471718</c:v>
                </c:pt>
                <c:pt idx="996">
                  <c:v>1471700</c:v>
                </c:pt>
                <c:pt idx="997">
                  <c:v>1471230</c:v>
                </c:pt>
                <c:pt idx="998">
                  <c:v>1470918</c:v>
                </c:pt>
                <c:pt idx="999">
                  <c:v>1470389</c:v>
                </c:pt>
                <c:pt idx="1000">
                  <c:v>1470338</c:v>
                </c:pt>
                <c:pt idx="1001">
                  <c:v>1470111</c:v>
                </c:pt>
                <c:pt idx="1002">
                  <c:v>1470071</c:v>
                </c:pt>
                <c:pt idx="1003">
                  <c:v>1469919</c:v>
                </c:pt>
                <c:pt idx="1004">
                  <c:v>1469884</c:v>
                </c:pt>
                <c:pt idx="1005">
                  <c:v>1469170</c:v>
                </c:pt>
                <c:pt idx="1006">
                  <c:v>1469046</c:v>
                </c:pt>
                <c:pt idx="1007">
                  <c:v>1468559</c:v>
                </c:pt>
                <c:pt idx="1008">
                  <c:v>1468543</c:v>
                </c:pt>
                <c:pt idx="1009">
                  <c:v>1468519</c:v>
                </c:pt>
                <c:pt idx="1010">
                  <c:v>1468344</c:v>
                </c:pt>
                <c:pt idx="1011">
                  <c:v>1468302</c:v>
                </c:pt>
                <c:pt idx="1012">
                  <c:v>1468282</c:v>
                </c:pt>
                <c:pt idx="1013">
                  <c:v>1467749</c:v>
                </c:pt>
                <c:pt idx="1014">
                  <c:v>1467277</c:v>
                </c:pt>
                <c:pt idx="1015">
                  <c:v>1467173</c:v>
                </c:pt>
                <c:pt idx="1016">
                  <c:v>1467061</c:v>
                </c:pt>
                <c:pt idx="1017">
                  <c:v>1467025</c:v>
                </c:pt>
                <c:pt idx="1018">
                  <c:v>1466845</c:v>
                </c:pt>
                <c:pt idx="1019">
                  <c:v>1466607</c:v>
                </c:pt>
                <c:pt idx="1020">
                  <c:v>1466396</c:v>
                </c:pt>
                <c:pt idx="1021">
                  <c:v>1466353</c:v>
                </c:pt>
                <c:pt idx="1022">
                  <c:v>1466343</c:v>
                </c:pt>
                <c:pt idx="1023">
                  <c:v>1466091</c:v>
                </c:pt>
                <c:pt idx="1024">
                  <c:v>1465834</c:v>
                </c:pt>
                <c:pt idx="1025">
                  <c:v>1465244</c:v>
                </c:pt>
                <c:pt idx="1026">
                  <c:v>1465150</c:v>
                </c:pt>
                <c:pt idx="1027">
                  <c:v>1465090</c:v>
                </c:pt>
                <c:pt idx="1028">
                  <c:v>1465017</c:v>
                </c:pt>
                <c:pt idx="1029">
                  <c:v>1465010</c:v>
                </c:pt>
                <c:pt idx="1030">
                  <c:v>1464968</c:v>
                </c:pt>
                <c:pt idx="1031">
                  <c:v>1464913</c:v>
                </c:pt>
                <c:pt idx="1032">
                  <c:v>1464769</c:v>
                </c:pt>
                <c:pt idx="1033">
                  <c:v>1464702</c:v>
                </c:pt>
                <c:pt idx="1034">
                  <c:v>1464199</c:v>
                </c:pt>
                <c:pt idx="1035">
                  <c:v>1464065</c:v>
                </c:pt>
                <c:pt idx="1036">
                  <c:v>1463803</c:v>
                </c:pt>
                <c:pt idx="1037">
                  <c:v>1463531</c:v>
                </c:pt>
                <c:pt idx="1038">
                  <c:v>1463114</c:v>
                </c:pt>
                <c:pt idx="1039">
                  <c:v>1462874</c:v>
                </c:pt>
                <c:pt idx="1040">
                  <c:v>1462744</c:v>
                </c:pt>
                <c:pt idx="1041">
                  <c:v>1462662</c:v>
                </c:pt>
                <c:pt idx="1042">
                  <c:v>1462456</c:v>
                </c:pt>
                <c:pt idx="1043">
                  <c:v>1462275</c:v>
                </c:pt>
                <c:pt idx="1044">
                  <c:v>1462068</c:v>
                </c:pt>
                <c:pt idx="1045">
                  <c:v>1462048</c:v>
                </c:pt>
                <c:pt idx="1046">
                  <c:v>1462036</c:v>
                </c:pt>
                <c:pt idx="1047">
                  <c:v>1461989</c:v>
                </c:pt>
                <c:pt idx="1048">
                  <c:v>1461957</c:v>
                </c:pt>
                <c:pt idx="1049">
                  <c:v>1461937</c:v>
                </c:pt>
                <c:pt idx="1050">
                  <c:v>1461924</c:v>
                </c:pt>
                <c:pt idx="1051">
                  <c:v>1461758</c:v>
                </c:pt>
                <c:pt idx="1052">
                  <c:v>1461667</c:v>
                </c:pt>
                <c:pt idx="1053">
                  <c:v>1461512</c:v>
                </c:pt>
                <c:pt idx="1054">
                  <c:v>1461447</c:v>
                </c:pt>
                <c:pt idx="1055">
                  <c:v>1461427</c:v>
                </c:pt>
                <c:pt idx="1056">
                  <c:v>1461383</c:v>
                </c:pt>
                <c:pt idx="1057">
                  <c:v>1461280</c:v>
                </c:pt>
                <c:pt idx="1058">
                  <c:v>1461097</c:v>
                </c:pt>
                <c:pt idx="1059">
                  <c:v>1461090</c:v>
                </c:pt>
                <c:pt idx="1060">
                  <c:v>1461061</c:v>
                </c:pt>
                <c:pt idx="1061">
                  <c:v>1460968</c:v>
                </c:pt>
                <c:pt idx="1062">
                  <c:v>1460891</c:v>
                </c:pt>
                <c:pt idx="1063">
                  <c:v>1460674</c:v>
                </c:pt>
                <c:pt idx="1064">
                  <c:v>1460667</c:v>
                </c:pt>
                <c:pt idx="1065">
                  <c:v>1460542</c:v>
                </c:pt>
                <c:pt idx="1066">
                  <c:v>1460297</c:v>
                </c:pt>
                <c:pt idx="1067">
                  <c:v>1460121</c:v>
                </c:pt>
                <c:pt idx="1068">
                  <c:v>1460017</c:v>
                </c:pt>
                <c:pt idx="1069">
                  <c:v>1459982</c:v>
                </c:pt>
                <c:pt idx="1070">
                  <c:v>1459649</c:v>
                </c:pt>
                <c:pt idx="1071">
                  <c:v>1459542</c:v>
                </c:pt>
                <c:pt idx="1072">
                  <c:v>1459439</c:v>
                </c:pt>
                <c:pt idx="1073">
                  <c:v>1459319</c:v>
                </c:pt>
                <c:pt idx="1074">
                  <c:v>1459185</c:v>
                </c:pt>
                <c:pt idx="1075">
                  <c:v>1458979</c:v>
                </c:pt>
                <c:pt idx="1076">
                  <c:v>1458525</c:v>
                </c:pt>
                <c:pt idx="1077">
                  <c:v>1458466</c:v>
                </c:pt>
                <c:pt idx="1078">
                  <c:v>1458328</c:v>
                </c:pt>
                <c:pt idx="1079">
                  <c:v>1458179</c:v>
                </c:pt>
                <c:pt idx="1080">
                  <c:v>1458122</c:v>
                </c:pt>
                <c:pt idx="1081">
                  <c:v>1458005</c:v>
                </c:pt>
                <c:pt idx="1082">
                  <c:v>1457890</c:v>
                </c:pt>
                <c:pt idx="1083">
                  <c:v>1457872</c:v>
                </c:pt>
                <c:pt idx="1084">
                  <c:v>1457713</c:v>
                </c:pt>
                <c:pt idx="1085">
                  <c:v>1457610</c:v>
                </c:pt>
                <c:pt idx="1086">
                  <c:v>1457499</c:v>
                </c:pt>
                <c:pt idx="1087">
                  <c:v>1457476</c:v>
                </c:pt>
                <c:pt idx="1088">
                  <c:v>1457195</c:v>
                </c:pt>
                <c:pt idx="1089">
                  <c:v>1457033</c:v>
                </c:pt>
                <c:pt idx="1090">
                  <c:v>1456951</c:v>
                </c:pt>
                <c:pt idx="1091">
                  <c:v>1456816</c:v>
                </c:pt>
                <c:pt idx="1092">
                  <c:v>1456805</c:v>
                </c:pt>
                <c:pt idx="1093">
                  <c:v>1456748</c:v>
                </c:pt>
                <c:pt idx="1094">
                  <c:v>1456604</c:v>
                </c:pt>
                <c:pt idx="1095">
                  <c:v>1456499</c:v>
                </c:pt>
                <c:pt idx="1096">
                  <c:v>1456393</c:v>
                </c:pt>
                <c:pt idx="1097">
                  <c:v>1456147</c:v>
                </c:pt>
                <c:pt idx="1098">
                  <c:v>1455555</c:v>
                </c:pt>
                <c:pt idx="1099">
                  <c:v>1455278</c:v>
                </c:pt>
                <c:pt idx="1100">
                  <c:v>1455014</c:v>
                </c:pt>
                <c:pt idx="1101">
                  <c:v>1454908</c:v>
                </c:pt>
                <c:pt idx="1102">
                  <c:v>1454903</c:v>
                </c:pt>
                <c:pt idx="1103">
                  <c:v>1454479</c:v>
                </c:pt>
                <c:pt idx="1104">
                  <c:v>1454279</c:v>
                </c:pt>
                <c:pt idx="1105">
                  <c:v>1454010</c:v>
                </c:pt>
                <c:pt idx="1106">
                  <c:v>1453979</c:v>
                </c:pt>
                <c:pt idx="1107">
                  <c:v>1453516</c:v>
                </c:pt>
                <c:pt idx="1108">
                  <c:v>1453365</c:v>
                </c:pt>
                <c:pt idx="1109">
                  <c:v>1453236</c:v>
                </c:pt>
                <c:pt idx="1110">
                  <c:v>1453210</c:v>
                </c:pt>
                <c:pt idx="1111">
                  <c:v>1453139</c:v>
                </c:pt>
                <c:pt idx="1112">
                  <c:v>1453103</c:v>
                </c:pt>
                <c:pt idx="1113">
                  <c:v>1452948</c:v>
                </c:pt>
                <c:pt idx="1114">
                  <c:v>1452882</c:v>
                </c:pt>
                <c:pt idx="1115">
                  <c:v>1452793</c:v>
                </c:pt>
                <c:pt idx="1116">
                  <c:v>1452458</c:v>
                </c:pt>
                <c:pt idx="1117">
                  <c:v>1452270</c:v>
                </c:pt>
                <c:pt idx="1118">
                  <c:v>1452101</c:v>
                </c:pt>
                <c:pt idx="1119">
                  <c:v>1452094</c:v>
                </c:pt>
                <c:pt idx="1120">
                  <c:v>1452025</c:v>
                </c:pt>
                <c:pt idx="1121">
                  <c:v>1451930</c:v>
                </c:pt>
                <c:pt idx="1122">
                  <c:v>1451835</c:v>
                </c:pt>
                <c:pt idx="1123">
                  <c:v>1451809</c:v>
                </c:pt>
                <c:pt idx="1124">
                  <c:v>1451790</c:v>
                </c:pt>
                <c:pt idx="1125">
                  <c:v>1451786</c:v>
                </c:pt>
                <c:pt idx="1126">
                  <c:v>1451559</c:v>
                </c:pt>
                <c:pt idx="1127">
                  <c:v>1450936</c:v>
                </c:pt>
                <c:pt idx="1128">
                  <c:v>1450805</c:v>
                </c:pt>
                <c:pt idx="1129">
                  <c:v>1450801</c:v>
                </c:pt>
                <c:pt idx="1130">
                  <c:v>1450799</c:v>
                </c:pt>
                <c:pt idx="1131">
                  <c:v>1450509</c:v>
                </c:pt>
                <c:pt idx="1132">
                  <c:v>1450467</c:v>
                </c:pt>
                <c:pt idx="1133">
                  <c:v>1450354</c:v>
                </c:pt>
                <c:pt idx="1134">
                  <c:v>1450326</c:v>
                </c:pt>
                <c:pt idx="1135">
                  <c:v>1450282</c:v>
                </c:pt>
                <c:pt idx="1136">
                  <c:v>1450059</c:v>
                </c:pt>
                <c:pt idx="1137">
                  <c:v>1449938</c:v>
                </c:pt>
                <c:pt idx="1138">
                  <c:v>1449906</c:v>
                </c:pt>
                <c:pt idx="1139">
                  <c:v>1449864</c:v>
                </c:pt>
                <c:pt idx="1140">
                  <c:v>1449773</c:v>
                </c:pt>
                <c:pt idx="1141">
                  <c:v>1449414</c:v>
                </c:pt>
                <c:pt idx="1142">
                  <c:v>1449275</c:v>
                </c:pt>
                <c:pt idx="1143">
                  <c:v>1449130</c:v>
                </c:pt>
                <c:pt idx="1144">
                  <c:v>1448994</c:v>
                </c:pt>
                <c:pt idx="1145">
                  <c:v>1448757</c:v>
                </c:pt>
                <c:pt idx="1146">
                  <c:v>1448661</c:v>
                </c:pt>
                <c:pt idx="1147">
                  <c:v>1448418</c:v>
                </c:pt>
                <c:pt idx="1148">
                  <c:v>1448383</c:v>
                </c:pt>
                <c:pt idx="1149">
                  <c:v>1448375</c:v>
                </c:pt>
                <c:pt idx="1150">
                  <c:v>1448357</c:v>
                </c:pt>
                <c:pt idx="1151">
                  <c:v>1448124</c:v>
                </c:pt>
                <c:pt idx="1152">
                  <c:v>1448051</c:v>
                </c:pt>
                <c:pt idx="1153">
                  <c:v>1447990</c:v>
                </c:pt>
                <c:pt idx="1154">
                  <c:v>1447929</c:v>
                </c:pt>
                <c:pt idx="1155">
                  <c:v>1447920</c:v>
                </c:pt>
                <c:pt idx="1156">
                  <c:v>1447853</c:v>
                </c:pt>
                <c:pt idx="1157">
                  <c:v>1447853</c:v>
                </c:pt>
                <c:pt idx="1158">
                  <c:v>1447689</c:v>
                </c:pt>
                <c:pt idx="1159">
                  <c:v>1447546</c:v>
                </c:pt>
                <c:pt idx="1160">
                  <c:v>1447534</c:v>
                </c:pt>
                <c:pt idx="1161">
                  <c:v>1447121</c:v>
                </c:pt>
                <c:pt idx="1162">
                  <c:v>1446961</c:v>
                </c:pt>
                <c:pt idx="1163">
                  <c:v>1446646</c:v>
                </c:pt>
                <c:pt idx="1164">
                  <c:v>1446569</c:v>
                </c:pt>
                <c:pt idx="1165">
                  <c:v>1446421</c:v>
                </c:pt>
                <c:pt idx="1166">
                  <c:v>1446251</c:v>
                </c:pt>
                <c:pt idx="1167">
                  <c:v>1446147</c:v>
                </c:pt>
                <c:pt idx="1168">
                  <c:v>1446016</c:v>
                </c:pt>
                <c:pt idx="1169">
                  <c:v>1445943</c:v>
                </c:pt>
                <c:pt idx="1170">
                  <c:v>1445917</c:v>
                </c:pt>
                <c:pt idx="1171">
                  <c:v>1445898</c:v>
                </c:pt>
                <c:pt idx="1172">
                  <c:v>1445831</c:v>
                </c:pt>
                <c:pt idx="1173">
                  <c:v>1445745</c:v>
                </c:pt>
                <c:pt idx="1174">
                  <c:v>1445696</c:v>
                </c:pt>
                <c:pt idx="1175">
                  <c:v>1445324</c:v>
                </c:pt>
                <c:pt idx="1176">
                  <c:v>1445275</c:v>
                </c:pt>
                <c:pt idx="1177">
                  <c:v>1444982</c:v>
                </c:pt>
                <c:pt idx="1178">
                  <c:v>1444893</c:v>
                </c:pt>
                <c:pt idx="1179">
                  <c:v>1444760</c:v>
                </c:pt>
                <c:pt idx="1180">
                  <c:v>1444330</c:v>
                </c:pt>
                <c:pt idx="1181">
                  <c:v>1444181</c:v>
                </c:pt>
                <c:pt idx="1182">
                  <c:v>1444089</c:v>
                </c:pt>
                <c:pt idx="1183">
                  <c:v>1444061</c:v>
                </c:pt>
                <c:pt idx="1184">
                  <c:v>1443950</c:v>
                </c:pt>
                <c:pt idx="1185">
                  <c:v>1443885</c:v>
                </c:pt>
                <c:pt idx="1186">
                  <c:v>1443859</c:v>
                </c:pt>
                <c:pt idx="1187">
                  <c:v>1443359</c:v>
                </c:pt>
                <c:pt idx="1188">
                  <c:v>1443303</c:v>
                </c:pt>
                <c:pt idx="1189">
                  <c:v>1443290</c:v>
                </c:pt>
                <c:pt idx="1190">
                  <c:v>1443288</c:v>
                </c:pt>
                <c:pt idx="1191">
                  <c:v>1443173</c:v>
                </c:pt>
                <c:pt idx="1192">
                  <c:v>1443067</c:v>
                </c:pt>
                <c:pt idx="1193">
                  <c:v>1443030</c:v>
                </c:pt>
                <c:pt idx="1194">
                  <c:v>1442882</c:v>
                </c:pt>
                <c:pt idx="1195">
                  <c:v>1442721</c:v>
                </c:pt>
                <c:pt idx="1196">
                  <c:v>1442571</c:v>
                </c:pt>
                <c:pt idx="1197">
                  <c:v>1442401</c:v>
                </c:pt>
                <c:pt idx="1198">
                  <c:v>1441746</c:v>
                </c:pt>
                <c:pt idx="1199">
                  <c:v>1441415</c:v>
                </c:pt>
                <c:pt idx="1200">
                  <c:v>1441324</c:v>
                </c:pt>
                <c:pt idx="1201">
                  <c:v>1441196</c:v>
                </c:pt>
                <c:pt idx="1202">
                  <c:v>1441105</c:v>
                </c:pt>
                <c:pt idx="1203">
                  <c:v>1440993</c:v>
                </c:pt>
                <c:pt idx="1204">
                  <c:v>1440861</c:v>
                </c:pt>
                <c:pt idx="1205">
                  <c:v>1440710</c:v>
                </c:pt>
                <c:pt idx="1206">
                  <c:v>1440593</c:v>
                </c:pt>
                <c:pt idx="1207">
                  <c:v>1440432</c:v>
                </c:pt>
                <c:pt idx="1208">
                  <c:v>1440405</c:v>
                </c:pt>
                <c:pt idx="1209">
                  <c:v>1440326</c:v>
                </c:pt>
                <c:pt idx="1210">
                  <c:v>1440306</c:v>
                </c:pt>
                <c:pt idx="1211">
                  <c:v>1440249</c:v>
                </c:pt>
                <c:pt idx="1212">
                  <c:v>1440123</c:v>
                </c:pt>
                <c:pt idx="1213">
                  <c:v>1440093</c:v>
                </c:pt>
                <c:pt idx="1214">
                  <c:v>1439940</c:v>
                </c:pt>
                <c:pt idx="1215">
                  <c:v>1439919</c:v>
                </c:pt>
                <c:pt idx="1216">
                  <c:v>1439866</c:v>
                </c:pt>
                <c:pt idx="1217">
                  <c:v>1439607</c:v>
                </c:pt>
                <c:pt idx="1218">
                  <c:v>1439606</c:v>
                </c:pt>
                <c:pt idx="1219">
                  <c:v>1439460</c:v>
                </c:pt>
                <c:pt idx="1220">
                  <c:v>1438975</c:v>
                </c:pt>
                <c:pt idx="1221">
                  <c:v>1438003</c:v>
                </c:pt>
                <c:pt idx="1222">
                  <c:v>1437988</c:v>
                </c:pt>
                <c:pt idx="1223">
                  <c:v>1437700</c:v>
                </c:pt>
                <c:pt idx="1224">
                  <c:v>1437674</c:v>
                </c:pt>
                <c:pt idx="1225">
                  <c:v>1437505</c:v>
                </c:pt>
                <c:pt idx="1226">
                  <c:v>1437403</c:v>
                </c:pt>
                <c:pt idx="1227">
                  <c:v>1437395</c:v>
                </c:pt>
                <c:pt idx="1228">
                  <c:v>1437291</c:v>
                </c:pt>
                <c:pt idx="1229">
                  <c:v>1437198</c:v>
                </c:pt>
                <c:pt idx="1230">
                  <c:v>1437175</c:v>
                </c:pt>
                <c:pt idx="1231">
                  <c:v>1436978</c:v>
                </c:pt>
                <c:pt idx="1232">
                  <c:v>1436917</c:v>
                </c:pt>
                <c:pt idx="1233">
                  <c:v>1436801</c:v>
                </c:pt>
                <c:pt idx="1234">
                  <c:v>1436740</c:v>
                </c:pt>
                <c:pt idx="1235">
                  <c:v>1436694</c:v>
                </c:pt>
                <c:pt idx="1236">
                  <c:v>1436667</c:v>
                </c:pt>
                <c:pt idx="1237">
                  <c:v>1436534</c:v>
                </c:pt>
                <c:pt idx="1238">
                  <c:v>1436497</c:v>
                </c:pt>
                <c:pt idx="1239">
                  <c:v>1436301</c:v>
                </c:pt>
                <c:pt idx="1240">
                  <c:v>1436289</c:v>
                </c:pt>
                <c:pt idx="1241">
                  <c:v>1436152</c:v>
                </c:pt>
                <c:pt idx="1242">
                  <c:v>1436085</c:v>
                </c:pt>
                <c:pt idx="1243">
                  <c:v>1436019</c:v>
                </c:pt>
                <c:pt idx="1244">
                  <c:v>1436010</c:v>
                </c:pt>
                <c:pt idx="1245">
                  <c:v>1435687</c:v>
                </c:pt>
                <c:pt idx="1246">
                  <c:v>1435641</c:v>
                </c:pt>
                <c:pt idx="1247">
                  <c:v>1435580</c:v>
                </c:pt>
                <c:pt idx="1248">
                  <c:v>1435252</c:v>
                </c:pt>
                <c:pt idx="1249">
                  <c:v>1435040</c:v>
                </c:pt>
                <c:pt idx="1250">
                  <c:v>1435033</c:v>
                </c:pt>
                <c:pt idx="1251">
                  <c:v>1434412</c:v>
                </c:pt>
                <c:pt idx="1252">
                  <c:v>1434371</c:v>
                </c:pt>
                <c:pt idx="1253">
                  <c:v>1434347</c:v>
                </c:pt>
                <c:pt idx="1254">
                  <c:v>1434277</c:v>
                </c:pt>
                <c:pt idx="1255">
                  <c:v>1434144</c:v>
                </c:pt>
                <c:pt idx="1256">
                  <c:v>1434024</c:v>
                </c:pt>
                <c:pt idx="1257">
                  <c:v>1433972</c:v>
                </c:pt>
                <c:pt idx="1258">
                  <c:v>1433838</c:v>
                </c:pt>
                <c:pt idx="1259">
                  <c:v>1433660</c:v>
                </c:pt>
                <c:pt idx="1260">
                  <c:v>1433516</c:v>
                </c:pt>
                <c:pt idx="1261">
                  <c:v>1433505</c:v>
                </c:pt>
                <c:pt idx="1262">
                  <c:v>1433348</c:v>
                </c:pt>
                <c:pt idx="1263">
                  <c:v>1433216</c:v>
                </c:pt>
                <c:pt idx="1264">
                  <c:v>1433155</c:v>
                </c:pt>
                <c:pt idx="1265">
                  <c:v>1433119</c:v>
                </c:pt>
                <c:pt idx="1266">
                  <c:v>1432777</c:v>
                </c:pt>
                <c:pt idx="1267">
                  <c:v>1432677</c:v>
                </c:pt>
                <c:pt idx="1268">
                  <c:v>1432186</c:v>
                </c:pt>
                <c:pt idx="1269">
                  <c:v>1432097</c:v>
                </c:pt>
                <c:pt idx="1270">
                  <c:v>1431833</c:v>
                </c:pt>
                <c:pt idx="1271">
                  <c:v>1431819</c:v>
                </c:pt>
                <c:pt idx="1272">
                  <c:v>1431769</c:v>
                </c:pt>
                <c:pt idx="1273">
                  <c:v>1431744</c:v>
                </c:pt>
                <c:pt idx="1274">
                  <c:v>1431733</c:v>
                </c:pt>
                <c:pt idx="1275">
                  <c:v>1431642</c:v>
                </c:pt>
                <c:pt idx="1276">
                  <c:v>1431572</c:v>
                </c:pt>
                <c:pt idx="1277">
                  <c:v>1431546</c:v>
                </c:pt>
                <c:pt idx="1278">
                  <c:v>1431483</c:v>
                </c:pt>
                <c:pt idx="1279">
                  <c:v>1431481</c:v>
                </c:pt>
                <c:pt idx="1280">
                  <c:v>1431392</c:v>
                </c:pt>
                <c:pt idx="1281">
                  <c:v>1431256</c:v>
                </c:pt>
                <c:pt idx="1282">
                  <c:v>1431221</c:v>
                </c:pt>
                <c:pt idx="1283">
                  <c:v>1431076</c:v>
                </c:pt>
                <c:pt idx="1284">
                  <c:v>1430905</c:v>
                </c:pt>
                <c:pt idx="1285">
                  <c:v>1430798</c:v>
                </c:pt>
                <c:pt idx="1286">
                  <c:v>1430715</c:v>
                </c:pt>
                <c:pt idx="1287">
                  <c:v>1430074</c:v>
                </c:pt>
                <c:pt idx="1288">
                  <c:v>1429767</c:v>
                </c:pt>
                <c:pt idx="1289">
                  <c:v>1429554</c:v>
                </c:pt>
                <c:pt idx="1290">
                  <c:v>1429522</c:v>
                </c:pt>
                <c:pt idx="1291">
                  <c:v>1429479</c:v>
                </c:pt>
                <c:pt idx="1292">
                  <c:v>1429155</c:v>
                </c:pt>
                <c:pt idx="1293">
                  <c:v>1429026</c:v>
                </c:pt>
                <c:pt idx="1294">
                  <c:v>1428981</c:v>
                </c:pt>
                <c:pt idx="1295">
                  <c:v>1428945</c:v>
                </c:pt>
                <c:pt idx="1296">
                  <c:v>1428783</c:v>
                </c:pt>
                <c:pt idx="1297">
                  <c:v>1428769</c:v>
                </c:pt>
                <c:pt idx="1298">
                  <c:v>1428703</c:v>
                </c:pt>
                <c:pt idx="1299">
                  <c:v>1428693</c:v>
                </c:pt>
                <c:pt idx="1300">
                  <c:v>1428653</c:v>
                </c:pt>
                <c:pt idx="1301">
                  <c:v>1428445</c:v>
                </c:pt>
                <c:pt idx="1302">
                  <c:v>1428427</c:v>
                </c:pt>
                <c:pt idx="1303">
                  <c:v>1428061</c:v>
                </c:pt>
                <c:pt idx="1304">
                  <c:v>1428036</c:v>
                </c:pt>
                <c:pt idx="1305">
                  <c:v>1427969</c:v>
                </c:pt>
                <c:pt idx="1306">
                  <c:v>1427756</c:v>
                </c:pt>
                <c:pt idx="1307">
                  <c:v>1427579</c:v>
                </c:pt>
                <c:pt idx="1308">
                  <c:v>1427532</c:v>
                </c:pt>
                <c:pt idx="1309">
                  <c:v>1427524</c:v>
                </c:pt>
                <c:pt idx="1310">
                  <c:v>1427477</c:v>
                </c:pt>
                <c:pt idx="1311">
                  <c:v>1427315</c:v>
                </c:pt>
                <c:pt idx="1312">
                  <c:v>1426981</c:v>
                </c:pt>
                <c:pt idx="1313">
                  <c:v>1426900</c:v>
                </c:pt>
                <c:pt idx="1314">
                  <c:v>1426821</c:v>
                </c:pt>
                <c:pt idx="1315">
                  <c:v>1426752</c:v>
                </c:pt>
                <c:pt idx="1316">
                  <c:v>1426500</c:v>
                </c:pt>
                <c:pt idx="1317">
                  <c:v>1426185</c:v>
                </c:pt>
                <c:pt idx="1318">
                  <c:v>1426112</c:v>
                </c:pt>
                <c:pt idx="1319">
                  <c:v>1426088</c:v>
                </c:pt>
                <c:pt idx="1320">
                  <c:v>1426051</c:v>
                </c:pt>
                <c:pt idx="1321">
                  <c:v>1425961</c:v>
                </c:pt>
                <c:pt idx="1322">
                  <c:v>1425800</c:v>
                </c:pt>
                <c:pt idx="1323">
                  <c:v>1425792</c:v>
                </c:pt>
                <c:pt idx="1324">
                  <c:v>1425674</c:v>
                </c:pt>
                <c:pt idx="1325">
                  <c:v>1425587</c:v>
                </c:pt>
                <c:pt idx="1326">
                  <c:v>1425312</c:v>
                </c:pt>
                <c:pt idx="1327">
                  <c:v>1425251</c:v>
                </c:pt>
                <c:pt idx="1328">
                  <c:v>1425217</c:v>
                </c:pt>
                <c:pt idx="1329">
                  <c:v>1425135</c:v>
                </c:pt>
                <c:pt idx="1330">
                  <c:v>1425004</c:v>
                </c:pt>
                <c:pt idx="1331">
                  <c:v>1424909</c:v>
                </c:pt>
                <c:pt idx="1332">
                  <c:v>1424803</c:v>
                </c:pt>
                <c:pt idx="1333">
                  <c:v>1424599</c:v>
                </c:pt>
                <c:pt idx="1334">
                  <c:v>1424575</c:v>
                </c:pt>
                <c:pt idx="1335">
                  <c:v>1424434</c:v>
                </c:pt>
                <c:pt idx="1336">
                  <c:v>1424432</c:v>
                </c:pt>
                <c:pt idx="1337">
                  <c:v>1424310</c:v>
                </c:pt>
                <c:pt idx="1338">
                  <c:v>1424299</c:v>
                </c:pt>
                <c:pt idx="1339">
                  <c:v>1424199</c:v>
                </c:pt>
                <c:pt idx="1340">
                  <c:v>1424064</c:v>
                </c:pt>
                <c:pt idx="1341">
                  <c:v>1423996</c:v>
                </c:pt>
                <c:pt idx="1342">
                  <c:v>1423957</c:v>
                </c:pt>
                <c:pt idx="1343">
                  <c:v>1423841</c:v>
                </c:pt>
                <c:pt idx="1344">
                  <c:v>1423791</c:v>
                </c:pt>
                <c:pt idx="1345">
                  <c:v>1423759</c:v>
                </c:pt>
                <c:pt idx="1346">
                  <c:v>1423687</c:v>
                </c:pt>
                <c:pt idx="1347">
                  <c:v>1423551</c:v>
                </c:pt>
                <c:pt idx="1348">
                  <c:v>1423519</c:v>
                </c:pt>
                <c:pt idx="1349">
                  <c:v>1423298</c:v>
                </c:pt>
                <c:pt idx="1350">
                  <c:v>1423289</c:v>
                </c:pt>
                <c:pt idx="1351">
                  <c:v>1422832</c:v>
                </c:pt>
                <c:pt idx="1352">
                  <c:v>1422715</c:v>
                </c:pt>
                <c:pt idx="1353">
                  <c:v>1422484</c:v>
                </c:pt>
                <c:pt idx="1354">
                  <c:v>1422348</c:v>
                </c:pt>
                <c:pt idx="1355">
                  <c:v>1422348</c:v>
                </c:pt>
                <c:pt idx="1356">
                  <c:v>1422257</c:v>
                </c:pt>
                <c:pt idx="1357">
                  <c:v>1422225</c:v>
                </c:pt>
                <c:pt idx="1358">
                  <c:v>1422212</c:v>
                </c:pt>
                <c:pt idx="1359">
                  <c:v>1422208</c:v>
                </c:pt>
                <c:pt idx="1360">
                  <c:v>1422178</c:v>
                </c:pt>
                <c:pt idx="1361">
                  <c:v>1422105</c:v>
                </c:pt>
                <c:pt idx="1362">
                  <c:v>1421945</c:v>
                </c:pt>
                <c:pt idx="1363">
                  <c:v>1421720</c:v>
                </c:pt>
                <c:pt idx="1364">
                  <c:v>1421628</c:v>
                </c:pt>
                <c:pt idx="1365">
                  <c:v>1421603</c:v>
                </c:pt>
                <c:pt idx="1366">
                  <c:v>1421370</c:v>
                </c:pt>
                <c:pt idx="1367">
                  <c:v>1421312</c:v>
                </c:pt>
                <c:pt idx="1368">
                  <c:v>1421264</c:v>
                </c:pt>
                <c:pt idx="1369">
                  <c:v>1421108</c:v>
                </c:pt>
                <c:pt idx="1370">
                  <c:v>1421107</c:v>
                </c:pt>
                <c:pt idx="1371">
                  <c:v>1421041</c:v>
                </c:pt>
                <c:pt idx="1372">
                  <c:v>1420820</c:v>
                </c:pt>
                <c:pt idx="1373">
                  <c:v>1420674</c:v>
                </c:pt>
                <c:pt idx="1374">
                  <c:v>1420300</c:v>
                </c:pt>
                <c:pt idx="1375">
                  <c:v>1420230</c:v>
                </c:pt>
                <c:pt idx="1376">
                  <c:v>1420148</c:v>
                </c:pt>
                <c:pt idx="1377">
                  <c:v>1420027</c:v>
                </c:pt>
                <c:pt idx="1378">
                  <c:v>1419933</c:v>
                </c:pt>
                <c:pt idx="1379">
                  <c:v>1419925</c:v>
                </c:pt>
                <c:pt idx="1380">
                  <c:v>1419451</c:v>
                </c:pt>
                <c:pt idx="1381">
                  <c:v>1419387</c:v>
                </c:pt>
                <c:pt idx="1382">
                  <c:v>1419371</c:v>
                </c:pt>
                <c:pt idx="1383">
                  <c:v>1419287</c:v>
                </c:pt>
                <c:pt idx="1384">
                  <c:v>1419281</c:v>
                </c:pt>
                <c:pt idx="1385">
                  <c:v>1419220</c:v>
                </c:pt>
                <c:pt idx="1386">
                  <c:v>1419167</c:v>
                </c:pt>
                <c:pt idx="1387">
                  <c:v>1419131</c:v>
                </c:pt>
                <c:pt idx="1388">
                  <c:v>1419101</c:v>
                </c:pt>
                <c:pt idx="1389">
                  <c:v>1418950</c:v>
                </c:pt>
                <c:pt idx="1390">
                  <c:v>1418920</c:v>
                </c:pt>
                <c:pt idx="1391">
                  <c:v>1418782</c:v>
                </c:pt>
                <c:pt idx="1392">
                  <c:v>1418689</c:v>
                </c:pt>
                <c:pt idx="1393">
                  <c:v>1418681</c:v>
                </c:pt>
                <c:pt idx="1394">
                  <c:v>1418367</c:v>
                </c:pt>
                <c:pt idx="1395">
                  <c:v>1418133</c:v>
                </c:pt>
                <c:pt idx="1396">
                  <c:v>1417998</c:v>
                </c:pt>
                <c:pt idx="1397">
                  <c:v>1417995</c:v>
                </c:pt>
                <c:pt idx="1398">
                  <c:v>1417799</c:v>
                </c:pt>
                <c:pt idx="1399">
                  <c:v>1417790</c:v>
                </c:pt>
                <c:pt idx="1400">
                  <c:v>1417414</c:v>
                </c:pt>
                <c:pt idx="1401">
                  <c:v>1417361</c:v>
                </c:pt>
                <c:pt idx="1402">
                  <c:v>1417129</c:v>
                </c:pt>
                <c:pt idx="1403">
                  <c:v>1417125</c:v>
                </c:pt>
                <c:pt idx="1404">
                  <c:v>1417121</c:v>
                </c:pt>
                <c:pt idx="1405">
                  <c:v>1416872</c:v>
                </c:pt>
                <c:pt idx="1406">
                  <c:v>1416863</c:v>
                </c:pt>
                <c:pt idx="1407">
                  <c:v>1416828</c:v>
                </c:pt>
                <c:pt idx="1408">
                  <c:v>1416753</c:v>
                </c:pt>
                <c:pt idx="1409">
                  <c:v>1416677</c:v>
                </c:pt>
                <c:pt idx="1410">
                  <c:v>1416431</c:v>
                </c:pt>
                <c:pt idx="1411">
                  <c:v>1416426</c:v>
                </c:pt>
                <c:pt idx="1412">
                  <c:v>1416366</c:v>
                </c:pt>
                <c:pt idx="1413">
                  <c:v>1416242</c:v>
                </c:pt>
                <c:pt idx="1414">
                  <c:v>1416180</c:v>
                </c:pt>
                <c:pt idx="1415">
                  <c:v>1416034</c:v>
                </c:pt>
                <c:pt idx="1416">
                  <c:v>1415907</c:v>
                </c:pt>
                <c:pt idx="1417">
                  <c:v>1415828</c:v>
                </c:pt>
                <c:pt idx="1418">
                  <c:v>1415822</c:v>
                </c:pt>
                <c:pt idx="1419">
                  <c:v>1415514</c:v>
                </c:pt>
                <c:pt idx="1420">
                  <c:v>1415411</c:v>
                </c:pt>
                <c:pt idx="1421">
                  <c:v>1415403</c:v>
                </c:pt>
                <c:pt idx="1422">
                  <c:v>1415254</c:v>
                </c:pt>
                <c:pt idx="1423">
                  <c:v>1415250</c:v>
                </c:pt>
                <c:pt idx="1424">
                  <c:v>1415182</c:v>
                </c:pt>
                <c:pt idx="1425">
                  <c:v>1414947</c:v>
                </c:pt>
                <c:pt idx="1426">
                  <c:v>1414923</c:v>
                </c:pt>
                <c:pt idx="1427">
                  <c:v>1414756</c:v>
                </c:pt>
                <c:pt idx="1428">
                  <c:v>1414741</c:v>
                </c:pt>
                <c:pt idx="1429">
                  <c:v>1414617</c:v>
                </c:pt>
                <c:pt idx="1430">
                  <c:v>1414514</c:v>
                </c:pt>
                <c:pt idx="1431">
                  <c:v>1414507</c:v>
                </c:pt>
                <c:pt idx="1432">
                  <c:v>1414416</c:v>
                </c:pt>
                <c:pt idx="1433">
                  <c:v>1414354</c:v>
                </c:pt>
                <c:pt idx="1434">
                  <c:v>1414237</c:v>
                </c:pt>
                <c:pt idx="1435">
                  <c:v>1414090</c:v>
                </c:pt>
                <c:pt idx="1436">
                  <c:v>1414078</c:v>
                </c:pt>
                <c:pt idx="1437">
                  <c:v>1413999</c:v>
                </c:pt>
                <c:pt idx="1438">
                  <c:v>1413987</c:v>
                </c:pt>
                <c:pt idx="1439">
                  <c:v>1413848</c:v>
                </c:pt>
                <c:pt idx="1440">
                  <c:v>1413841</c:v>
                </c:pt>
                <c:pt idx="1441">
                  <c:v>1413833</c:v>
                </c:pt>
                <c:pt idx="1442">
                  <c:v>1413768</c:v>
                </c:pt>
                <c:pt idx="1443">
                  <c:v>1413546</c:v>
                </c:pt>
                <c:pt idx="1444">
                  <c:v>1413482</c:v>
                </c:pt>
                <c:pt idx="1445">
                  <c:v>1413458</c:v>
                </c:pt>
                <c:pt idx="1446">
                  <c:v>1412963</c:v>
                </c:pt>
                <c:pt idx="1447">
                  <c:v>1412882</c:v>
                </c:pt>
                <c:pt idx="1448">
                  <c:v>1412854</c:v>
                </c:pt>
                <c:pt idx="1449">
                  <c:v>1412680</c:v>
                </c:pt>
                <c:pt idx="1450">
                  <c:v>1412440</c:v>
                </c:pt>
                <c:pt idx="1451">
                  <c:v>1412399</c:v>
                </c:pt>
                <c:pt idx="1452">
                  <c:v>1412271</c:v>
                </c:pt>
                <c:pt idx="1453">
                  <c:v>1412054</c:v>
                </c:pt>
                <c:pt idx="1454">
                  <c:v>1411930</c:v>
                </c:pt>
                <c:pt idx="1455">
                  <c:v>1411876</c:v>
                </c:pt>
                <c:pt idx="1456">
                  <c:v>1411735</c:v>
                </c:pt>
                <c:pt idx="1457">
                  <c:v>1411691</c:v>
                </c:pt>
                <c:pt idx="1458">
                  <c:v>1411674</c:v>
                </c:pt>
                <c:pt idx="1459">
                  <c:v>1411596</c:v>
                </c:pt>
                <c:pt idx="1460">
                  <c:v>1411443</c:v>
                </c:pt>
                <c:pt idx="1461">
                  <c:v>1411321</c:v>
                </c:pt>
                <c:pt idx="1462">
                  <c:v>1411305</c:v>
                </c:pt>
                <c:pt idx="1463">
                  <c:v>1411153</c:v>
                </c:pt>
                <c:pt idx="1464">
                  <c:v>1411081</c:v>
                </c:pt>
                <c:pt idx="1465">
                  <c:v>1410901</c:v>
                </c:pt>
                <c:pt idx="1466">
                  <c:v>1410727</c:v>
                </c:pt>
                <c:pt idx="1467">
                  <c:v>1410618</c:v>
                </c:pt>
                <c:pt idx="1468">
                  <c:v>1410448</c:v>
                </c:pt>
                <c:pt idx="1469">
                  <c:v>1410406</c:v>
                </c:pt>
                <c:pt idx="1470">
                  <c:v>1410331</c:v>
                </c:pt>
                <c:pt idx="1471">
                  <c:v>1410156</c:v>
                </c:pt>
                <c:pt idx="1472">
                  <c:v>1410080</c:v>
                </c:pt>
                <c:pt idx="1473">
                  <c:v>1410010</c:v>
                </c:pt>
                <c:pt idx="1474">
                  <c:v>1409471</c:v>
                </c:pt>
                <c:pt idx="1475">
                  <c:v>1409418</c:v>
                </c:pt>
                <c:pt idx="1476">
                  <c:v>1409287</c:v>
                </c:pt>
                <c:pt idx="1477">
                  <c:v>1409244</c:v>
                </c:pt>
                <c:pt idx="1478">
                  <c:v>1409196</c:v>
                </c:pt>
                <c:pt idx="1479">
                  <c:v>1409192</c:v>
                </c:pt>
                <c:pt idx="1480">
                  <c:v>1409178</c:v>
                </c:pt>
                <c:pt idx="1481">
                  <c:v>1408994</c:v>
                </c:pt>
                <c:pt idx="1482">
                  <c:v>1408974</c:v>
                </c:pt>
                <c:pt idx="1483">
                  <c:v>1408687</c:v>
                </c:pt>
                <c:pt idx="1484">
                  <c:v>1408663</c:v>
                </c:pt>
                <c:pt idx="1485">
                  <c:v>1408602</c:v>
                </c:pt>
                <c:pt idx="1486">
                  <c:v>1408476</c:v>
                </c:pt>
                <c:pt idx="1487">
                  <c:v>1408459</c:v>
                </c:pt>
                <c:pt idx="1488">
                  <c:v>1408413</c:v>
                </c:pt>
                <c:pt idx="1489">
                  <c:v>1408283</c:v>
                </c:pt>
                <c:pt idx="1490">
                  <c:v>1407970</c:v>
                </c:pt>
                <c:pt idx="1491">
                  <c:v>1407801</c:v>
                </c:pt>
                <c:pt idx="1492">
                  <c:v>1407730</c:v>
                </c:pt>
                <c:pt idx="1493">
                  <c:v>1407492</c:v>
                </c:pt>
                <c:pt idx="1494">
                  <c:v>1407122</c:v>
                </c:pt>
                <c:pt idx="1495">
                  <c:v>1406901</c:v>
                </c:pt>
                <c:pt idx="1496">
                  <c:v>1406884</c:v>
                </c:pt>
                <c:pt idx="1497">
                  <c:v>1406699</c:v>
                </c:pt>
                <c:pt idx="1498">
                  <c:v>1406607</c:v>
                </c:pt>
                <c:pt idx="1499">
                  <c:v>1406574</c:v>
                </c:pt>
                <c:pt idx="1500">
                  <c:v>1406057</c:v>
                </c:pt>
                <c:pt idx="1501">
                  <c:v>1405881</c:v>
                </c:pt>
                <c:pt idx="1502">
                  <c:v>1405761</c:v>
                </c:pt>
                <c:pt idx="1503">
                  <c:v>1405598</c:v>
                </c:pt>
                <c:pt idx="1504">
                  <c:v>1405574</c:v>
                </c:pt>
                <c:pt idx="1505">
                  <c:v>1405535</c:v>
                </c:pt>
                <c:pt idx="1506">
                  <c:v>1405510</c:v>
                </c:pt>
                <c:pt idx="1507">
                  <c:v>1405446</c:v>
                </c:pt>
                <c:pt idx="1508">
                  <c:v>1405215</c:v>
                </c:pt>
                <c:pt idx="1509">
                  <c:v>1405046</c:v>
                </c:pt>
                <c:pt idx="1510">
                  <c:v>1405020</c:v>
                </c:pt>
                <c:pt idx="1511">
                  <c:v>1404904</c:v>
                </c:pt>
                <c:pt idx="1512">
                  <c:v>1404899</c:v>
                </c:pt>
                <c:pt idx="1513">
                  <c:v>1404848</c:v>
                </c:pt>
                <c:pt idx="1514">
                  <c:v>1404756</c:v>
                </c:pt>
                <c:pt idx="1515">
                  <c:v>1404722</c:v>
                </c:pt>
                <c:pt idx="1516">
                  <c:v>1404459</c:v>
                </c:pt>
                <c:pt idx="1517">
                  <c:v>1404280</c:v>
                </c:pt>
                <c:pt idx="1518">
                  <c:v>1403966</c:v>
                </c:pt>
                <c:pt idx="1519">
                  <c:v>1403890</c:v>
                </c:pt>
                <c:pt idx="1520">
                  <c:v>1403663</c:v>
                </c:pt>
                <c:pt idx="1521">
                  <c:v>1403631</c:v>
                </c:pt>
                <c:pt idx="1522">
                  <c:v>1403503</c:v>
                </c:pt>
                <c:pt idx="1523">
                  <c:v>1403461</c:v>
                </c:pt>
                <c:pt idx="1524">
                  <c:v>1403403</c:v>
                </c:pt>
                <c:pt idx="1525">
                  <c:v>1403341</c:v>
                </c:pt>
                <c:pt idx="1526">
                  <c:v>1403325</c:v>
                </c:pt>
                <c:pt idx="1527">
                  <c:v>1403303</c:v>
                </c:pt>
                <c:pt idx="1528">
                  <c:v>1402993</c:v>
                </c:pt>
                <c:pt idx="1529">
                  <c:v>1402840</c:v>
                </c:pt>
                <c:pt idx="1530">
                  <c:v>1402830</c:v>
                </c:pt>
                <c:pt idx="1531">
                  <c:v>1402825</c:v>
                </c:pt>
                <c:pt idx="1532">
                  <c:v>1402524</c:v>
                </c:pt>
                <c:pt idx="1533">
                  <c:v>1402434</c:v>
                </c:pt>
                <c:pt idx="1534">
                  <c:v>1402409</c:v>
                </c:pt>
                <c:pt idx="1535">
                  <c:v>1402306</c:v>
                </c:pt>
                <c:pt idx="1536">
                  <c:v>1402215</c:v>
                </c:pt>
                <c:pt idx="1537">
                  <c:v>1402185</c:v>
                </c:pt>
                <c:pt idx="1538">
                  <c:v>1402170</c:v>
                </c:pt>
                <c:pt idx="1539">
                  <c:v>1402115</c:v>
                </c:pt>
                <c:pt idx="1540">
                  <c:v>1402083</c:v>
                </c:pt>
                <c:pt idx="1541">
                  <c:v>1402047</c:v>
                </c:pt>
                <c:pt idx="1542">
                  <c:v>1401977</c:v>
                </c:pt>
                <c:pt idx="1543">
                  <c:v>1401925</c:v>
                </c:pt>
                <c:pt idx="1544">
                  <c:v>1401887</c:v>
                </c:pt>
                <c:pt idx="1545">
                  <c:v>1401513</c:v>
                </c:pt>
                <c:pt idx="1546">
                  <c:v>1401298</c:v>
                </c:pt>
                <c:pt idx="1547">
                  <c:v>1401280</c:v>
                </c:pt>
                <c:pt idx="1548">
                  <c:v>1401159</c:v>
                </c:pt>
                <c:pt idx="1549">
                  <c:v>1401139</c:v>
                </c:pt>
                <c:pt idx="1550">
                  <c:v>1401125</c:v>
                </c:pt>
                <c:pt idx="1551">
                  <c:v>1401102</c:v>
                </c:pt>
                <c:pt idx="1552">
                  <c:v>1400969</c:v>
                </c:pt>
                <c:pt idx="1553">
                  <c:v>1400930</c:v>
                </c:pt>
                <c:pt idx="1554">
                  <c:v>1400812</c:v>
                </c:pt>
                <c:pt idx="1555">
                  <c:v>1400801</c:v>
                </c:pt>
                <c:pt idx="1556">
                  <c:v>1400754</c:v>
                </c:pt>
                <c:pt idx="1557">
                  <c:v>1400463</c:v>
                </c:pt>
                <c:pt idx="1558">
                  <c:v>1400426</c:v>
                </c:pt>
                <c:pt idx="1559">
                  <c:v>1400394</c:v>
                </c:pt>
                <c:pt idx="1560">
                  <c:v>1400366</c:v>
                </c:pt>
                <c:pt idx="1561">
                  <c:v>1400310</c:v>
                </c:pt>
                <c:pt idx="1562">
                  <c:v>1400300</c:v>
                </c:pt>
                <c:pt idx="1563">
                  <c:v>1400010</c:v>
                </c:pt>
                <c:pt idx="1564">
                  <c:v>1399989</c:v>
                </c:pt>
                <c:pt idx="1565">
                  <c:v>1399981</c:v>
                </c:pt>
                <c:pt idx="1566">
                  <c:v>1399910</c:v>
                </c:pt>
                <c:pt idx="1567">
                  <c:v>1399889</c:v>
                </c:pt>
                <c:pt idx="1568">
                  <c:v>1399878</c:v>
                </c:pt>
                <c:pt idx="1569">
                  <c:v>1399877</c:v>
                </c:pt>
                <c:pt idx="1570">
                  <c:v>1399842</c:v>
                </c:pt>
                <c:pt idx="1571">
                  <c:v>1399760</c:v>
                </c:pt>
                <c:pt idx="1572">
                  <c:v>1399704</c:v>
                </c:pt>
                <c:pt idx="1573">
                  <c:v>1399627</c:v>
                </c:pt>
                <c:pt idx="1574">
                  <c:v>1399562</c:v>
                </c:pt>
                <c:pt idx="1575">
                  <c:v>1399501</c:v>
                </c:pt>
                <c:pt idx="1576">
                  <c:v>1399470</c:v>
                </c:pt>
                <c:pt idx="1577">
                  <c:v>1399264</c:v>
                </c:pt>
                <c:pt idx="1578">
                  <c:v>1399217</c:v>
                </c:pt>
                <c:pt idx="1579">
                  <c:v>1399182</c:v>
                </c:pt>
                <c:pt idx="1580">
                  <c:v>1399013</c:v>
                </c:pt>
                <c:pt idx="1581">
                  <c:v>1399012</c:v>
                </c:pt>
                <c:pt idx="1582">
                  <c:v>1399010</c:v>
                </c:pt>
                <c:pt idx="1583">
                  <c:v>1398942</c:v>
                </c:pt>
                <c:pt idx="1584">
                  <c:v>1398861</c:v>
                </c:pt>
                <c:pt idx="1585">
                  <c:v>1398810</c:v>
                </c:pt>
                <c:pt idx="1586">
                  <c:v>1398783</c:v>
                </c:pt>
                <c:pt idx="1587">
                  <c:v>1398730</c:v>
                </c:pt>
                <c:pt idx="1588">
                  <c:v>1398708</c:v>
                </c:pt>
                <c:pt idx="1589">
                  <c:v>1398677</c:v>
                </c:pt>
                <c:pt idx="1590">
                  <c:v>1398535</c:v>
                </c:pt>
                <c:pt idx="1591">
                  <c:v>1398495</c:v>
                </c:pt>
                <c:pt idx="1592">
                  <c:v>1398451</c:v>
                </c:pt>
                <c:pt idx="1593">
                  <c:v>1398370</c:v>
                </c:pt>
                <c:pt idx="1594">
                  <c:v>1398254</c:v>
                </c:pt>
                <c:pt idx="1595">
                  <c:v>1398227</c:v>
                </c:pt>
                <c:pt idx="1596">
                  <c:v>1398179</c:v>
                </c:pt>
                <c:pt idx="1597">
                  <c:v>1398168</c:v>
                </c:pt>
                <c:pt idx="1598">
                  <c:v>1398167</c:v>
                </c:pt>
                <c:pt idx="1599">
                  <c:v>1397958</c:v>
                </c:pt>
                <c:pt idx="1600">
                  <c:v>1397915</c:v>
                </c:pt>
                <c:pt idx="1601">
                  <c:v>1397886</c:v>
                </c:pt>
                <c:pt idx="1602">
                  <c:v>1397791</c:v>
                </c:pt>
                <c:pt idx="1603">
                  <c:v>1397766</c:v>
                </c:pt>
                <c:pt idx="1604">
                  <c:v>1397687</c:v>
                </c:pt>
                <c:pt idx="1605">
                  <c:v>1397615</c:v>
                </c:pt>
                <c:pt idx="1606">
                  <c:v>1397498</c:v>
                </c:pt>
                <c:pt idx="1607">
                  <c:v>1397389</c:v>
                </c:pt>
                <c:pt idx="1608">
                  <c:v>1397350</c:v>
                </c:pt>
                <c:pt idx="1609">
                  <c:v>1397226</c:v>
                </c:pt>
                <c:pt idx="1610">
                  <c:v>1397179</c:v>
                </c:pt>
                <c:pt idx="1611">
                  <c:v>1396973</c:v>
                </c:pt>
                <c:pt idx="1612">
                  <c:v>1396928</c:v>
                </c:pt>
                <c:pt idx="1613">
                  <c:v>1396925</c:v>
                </c:pt>
                <c:pt idx="1614">
                  <c:v>1396847</c:v>
                </c:pt>
                <c:pt idx="1615">
                  <c:v>1396803</c:v>
                </c:pt>
                <c:pt idx="1616">
                  <c:v>1396732</c:v>
                </c:pt>
                <c:pt idx="1617">
                  <c:v>1396663</c:v>
                </c:pt>
                <c:pt idx="1618">
                  <c:v>1396529</c:v>
                </c:pt>
                <c:pt idx="1619">
                  <c:v>1396342</c:v>
                </c:pt>
                <c:pt idx="1620">
                  <c:v>1396174</c:v>
                </c:pt>
                <c:pt idx="1621">
                  <c:v>1396172</c:v>
                </c:pt>
                <c:pt idx="1622">
                  <c:v>1396022</c:v>
                </c:pt>
                <c:pt idx="1623">
                  <c:v>1395989</c:v>
                </c:pt>
                <c:pt idx="1624">
                  <c:v>1395838</c:v>
                </c:pt>
                <c:pt idx="1625">
                  <c:v>1395685</c:v>
                </c:pt>
                <c:pt idx="1626">
                  <c:v>1395632</c:v>
                </c:pt>
                <c:pt idx="1627">
                  <c:v>1395618</c:v>
                </c:pt>
                <c:pt idx="1628">
                  <c:v>1395323</c:v>
                </c:pt>
                <c:pt idx="1629">
                  <c:v>1395286</c:v>
                </c:pt>
                <c:pt idx="1630">
                  <c:v>1395202</c:v>
                </c:pt>
                <c:pt idx="1631">
                  <c:v>1395056</c:v>
                </c:pt>
                <c:pt idx="1632">
                  <c:v>1394965</c:v>
                </c:pt>
                <c:pt idx="1633">
                  <c:v>1394752</c:v>
                </c:pt>
                <c:pt idx="1634">
                  <c:v>1394745</c:v>
                </c:pt>
                <c:pt idx="1635">
                  <c:v>1394643</c:v>
                </c:pt>
                <c:pt idx="1636">
                  <c:v>1394455</c:v>
                </c:pt>
                <c:pt idx="1637">
                  <c:v>1394444</c:v>
                </c:pt>
                <c:pt idx="1638">
                  <c:v>1394219</c:v>
                </c:pt>
                <c:pt idx="1639">
                  <c:v>1394210</c:v>
                </c:pt>
                <c:pt idx="1640">
                  <c:v>1394155</c:v>
                </c:pt>
                <c:pt idx="1641">
                  <c:v>1393891</c:v>
                </c:pt>
                <c:pt idx="1642">
                  <c:v>1393770</c:v>
                </c:pt>
                <c:pt idx="1643">
                  <c:v>1393764</c:v>
                </c:pt>
                <c:pt idx="1644">
                  <c:v>1393580</c:v>
                </c:pt>
                <c:pt idx="1645">
                  <c:v>1393504</c:v>
                </c:pt>
                <c:pt idx="1646">
                  <c:v>1393463</c:v>
                </c:pt>
                <c:pt idx="1647">
                  <c:v>1393189</c:v>
                </c:pt>
                <c:pt idx="1648">
                  <c:v>1393116</c:v>
                </c:pt>
                <c:pt idx="1649">
                  <c:v>1393098</c:v>
                </c:pt>
                <c:pt idx="1650">
                  <c:v>1393067</c:v>
                </c:pt>
                <c:pt idx="1651">
                  <c:v>1392910</c:v>
                </c:pt>
                <c:pt idx="1652">
                  <c:v>1392701</c:v>
                </c:pt>
                <c:pt idx="1653">
                  <c:v>1392497</c:v>
                </c:pt>
                <c:pt idx="1654">
                  <c:v>1392430</c:v>
                </c:pt>
                <c:pt idx="1655">
                  <c:v>1392416</c:v>
                </c:pt>
                <c:pt idx="1656">
                  <c:v>1392363</c:v>
                </c:pt>
                <c:pt idx="1657">
                  <c:v>1392361</c:v>
                </c:pt>
                <c:pt idx="1658">
                  <c:v>1392189</c:v>
                </c:pt>
                <c:pt idx="1659">
                  <c:v>1392049</c:v>
                </c:pt>
                <c:pt idx="1660">
                  <c:v>1391963</c:v>
                </c:pt>
                <c:pt idx="1661">
                  <c:v>1391923</c:v>
                </c:pt>
                <c:pt idx="1662">
                  <c:v>1391487</c:v>
                </c:pt>
                <c:pt idx="1663">
                  <c:v>1391450</c:v>
                </c:pt>
                <c:pt idx="1664">
                  <c:v>1391364</c:v>
                </c:pt>
                <c:pt idx="1665">
                  <c:v>1391245</c:v>
                </c:pt>
                <c:pt idx="1666">
                  <c:v>1391235</c:v>
                </c:pt>
                <c:pt idx="1667">
                  <c:v>1391209</c:v>
                </c:pt>
                <c:pt idx="1668">
                  <c:v>1391021</c:v>
                </c:pt>
                <c:pt idx="1669">
                  <c:v>1390877</c:v>
                </c:pt>
                <c:pt idx="1670">
                  <c:v>1390855</c:v>
                </c:pt>
                <c:pt idx="1671">
                  <c:v>1390828</c:v>
                </c:pt>
                <c:pt idx="1672">
                  <c:v>1390804</c:v>
                </c:pt>
                <c:pt idx="1673">
                  <c:v>1390688</c:v>
                </c:pt>
                <c:pt idx="1674">
                  <c:v>1390594</c:v>
                </c:pt>
                <c:pt idx="1675">
                  <c:v>1390579</c:v>
                </c:pt>
                <c:pt idx="1676">
                  <c:v>1390416</c:v>
                </c:pt>
                <c:pt idx="1677">
                  <c:v>1390405</c:v>
                </c:pt>
                <c:pt idx="1678">
                  <c:v>1390373</c:v>
                </c:pt>
                <c:pt idx="1679">
                  <c:v>1389979</c:v>
                </c:pt>
                <c:pt idx="1680">
                  <c:v>1389941</c:v>
                </c:pt>
                <c:pt idx="1681">
                  <c:v>1389895</c:v>
                </c:pt>
                <c:pt idx="1682">
                  <c:v>1389868</c:v>
                </c:pt>
                <c:pt idx="1683">
                  <c:v>1389748</c:v>
                </c:pt>
                <c:pt idx="1684">
                  <c:v>1389550</c:v>
                </c:pt>
                <c:pt idx="1685">
                  <c:v>1389295</c:v>
                </c:pt>
                <c:pt idx="1686">
                  <c:v>1389248</c:v>
                </c:pt>
                <c:pt idx="1687">
                  <c:v>1389163</c:v>
                </c:pt>
                <c:pt idx="1688">
                  <c:v>1389129</c:v>
                </c:pt>
                <c:pt idx="1689">
                  <c:v>1389085</c:v>
                </c:pt>
                <c:pt idx="1690">
                  <c:v>1388960</c:v>
                </c:pt>
                <c:pt idx="1691">
                  <c:v>1388953</c:v>
                </c:pt>
                <c:pt idx="1692">
                  <c:v>1388928</c:v>
                </c:pt>
                <c:pt idx="1693">
                  <c:v>1388748</c:v>
                </c:pt>
                <c:pt idx="1694">
                  <c:v>1388710</c:v>
                </c:pt>
                <c:pt idx="1695">
                  <c:v>1388706</c:v>
                </c:pt>
                <c:pt idx="1696">
                  <c:v>1388666</c:v>
                </c:pt>
                <c:pt idx="1697">
                  <c:v>1388496</c:v>
                </c:pt>
                <c:pt idx="1698">
                  <c:v>1388262</c:v>
                </c:pt>
                <c:pt idx="1699">
                  <c:v>1388244</c:v>
                </c:pt>
                <c:pt idx="1700">
                  <c:v>1388128</c:v>
                </c:pt>
                <c:pt idx="1701">
                  <c:v>1388097</c:v>
                </c:pt>
                <c:pt idx="1702">
                  <c:v>1387783</c:v>
                </c:pt>
                <c:pt idx="1703">
                  <c:v>1387645</c:v>
                </c:pt>
                <c:pt idx="1704">
                  <c:v>1387593</c:v>
                </c:pt>
                <c:pt idx="1705">
                  <c:v>1387441</c:v>
                </c:pt>
                <c:pt idx="1706">
                  <c:v>1387277</c:v>
                </c:pt>
                <c:pt idx="1707">
                  <c:v>1387200</c:v>
                </c:pt>
                <c:pt idx="1708">
                  <c:v>1387110</c:v>
                </c:pt>
                <c:pt idx="1709">
                  <c:v>1387075</c:v>
                </c:pt>
                <c:pt idx="1710">
                  <c:v>1387056</c:v>
                </c:pt>
                <c:pt idx="1711">
                  <c:v>1387054</c:v>
                </c:pt>
                <c:pt idx="1712">
                  <c:v>1386898</c:v>
                </c:pt>
                <c:pt idx="1713">
                  <c:v>1386819</c:v>
                </c:pt>
                <c:pt idx="1714">
                  <c:v>1386753</c:v>
                </c:pt>
                <c:pt idx="1715">
                  <c:v>1386700</c:v>
                </c:pt>
                <c:pt idx="1716">
                  <c:v>1386481</c:v>
                </c:pt>
                <c:pt idx="1717">
                  <c:v>1386345</c:v>
                </c:pt>
                <c:pt idx="1718">
                  <c:v>1386272</c:v>
                </c:pt>
                <c:pt idx="1719">
                  <c:v>1386268</c:v>
                </c:pt>
                <c:pt idx="1720">
                  <c:v>1386201</c:v>
                </c:pt>
                <c:pt idx="1721">
                  <c:v>1386156</c:v>
                </c:pt>
                <c:pt idx="1722">
                  <c:v>1386126</c:v>
                </c:pt>
                <c:pt idx="1723">
                  <c:v>1386037</c:v>
                </c:pt>
                <c:pt idx="1724">
                  <c:v>1386017</c:v>
                </c:pt>
                <c:pt idx="1725">
                  <c:v>1385879</c:v>
                </c:pt>
                <c:pt idx="1726">
                  <c:v>1385853</c:v>
                </c:pt>
                <c:pt idx="1727">
                  <c:v>1385684</c:v>
                </c:pt>
                <c:pt idx="1728">
                  <c:v>1385638</c:v>
                </c:pt>
                <c:pt idx="1729">
                  <c:v>1385484</c:v>
                </c:pt>
                <c:pt idx="1730">
                  <c:v>1385356</c:v>
                </c:pt>
                <c:pt idx="1731">
                  <c:v>1385172</c:v>
                </c:pt>
                <c:pt idx="1732">
                  <c:v>1385131</c:v>
                </c:pt>
                <c:pt idx="1733">
                  <c:v>1385127</c:v>
                </c:pt>
                <c:pt idx="1734">
                  <c:v>1385065</c:v>
                </c:pt>
                <c:pt idx="1735">
                  <c:v>1385053</c:v>
                </c:pt>
                <c:pt idx="1736">
                  <c:v>1384781</c:v>
                </c:pt>
                <c:pt idx="1737">
                  <c:v>1384695</c:v>
                </c:pt>
                <c:pt idx="1738">
                  <c:v>1384689</c:v>
                </c:pt>
                <c:pt idx="1739">
                  <c:v>1384548</c:v>
                </c:pt>
                <c:pt idx="1740">
                  <c:v>1384435</c:v>
                </c:pt>
                <c:pt idx="1741">
                  <c:v>1384381</c:v>
                </c:pt>
                <c:pt idx="1742">
                  <c:v>1384212</c:v>
                </c:pt>
                <c:pt idx="1743">
                  <c:v>1384195</c:v>
                </c:pt>
                <c:pt idx="1744">
                  <c:v>1383769</c:v>
                </c:pt>
                <c:pt idx="1745">
                  <c:v>1383726</c:v>
                </c:pt>
                <c:pt idx="1746">
                  <c:v>1383672</c:v>
                </c:pt>
                <c:pt idx="1747">
                  <c:v>1383622</c:v>
                </c:pt>
                <c:pt idx="1748">
                  <c:v>1383348</c:v>
                </c:pt>
                <c:pt idx="1749">
                  <c:v>1383264</c:v>
                </c:pt>
                <c:pt idx="1750">
                  <c:v>1383257</c:v>
                </c:pt>
                <c:pt idx="1751">
                  <c:v>1383230</c:v>
                </c:pt>
                <c:pt idx="1752">
                  <c:v>1383048</c:v>
                </c:pt>
                <c:pt idx="1753">
                  <c:v>1382950</c:v>
                </c:pt>
                <c:pt idx="1754">
                  <c:v>1382907</c:v>
                </c:pt>
                <c:pt idx="1755">
                  <c:v>1382873</c:v>
                </c:pt>
                <c:pt idx="1756">
                  <c:v>1382756</c:v>
                </c:pt>
                <c:pt idx="1757">
                  <c:v>1382744</c:v>
                </c:pt>
                <c:pt idx="1758">
                  <c:v>1382700</c:v>
                </c:pt>
                <c:pt idx="1759">
                  <c:v>1382674</c:v>
                </c:pt>
                <c:pt idx="1760">
                  <c:v>1382650</c:v>
                </c:pt>
                <c:pt idx="1761">
                  <c:v>1382502</c:v>
                </c:pt>
                <c:pt idx="1762">
                  <c:v>1382487</c:v>
                </c:pt>
                <c:pt idx="1763">
                  <c:v>1382262</c:v>
                </c:pt>
                <c:pt idx="1764">
                  <c:v>1382203</c:v>
                </c:pt>
                <c:pt idx="1765">
                  <c:v>1382147</c:v>
                </c:pt>
                <c:pt idx="1766">
                  <c:v>1382140</c:v>
                </c:pt>
                <c:pt idx="1767">
                  <c:v>1382122</c:v>
                </c:pt>
                <c:pt idx="1768">
                  <c:v>1381977</c:v>
                </c:pt>
                <c:pt idx="1769">
                  <c:v>1381719</c:v>
                </c:pt>
                <c:pt idx="1770">
                  <c:v>1381407</c:v>
                </c:pt>
                <c:pt idx="1771">
                  <c:v>1381226</c:v>
                </c:pt>
                <c:pt idx="1772">
                  <c:v>1381127</c:v>
                </c:pt>
                <c:pt idx="1773">
                  <c:v>1381058</c:v>
                </c:pt>
                <c:pt idx="1774">
                  <c:v>1381012</c:v>
                </c:pt>
                <c:pt idx="1775">
                  <c:v>1380808</c:v>
                </c:pt>
                <c:pt idx="1776">
                  <c:v>1380791</c:v>
                </c:pt>
                <c:pt idx="1777">
                  <c:v>1380568</c:v>
                </c:pt>
                <c:pt idx="1778">
                  <c:v>1380486</c:v>
                </c:pt>
                <c:pt idx="1779">
                  <c:v>1380377</c:v>
                </c:pt>
                <c:pt idx="1780">
                  <c:v>1380198</c:v>
                </c:pt>
                <c:pt idx="1781">
                  <c:v>1380155</c:v>
                </c:pt>
                <c:pt idx="1782">
                  <c:v>1380091</c:v>
                </c:pt>
                <c:pt idx="1783">
                  <c:v>1380067</c:v>
                </c:pt>
                <c:pt idx="1784">
                  <c:v>1380039</c:v>
                </c:pt>
                <c:pt idx="1785">
                  <c:v>1380030</c:v>
                </c:pt>
                <c:pt idx="1786">
                  <c:v>1379929</c:v>
                </c:pt>
                <c:pt idx="1787">
                  <c:v>1379417</c:v>
                </c:pt>
                <c:pt idx="1788">
                  <c:v>1379415</c:v>
                </c:pt>
                <c:pt idx="1789">
                  <c:v>1379397</c:v>
                </c:pt>
                <c:pt idx="1790">
                  <c:v>1379265</c:v>
                </c:pt>
                <c:pt idx="1791">
                  <c:v>1379212</c:v>
                </c:pt>
                <c:pt idx="1792">
                  <c:v>1379132</c:v>
                </c:pt>
                <c:pt idx="1793">
                  <c:v>1379121</c:v>
                </c:pt>
                <c:pt idx="1794">
                  <c:v>1379113</c:v>
                </c:pt>
                <c:pt idx="1795">
                  <c:v>1379067</c:v>
                </c:pt>
                <c:pt idx="1796">
                  <c:v>1379034</c:v>
                </c:pt>
                <c:pt idx="1797">
                  <c:v>1379019</c:v>
                </c:pt>
                <c:pt idx="1798">
                  <c:v>1379000</c:v>
                </c:pt>
                <c:pt idx="1799">
                  <c:v>1378991</c:v>
                </c:pt>
                <c:pt idx="1800">
                  <c:v>1378974</c:v>
                </c:pt>
                <c:pt idx="1801">
                  <c:v>1378967</c:v>
                </c:pt>
                <c:pt idx="1802">
                  <c:v>1378869</c:v>
                </c:pt>
                <c:pt idx="1803">
                  <c:v>1378858</c:v>
                </c:pt>
                <c:pt idx="1804">
                  <c:v>1378777</c:v>
                </c:pt>
                <c:pt idx="1805">
                  <c:v>1378708</c:v>
                </c:pt>
                <c:pt idx="1806">
                  <c:v>1378596</c:v>
                </c:pt>
                <c:pt idx="1807">
                  <c:v>1378595</c:v>
                </c:pt>
                <c:pt idx="1808">
                  <c:v>1378429</c:v>
                </c:pt>
                <c:pt idx="1809">
                  <c:v>1378424</c:v>
                </c:pt>
                <c:pt idx="1810">
                  <c:v>1378418</c:v>
                </c:pt>
                <c:pt idx="1811">
                  <c:v>1378411</c:v>
                </c:pt>
                <c:pt idx="1812">
                  <c:v>1378362</c:v>
                </c:pt>
                <c:pt idx="1813">
                  <c:v>1378359</c:v>
                </c:pt>
                <c:pt idx="1814">
                  <c:v>1378112</c:v>
                </c:pt>
                <c:pt idx="1815">
                  <c:v>1378013</c:v>
                </c:pt>
                <c:pt idx="1816">
                  <c:v>1377953</c:v>
                </c:pt>
                <c:pt idx="1817">
                  <c:v>1377952</c:v>
                </c:pt>
                <c:pt idx="1818">
                  <c:v>1377875</c:v>
                </c:pt>
                <c:pt idx="1819">
                  <c:v>1377815</c:v>
                </c:pt>
                <c:pt idx="1820">
                  <c:v>1377793</c:v>
                </c:pt>
                <c:pt idx="1821">
                  <c:v>1377708</c:v>
                </c:pt>
                <c:pt idx="1822">
                  <c:v>1377375</c:v>
                </c:pt>
                <c:pt idx="1823">
                  <c:v>1377346</c:v>
                </c:pt>
                <c:pt idx="1824">
                  <c:v>1377329</c:v>
                </c:pt>
                <c:pt idx="1825">
                  <c:v>1377312</c:v>
                </c:pt>
                <c:pt idx="1826">
                  <c:v>1377312</c:v>
                </c:pt>
                <c:pt idx="1827">
                  <c:v>1377168</c:v>
                </c:pt>
                <c:pt idx="1828">
                  <c:v>1377085</c:v>
                </c:pt>
                <c:pt idx="1829">
                  <c:v>1376629</c:v>
                </c:pt>
                <c:pt idx="1830">
                  <c:v>1376612</c:v>
                </c:pt>
                <c:pt idx="1831">
                  <c:v>1376605</c:v>
                </c:pt>
                <c:pt idx="1832">
                  <c:v>1376485</c:v>
                </c:pt>
                <c:pt idx="1833">
                  <c:v>1376481</c:v>
                </c:pt>
                <c:pt idx="1834">
                  <c:v>1376454</c:v>
                </c:pt>
                <c:pt idx="1835">
                  <c:v>1376396</c:v>
                </c:pt>
                <c:pt idx="1836">
                  <c:v>1376361</c:v>
                </c:pt>
                <c:pt idx="1837">
                  <c:v>1376240</c:v>
                </c:pt>
                <c:pt idx="1838">
                  <c:v>1376076</c:v>
                </c:pt>
                <c:pt idx="1839">
                  <c:v>1376046</c:v>
                </c:pt>
                <c:pt idx="1840">
                  <c:v>1375683</c:v>
                </c:pt>
                <c:pt idx="1841">
                  <c:v>1375531</c:v>
                </c:pt>
                <c:pt idx="1842">
                  <c:v>1375502</c:v>
                </c:pt>
                <c:pt idx="1843">
                  <c:v>1375182</c:v>
                </c:pt>
                <c:pt idx="1844">
                  <c:v>1375180</c:v>
                </c:pt>
                <c:pt idx="1845">
                  <c:v>1375107</c:v>
                </c:pt>
                <c:pt idx="1846">
                  <c:v>1375028</c:v>
                </c:pt>
                <c:pt idx="1847">
                  <c:v>1375010</c:v>
                </c:pt>
                <c:pt idx="1848">
                  <c:v>1374981</c:v>
                </c:pt>
                <c:pt idx="1849">
                  <c:v>1374939</c:v>
                </c:pt>
                <c:pt idx="1850">
                  <c:v>1374854</c:v>
                </c:pt>
                <c:pt idx="1851">
                  <c:v>1374800</c:v>
                </c:pt>
                <c:pt idx="1852">
                  <c:v>1374535</c:v>
                </c:pt>
                <c:pt idx="1853">
                  <c:v>1374419</c:v>
                </c:pt>
                <c:pt idx="1854">
                  <c:v>1374336</c:v>
                </c:pt>
                <c:pt idx="1855">
                  <c:v>1374295</c:v>
                </c:pt>
                <c:pt idx="1856">
                  <c:v>1374210</c:v>
                </c:pt>
                <c:pt idx="1857">
                  <c:v>1373829</c:v>
                </c:pt>
                <c:pt idx="1858">
                  <c:v>1373786</c:v>
                </c:pt>
                <c:pt idx="1859">
                  <c:v>1373719</c:v>
                </c:pt>
                <c:pt idx="1860">
                  <c:v>1373571</c:v>
                </c:pt>
                <c:pt idx="1861">
                  <c:v>1373558</c:v>
                </c:pt>
                <c:pt idx="1862">
                  <c:v>1373550</c:v>
                </c:pt>
                <c:pt idx="1863">
                  <c:v>1373543</c:v>
                </c:pt>
                <c:pt idx="1864">
                  <c:v>1373427</c:v>
                </c:pt>
                <c:pt idx="1865">
                  <c:v>1373388</c:v>
                </c:pt>
                <c:pt idx="1866">
                  <c:v>1373281</c:v>
                </c:pt>
                <c:pt idx="1867">
                  <c:v>1373217</c:v>
                </c:pt>
                <c:pt idx="1868">
                  <c:v>1373171</c:v>
                </c:pt>
                <c:pt idx="1869">
                  <c:v>1372960</c:v>
                </c:pt>
                <c:pt idx="1870">
                  <c:v>1372937</c:v>
                </c:pt>
                <c:pt idx="1871">
                  <c:v>1372916</c:v>
                </c:pt>
                <c:pt idx="1872">
                  <c:v>1372907</c:v>
                </c:pt>
                <c:pt idx="1873">
                  <c:v>1372785</c:v>
                </c:pt>
                <c:pt idx="1874">
                  <c:v>1372478</c:v>
                </c:pt>
                <c:pt idx="1875">
                  <c:v>1372441</c:v>
                </c:pt>
                <c:pt idx="1876">
                  <c:v>1372317</c:v>
                </c:pt>
                <c:pt idx="1877">
                  <c:v>1372274</c:v>
                </c:pt>
                <c:pt idx="1878">
                  <c:v>1372081</c:v>
                </c:pt>
                <c:pt idx="1879">
                  <c:v>1371951</c:v>
                </c:pt>
                <c:pt idx="1880">
                  <c:v>1371861</c:v>
                </c:pt>
                <c:pt idx="1881">
                  <c:v>1371851</c:v>
                </c:pt>
                <c:pt idx="1882">
                  <c:v>1371843</c:v>
                </c:pt>
                <c:pt idx="1883">
                  <c:v>1371828</c:v>
                </c:pt>
                <c:pt idx="1884">
                  <c:v>1371828</c:v>
                </c:pt>
                <c:pt idx="1885">
                  <c:v>1371673</c:v>
                </c:pt>
                <c:pt idx="1886">
                  <c:v>1371591</c:v>
                </c:pt>
                <c:pt idx="1887">
                  <c:v>1371565</c:v>
                </c:pt>
                <c:pt idx="1888">
                  <c:v>1371532</c:v>
                </c:pt>
                <c:pt idx="1889">
                  <c:v>1371509</c:v>
                </c:pt>
                <c:pt idx="1890">
                  <c:v>1371436</c:v>
                </c:pt>
                <c:pt idx="1891">
                  <c:v>1371353</c:v>
                </c:pt>
                <c:pt idx="1892">
                  <c:v>1371237</c:v>
                </c:pt>
                <c:pt idx="1893">
                  <c:v>1371058</c:v>
                </c:pt>
                <c:pt idx="1894">
                  <c:v>1370979</c:v>
                </c:pt>
                <c:pt idx="1895">
                  <c:v>1370809</c:v>
                </c:pt>
                <c:pt idx="1896">
                  <c:v>1370709</c:v>
                </c:pt>
                <c:pt idx="1897">
                  <c:v>1370509</c:v>
                </c:pt>
                <c:pt idx="1898">
                  <c:v>1370434</c:v>
                </c:pt>
                <c:pt idx="1899">
                  <c:v>1370307</c:v>
                </c:pt>
                <c:pt idx="1900">
                  <c:v>1370114</c:v>
                </c:pt>
                <c:pt idx="1901">
                  <c:v>1370018</c:v>
                </c:pt>
                <c:pt idx="1902">
                  <c:v>1370017</c:v>
                </c:pt>
                <c:pt idx="1903">
                  <c:v>1369970</c:v>
                </c:pt>
                <c:pt idx="1904">
                  <c:v>1369913</c:v>
                </c:pt>
                <c:pt idx="1905">
                  <c:v>1369908</c:v>
                </c:pt>
                <c:pt idx="1906">
                  <c:v>1369901</c:v>
                </c:pt>
                <c:pt idx="1907">
                  <c:v>1369878</c:v>
                </c:pt>
                <c:pt idx="1908">
                  <c:v>1369851</c:v>
                </c:pt>
                <c:pt idx="1909">
                  <c:v>1369837</c:v>
                </c:pt>
                <c:pt idx="1910">
                  <c:v>1369426</c:v>
                </c:pt>
                <c:pt idx="1911">
                  <c:v>1369387</c:v>
                </c:pt>
                <c:pt idx="1912">
                  <c:v>1369383</c:v>
                </c:pt>
                <c:pt idx="1913">
                  <c:v>1369304</c:v>
                </c:pt>
                <c:pt idx="1914">
                  <c:v>1369276</c:v>
                </c:pt>
                <c:pt idx="1915">
                  <c:v>1369174</c:v>
                </c:pt>
                <c:pt idx="1916">
                  <c:v>1369038</c:v>
                </c:pt>
                <c:pt idx="1917">
                  <c:v>1369026</c:v>
                </c:pt>
                <c:pt idx="1918">
                  <c:v>1369019</c:v>
                </c:pt>
                <c:pt idx="1919">
                  <c:v>1369012</c:v>
                </c:pt>
                <c:pt idx="1920">
                  <c:v>1368925</c:v>
                </c:pt>
                <c:pt idx="1921">
                  <c:v>1368797</c:v>
                </c:pt>
                <c:pt idx="1922">
                  <c:v>1368787</c:v>
                </c:pt>
                <c:pt idx="1923">
                  <c:v>1368738</c:v>
                </c:pt>
                <c:pt idx="1924">
                  <c:v>1368610</c:v>
                </c:pt>
                <c:pt idx="1925">
                  <c:v>1368545</c:v>
                </c:pt>
                <c:pt idx="1926">
                  <c:v>1368500</c:v>
                </c:pt>
                <c:pt idx="1927">
                  <c:v>1368473</c:v>
                </c:pt>
                <c:pt idx="1928">
                  <c:v>1368457</c:v>
                </c:pt>
                <c:pt idx="1929">
                  <c:v>1368397</c:v>
                </c:pt>
                <c:pt idx="1930">
                  <c:v>1368394</c:v>
                </c:pt>
                <c:pt idx="1931">
                  <c:v>1368296</c:v>
                </c:pt>
                <c:pt idx="1932">
                  <c:v>1368197</c:v>
                </c:pt>
                <c:pt idx="1933">
                  <c:v>1368169</c:v>
                </c:pt>
                <c:pt idx="1934">
                  <c:v>1368137</c:v>
                </c:pt>
                <c:pt idx="1935">
                  <c:v>1368084</c:v>
                </c:pt>
                <c:pt idx="1936">
                  <c:v>1368038</c:v>
                </c:pt>
                <c:pt idx="1937">
                  <c:v>1368014</c:v>
                </c:pt>
                <c:pt idx="1938">
                  <c:v>1368005</c:v>
                </c:pt>
                <c:pt idx="1939">
                  <c:v>1367921</c:v>
                </c:pt>
                <c:pt idx="1940">
                  <c:v>1367918</c:v>
                </c:pt>
                <c:pt idx="1941">
                  <c:v>1367901</c:v>
                </c:pt>
                <c:pt idx="1942">
                  <c:v>1367853</c:v>
                </c:pt>
                <c:pt idx="1943">
                  <c:v>1367632</c:v>
                </c:pt>
                <c:pt idx="1944">
                  <c:v>1367479</c:v>
                </c:pt>
                <c:pt idx="1945">
                  <c:v>1367476</c:v>
                </c:pt>
                <c:pt idx="1946">
                  <c:v>1367298</c:v>
                </c:pt>
                <c:pt idx="1947">
                  <c:v>1367248</c:v>
                </c:pt>
                <c:pt idx="1948">
                  <c:v>1367181</c:v>
                </c:pt>
                <c:pt idx="1949">
                  <c:v>1367067</c:v>
                </c:pt>
                <c:pt idx="1950">
                  <c:v>1367055</c:v>
                </c:pt>
                <c:pt idx="1951">
                  <c:v>1366985</c:v>
                </c:pt>
                <c:pt idx="1952">
                  <c:v>1366847</c:v>
                </c:pt>
                <c:pt idx="1953">
                  <c:v>1366846</c:v>
                </c:pt>
                <c:pt idx="1954">
                  <c:v>1366741</c:v>
                </c:pt>
                <c:pt idx="1955">
                  <c:v>1366715</c:v>
                </c:pt>
                <c:pt idx="1956">
                  <c:v>1366704</c:v>
                </c:pt>
                <c:pt idx="1957">
                  <c:v>1366632</c:v>
                </c:pt>
                <c:pt idx="1958">
                  <c:v>1366579</c:v>
                </c:pt>
                <c:pt idx="1959">
                  <c:v>1366465</c:v>
                </c:pt>
                <c:pt idx="1960">
                  <c:v>1366444</c:v>
                </c:pt>
                <c:pt idx="1961">
                  <c:v>1366409</c:v>
                </c:pt>
                <c:pt idx="1962">
                  <c:v>1366334</c:v>
                </c:pt>
                <c:pt idx="1963">
                  <c:v>1366277</c:v>
                </c:pt>
                <c:pt idx="1964">
                  <c:v>1366271</c:v>
                </c:pt>
                <c:pt idx="1965">
                  <c:v>1366105</c:v>
                </c:pt>
                <c:pt idx="1966">
                  <c:v>1365927</c:v>
                </c:pt>
                <c:pt idx="1967">
                  <c:v>1365709</c:v>
                </c:pt>
                <c:pt idx="1968">
                  <c:v>1365683</c:v>
                </c:pt>
                <c:pt idx="1969">
                  <c:v>1365573</c:v>
                </c:pt>
                <c:pt idx="1970">
                  <c:v>1365440</c:v>
                </c:pt>
                <c:pt idx="1971">
                  <c:v>1365252</c:v>
                </c:pt>
                <c:pt idx="1972">
                  <c:v>1365153</c:v>
                </c:pt>
                <c:pt idx="1973">
                  <c:v>1365062</c:v>
                </c:pt>
                <c:pt idx="1974">
                  <c:v>1364964</c:v>
                </c:pt>
                <c:pt idx="1975">
                  <c:v>1364956</c:v>
                </c:pt>
                <c:pt idx="1976">
                  <c:v>1364904</c:v>
                </c:pt>
                <c:pt idx="1977">
                  <c:v>1364888</c:v>
                </c:pt>
                <c:pt idx="1978">
                  <c:v>1364511</c:v>
                </c:pt>
                <c:pt idx="1979">
                  <c:v>1364435</c:v>
                </c:pt>
                <c:pt idx="1980">
                  <c:v>1364285</c:v>
                </c:pt>
                <c:pt idx="1981">
                  <c:v>1364248</c:v>
                </c:pt>
                <c:pt idx="1982">
                  <c:v>1364179</c:v>
                </c:pt>
                <c:pt idx="1983">
                  <c:v>1364163</c:v>
                </c:pt>
                <c:pt idx="1984">
                  <c:v>1364008</c:v>
                </c:pt>
                <c:pt idx="1985">
                  <c:v>1363942</c:v>
                </c:pt>
                <c:pt idx="1986">
                  <c:v>1363861</c:v>
                </c:pt>
                <c:pt idx="1987">
                  <c:v>1363573</c:v>
                </c:pt>
                <c:pt idx="1988">
                  <c:v>1363517</c:v>
                </c:pt>
                <c:pt idx="1989">
                  <c:v>1363496</c:v>
                </c:pt>
                <c:pt idx="1990">
                  <c:v>1363489</c:v>
                </c:pt>
                <c:pt idx="1991">
                  <c:v>1363488</c:v>
                </c:pt>
                <c:pt idx="1992">
                  <c:v>1363472</c:v>
                </c:pt>
                <c:pt idx="1993">
                  <c:v>1363374</c:v>
                </c:pt>
                <c:pt idx="1994">
                  <c:v>1363284</c:v>
                </c:pt>
                <c:pt idx="1995">
                  <c:v>1363278</c:v>
                </c:pt>
                <c:pt idx="1996">
                  <c:v>1363223</c:v>
                </c:pt>
                <c:pt idx="1997">
                  <c:v>1363169</c:v>
                </c:pt>
                <c:pt idx="1998">
                  <c:v>1363049</c:v>
                </c:pt>
                <c:pt idx="1999">
                  <c:v>1363031</c:v>
                </c:pt>
                <c:pt idx="2000">
                  <c:v>1362953</c:v>
                </c:pt>
                <c:pt idx="2001">
                  <c:v>1362939</c:v>
                </c:pt>
                <c:pt idx="2002">
                  <c:v>1362924</c:v>
                </c:pt>
                <c:pt idx="2003">
                  <c:v>1362867</c:v>
                </c:pt>
                <c:pt idx="2004">
                  <c:v>1362809</c:v>
                </c:pt>
                <c:pt idx="2005">
                  <c:v>1362706</c:v>
                </c:pt>
                <c:pt idx="2006">
                  <c:v>1362690</c:v>
                </c:pt>
                <c:pt idx="2007">
                  <c:v>1362414</c:v>
                </c:pt>
                <c:pt idx="2008">
                  <c:v>1362319</c:v>
                </c:pt>
                <c:pt idx="2009">
                  <c:v>1362207</c:v>
                </c:pt>
                <c:pt idx="2010">
                  <c:v>1362105</c:v>
                </c:pt>
                <c:pt idx="2011">
                  <c:v>1362079</c:v>
                </c:pt>
                <c:pt idx="2012">
                  <c:v>1362039</c:v>
                </c:pt>
                <c:pt idx="2013">
                  <c:v>1361964</c:v>
                </c:pt>
                <c:pt idx="2014">
                  <c:v>1361938</c:v>
                </c:pt>
                <c:pt idx="2015">
                  <c:v>1361787</c:v>
                </c:pt>
                <c:pt idx="2016">
                  <c:v>1361714</c:v>
                </c:pt>
                <c:pt idx="2017">
                  <c:v>1361697</c:v>
                </c:pt>
                <c:pt idx="2018">
                  <c:v>1361686</c:v>
                </c:pt>
                <c:pt idx="2019">
                  <c:v>1361647</c:v>
                </c:pt>
                <c:pt idx="2020">
                  <c:v>1361635</c:v>
                </c:pt>
                <c:pt idx="2021">
                  <c:v>1361619</c:v>
                </c:pt>
                <c:pt idx="2022">
                  <c:v>1361572</c:v>
                </c:pt>
                <c:pt idx="2023">
                  <c:v>1361525</c:v>
                </c:pt>
                <c:pt idx="2024">
                  <c:v>1361453</c:v>
                </c:pt>
                <c:pt idx="2025">
                  <c:v>1361391</c:v>
                </c:pt>
                <c:pt idx="2026">
                  <c:v>1361297</c:v>
                </c:pt>
                <c:pt idx="2027">
                  <c:v>1361266</c:v>
                </c:pt>
                <c:pt idx="2028">
                  <c:v>1361142</c:v>
                </c:pt>
                <c:pt idx="2029">
                  <c:v>1361130</c:v>
                </c:pt>
                <c:pt idx="2030">
                  <c:v>1360823</c:v>
                </c:pt>
                <c:pt idx="2031">
                  <c:v>1360591</c:v>
                </c:pt>
                <c:pt idx="2032">
                  <c:v>1360556</c:v>
                </c:pt>
                <c:pt idx="2033">
                  <c:v>1360494</c:v>
                </c:pt>
                <c:pt idx="2034">
                  <c:v>1360465</c:v>
                </c:pt>
                <c:pt idx="2035">
                  <c:v>1360461</c:v>
                </c:pt>
                <c:pt idx="2036">
                  <c:v>1360426</c:v>
                </c:pt>
                <c:pt idx="2037">
                  <c:v>1360339</c:v>
                </c:pt>
                <c:pt idx="2038">
                  <c:v>1360319</c:v>
                </c:pt>
                <c:pt idx="2039">
                  <c:v>1360290</c:v>
                </c:pt>
                <c:pt idx="2040">
                  <c:v>1360242</c:v>
                </c:pt>
                <c:pt idx="2041">
                  <c:v>1360199</c:v>
                </c:pt>
                <c:pt idx="2042">
                  <c:v>1360144</c:v>
                </c:pt>
                <c:pt idx="2043">
                  <c:v>1360003</c:v>
                </c:pt>
                <c:pt idx="2044">
                  <c:v>1359937</c:v>
                </c:pt>
                <c:pt idx="2045">
                  <c:v>1359937</c:v>
                </c:pt>
                <c:pt idx="2046">
                  <c:v>1359879</c:v>
                </c:pt>
                <c:pt idx="2047">
                  <c:v>1359852</c:v>
                </c:pt>
                <c:pt idx="2048">
                  <c:v>1359697</c:v>
                </c:pt>
                <c:pt idx="2049">
                  <c:v>1359554</c:v>
                </c:pt>
                <c:pt idx="2050">
                  <c:v>1359550</c:v>
                </c:pt>
                <c:pt idx="2051">
                  <c:v>1359537</c:v>
                </c:pt>
                <c:pt idx="2052">
                  <c:v>1359507</c:v>
                </c:pt>
                <c:pt idx="2053">
                  <c:v>1359133</c:v>
                </c:pt>
                <c:pt idx="2054">
                  <c:v>1359016</c:v>
                </c:pt>
                <c:pt idx="2055">
                  <c:v>1358851</c:v>
                </c:pt>
                <c:pt idx="2056">
                  <c:v>1358843</c:v>
                </c:pt>
                <c:pt idx="2057">
                  <c:v>1358717</c:v>
                </c:pt>
                <c:pt idx="2058">
                  <c:v>1358579</c:v>
                </c:pt>
                <c:pt idx="2059">
                  <c:v>1358578</c:v>
                </c:pt>
                <c:pt idx="2060">
                  <c:v>1358542</c:v>
                </c:pt>
                <c:pt idx="2061">
                  <c:v>1358292</c:v>
                </c:pt>
                <c:pt idx="2062">
                  <c:v>1358266</c:v>
                </c:pt>
                <c:pt idx="2063">
                  <c:v>1358233</c:v>
                </c:pt>
                <c:pt idx="2064">
                  <c:v>1358119</c:v>
                </c:pt>
                <c:pt idx="2065">
                  <c:v>1358119</c:v>
                </c:pt>
                <c:pt idx="2066">
                  <c:v>1357971</c:v>
                </c:pt>
                <c:pt idx="2067">
                  <c:v>1357869</c:v>
                </c:pt>
                <c:pt idx="2068">
                  <c:v>1357771</c:v>
                </c:pt>
                <c:pt idx="2069">
                  <c:v>1357744</c:v>
                </c:pt>
                <c:pt idx="2070">
                  <c:v>1357726</c:v>
                </c:pt>
                <c:pt idx="2071">
                  <c:v>1357639</c:v>
                </c:pt>
                <c:pt idx="2072">
                  <c:v>1357464</c:v>
                </c:pt>
                <c:pt idx="2073">
                  <c:v>1357429</c:v>
                </c:pt>
                <c:pt idx="2074">
                  <c:v>1357267</c:v>
                </c:pt>
                <c:pt idx="2075">
                  <c:v>1357177</c:v>
                </c:pt>
                <c:pt idx="2076">
                  <c:v>1357082</c:v>
                </c:pt>
                <c:pt idx="2077">
                  <c:v>1357073</c:v>
                </c:pt>
                <c:pt idx="2078">
                  <c:v>1357053</c:v>
                </c:pt>
                <c:pt idx="2079">
                  <c:v>1357050</c:v>
                </c:pt>
                <c:pt idx="2080">
                  <c:v>1357000</c:v>
                </c:pt>
                <c:pt idx="2081">
                  <c:v>1356928</c:v>
                </c:pt>
                <c:pt idx="2082">
                  <c:v>1356896</c:v>
                </c:pt>
                <c:pt idx="2083">
                  <c:v>1356861</c:v>
                </c:pt>
                <c:pt idx="2084">
                  <c:v>1356817</c:v>
                </c:pt>
                <c:pt idx="2085">
                  <c:v>1356758</c:v>
                </c:pt>
                <c:pt idx="2086">
                  <c:v>1356669</c:v>
                </c:pt>
                <c:pt idx="2087">
                  <c:v>1356604</c:v>
                </c:pt>
                <c:pt idx="2088">
                  <c:v>1356583</c:v>
                </c:pt>
                <c:pt idx="2089">
                  <c:v>1356478</c:v>
                </c:pt>
                <c:pt idx="2090">
                  <c:v>1356284</c:v>
                </c:pt>
                <c:pt idx="2091">
                  <c:v>1356225</c:v>
                </c:pt>
                <c:pt idx="2092">
                  <c:v>1356103</c:v>
                </c:pt>
                <c:pt idx="2093">
                  <c:v>1356082</c:v>
                </c:pt>
                <c:pt idx="2094">
                  <c:v>1356040</c:v>
                </c:pt>
                <c:pt idx="2095">
                  <c:v>1355894</c:v>
                </c:pt>
                <c:pt idx="2096">
                  <c:v>1355811</c:v>
                </c:pt>
                <c:pt idx="2097">
                  <c:v>1355684</c:v>
                </c:pt>
                <c:pt idx="2098">
                  <c:v>1355575</c:v>
                </c:pt>
                <c:pt idx="2099">
                  <c:v>1355564</c:v>
                </c:pt>
                <c:pt idx="2100">
                  <c:v>1355543</c:v>
                </c:pt>
                <c:pt idx="2101">
                  <c:v>1355510</c:v>
                </c:pt>
                <c:pt idx="2102">
                  <c:v>1355508</c:v>
                </c:pt>
                <c:pt idx="2103">
                  <c:v>1355449</c:v>
                </c:pt>
                <c:pt idx="2104">
                  <c:v>1355410</c:v>
                </c:pt>
                <c:pt idx="2105">
                  <c:v>1355371</c:v>
                </c:pt>
                <c:pt idx="2106">
                  <c:v>1355273</c:v>
                </c:pt>
                <c:pt idx="2107">
                  <c:v>1355077</c:v>
                </c:pt>
                <c:pt idx="2108">
                  <c:v>1354869</c:v>
                </c:pt>
                <c:pt idx="2109">
                  <c:v>1354741</c:v>
                </c:pt>
                <c:pt idx="2110">
                  <c:v>1354580</c:v>
                </c:pt>
                <c:pt idx="2111">
                  <c:v>1354535</c:v>
                </c:pt>
                <c:pt idx="2112">
                  <c:v>1354520</c:v>
                </c:pt>
                <c:pt idx="2113">
                  <c:v>1354371</c:v>
                </c:pt>
                <c:pt idx="2114">
                  <c:v>1354282</c:v>
                </c:pt>
                <c:pt idx="2115">
                  <c:v>1354260</c:v>
                </c:pt>
                <c:pt idx="2116">
                  <c:v>1354212</c:v>
                </c:pt>
                <c:pt idx="2117">
                  <c:v>1354181</c:v>
                </c:pt>
                <c:pt idx="2118">
                  <c:v>1354149</c:v>
                </c:pt>
                <c:pt idx="2119">
                  <c:v>1354133</c:v>
                </c:pt>
                <c:pt idx="2120">
                  <c:v>1354096</c:v>
                </c:pt>
                <c:pt idx="2121">
                  <c:v>1353988</c:v>
                </c:pt>
                <c:pt idx="2122">
                  <c:v>1353888</c:v>
                </c:pt>
                <c:pt idx="2123">
                  <c:v>1353839</c:v>
                </c:pt>
                <c:pt idx="2124">
                  <c:v>1353574</c:v>
                </c:pt>
                <c:pt idx="2125">
                  <c:v>1353528</c:v>
                </c:pt>
                <c:pt idx="2126">
                  <c:v>1353518</c:v>
                </c:pt>
                <c:pt idx="2127">
                  <c:v>1353487</c:v>
                </c:pt>
                <c:pt idx="2128">
                  <c:v>1353481</c:v>
                </c:pt>
                <c:pt idx="2129">
                  <c:v>1353435</c:v>
                </c:pt>
                <c:pt idx="2130">
                  <c:v>1353326</c:v>
                </c:pt>
                <c:pt idx="2131">
                  <c:v>1353301</c:v>
                </c:pt>
                <c:pt idx="2132">
                  <c:v>1353254</c:v>
                </c:pt>
                <c:pt idx="2133">
                  <c:v>1353212</c:v>
                </c:pt>
                <c:pt idx="2134">
                  <c:v>1353158</c:v>
                </c:pt>
                <c:pt idx="2135">
                  <c:v>1353085</c:v>
                </c:pt>
                <c:pt idx="2136">
                  <c:v>1353076</c:v>
                </c:pt>
                <c:pt idx="2137">
                  <c:v>1352961</c:v>
                </c:pt>
                <c:pt idx="2138">
                  <c:v>1352893</c:v>
                </c:pt>
                <c:pt idx="2139">
                  <c:v>1352741</c:v>
                </c:pt>
                <c:pt idx="2140">
                  <c:v>1352710</c:v>
                </c:pt>
                <c:pt idx="2141">
                  <c:v>1352633</c:v>
                </c:pt>
                <c:pt idx="2142">
                  <c:v>1352497</c:v>
                </c:pt>
                <c:pt idx="2143">
                  <c:v>1352417</c:v>
                </c:pt>
                <c:pt idx="2144">
                  <c:v>1352381</c:v>
                </c:pt>
                <c:pt idx="2145">
                  <c:v>1352247</c:v>
                </c:pt>
                <c:pt idx="2146">
                  <c:v>1352206</c:v>
                </c:pt>
                <c:pt idx="2147">
                  <c:v>1352120</c:v>
                </c:pt>
                <c:pt idx="2148">
                  <c:v>1351958</c:v>
                </c:pt>
                <c:pt idx="2149">
                  <c:v>1351954</c:v>
                </c:pt>
                <c:pt idx="2150">
                  <c:v>1351874</c:v>
                </c:pt>
                <c:pt idx="2151">
                  <c:v>1351874</c:v>
                </c:pt>
                <c:pt idx="2152">
                  <c:v>1351815</c:v>
                </c:pt>
                <c:pt idx="2153">
                  <c:v>1351805</c:v>
                </c:pt>
                <c:pt idx="2154">
                  <c:v>1351749</c:v>
                </c:pt>
                <c:pt idx="2155">
                  <c:v>1351710</c:v>
                </c:pt>
                <c:pt idx="2156">
                  <c:v>1351709</c:v>
                </c:pt>
                <c:pt idx="2157">
                  <c:v>1351660</c:v>
                </c:pt>
                <c:pt idx="2158">
                  <c:v>1351515</c:v>
                </c:pt>
                <c:pt idx="2159">
                  <c:v>1351382</c:v>
                </c:pt>
                <c:pt idx="2160">
                  <c:v>1351317</c:v>
                </c:pt>
                <c:pt idx="2161">
                  <c:v>1351301</c:v>
                </c:pt>
                <c:pt idx="2162">
                  <c:v>1351300</c:v>
                </c:pt>
                <c:pt idx="2163">
                  <c:v>1351297</c:v>
                </c:pt>
                <c:pt idx="2164">
                  <c:v>1351273</c:v>
                </c:pt>
                <c:pt idx="2165">
                  <c:v>1351257</c:v>
                </c:pt>
                <c:pt idx="2166">
                  <c:v>1351245</c:v>
                </c:pt>
                <c:pt idx="2167">
                  <c:v>1351223</c:v>
                </c:pt>
                <c:pt idx="2168">
                  <c:v>1351165</c:v>
                </c:pt>
                <c:pt idx="2169">
                  <c:v>1351149</c:v>
                </c:pt>
                <c:pt idx="2170">
                  <c:v>1351047</c:v>
                </c:pt>
                <c:pt idx="2171">
                  <c:v>1351043</c:v>
                </c:pt>
                <c:pt idx="2172">
                  <c:v>1351037</c:v>
                </c:pt>
                <c:pt idx="2173">
                  <c:v>1350811</c:v>
                </c:pt>
                <c:pt idx="2174">
                  <c:v>1350682</c:v>
                </c:pt>
                <c:pt idx="2175">
                  <c:v>1350370</c:v>
                </c:pt>
                <c:pt idx="2176">
                  <c:v>1350318</c:v>
                </c:pt>
                <c:pt idx="2177">
                  <c:v>1350304</c:v>
                </c:pt>
                <c:pt idx="2178">
                  <c:v>1350110</c:v>
                </c:pt>
                <c:pt idx="2179">
                  <c:v>1350079</c:v>
                </c:pt>
                <c:pt idx="2180">
                  <c:v>1349952</c:v>
                </c:pt>
                <c:pt idx="2181">
                  <c:v>1349915</c:v>
                </c:pt>
                <c:pt idx="2182">
                  <c:v>1349912</c:v>
                </c:pt>
                <c:pt idx="2183">
                  <c:v>1349842</c:v>
                </c:pt>
                <c:pt idx="2184">
                  <c:v>1349822</c:v>
                </c:pt>
                <c:pt idx="2185">
                  <c:v>1349797</c:v>
                </c:pt>
                <c:pt idx="2186">
                  <c:v>1349731</c:v>
                </c:pt>
                <c:pt idx="2187">
                  <c:v>1349582</c:v>
                </c:pt>
                <c:pt idx="2188">
                  <c:v>1349447</c:v>
                </c:pt>
                <c:pt idx="2189">
                  <c:v>1349413</c:v>
                </c:pt>
                <c:pt idx="2190">
                  <c:v>1349412</c:v>
                </c:pt>
                <c:pt idx="2191">
                  <c:v>1349403</c:v>
                </c:pt>
                <c:pt idx="2192">
                  <c:v>1349386</c:v>
                </c:pt>
                <c:pt idx="2193">
                  <c:v>1349345</c:v>
                </c:pt>
                <c:pt idx="2194">
                  <c:v>1349212</c:v>
                </c:pt>
                <c:pt idx="2195">
                  <c:v>1349108</c:v>
                </c:pt>
                <c:pt idx="2196">
                  <c:v>1349058</c:v>
                </c:pt>
                <c:pt idx="2197">
                  <c:v>1348984</c:v>
                </c:pt>
                <c:pt idx="2198">
                  <c:v>1348875</c:v>
                </c:pt>
                <c:pt idx="2199">
                  <c:v>1348741</c:v>
                </c:pt>
                <c:pt idx="2200">
                  <c:v>1348647</c:v>
                </c:pt>
                <c:pt idx="2201">
                  <c:v>1348646</c:v>
                </c:pt>
                <c:pt idx="2202">
                  <c:v>1348631</c:v>
                </c:pt>
                <c:pt idx="2203">
                  <c:v>1348589</c:v>
                </c:pt>
                <c:pt idx="2204">
                  <c:v>1348566</c:v>
                </c:pt>
                <c:pt idx="2205">
                  <c:v>1348556</c:v>
                </c:pt>
                <c:pt idx="2206">
                  <c:v>1348357</c:v>
                </c:pt>
                <c:pt idx="2207">
                  <c:v>1348354</c:v>
                </c:pt>
                <c:pt idx="2208">
                  <c:v>1348347</c:v>
                </c:pt>
                <c:pt idx="2209">
                  <c:v>1348219</c:v>
                </c:pt>
                <c:pt idx="2210">
                  <c:v>1348110</c:v>
                </c:pt>
                <c:pt idx="2211">
                  <c:v>1348019</c:v>
                </c:pt>
                <c:pt idx="2212">
                  <c:v>1348006</c:v>
                </c:pt>
                <c:pt idx="2213">
                  <c:v>1347883</c:v>
                </c:pt>
                <c:pt idx="2214">
                  <c:v>1347880</c:v>
                </c:pt>
                <c:pt idx="2215">
                  <c:v>1347872</c:v>
                </c:pt>
                <c:pt idx="2216">
                  <c:v>1347749</c:v>
                </c:pt>
                <c:pt idx="2217">
                  <c:v>1347558</c:v>
                </c:pt>
                <c:pt idx="2218">
                  <c:v>1347354</c:v>
                </c:pt>
                <c:pt idx="2219">
                  <c:v>1347310</c:v>
                </c:pt>
                <c:pt idx="2220">
                  <c:v>1347299</c:v>
                </c:pt>
                <c:pt idx="2221">
                  <c:v>1347239</c:v>
                </c:pt>
                <c:pt idx="2222">
                  <c:v>1347117</c:v>
                </c:pt>
                <c:pt idx="2223">
                  <c:v>1347018</c:v>
                </c:pt>
                <c:pt idx="2224">
                  <c:v>1347004</c:v>
                </c:pt>
                <c:pt idx="2225">
                  <c:v>1346977</c:v>
                </c:pt>
                <c:pt idx="2226">
                  <c:v>1346962</c:v>
                </c:pt>
                <c:pt idx="2227">
                  <c:v>1346953</c:v>
                </c:pt>
                <c:pt idx="2228">
                  <c:v>1346907</c:v>
                </c:pt>
                <c:pt idx="2229">
                  <c:v>1346900</c:v>
                </c:pt>
                <c:pt idx="2230">
                  <c:v>1346864</c:v>
                </c:pt>
                <c:pt idx="2231">
                  <c:v>1346850</c:v>
                </c:pt>
                <c:pt idx="2232">
                  <c:v>1346820</c:v>
                </c:pt>
                <c:pt idx="2233">
                  <c:v>1346744</c:v>
                </c:pt>
                <c:pt idx="2234">
                  <c:v>1346732</c:v>
                </c:pt>
                <c:pt idx="2235">
                  <c:v>1346598</c:v>
                </c:pt>
                <c:pt idx="2236">
                  <c:v>1346142</c:v>
                </c:pt>
                <c:pt idx="2237">
                  <c:v>1346101</c:v>
                </c:pt>
                <c:pt idx="2238">
                  <c:v>1346066</c:v>
                </c:pt>
                <c:pt idx="2239">
                  <c:v>1346030</c:v>
                </c:pt>
                <c:pt idx="2240">
                  <c:v>1345987</c:v>
                </c:pt>
                <c:pt idx="2241">
                  <c:v>1345954</c:v>
                </c:pt>
                <c:pt idx="2242">
                  <c:v>1345800</c:v>
                </c:pt>
                <c:pt idx="2243">
                  <c:v>1345706</c:v>
                </c:pt>
                <c:pt idx="2244">
                  <c:v>1345605</c:v>
                </c:pt>
                <c:pt idx="2245">
                  <c:v>1345529</c:v>
                </c:pt>
                <c:pt idx="2246">
                  <c:v>1345519</c:v>
                </c:pt>
                <c:pt idx="2247">
                  <c:v>1345489</c:v>
                </c:pt>
                <c:pt idx="2248">
                  <c:v>1345474</c:v>
                </c:pt>
                <c:pt idx="2249">
                  <c:v>1345462</c:v>
                </c:pt>
                <c:pt idx="2250">
                  <c:v>1345396</c:v>
                </c:pt>
                <c:pt idx="2251">
                  <c:v>1345273</c:v>
                </c:pt>
                <c:pt idx="2252">
                  <c:v>1345263</c:v>
                </c:pt>
                <c:pt idx="2253">
                  <c:v>1345213</c:v>
                </c:pt>
                <c:pt idx="2254">
                  <c:v>1345192</c:v>
                </c:pt>
                <c:pt idx="2255">
                  <c:v>1345127</c:v>
                </c:pt>
                <c:pt idx="2256">
                  <c:v>1345093</c:v>
                </c:pt>
                <c:pt idx="2257">
                  <c:v>1345016</c:v>
                </c:pt>
                <c:pt idx="2258">
                  <c:v>1345015</c:v>
                </c:pt>
                <c:pt idx="2259">
                  <c:v>1344966</c:v>
                </c:pt>
                <c:pt idx="2260">
                  <c:v>1344947</c:v>
                </c:pt>
                <c:pt idx="2261">
                  <c:v>1344848</c:v>
                </c:pt>
                <c:pt idx="2262">
                  <c:v>1344808</c:v>
                </c:pt>
                <c:pt idx="2263">
                  <c:v>1344755</c:v>
                </c:pt>
                <c:pt idx="2264">
                  <c:v>1344700</c:v>
                </c:pt>
                <c:pt idx="2265">
                  <c:v>1344676</c:v>
                </c:pt>
                <c:pt idx="2266">
                  <c:v>1344653</c:v>
                </c:pt>
                <c:pt idx="2267">
                  <c:v>1344595</c:v>
                </c:pt>
                <c:pt idx="2268">
                  <c:v>1344595</c:v>
                </c:pt>
                <c:pt idx="2269">
                  <c:v>1344404</c:v>
                </c:pt>
                <c:pt idx="2270">
                  <c:v>1344372</c:v>
                </c:pt>
                <c:pt idx="2271">
                  <c:v>1344136</c:v>
                </c:pt>
                <c:pt idx="2272">
                  <c:v>1344045</c:v>
                </c:pt>
                <c:pt idx="2273">
                  <c:v>1344032</c:v>
                </c:pt>
                <c:pt idx="2274">
                  <c:v>1344026</c:v>
                </c:pt>
                <c:pt idx="2275">
                  <c:v>1343964</c:v>
                </c:pt>
                <c:pt idx="2276">
                  <c:v>1343937</c:v>
                </c:pt>
                <c:pt idx="2277">
                  <c:v>1343915</c:v>
                </c:pt>
                <c:pt idx="2278">
                  <c:v>1343817</c:v>
                </c:pt>
                <c:pt idx="2279">
                  <c:v>1343817</c:v>
                </c:pt>
                <c:pt idx="2280">
                  <c:v>1343719</c:v>
                </c:pt>
                <c:pt idx="2281">
                  <c:v>1343602</c:v>
                </c:pt>
                <c:pt idx="2282">
                  <c:v>1343520</c:v>
                </c:pt>
                <c:pt idx="2283">
                  <c:v>1343459</c:v>
                </c:pt>
                <c:pt idx="2284">
                  <c:v>1343301</c:v>
                </c:pt>
                <c:pt idx="2285">
                  <c:v>1343285</c:v>
                </c:pt>
                <c:pt idx="2286">
                  <c:v>1343100</c:v>
                </c:pt>
                <c:pt idx="2287">
                  <c:v>1343038</c:v>
                </c:pt>
                <c:pt idx="2288">
                  <c:v>1343010</c:v>
                </c:pt>
                <c:pt idx="2289">
                  <c:v>1342996</c:v>
                </c:pt>
                <c:pt idx="2290">
                  <c:v>1342980</c:v>
                </c:pt>
                <c:pt idx="2291">
                  <c:v>1342901</c:v>
                </c:pt>
                <c:pt idx="2292">
                  <c:v>1342848</c:v>
                </c:pt>
                <c:pt idx="2293">
                  <c:v>1342812</c:v>
                </c:pt>
                <c:pt idx="2294">
                  <c:v>1342802</c:v>
                </c:pt>
                <c:pt idx="2295">
                  <c:v>1342699</c:v>
                </c:pt>
                <c:pt idx="2296">
                  <c:v>1342517</c:v>
                </c:pt>
                <c:pt idx="2297">
                  <c:v>1342514</c:v>
                </c:pt>
                <c:pt idx="2298">
                  <c:v>1342454</c:v>
                </c:pt>
                <c:pt idx="2299">
                  <c:v>1342438</c:v>
                </c:pt>
                <c:pt idx="2300">
                  <c:v>1342429</c:v>
                </c:pt>
                <c:pt idx="2301">
                  <c:v>1342362</c:v>
                </c:pt>
                <c:pt idx="2302">
                  <c:v>1342330</c:v>
                </c:pt>
                <c:pt idx="2303">
                  <c:v>1342216</c:v>
                </c:pt>
                <c:pt idx="2304">
                  <c:v>1342144</c:v>
                </c:pt>
                <c:pt idx="2305">
                  <c:v>1341956</c:v>
                </c:pt>
                <c:pt idx="2306">
                  <c:v>1341912</c:v>
                </c:pt>
                <c:pt idx="2307">
                  <c:v>1341877</c:v>
                </c:pt>
                <c:pt idx="2308">
                  <c:v>1341804</c:v>
                </c:pt>
                <c:pt idx="2309">
                  <c:v>1341747</c:v>
                </c:pt>
                <c:pt idx="2310">
                  <c:v>1341701</c:v>
                </c:pt>
                <c:pt idx="2311">
                  <c:v>1341607</c:v>
                </c:pt>
                <c:pt idx="2312">
                  <c:v>1341604</c:v>
                </c:pt>
                <c:pt idx="2313">
                  <c:v>1341534</c:v>
                </c:pt>
                <c:pt idx="2314">
                  <c:v>1341406</c:v>
                </c:pt>
                <c:pt idx="2315">
                  <c:v>1341349</c:v>
                </c:pt>
                <c:pt idx="2316">
                  <c:v>1341278</c:v>
                </c:pt>
                <c:pt idx="2317">
                  <c:v>1341276</c:v>
                </c:pt>
                <c:pt idx="2318">
                  <c:v>1341243</c:v>
                </c:pt>
                <c:pt idx="2319">
                  <c:v>1341208</c:v>
                </c:pt>
                <c:pt idx="2320">
                  <c:v>1341204</c:v>
                </c:pt>
                <c:pt idx="2321">
                  <c:v>1341119</c:v>
                </c:pt>
                <c:pt idx="2322">
                  <c:v>1341097</c:v>
                </c:pt>
                <c:pt idx="2323">
                  <c:v>1340951</c:v>
                </c:pt>
                <c:pt idx="2324">
                  <c:v>1340803</c:v>
                </c:pt>
                <c:pt idx="2325">
                  <c:v>1340749</c:v>
                </c:pt>
                <c:pt idx="2326">
                  <c:v>1340733</c:v>
                </c:pt>
                <c:pt idx="2327">
                  <c:v>1340701</c:v>
                </c:pt>
                <c:pt idx="2328">
                  <c:v>1340670</c:v>
                </c:pt>
                <c:pt idx="2329">
                  <c:v>1340601</c:v>
                </c:pt>
                <c:pt idx="2330">
                  <c:v>1340590</c:v>
                </c:pt>
                <c:pt idx="2331">
                  <c:v>1340581</c:v>
                </c:pt>
                <c:pt idx="2332">
                  <c:v>1340427</c:v>
                </c:pt>
                <c:pt idx="2333">
                  <c:v>1340381</c:v>
                </c:pt>
                <c:pt idx="2334">
                  <c:v>1340363</c:v>
                </c:pt>
                <c:pt idx="2335">
                  <c:v>1340342</c:v>
                </c:pt>
                <c:pt idx="2336">
                  <c:v>1340223</c:v>
                </c:pt>
                <c:pt idx="2337">
                  <c:v>1340149</c:v>
                </c:pt>
                <c:pt idx="2338">
                  <c:v>1340021</c:v>
                </c:pt>
                <c:pt idx="2339">
                  <c:v>1339940</c:v>
                </c:pt>
                <c:pt idx="2340">
                  <c:v>1339903</c:v>
                </c:pt>
                <c:pt idx="2341">
                  <c:v>1339901</c:v>
                </c:pt>
                <c:pt idx="2342">
                  <c:v>1339628</c:v>
                </c:pt>
                <c:pt idx="2343">
                  <c:v>1339527</c:v>
                </c:pt>
                <c:pt idx="2344">
                  <c:v>1339518</c:v>
                </c:pt>
                <c:pt idx="2345">
                  <c:v>1339289</c:v>
                </c:pt>
                <c:pt idx="2346">
                  <c:v>1339192</c:v>
                </c:pt>
                <c:pt idx="2347">
                  <c:v>1339163</c:v>
                </c:pt>
                <c:pt idx="2348">
                  <c:v>1339142</c:v>
                </c:pt>
                <c:pt idx="2349">
                  <c:v>1338825</c:v>
                </c:pt>
                <c:pt idx="2350">
                  <c:v>1338811</c:v>
                </c:pt>
                <c:pt idx="2351">
                  <c:v>1338811</c:v>
                </c:pt>
                <c:pt idx="2352">
                  <c:v>1338640</c:v>
                </c:pt>
                <c:pt idx="2353">
                  <c:v>1338433</c:v>
                </c:pt>
                <c:pt idx="2354">
                  <c:v>1338400</c:v>
                </c:pt>
                <c:pt idx="2355">
                  <c:v>1338354</c:v>
                </c:pt>
                <c:pt idx="2356">
                  <c:v>1338353</c:v>
                </c:pt>
                <c:pt idx="2357">
                  <c:v>1338224</c:v>
                </c:pt>
                <c:pt idx="2358">
                  <c:v>1338194</c:v>
                </c:pt>
                <c:pt idx="2359">
                  <c:v>1338183</c:v>
                </c:pt>
                <c:pt idx="2360">
                  <c:v>1338136</c:v>
                </c:pt>
                <c:pt idx="2361">
                  <c:v>1338117</c:v>
                </c:pt>
                <c:pt idx="2362">
                  <c:v>1338083</c:v>
                </c:pt>
                <c:pt idx="2363">
                  <c:v>1338053</c:v>
                </c:pt>
                <c:pt idx="2364">
                  <c:v>1338022</c:v>
                </c:pt>
                <c:pt idx="2365">
                  <c:v>1338005</c:v>
                </c:pt>
                <c:pt idx="2366">
                  <c:v>1337983</c:v>
                </c:pt>
                <c:pt idx="2367">
                  <c:v>1337978</c:v>
                </c:pt>
                <c:pt idx="2368">
                  <c:v>1337712</c:v>
                </c:pt>
                <c:pt idx="2369">
                  <c:v>1337688</c:v>
                </c:pt>
                <c:pt idx="2370">
                  <c:v>1337608</c:v>
                </c:pt>
                <c:pt idx="2371">
                  <c:v>1337591</c:v>
                </c:pt>
                <c:pt idx="2372">
                  <c:v>1337491</c:v>
                </c:pt>
                <c:pt idx="2373">
                  <c:v>1337434</c:v>
                </c:pt>
                <c:pt idx="2374">
                  <c:v>1337358</c:v>
                </c:pt>
                <c:pt idx="2375">
                  <c:v>1337343</c:v>
                </c:pt>
                <c:pt idx="2376">
                  <c:v>1337265</c:v>
                </c:pt>
                <c:pt idx="2377">
                  <c:v>1337214</c:v>
                </c:pt>
                <c:pt idx="2378">
                  <c:v>1337165</c:v>
                </c:pt>
                <c:pt idx="2379">
                  <c:v>1337053</c:v>
                </c:pt>
                <c:pt idx="2380">
                  <c:v>1337005</c:v>
                </c:pt>
                <c:pt idx="2381">
                  <c:v>1336926</c:v>
                </c:pt>
                <c:pt idx="2382">
                  <c:v>1336921</c:v>
                </c:pt>
                <c:pt idx="2383">
                  <c:v>1336747</c:v>
                </c:pt>
                <c:pt idx="2384">
                  <c:v>1336725</c:v>
                </c:pt>
                <c:pt idx="2385">
                  <c:v>1336615</c:v>
                </c:pt>
                <c:pt idx="2386">
                  <c:v>1336510</c:v>
                </c:pt>
                <c:pt idx="2387">
                  <c:v>1336471</c:v>
                </c:pt>
                <c:pt idx="2388">
                  <c:v>1336428</c:v>
                </c:pt>
                <c:pt idx="2389">
                  <c:v>1336134</c:v>
                </c:pt>
                <c:pt idx="2390">
                  <c:v>1336107</c:v>
                </c:pt>
                <c:pt idx="2391">
                  <c:v>1336072</c:v>
                </c:pt>
                <c:pt idx="2392">
                  <c:v>1336050</c:v>
                </c:pt>
                <c:pt idx="2393">
                  <c:v>1336045</c:v>
                </c:pt>
                <c:pt idx="2394">
                  <c:v>1335979</c:v>
                </c:pt>
                <c:pt idx="2395">
                  <c:v>1335932</c:v>
                </c:pt>
                <c:pt idx="2396">
                  <c:v>1335923</c:v>
                </c:pt>
                <c:pt idx="2397">
                  <c:v>1335914</c:v>
                </c:pt>
                <c:pt idx="2398">
                  <c:v>1335888</c:v>
                </c:pt>
                <c:pt idx="2399">
                  <c:v>1335878</c:v>
                </c:pt>
                <c:pt idx="2400">
                  <c:v>1335851</c:v>
                </c:pt>
                <c:pt idx="2401">
                  <c:v>1335792</c:v>
                </c:pt>
                <c:pt idx="2402">
                  <c:v>1335785</c:v>
                </c:pt>
                <c:pt idx="2403">
                  <c:v>1335760</c:v>
                </c:pt>
                <c:pt idx="2404">
                  <c:v>1335729</c:v>
                </c:pt>
                <c:pt idx="2405">
                  <c:v>1335710</c:v>
                </c:pt>
                <c:pt idx="2406">
                  <c:v>1335605</c:v>
                </c:pt>
                <c:pt idx="2407">
                  <c:v>1335580</c:v>
                </c:pt>
                <c:pt idx="2408">
                  <c:v>1335535</c:v>
                </c:pt>
                <c:pt idx="2409">
                  <c:v>1335370</c:v>
                </c:pt>
                <c:pt idx="2410">
                  <c:v>1335367</c:v>
                </c:pt>
                <c:pt idx="2411">
                  <c:v>1335354</c:v>
                </c:pt>
                <c:pt idx="2412">
                  <c:v>1335327</c:v>
                </c:pt>
                <c:pt idx="2413">
                  <c:v>1335251</c:v>
                </c:pt>
                <c:pt idx="2414">
                  <c:v>1335112</c:v>
                </c:pt>
                <c:pt idx="2415">
                  <c:v>1335078</c:v>
                </c:pt>
                <c:pt idx="2416">
                  <c:v>1335040</c:v>
                </c:pt>
                <c:pt idx="2417">
                  <c:v>1334877</c:v>
                </c:pt>
                <c:pt idx="2418">
                  <c:v>1334687</c:v>
                </c:pt>
                <c:pt idx="2419">
                  <c:v>1334592</c:v>
                </c:pt>
                <c:pt idx="2420">
                  <c:v>1334420</c:v>
                </c:pt>
                <c:pt idx="2421">
                  <c:v>1334370</c:v>
                </c:pt>
                <c:pt idx="2422">
                  <c:v>1334315</c:v>
                </c:pt>
                <c:pt idx="2423">
                  <c:v>1334258</c:v>
                </c:pt>
                <c:pt idx="2424">
                  <c:v>1334247</c:v>
                </c:pt>
                <c:pt idx="2425">
                  <c:v>1334183</c:v>
                </c:pt>
                <c:pt idx="2426">
                  <c:v>1334144</c:v>
                </c:pt>
                <c:pt idx="2427">
                  <c:v>1334117</c:v>
                </c:pt>
                <c:pt idx="2428">
                  <c:v>1333852</c:v>
                </c:pt>
                <c:pt idx="2429">
                  <c:v>1333840</c:v>
                </c:pt>
                <c:pt idx="2430">
                  <c:v>1333833</c:v>
                </c:pt>
                <c:pt idx="2431">
                  <c:v>1333805</c:v>
                </c:pt>
                <c:pt idx="2432">
                  <c:v>1333750</c:v>
                </c:pt>
                <c:pt idx="2433">
                  <c:v>1333669</c:v>
                </c:pt>
                <c:pt idx="2434">
                  <c:v>1333626</c:v>
                </c:pt>
                <c:pt idx="2435">
                  <c:v>1333623</c:v>
                </c:pt>
                <c:pt idx="2436">
                  <c:v>1333579</c:v>
                </c:pt>
                <c:pt idx="2437">
                  <c:v>1333499</c:v>
                </c:pt>
                <c:pt idx="2438">
                  <c:v>1333413</c:v>
                </c:pt>
                <c:pt idx="2439">
                  <c:v>1333406</c:v>
                </c:pt>
                <c:pt idx="2440">
                  <c:v>1333336</c:v>
                </c:pt>
                <c:pt idx="2441">
                  <c:v>1333296</c:v>
                </c:pt>
                <c:pt idx="2442">
                  <c:v>1333247</c:v>
                </c:pt>
                <c:pt idx="2443">
                  <c:v>1333234</c:v>
                </c:pt>
                <c:pt idx="2444">
                  <c:v>1333225</c:v>
                </c:pt>
                <c:pt idx="2445">
                  <c:v>1333157</c:v>
                </c:pt>
                <c:pt idx="2446">
                  <c:v>1333131</c:v>
                </c:pt>
                <c:pt idx="2447">
                  <c:v>1333111</c:v>
                </c:pt>
                <c:pt idx="2448">
                  <c:v>1333008</c:v>
                </c:pt>
                <c:pt idx="2449">
                  <c:v>1332848</c:v>
                </c:pt>
                <c:pt idx="2450">
                  <c:v>1332816</c:v>
                </c:pt>
                <c:pt idx="2451">
                  <c:v>1332782</c:v>
                </c:pt>
                <c:pt idx="2452">
                  <c:v>1332766</c:v>
                </c:pt>
                <c:pt idx="2453">
                  <c:v>1332739</c:v>
                </c:pt>
                <c:pt idx="2454">
                  <c:v>1332547</c:v>
                </c:pt>
                <c:pt idx="2455">
                  <c:v>1332536</c:v>
                </c:pt>
                <c:pt idx="2456">
                  <c:v>1332469</c:v>
                </c:pt>
                <c:pt idx="2457">
                  <c:v>1332390</c:v>
                </c:pt>
                <c:pt idx="2458">
                  <c:v>1332378</c:v>
                </c:pt>
                <c:pt idx="2459">
                  <c:v>1332314</c:v>
                </c:pt>
                <c:pt idx="2460">
                  <c:v>1332169</c:v>
                </c:pt>
                <c:pt idx="2461">
                  <c:v>1332122</c:v>
                </c:pt>
                <c:pt idx="2462">
                  <c:v>1332014</c:v>
                </c:pt>
                <c:pt idx="2463">
                  <c:v>1332012</c:v>
                </c:pt>
                <c:pt idx="2464">
                  <c:v>1331946</c:v>
                </c:pt>
                <c:pt idx="2465">
                  <c:v>1331926</c:v>
                </c:pt>
                <c:pt idx="2466">
                  <c:v>1331909</c:v>
                </c:pt>
                <c:pt idx="2467">
                  <c:v>1331867</c:v>
                </c:pt>
                <c:pt idx="2468">
                  <c:v>1331743</c:v>
                </c:pt>
                <c:pt idx="2469">
                  <c:v>1331652</c:v>
                </c:pt>
                <c:pt idx="2470">
                  <c:v>1331467</c:v>
                </c:pt>
                <c:pt idx="2471">
                  <c:v>1331321</c:v>
                </c:pt>
                <c:pt idx="2472">
                  <c:v>1331068</c:v>
                </c:pt>
                <c:pt idx="2473">
                  <c:v>1331007</c:v>
                </c:pt>
                <c:pt idx="2474">
                  <c:v>1330973</c:v>
                </c:pt>
                <c:pt idx="2475">
                  <c:v>1330902</c:v>
                </c:pt>
                <c:pt idx="2476">
                  <c:v>1330840</c:v>
                </c:pt>
                <c:pt idx="2477">
                  <c:v>1330838</c:v>
                </c:pt>
                <c:pt idx="2478">
                  <c:v>1330767</c:v>
                </c:pt>
                <c:pt idx="2479">
                  <c:v>1330692</c:v>
                </c:pt>
                <c:pt idx="2480">
                  <c:v>1330613</c:v>
                </c:pt>
                <c:pt idx="2481">
                  <c:v>1330612</c:v>
                </c:pt>
                <c:pt idx="2482">
                  <c:v>1330550</c:v>
                </c:pt>
                <c:pt idx="2483">
                  <c:v>1330495</c:v>
                </c:pt>
                <c:pt idx="2484">
                  <c:v>1330430</c:v>
                </c:pt>
                <c:pt idx="2485">
                  <c:v>1330381</c:v>
                </c:pt>
                <c:pt idx="2486">
                  <c:v>1330263</c:v>
                </c:pt>
                <c:pt idx="2487">
                  <c:v>1330145</c:v>
                </c:pt>
                <c:pt idx="2488">
                  <c:v>1330076</c:v>
                </c:pt>
                <c:pt idx="2489">
                  <c:v>1330059</c:v>
                </c:pt>
                <c:pt idx="2490">
                  <c:v>1329964</c:v>
                </c:pt>
                <c:pt idx="2491">
                  <c:v>1329866</c:v>
                </c:pt>
                <c:pt idx="2492">
                  <c:v>1329849</c:v>
                </c:pt>
                <c:pt idx="2493">
                  <c:v>1329673</c:v>
                </c:pt>
                <c:pt idx="2494">
                  <c:v>1329600</c:v>
                </c:pt>
                <c:pt idx="2495">
                  <c:v>1329494</c:v>
                </c:pt>
                <c:pt idx="2496">
                  <c:v>1329420</c:v>
                </c:pt>
                <c:pt idx="2497">
                  <c:v>1329368</c:v>
                </c:pt>
                <c:pt idx="2498">
                  <c:v>1329357</c:v>
                </c:pt>
                <c:pt idx="2499">
                  <c:v>1329082</c:v>
                </c:pt>
                <c:pt idx="2500">
                  <c:v>1329070</c:v>
                </c:pt>
                <c:pt idx="2501">
                  <c:v>1328964</c:v>
                </c:pt>
                <c:pt idx="2502">
                  <c:v>1328764</c:v>
                </c:pt>
                <c:pt idx="2503">
                  <c:v>1328746</c:v>
                </c:pt>
                <c:pt idx="2504">
                  <c:v>1328594</c:v>
                </c:pt>
                <c:pt idx="2505">
                  <c:v>1328469</c:v>
                </c:pt>
                <c:pt idx="2506">
                  <c:v>1328444</c:v>
                </c:pt>
                <c:pt idx="2507">
                  <c:v>1328413</c:v>
                </c:pt>
                <c:pt idx="2508">
                  <c:v>1328390</c:v>
                </c:pt>
                <c:pt idx="2509">
                  <c:v>1328167</c:v>
                </c:pt>
                <c:pt idx="2510">
                  <c:v>1328076</c:v>
                </c:pt>
                <c:pt idx="2511">
                  <c:v>1328067</c:v>
                </c:pt>
                <c:pt idx="2512">
                  <c:v>1328026</c:v>
                </c:pt>
                <c:pt idx="2513">
                  <c:v>1327945</c:v>
                </c:pt>
                <c:pt idx="2514">
                  <c:v>1327939</c:v>
                </c:pt>
                <c:pt idx="2515">
                  <c:v>1327937</c:v>
                </c:pt>
                <c:pt idx="2516">
                  <c:v>1327867</c:v>
                </c:pt>
                <c:pt idx="2517">
                  <c:v>1327841</c:v>
                </c:pt>
                <c:pt idx="2518">
                  <c:v>1327803</c:v>
                </c:pt>
                <c:pt idx="2519">
                  <c:v>1327780</c:v>
                </c:pt>
                <c:pt idx="2520">
                  <c:v>1327760</c:v>
                </c:pt>
                <c:pt idx="2521">
                  <c:v>1327741</c:v>
                </c:pt>
                <c:pt idx="2522">
                  <c:v>1327635</c:v>
                </c:pt>
                <c:pt idx="2523">
                  <c:v>1327409</c:v>
                </c:pt>
                <c:pt idx="2524">
                  <c:v>1327139</c:v>
                </c:pt>
                <c:pt idx="2525">
                  <c:v>1327018</c:v>
                </c:pt>
                <c:pt idx="2526">
                  <c:v>1326941</c:v>
                </c:pt>
                <c:pt idx="2527">
                  <c:v>1326889</c:v>
                </c:pt>
                <c:pt idx="2528">
                  <c:v>1326807</c:v>
                </c:pt>
                <c:pt idx="2529">
                  <c:v>1326769</c:v>
                </c:pt>
                <c:pt idx="2530">
                  <c:v>1326759</c:v>
                </c:pt>
                <c:pt idx="2531">
                  <c:v>1326732</c:v>
                </c:pt>
                <c:pt idx="2532">
                  <c:v>1326709</c:v>
                </c:pt>
                <c:pt idx="2533">
                  <c:v>1326704</c:v>
                </c:pt>
                <c:pt idx="2534">
                  <c:v>1326698</c:v>
                </c:pt>
                <c:pt idx="2535">
                  <c:v>1326674</c:v>
                </c:pt>
                <c:pt idx="2536">
                  <c:v>1326550</c:v>
                </c:pt>
                <c:pt idx="2537">
                  <c:v>1326542</c:v>
                </c:pt>
                <c:pt idx="2538">
                  <c:v>1326478</c:v>
                </c:pt>
                <c:pt idx="2539">
                  <c:v>1326396</c:v>
                </c:pt>
                <c:pt idx="2540">
                  <c:v>1326314</c:v>
                </c:pt>
                <c:pt idx="2541">
                  <c:v>1326267</c:v>
                </c:pt>
                <c:pt idx="2542">
                  <c:v>1326166</c:v>
                </c:pt>
                <c:pt idx="2543">
                  <c:v>1326164</c:v>
                </c:pt>
                <c:pt idx="2544">
                  <c:v>1326105</c:v>
                </c:pt>
                <c:pt idx="2545">
                  <c:v>1326079</c:v>
                </c:pt>
                <c:pt idx="2546">
                  <c:v>1325985</c:v>
                </c:pt>
                <c:pt idx="2547">
                  <c:v>1325909</c:v>
                </c:pt>
                <c:pt idx="2548">
                  <c:v>1325725</c:v>
                </c:pt>
                <c:pt idx="2549">
                  <c:v>1325702</c:v>
                </c:pt>
                <c:pt idx="2550">
                  <c:v>1325615</c:v>
                </c:pt>
                <c:pt idx="2551">
                  <c:v>1325559</c:v>
                </c:pt>
                <c:pt idx="2552">
                  <c:v>1325527</c:v>
                </c:pt>
                <c:pt idx="2553">
                  <c:v>1325519</c:v>
                </c:pt>
                <c:pt idx="2554">
                  <c:v>1325433</c:v>
                </c:pt>
                <c:pt idx="2555">
                  <c:v>1325392</c:v>
                </c:pt>
                <c:pt idx="2556">
                  <c:v>1325302</c:v>
                </c:pt>
                <c:pt idx="2557">
                  <c:v>1325298</c:v>
                </c:pt>
                <c:pt idx="2558">
                  <c:v>1325289</c:v>
                </c:pt>
                <c:pt idx="2559">
                  <c:v>1325104</c:v>
                </c:pt>
                <c:pt idx="2560">
                  <c:v>1325055</c:v>
                </c:pt>
                <c:pt idx="2561">
                  <c:v>1325036</c:v>
                </c:pt>
                <c:pt idx="2562">
                  <c:v>1325005</c:v>
                </c:pt>
                <c:pt idx="2563">
                  <c:v>1324943</c:v>
                </c:pt>
                <c:pt idx="2564">
                  <c:v>1324742</c:v>
                </c:pt>
                <c:pt idx="2565">
                  <c:v>1324645</c:v>
                </c:pt>
                <c:pt idx="2566">
                  <c:v>1324524</c:v>
                </c:pt>
                <c:pt idx="2567">
                  <c:v>1324522</c:v>
                </c:pt>
                <c:pt idx="2568">
                  <c:v>1324491</c:v>
                </c:pt>
                <c:pt idx="2569">
                  <c:v>1324489</c:v>
                </c:pt>
                <c:pt idx="2570">
                  <c:v>1324456</c:v>
                </c:pt>
                <c:pt idx="2571">
                  <c:v>1324422</c:v>
                </c:pt>
                <c:pt idx="2572">
                  <c:v>1324385</c:v>
                </c:pt>
                <c:pt idx="2573">
                  <c:v>1324381</c:v>
                </c:pt>
                <c:pt idx="2574">
                  <c:v>1324355</c:v>
                </c:pt>
                <c:pt idx="2575">
                  <c:v>1324343</c:v>
                </c:pt>
                <c:pt idx="2576">
                  <c:v>1324328</c:v>
                </c:pt>
                <c:pt idx="2577">
                  <c:v>1324317</c:v>
                </c:pt>
                <c:pt idx="2578">
                  <c:v>1324256</c:v>
                </c:pt>
                <c:pt idx="2579">
                  <c:v>1324250</c:v>
                </c:pt>
                <c:pt idx="2580">
                  <c:v>1324250</c:v>
                </c:pt>
                <c:pt idx="2581">
                  <c:v>1324242</c:v>
                </c:pt>
                <c:pt idx="2582">
                  <c:v>1324161</c:v>
                </c:pt>
                <c:pt idx="2583">
                  <c:v>1324031</c:v>
                </c:pt>
                <c:pt idx="2584">
                  <c:v>1323963</c:v>
                </c:pt>
                <c:pt idx="2585">
                  <c:v>1323949</c:v>
                </c:pt>
                <c:pt idx="2586">
                  <c:v>1323940</c:v>
                </c:pt>
                <c:pt idx="2587">
                  <c:v>1323902</c:v>
                </c:pt>
                <c:pt idx="2588">
                  <c:v>1323818</c:v>
                </c:pt>
                <c:pt idx="2589">
                  <c:v>1323815</c:v>
                </c:pt>
                <c:pt idx="2590">
                  <c:v>1323709</c:v>
                </c:pt>
                <c:pt idx="2591">
                  <c:v>1323640</c:v>
                </c:pt>
                <c:pt idx="2592">
                  <c:v>1323626</c:v>
                </c:pt>
                <c:pt idx="2593">
                  <c:v>1323587</c:v>
                </c:pt>
                <c:pt idx="2594">
                  <c:v>1323373</c:v>
                </c:pt>
                <c:pt idx="2595">
                  <c:v>1323345</c:v>
                </c:pt>
                <c:pt idx="2596">
                  <c:v>1323283</c:v>
                </c:pt>
                <c:pt idx="2597">
                  <c:v>1323245</c:v>
                </c:pt>
                <c:pt idx="2598">
                  <c:v>1323124</c:v>
                </c:pt>
                <c:pt idx="2599">
                  <c:v>1323122</c:v>
                </c:pt>
                <c:pt idx="2600">
                  <c:v>1323100</c:v>
                </c:pt>
                <c:pt idx="2601">
                  <c:v>1323005</c:v>
                </c:pt>
                <c:pt idx="2602">
                  <c:v>1322981</c:v>
                </c:pt>
                <c:pt idx="2603">
                  <c:v>1322861</c:v>
                </c:pt>
                <c:pt idx="2604">
                  <c:v>1322767</c:v>
                </c:pt>
                <c:pt idx="2605">
                  <c:v>1322760</c:v>
                </c:pt>
                <c:pt idx="2606">
                  <c:v>1322753</c:v>
                </c:pt>
                <c:pt idx="2607">
                  <c:v>1322699</c:v>
                </c:pt>
                <c:pt idx="2608">
                  <c:v>1322452</c:v>
                </c:pt>
                <c:pt idx="2609">
                  <c:v>1322334</c:v>
                </c:pt>
                <c:pt idx="2610">
                  <c:v>1322267</c:v>
                </c:pt>
                <c:pt idx="2611">
                  <c:v>1322248</c:v>
                </c:pt>
                <c:pt idx="2612">
                  <c:v>1322207</c:v>
                </c:pt>
                <c:pt idx="2613">
                  <c:v>1322206</c:v>
                </c:pt>
                <c:pt idx="2614">
                  <c:v>1322205</c:v>
                </c:pt>
                <c:pt idx="2615">
                  <c:v>1322177</c:v>
                </c:pt>
                <c:pt idx="2616">
                  <c:v>1322012</c:v>
                </c:pt>
                <c:pt idx="2617">
                  <c:v>1321980</c:v>
                </c:pt>
                <c:pt idx="2618">
                  <c:v>1321980</c:v>
                </c:pt>
                <c:pt idx="2619">
                  <c:v>1321921</c:v>
                </c:pt>
                <c:pt idx="2620">
                  <c:v>1321886</c:v>
                </c:pt>
                <c:pt idx="2621">
                  <c:v>1321810</c:v>
                </c:pt>
                <c:pt idx="2622">
                  <c:v>1321737</c:v>
                </c:pt>
                <c:pt idx="2623">
                  <c:v>1321698</c:v>
                </c:pt>
                <c:pt idx="2624">
                  <c:v>1321686</c:v>
                </c:pt>
                <c:pt idx="2625">
                  <c:v>1321564</c:v>
                </c:pt>
                <c:pt idx="2626">
                  <c:v>1321399</c:v>
                </c:pt>
                <c:pt idx="2627">
                  <c:v>1321276</c:v>
                </c:pt>
                <c:pt idx="2628">
                  <c:v>1321156</c:v>
                </c:pt>
                <c:pt idx="2629">
                  <c:v>1321109</c:v>
                </c:pt>
                <c:pt idx="2630">
                  <c:v>1321062</c:v>
                </c:pt>
                <c:pt idx="2631">
                  <c:v>1321054</c:v>
                </c:pt>
                <c:pt idx="2632">
                  <c:v>1320983</c:v>
                </c:pt>
                <c:pt idx="2633">
                  <c:v>1320919</c:v>
                </c:pt>
                <c:pt idx="2634">
                  <c:v>1320893</c:v>
                </c:pt>
                <c:pt idx="2635">
                  <c:v>1320823</c:v>
                </c:pt>
                <c:pt idx="2636">
                  <c:v>1320819</c:v>
                </c:pt>
                <c:pt idx="2637">
                  <c:v>1320691</c:v>
                </c:pt>
                <c:pt idx="2638">
                  <c:v>1320661</c:v>
                </c:pt>
                <c:pt idx="2639">
                  <c:v>1320576</c:v>
                </c:pt>
                <c:pt idx="2640">
                  <c:v>1320523</c:v>
                </c:pt>
                <c:pt idx="2641">
                  <c:v>1320492</c:v>
                </c:pt>
                <c:pt idx="2642">
                  <c:v>1320475</c:v>
                </c:pt>
                <c:pt idx="2643">
                  <c:v>1320451</c:v>
                </c:pt>
                <c:pt idx="2644">
                  <c:v>1320373</c:v>
                </c:pt>
                <c:pt idx="2645">
                  <c:v>1320335</c:v>
                </c:pt>
                <c:pt idx="2646">
                  <c:v>1320302</c:v>
                </c:pt>
                <c:pt idx="2647">
                  <c:v>1320302</c:v>
                </c:pt>
                <c:pt idx="2648">
                  <c:v>1320237</c:v>
                </c:pt>
                <c:pt idx="2649">
                  <c:v>1320195</c:v>
                </c:pt>
                <c:pt idx="2650">
                  <c:v>1320163</c:v>
                </c:pt>
                <c:pt idx="2651">
                  <c:v>1319925</c:v>
                </c:pt>
                <c:pt idx="2652">
                  <c:v>1319885</c:v>
                </c:pt>
                <c:pt idx="2653">
                  <c:v>1319867</c:v>
                </c:pt>
                <c:pt idx="2654">
                  <c:v>1319813</c:v>
                </c:pt>
                <c:pt idx="2655">
                  <c:v>1319790</c:v>
                </c:pt>
                <c:pt idx="2656">
                  <c:v>1319679</c:v>
                </c:pt>
                <c:pt idx="2657">
                  <c:v>1319519</c:v>
                </c:pt>
                <c:pt idx="2658">
                  <c:v>1319457</c:v>
                </c:pt>
                <c:pt idx="2659">
                  <c:v>1319410</c:v>
                </c:pt>
                <c:pt idx="2660">
                  <c:v>1319330</c:v>
                </c:pt>
                <c:pt idx="2661">
                  <c:v>1319300</c:v>
                </c:pt>
                <c:pt idx="2662">
                  <c:v>1319270</c:v>
                </c:pt>
                <c:pt idx="2663">
                  <c:v>1319243</c:v>
                </c:pt>
                <c:pt idx="2664">
                  <c:v>1319192</c:v>
                </c:pt>
                <c:pt idx="2665">
                  <c:v>1319080</c:v>
                </c:pt>
                <c:pt idx="2666">
                  <c:v>1319006</c:v>
                </c:pt>
                <c:pt idx="2667">
                  <c:v>1318880</c:v>
                </c:pt>
                <c:pt idx="2668">
                  <c:v>1318842</c:v>
                </c:pt>
                <c:pt idx="2669">
                  <c:v>1318837</c:v>
                </c:pt>
                <c:pt idx="2670">
                  <c:v>1318801</c:v>
                </c:pt>
                <c:pt idx="2671">
                  <c:v>1318743</c:v>
                </c:pt>
                <c:pt idx="2672">
                  <c:v>1318692</c:v>
                </c:pt>
                <c:pt idx="2673">
                  <c:v>1318683</c:v>
                </c:pt>
                <c:pt idx="2674">
                  <c:v>1318642</c:v>
                </c:pt>
                <c:pt idx="2675">
                  <c:v>1318615</c:v>
                </c:pt>
                <c:pt idx="2676">
                  <c:v>1318591</c:v>
                </c:pt>
                <c:pt idx="2677">
                  <c:v>1318550</c:v>
                </c:pt>
                <c:pt idx="2678">
                  <c:v>1318516</c:v>
                </c:pt>
                <c:pt idx="2679">
                  <c:v>1318499</c:v>
                </c:pt>
                <c:pt idx="2680">
                  <c:v>1318244</c:v>
                </c:pt>
                <c:pt idx="2681">
                  <c:v>1318030</c:v>
                </c:pt>
                <c:pt idx="2682">
                  <c:v>1317979</c:v>
                </c:pt>
                <c:pt idx="2683">
                  <c:v>1317942</c:v>
                </c:pt>
                <c:pt idx="2684">
                  <c:v>1317920</c:v>
                </c:pt>
                <c:pt idx="2685">
                  <c:v>1317819</c:v>
                </c:pt>
                <c:pt idx="2686">
                  <c:v>1317815</c:v>
                </c:pt>
                <c:pt idx="2687">
                  <c:v>1317800</c:v>
                </c:pt>
                <c:pt idx="2688">
                  <c:v>1317758</c:v>
                </c:pt>
                <c:pt idx="2689">
                  <c:v>1317758</c:v>
                </c:pt>
                <c:pt idx="2690">
                  <c:v>1317701</c:v>
                </c:pt>
                <c:pt idx="2691">
                  <c:v>1317637</c:v>
                </c:pt>
                <c:pt idx="2692">
                  <c:v>1317617</c:v>
                </c:pt>
                <c:pt idx="2693">
                  <c:v>1317589</c:v>
                </c:pt>
                <c:pt idx="2694">
                  <c:v>1317556</c:v>
                </c:pt>
                <c:pt idx="2695">
                  <c:v>1317524</c:v>
                </c:pt>
                <c:pt idx="2696">
                  <c:v>1317267</c:v>
                </c:pt>
                <c:pt idx="2697">
                  <c:v>1317214</c:v>
                </c:pt>
                <c:pt idx="2698">
                  <c:v>1317159</c:v>
                </c:pt>
                <c:pt idx="2699">
                  <c:v>1317156</c:v>
                </c:pt>
                <c:pt idx="2700">
                  <c:v>1317137</c:v>
                </c:pt>
                <c:pt idx="2701">
                  <c:v>1317009</c:v>
                </c:pt>
                <c:pt idx="2702">
                  <c:v>1316951</c:v>
                </c:pt>
                <c:pt idx="2703">
                  <c:v>1316951</c:v>
                </c:pt>
                <c:pt idx="2704">
                  <c:v>1316924</c:v>
                </c:pt>
                <c:pt idx="2705">
                  <c:v>1316904</c:v>
                </c:pt>
                <c:pt idx="2706">
                  <c:v>1316860</c:v>
                </c:pt>
                <c:pt idx="2707">
                  <c:v>1316716</c:v>
                </c:pt>
                <c:pt idx="2708">
                  <c:v>1316644</c:v>
                </c:pt>
                <c:pt idx="2709">
                  <c:v>1316474</c:v>
                </c:pt>
                <c:pt idx="2710">
                  <c:v>1316457</c:v>
                </c:pt>
                <c:pt idx="2711">
                  <c:v>1316412</c:v>
                </c:pt>
                <c:pt idx="2712">
                  <c:v>1316369</c:v>
                </c:pt>
                <c:pt idx="2713">
                  <c:v>1316269</c:v>
                </c:pt>
                <c:pt idx="2714">
                  <c:v>1316228</c:v>
                </c:pt>
                <c:pt idx="2715">
                  <c:v>1316142</c:v>
                </c:pt>
                <c:pt idx="2716">
                  <c:v>1316003</c:v>
                </c:pt>
                <c:pt idx="2717">
                  <c:v>1315995</c:v>
                </c:pt>
                <c:pt idx="2718">
                  <c:v>1315988</c:v>
                </c:pt>
                <c:pt idx="2719">
                  <c:v>1315934</c:v>
                </c:pt>
                <c:pt idx="2720">
                  <c:v>1315916</c:v>
                </c:pt>
                <c:pt idx="2721">
                  <c:v>1315825</c:v>
                </c:pt>
                <c:pt idx="2722">
                  <c:v>1315756</c:v>
                </c:pt>
                <c:pt idx="2723">
                  <c:v>1315755</c:v>
                </c:pt>
                <c:pt idx="2724">
                  <c:v>1315746</c:v>
                </c:pt>
                <c:pt idx="2725">
                  <c:v>1315701</c:v>
                </c:pt>
                <c:pt idx="2726">
                  <c:v>1315682</c:v>
                </c:pt>
                <c:pt idx="2727">
                  <c:v>1315650</c:v>
                </c:pt>
                <c:pt idx="2728">
                  <c:v>1315608</c:v>
                </c:pt>
                <c:pt idx="2729">
                  <c:v>1315601</c:v>
                </c:pt>
                <c:pt idx="2730">
                  <c:v>1315597</c:v>
                </c:pt>
                <c:pt idx="2731">
                  <c:v>1315585</c:v>
                </c:pt>
                <c:pt idx="2732">
                  <c:v>1315559</c:v>
                </c:pt>
                <c:pt idx="2733">
                  <c:v>1315556</c:v>
                </c:pt>
                <c:pt idx="2734">
                  <c:v>1315511</c:v>
                </c:pt>
                <c:pt idx="2735">
                  <c:v>1315411</c:v>
                </c:pt>
                <c:pt idx="2736">
                  <c:v>1315369</c:v>
                </c:pt>
                <c:pt idx="2737">
                  <c:v>1315151</c:v>
                </c:pt>
                <c:pt idx="2738">
                  <c:v>1315110</c:v>
                </c:pt>
                <c:pt idx="2739">
                  <c:v>1315073</c:v>
                </c:pt>
                <c:pt idx="2740">
                  <c:v>1314790</c:v>
                </c:pt>
                <c:pt idx="2741">
                  <c:v>1314743</c:v>
                </c:pt>
                <c:pt idx="2742">
                  <c:v>1314656</c:v>
                </c:pt>
                <c:pt idx="2743">
                  <c:v>1314430</c:v>
                </c:pt>
                <c:pt idx="2744">
                  <c:v>1314419</c:v>
                </c:pt>
                <c:pt idx="2745">
                  <c:v>1314357</c:v>
                </c:pt>
                <c:pt idx="2746">
                  <c:v>1314184</c:v>
                </c:pt>
                <c:pt idx="2747">
                  <c:v>1314035</c:v>
                </c:pt>
                <c:pt idx="2748">
                  <c:v>1313981</c:v>
                </c:pt>
                <c:pt idx="2749">
                  <c:v>1313939</c:v>
                </c:pt>
                <c:pt idx="2750">
                  <c:v>1313929</c:v>
                </c:pt>
                <c:pt idx="2751">
                  <c:v>1313906</c:v>
                </c:pt>
                <c:pt idx="2752">
                  <c:v>1313869</c:v>
                </c:pt>
                <c:pt idx="2753">
                  <c:v>1313861</c:v>
                </c:pt>
                <c:pt idx="2754">
                  <c:v>1313832</c:v>
                </c:pt>
                <c:pt idx="2755">
                  <c:v>1313762</c:v>
                </c:pt>
                <c:pt idx="2756">
                  <c:v>1313656</c:v>
                </c:pt>
                <c:pt idx="2757">
                  <c:v>1313630</c:v>
                </c:pt>
                <c:pt idx="2758">
                  <c:v>1313627</c:v>
                </c:pt>
                <c:pt idx="2759">
                  <c:v>1313602</c:v>
                </c:pt>
                <c:pt idx="2760">
                  <c:v>1313580</c:v>
                </c:pt>
                <c:pt idx="2761">
                  <c:v>1313564</c:v>
                </c:pt>
                <c:pt idx="2762">
                  <c:v>1313555</c:v>
                </c:pt>
                <c:pt idx="2763">
                  <c:v>1313359</c:v>
                </c:pt>
                <c:pt idx="2764">
                  <c:v>1313357</c:v>
                </c:pt>
                <c:pt idx="2765">
                  <c:v>1313347</c:v>
                </c:pt>
                <c:pt idx="2766">
                  <c:v>1313262</c:v>
                </c:pt>
                <c:pt idx="2767">
                  <c:v>1313245</c:v>
                </c:pt>
                <c:pt idx="2768">
                  <c:v>1313225</c:v>
                </c:pt>
                <c:pt idx="2769">
                  <c:v>1313154</c:v>
                </c:pt>
                <c:pt idx="2770">
                  <c:v>1313009</c:v>
                </c:pt>
                <c:pt idx="2771">
                  <c:v>1312941</c:v>
                </c:pt>
                <c:pt idx="2772">
                  <c:v>1312880</c:v>
                </c:pt>
                <c:pt idx="2773">
                  <c:v>1312861</c:v>
                </c:pt>
                <c:pt idx="2774">
                  <c:v>1312831</c:v>
                </c:pt>
                <c:pt idx="2775">
                  <c:v>1312686</c:v>
                </c:pt>
                <c:pt idx="2776">
                  <c:v>1312650</c:v>
                </c:pt>
                <c:pt idx="2777">
                  <c:v>1312637</c:v>
                </c:pt>
                <c:pt idx="2778">
                  <c:v>1312618</c:v>
                </c:pt>
                <c:pt idx="2779">
                  <c:v>1312571</c:v>
                </c:pt>
                <c:pt idx="2780">
                  <c:v>1312543</c:v>
                </c:pt>
                <c:pt idx="2781">
                  <c:v>1312543</c:v>
                </c:pt>
                <c:pt idx="2782">
                  <c:v>1312432</c:v>
                </c:pt>
                <c:pt idx="2783">
                  <c:v>1312418</c:v>
                </c:pt>
                <c:pt idx="2784">
                  <c:v>1312211</c:v>
                </c:pt>
                <c:pt idx="2785">
                  <c:v>1312133</c:v>
                </c:pt>
                <c:pt idx="2786">
                  <c:v>1312032</c:v>
                </c:pt>
                <c:pt idx="2787">
                  <c:v>1312005</c:v>
                </c:pt>
                <c:pt idx="2788">
                  <c:v>1311976</c:v>
                </c:pt>
                <c:pt idx="2789">
                  <c:v>1311960</c:v>
                </c:pt>
                <c:pt idx="2790">
                  <c:v>1311957</c:v>
                </c:pt>
                <c:pt idx="2791">
                  <c:v>1311773</c:v>
                </c:pt>
                <c:pt idx="2792">
                  <c:v>1311757</c:v>
                </c:pt>
                <c:pt idx="2793">
                  <c:v>1311602</c:v>
                </c:pt>
                <c:pt idx="2794">
                  <c:v>1311554</c:v>
                </c:pt>
                <c:pt idx="2795">
                  <c:v>1311522</c:v>
                </c:pt>
                <c:pt idx="2796">
                  <c:v>1311467</c:v>
                </c:pt>
                <c:pt idx="2797">
                  <c:v>1311390</c:v>
                </c:pt>
                <c:pt idx="2798">
                  <c:v>1311364</c:v>
                </c:pt>
                <c:pt idx="2799">
                  <c:v>1311270</c:v>
                </c:pt>
                <c:pt idx="2800">
                  <c:v>1311244</c:v>
                </c:pt>
                <c:pt idx="2801">
                  <c:v>1311065</c:v>
                </c:pt>
                <c:pt idx="2802">
                  <c:v>1310834</c:v>
                </c:pt>
                <c:pt idx="2803">
                  <c:v>1310715</c:v>
                </c:pt>
                <c:pt idx="2804">
                  <c:v>1310707</c:v>
                </c:pt>
                <c:pt idx="2805">
                  <c:v>1310586</c:v>
                </c:pt>
                <c:pt idx="2806">
                  <c:v>1310522</c:v>
                </c:pt>
                <c:pt idx="2807">
                  <c:v>1310511</c:v>
                </c:pt>
                <c:pt idx="2808">
                  <c:v>1310435</c:v>
                </c:pt>
                <c:pt idx="2809">
                  <c:v>1310344</c:v>
                </c:pt>
                <c:pt idx="2810">
                  <c:v>1310298</c:v>
                </c:pt>
                <c:pt idx="2811">
                  <c:v>1310284</c:v>
                </c:pt>
                <c:pt idx="2812">
                  <c:v>1310284</c:v>
                </c:pt>
                <c:pt idx="2813">
                  <c:v>1310280</c:v>
                </c:pt>
                <c:pt idx="2814">
                  <c:v>1310224</c:v>
                </c:pt>
                <c:pt idx="2815">
                  <c:v>1310217</c:v>
                </c:pt>
                <c:pt idx="2816">
                  <c:v>1310186</c:v>
                </c:pt>
                <c:pt idx="2817">
                  <c:v>1310065</c:v>
                </c:pt>
                <c:pt idx="2818">
                  <c:v>1310006</c:v>
                </c:pt>
                <c:pt idx="2819">
                  <c:v>1309988</c:v>
                </c:pt>
                <c:pt idx="2820">
                  <c:v>1309976</c:v>
                </c:pt>
                <c:pt idx="2821">
                  <c:v>1309975</c:v>
                </c:pt>
                <c:pt idx="2822">
                  <c:v>1309968</c:v>
                </c:pt>
                <c:pt idx="2823">
                  <c:v>1309823</c:v>
                </c:pt>
                <c:pt idx="2824">
                  <c:v>1309816</c:v>
                </c:pt>
                <c:pt idx="2825">
                  <c:v>1309802</c:v>
                </c:pt>
                <c:pt idx="2826">
                  <c:v>1309715</c:v>
                </c:pt>
                <c:pt idx="2827">
                  <c:v>1309712</c:v>
                </c:pt>
                <c:pt idx="2828">
                  <c:v>1309677</c:v>
                </c:pt>
                <c:pt idx="2829">
                  <c:v>1309603</c:v>
                </c:pt>
                <c:pt idx="2830">
                  <c:v>1309571</c:v>
                </c:pt>
                <c:pt idx="2831">
                  <c:v>1309563</c:v>
                </c:pt>
                <c:pt idx="2832">
                  <c:v>1309553</c:v>
                </c:pt>
                <c:pt idx="2833">
                  <c:v>1309495</c:v>
                </c:pt>
                <c:pt idx="2834">
                  <c:v>1309479</c:v>
                </c:pt>
                <c:pt idx="2835">
                  <c:v>1309472</c:v>
                </c:pt>
                <c:pt idx="2836">
                  <c:v>1309425</c:v>
                </c:pt>
                <c:pt idx="2837">
                  <c:v>1309350</c:v>
                </c:pt>
                <c:pt idx="2838">
                  <c:v>1309328</c:v>
                </c:pt>
                <c:pt idx="2839">
                  <c:v>1309306</c:v>
                </c:pt>
                <c:pt idx="2840">
                  <c:v>1309305</c:v>
                </c:pt>
                <c:pt idx="2841">
                  <c:v>1309299</c:v>
                </c:pt>
                <c:pt idx="2842">
                  <c:v>1309258</c:v>
                </c:pt>
                <c:pt idx="2843">
                  <c:v>1309234</c:v>
                </c:pt>
                <c:pt idx="2844">
                  <c:v>1309203</c:v>
                </c:pt>
                <c:pt idx="2845">
                  <c:v>1309116</c:v>
                </c:pt>
                <c:pt idx="2846">
                  <c:v>1309098</c:v>
                </c:pt>
                <c:pt idx="2847">
                  <c:v>1309071</c:v>
                </c:pt>
                <c:pt idx="2848">
                  <c:v>1308996</c:v>
                </c:pt>
                <c:pt idx="2849">
                  <c:v>1308717</c:v>
                </c:pt>
                <c:pt idx="2850">
                  <c:v>1308710</c:v>
                </c:pt>
                <c:pt idx="2851">
                  <c:v>1308665</c:v>
                </c:pt>
                <c:pt idx="2852">
                  <c:v>1308646</c:v>
                </c:pt>
                <c:pt idx="2853">
                  <c:v>1308628</c:v>
                </c:pt>
                <c:pt idx="2854">
                  <c:v>1308425</c:v>
                </c:pt>
                <c:pt idx="2855">
                  <c:v>1308402</c:v>
                </c:pt>
                <c:pt idx="2856">
                  <c:v>1308262</c:v>
                </c:pt>
                <c:pt idx="2857">
                  <c:v>1308055</c:v>
                </c:pt>
                <c:pt idx="2858">
                  <c:v>1308022</c:v>
                </c:pt>
                <c:pt idx="2859">
                  <c:v>1307996</c:v>
                </c:pt>
                <c:pt idx="2860">
                  <c:v>1307970</c:v>
                </c:pt>
                <c:pt idx="2861">
                  <c:v>1307935</c:v>
                </c:pt>
                <c:pt idx="2862">
                  <c:v>1307891</c:v>
                </c:pt>
                <c:pt idx="2863">
                  <c:v>1307641</c:v>
                </c:pt>
                <c:pt idx="2864">
                  <c:v>1307607</c:v>
                </c:pt>
                <c:pt idx="2865">
                  <c:v>1307555</c:v>
                </c:pt>
                <c:pt idx="2866">
                  <c:v>1307543</c:v>
                </c:pt>
                <c:pt idx="2867">
                  <c:v>1307494</c:v>
                </c:pt>
                <c:pt idx="2868">
                  <c:v>1307475</c:v>
                </c:pt>
                <c:pt idx="2869">
                  <c:v>1307447</c:v>
                </c:pt>
                <c:pt idx="2870">
                  <c:v>1307440</c:v>
                </c:pt>
                <c:pt idx="2871">
                  <c:v>1307423</c:v>
                </c:pt>
                <c:pt idx="2872">
                  <c:v>1307323</c:v>
                </c:pt>
                <c:pt idx="2873">
                  <c:v>1307248</c:v>
                </c:pt>
                <c:pt idx="2874">
                  <c:v>1307233</c:v>
                </c:pt>
                <c:pt idx="2875">
                  <c:v>1307228</c:v>
                </c:pt>
                <c:pt idx="2876">
                  <c:v>1307131</c:v>
                </c:pt>
                <c:pt idx="2877">
                  <c:v>1307016</c:v>
                </c:pt>
                <c:pt idx="2878">
                  <c:v>1306941</c:v>
                </c:pt>
                <c:pt idx="2879">
                  <c:v>1306930</c:v>
                </c:pt>
                <c:pt idx="2880">
                  <c:v>1306880</c:v>
                </c:pt>
                <c:pt idx="2881">
                  <c:v>1306721</c:v>
                </c:pt>
                <c:pt idx="2882">
                  <c:v>1306450</c:v>
                </c:pt>
                <c:pt idx="2883">
                  <c:v>1306440</c:v>
                </c:pt>
                <c:pt idx="2884">
                  <c:v>1306417</c:v>
                </c:pt>
                <c:pt idx="2885">
                  <c:v>1306334</c:v>
                </c:pt>
                <c:pt idx="2886">
                  <c:v>1306297</c:v>
                </c:pt>
                <c:pt idx="2887">
                  <c:v>1306230</c:v>
                </c:pt>
                <c:pt idx="2888">
                  <c:v>1306195</c:v>
                </c:pt>
                <c:pt idx="2889">
                  <c:v>1306139</c:v>
                </c:pt>
                <c:pt idx="2890">
                  <c:v>1306020</c:v>
                </c:pt>
                <c:pt idx="2891">
                  <c:v>1305958</c:v>
                </c:pt>
                <c:pt idx="2892">
                  <c:v>1305818</c:v>
                </c:pt>
                <c:pt idx="2893">
                  <c:v>1305809</c:v>
                </c:pt>
                <c:pt idx="2894">
                  <c:v>1305803</c:v>
                </c:pt>
                <c:pt idx="2895">
                  <c:v>1305664</c:v>
                </c:pt>
                <c:pt idx="2896">
                  <c:v>1305559</c:v>
                </c:pt>
                <c:pt idx="2897">
                  <c:v>1305176</c:v>
                </c:pt>
                <c:pt idx="2898">
                  <c:v>1305162</c:v>
                </c:pt>
                <c:pt idx="2899">
                  <c:v>1305155</c:v>
                </c:pt>
                <c:pt idx="2900">
                  <c:v>1305082</c:v>
                </c:pt>
                <c:pt idx="2901">
                  <c:v>1305021</c:v>
                </c:pt>
                <c:pt idx="2902">
                  <c:v>1304970</c:v>
                </c:pt>
                <c:pt idx="2903">
                  <c:v>1304914</c:v>
                </c:pt>
                <c:pt idx="2904">
                  <c:v>1304887</c:v>
                </c:pt>
                <c:pt idx="2905">
                  <c:v>1304739</c:v>
                </c:pt>
                <c:pt idx="2906">
                  <c:v>1304722</c:v>
                </c:pt>
                <c:pt idx="2907">
                  <c:v>1304720</c:v>
                </c:pt>
                <c:pt idx="2908">
                  <c:v>1304631</c:v>
                </c:pt>
                <c:pt idx="2909">
                  <c:v>1304627</c:v>
                </c:pt>
                <c:pt idx="2910">
                  <c:v>1304515</c:v>
                </c:pt>
                <c:pt idx="2911">
                  <c:v>1304491</c:v>
                </c:pt>
                <c:pt idx="2912">
                  <c:v>1304391</c:v>
                </c:pt>
                <c:pt idx="2913">
                  <c:v>1304339</c:v>
                </c:pt>
                <c:pt idx="2914">
                  <c:v>1304324</c:v>
                </c:pt>
                <c:pt idx="2915">
                  <c:v>1304313</c:v>
                </c:pt>
                <c:pt idx="2916">
                  <c:v>1304297</c:v>
                </c:pt>
                <c:pt idx="2917">
                  <c:v>1304278</c:v>
                </c:pt>
                <c:pt idx="2918">
                  <c:v>1304266</c:v>
                </c:pt>
                <c:pt idx="2919">
                  <c:v>1304232</c:v>
                </c:pt>
                <c:pt idx="2920">
                  <c:v>1304129</c:v>
                </c:pt>
                <c:pt idx="2921">
                  <c:v>1304000</c:v>
                </c:pt>
                <c:pt idx="2922">
                  <c:v>1303999</c:v>
                </c:pt>
                <c:pt idx="2923">
                  <c:v>1303972</c:v>
                </c:pt>
                <c:pt idx="2924">
                  <c:v>1303867</c:v>
                </c:pt>
                <c:pt idx="2925">
                  <c:v>1303845</c:v>
                </c:pt>
                <c:pt idx="2926">
                  <c:v>1303824</c:v>
                </c:pt>
                <c:pt idx="2927">
                  <c:v>1303798</c:v>
                </c:pt>
                <c:pt idx="2928">
                  <c:v>1303746</c:v>
                </c:pt>
                <c:pt idx="2929">
                  <c:v>1303692</c:v>
                </c:pt>
                <c:pt idx="2930">
                  <c:v>1303679</c:v>
                </c:pt>
                <c:pt idx="2931">
                  <c:v>1303550</c:v>
                </c:pt>
                <c:pt idx="2932">
                  <c:v>1303533</c:v>
                </c:pt>
                <c:pt idx="2933">
                  <c:v>1303504</c:v>
                </c:pt>
                <c:pt idx="2934">
                  <c:v>1303476</c:v>
                </c:pt>
                <c:pt idx="2935">
                  <c:v>1303413</c:v>
                </c:pt>
                <c:pt idx="2936">
                  <c:v>1303392</c:v>
                </c:pt>
                <c:pt idx="2937">
                  <c:v>1303259</c:v>
                </c:pt>
                <c:pt idx="2938">
                  <c:v>1303240</c:v>
                </c:pt>
                <c:pt idx="2939">
                  <c:v>1303172</c:v>
                </c:pt>
                <c:pt idx="2940">
                  <c:v>1303110</c:v>
                </c:pt>
                <c:pt idx="2941">
                  <c:v>1303069</c:v>
                </c:pt>
                <c:pt idx="2942">
                  <c:v>1303038</c:v>
                </c:pt>
                <c:pt idx="2943">
                  <c:v>1302981</c:v>
                </c:pt>
                <c:pt idx="2944">
                  <c:v>1302961</c:v>
                </c:pt>
                <c:pt idx="2945">
                  <c:v>1302866</c:v>
                </c:pt>
                <c:pt idx="2946">
                  <c:v>1302687</c:v>
                </c:pt>
                <c:pt idx="2947">
                  <c:v>1302491</c:v>
                </c:pt>
                <c:pt idx="2948">
                  <c:v>1302428</c:v>
                </c:pt>
                <c:pt idx="2949">
                  <c:v>1302426</c:v>
                </c:pt>
                <c:pt idx="2950">
                  <c:v>1302416</c:v>
                </c:pt>
                <c:pt idx="2951">
                  <c:v>1302240</c:v>
                </c:pt>
                <c:pt idx="2952">
                  <c:v>1302234</c:v>
                </c:pt>
                <c:pt idx="2953">
                  <c:v>1302197</c:v>
                </c:pt>
                <c:pt idx="2954">
                  <c:v>1302179</c:v>
                </c:pt>
                <c:pt idx="2955">
                  <c:v>1302097</c:v>
                </c:pt>
                <c:pt idx="2956">
                  <c:v>1302095</c:v>
                </c:pt>
                <c:pt idx="2957">
                  <c:v>1302056</c:v>
                </c:pt>
                <c:pt idx="2958">
                  <c:v>1302043</c:v>
                </c:pt>
                <c:pt idx="2959">
                  <c:v>1302010</c:v>
                </c:pt>
                <c:pt idx="2960">
                  <c:v>1301965</c:v>
                </c:pt>
                <c:pt idx="2961">
                  <c:v>1301871</c:v>
                </c:pt>
                <c:pt idx="2962">
                  <c:v>1301757</c:v>
                </c:pt>
                <c:pt idx="2963">
                  <c:v>1301659</c:v>
                </c:pt>
                <c:pt idx="2964">
                  <c:v>1301559</c:v>
                </c:pt>
                <c:pt idx="2965">
                  <c:v>1301535</c:v>
                </c:pt>
                <c:pt idx="2966">
                  <c:v>1301464</c:v>
                </c:pt>
                <c:pt idx="2967">
                  <c:v>1301450</c:v>
                </c:pt>
                <c:pt idx="2968">
                  <c:v>1301393</c:v>
                </c:pt>
                <c:pt idx="2969">
                  <c:v>1301369</c:v>
                </c:pt>
                <c:pt idx="2970">
                  <c:v>1301337</c:v>
                </c:pt>
                <c:pt idx="2971">
                  <c:v>1301330</c:v>
                </c:pt>
                <c:pt idx="2972">
                  <c:v>1301319</c:v>
                </c:pt>
                <c:pt idx="2973">
                  <c:v>1301241</c:v>
                </c:pt>
                <c:pt idx="2974">
                  <c:v>1301130</c:v>
                </c:pt>
                <c:pt idx="2975">
                  <c:v>1301109</c:v>
                </c:pt>
                <c:pt idx="2976">
                  <c:v>1300935</c:v>
                </c:pt>
                <c:pt idx="2977">
                  <c:v>1300929</c:v>
                </c:pt>
                <c:pt idx="2978">
                  <c:v>1300819</c:v>
                </c:pt>
                <c:pt idx="2979">
                  <c:v>1300714</c:v>
                </c:pt>
                <c:pt idx="2980">
                  <c:v>1300627</c:v>
                </c:pt>
                <c:pt idx="2981">
                  <c:v>1300584</c:v>
                </c:pt>
                <c:pt idx="2982">
                  <c:v>1300560</c:v>
                </c:pt>
                <c:pt idx="2983">
                  <c:v>1300510</c:v>
                </c:pt>
                <c:pt idx="2984">
                  <c:v>1300320</c:v>
                </c:pt>
                <c:pt idx="2985">
                  <c:v>1300301</c:v>
                </c:pt>
                <c:pt idx="2986">
                  <c:v>1300293</c:v>
                </c:pt>
                <c:pt idx="2987">
                  <c:v>1300254</c:v>
                </c:pt>
                <c:pt idx="2988">
                  <c:v>1300136</c:v>
                </c:pt>
                <c:pt idx="2989">
                  <c:v>1300114</c:v>
                </c:pt>
                <c:pt idx="2990">
                  <c:v>1300098</c:v>
                </c:pt>
                <c:pt idx="2991">
                  <c:v>1300096</c:v>
                </c:pt>
                <c:pt idx="2992">
                  <c:v>1300076</c:v>
                </c:pt>
                <c:pt idx="2993">
                  <c:v>1299911</c:v>
                </c:pt>
                <c:pt idx="2994">
                  <c:v>1299836</c:v>
                </c:pt>
                <c:pt idx="2995">
                  <c:v>1299777</c:v>
                </c:pt>
                <c:pt idx="2996">
                  <c:v>1299753</c:v>
                </c:pt>
                <c:pt idx="2997">
                  <c:v>1299710</c:v>
                </c:pt>
                <c:pt idx="2998">
                  <c:v>1299678</c:v>
                </c:pt>
                <c:pt idx="2999">
                  <c:v>1299674</c:v>
                </c:pt>
                <c:pt idx="3000">
                  <c:v>1299630</c:v>
                </c:pt>
                <c:pt idx="3001">
                  <c:v>1299586</c:v>
                </c:pt>
                <c:pt idx="3002">
                  <c:v>1299571</c:v>
                </c:pt>
                <c:pt idx="3003">
                  <c:v>1299545</c:v>
                </c:pt>
                <c:pt idx="3004">
                  <c:v>1299503</c:v>
                </c:pt>
                <c:pt idx="3005">
                  <c:v>1299486</c:v>
                </c:pt>
                <c:pt idx="3006">
                  <c:v>1299466</c:v>
                </c:pt>
                <c:pt idx="3007">
                  <c:v>1299459</c:v>
                </c:pt>
                <c:pt idx="3008">
                  <c:v>1299443</c:v>
                </c:pt>
                <c:pt idx="3009">
                  <c:v>1299420</c:v>
                </c:pt>
                <c:pt idx="3010">
                  <c:v>1299297</c:v>
                </c:pt>
                <c:pt idx="3011">
                  <c:v>1299289</c:v>
                </c:pt>
                <c:pt idx="3012">
                  <c:v>1299281</c:v>
                </c:pt>
                <c:pt idx="3013">
                  <c:v>1299270</c:v>
                </c:pt>
                <c:pt idx="3014">
                  <c:v>1299264</c:v>
                </c:pt>
                <c:pt idx="3015">
                  <c:v>1299188</c:v>
                </c:pt>
                <c:pt idx="3016">
                  <c:v>1299174</c:v>
                </c:pt>
                <c:pt idx="3017">
                  <c:v>1299077</c:v>
                </c:pt>
                <c:pt idx="3018">
                  <c:v>1299034</c:v>
                </c:pt>
                <c:pt idx="3019">
                  <c:v>1298992</c:v>
                </c:pt>
                <c:pt idx="3020">
                  <c:v>1298977</c:v>
                </c:pt>
                <c:pt idx="3021">
                  <c:v>1298935</c:v>
                </c:pt>
                <c:pt idx="3022">
                  <c:v>1298877</c:v>
                </c:pt>
                <c:pt idx="3023">
                  <c:v>1298858</c:v>
                </c:pt>
                <c:pt idx="3024">
                  <c:v>1298842</c:v>
                </c:pt>
                <c:pt idx="3025">
                  <c:v>1298793</c:v>
                </c:pt>
                <c:pt idx="3026">
                  <c:v>1298781</c:v>
                </c:pt>
                <c:pt idx="3027">
                  <c:v>1298681</c:v>
                </c:pt>
                <c:pt idx="3028">
                  <c:v>1298597</c:v>
                </c:pt>
                <c:pt idx="3029">
                  <c:v>1298566</c:v>
                </c:pt>
                <c:pt idx="3030">
                  <c:v>1298489</c:v>
                </c:pt>
                <c:pt idx="3031">
                  <c:v>1298441</c:v>
                </c:pt>
                <c:pt idx="3032">
                  <c:v>1298403</c:v>
                </c:pt>
                <c:pt idx="3033">
                  <c:v>1298399</c:v>
                </c:pt>
                <c:pt idx="3034">
                  <c:v>1298352</c:v>
                </c:pt>
                <c:pt idx="3035">
                  <c:v>1298314</c:v>
                </c:pt>
                <c:pt idx="3036">
                  <c:v>1298303</c:v>
                </c:pt>
                <c:pt idx="3037">
                  <c:v>1298221</c:v>
                </c:pt>
                <c:pt idx="3038">
                  <c:v>1298218</c:v>
                </c:pt>
                <c:pt idx="3039">
                  <c:v>1298207</c:v>
                </c:pt>
                <c:pt idx="3040">
                  <c:v>1298171</c:v>
                </c:pt>
                <c:pt idx="3041">
                  <c:v>1298154</c:v>
                </c:pt>
                <c:pt idx="3042">
                  <c:v>1298082</c:v>
                </c:pt>
                <c:pt idx="3043">
                  <c:v>1298025</c:v>
                </c:pt>
                <c:pt idx="3044">
                  <c:v>1297972</c:v>
                </c:pt>
                <c:pt idx="3045">
                  <c:v>1297910</c:v>
                </c:pt>
                <c:pt idx="3046">
                  <c:v>1297635</c:v>
                </c:pt>
                <c:pt idx="3047">
                  <c:v>1297525</c:v>
                </c:pt>
                <c:pt idx="3048">
                  <c:v>1297494</c:v>
                </c:pt>
                <c:pt idx="3049">
                  <c:v>1297332</c:v>
                </c:pt>
                <c:pt idx="3050">
                  <c:v>1297281</c:v>
                </c:pt>
                <c:pt idx="3051">
                  <c:v>1297266</c:v>
                </c:pt>
                <c:pt idx="3052">
                  <c:v>1297203</c:v>
                </c:pt>
                <c:pt idx="3053">
                  <c:v>1297096</c:v>
                </c:pt>
                <c:pt idx="3054">
                  <c:v>1297066</c:v>
                </c:pt>
                <c:pt idx="3055">
                  <c:v>1296938</c:v>
                </c:pt>
                <c:pt idx="3056">
                  <c:v>1296821</c:v>
                </c:pt>
                <c:pt idx="3057">
                  <c:v>1296795</c:v>
                </c:pt>
                <c:pt idx="3058">
                  <c:v>1296776</c:v>
                </c:pt>
                <c:pt idx="3059">
                  <c:v>1296722</c:v>
                </c:pt>
                <c:pt idx="3060">
                  <c:v>1296677</c:v>
                </c:pt>
                <c:pt idx="3061">
                  <c:v>1296569</c:v>
                </c:pt>
                <c:pt idx="3062">
                  <c:v>1296550</c:v>
                </c:pt>
                <c:pt idx="3063">
                  <c:v>1296496</c:v>
                </c:pt>
                <c:pt idx="3064">
                  <c:v>1296464</c:v>
                </c:pt>
                <c:pt idx="3065">
                  <c:v>1296360</c:v>
                </c:pt>
                <c:pt idx="3066">
                  <c:v>1296331</c:v>
                </c:pt>
                <c:pt idx="3067">
                  <c:v>1296319</c:v>
                </c:pt>
                <c:pt idx="3068">
                  <c:v>1296233</c:v>
                </c:pt>
                <c:pt idx="3069">
                  <c:v>1296176</c:v>
                </c:pt>
                <c:pt idx="3070">
                  <c:v>1296174</c:v>
                </c:pt>
                <c:pt idx="3071">
                  <c:v>1296061</c:v>
                </c:pt>
                <c:pt idx="3072">
                  <c:v>1296047</c:v>
                </c:pt>
                <c:pt idx="3073">
                  <c:v>1296001</c:v>
                </c:pt>
                <c:pt idx="3074">
                  <c:v>1295951</c:v>
                </c:pt>
                <c:pt idx="3075">
                  <c:v>1295946</c:v>
                </c:pt>
                <c:pt idx="3076">
                  <c:v>1295931</c:v>
                </c:pt>
                <c:pt idx="3077">
                  <c:v>1295928</c:v>
                </c:pt>
                <c:pt idx="3078">
                  <c:v>1295899</c:v>
                </c:pt>
                <c:pt idx="3079">
                  <c:v>1295804</c:v>
                </c:pt>
                <c:pt idx="3080">
                  <c:v>1295784</c:v>
                </c:pt>
                <c:pt idx="3081">
                  <c:v>1295602</c:v>
                </c:pt>
                <c:pt idx="3082">
                  <c:v>1295549</c:v>
                </c:pt>
                <c:pt idx="3083">
                  <c:v>1295497</c:v>
                </c:pt>
                <c:pt idx="3084">
                  <c:v>1295315</c:v>
                </c:pt>
                <c:pt idx="3085">
                  <c:v>1295211</c:v>
                </c:pt>
                <c:pt idx="3086">
                  <c:v>1295046</c:v>
                </c:pt>
                <c:pt idx="3087">
                  <c:v>1295030</c:v>
                </c:pt>
                <c:pt idx="3088">
                  <c:v>1294980</c:v>
                </c:pt>
                <c:pt idx="3089">
                  <c:v>1294910</c:v>
                </c:pt>
                <c:pt idx="3090">
                  <c:v>1294843</c:v>
                </c:pt>
                <c:pt idx="3091">
                  <c:v>1294826</c:v>
                </c:pt>
                <c:pt idx="3092">
                  <c:v>1294804</c:v>
                </c:pt>
                <c:pt idx="3093">
                  <c:v>1294793</c:v>
                </c:pt>
                <c:pt idx="3094">
                  <c:v>1294786</c:v>
                </c:pt>
                <c:pt idx="3095">
                  <c:v>1294760</c:v>
                </c:pt>
                <c:pt idx="3096">
                  <c:v>1294739</c:v>
                </c:pt>
                <c:pt idx="3097">
                  <c:v>1294688</c:v>
                </c:pt>
                <c:pt idx="3098">
                  <c:v>1294657</c:v>
                </c:pt>
                <c:pt idx="3099">
                  <c:v>1294596</c:v>
                </c:pt>
                <c:pt idx="3100">
                  <c:v>1294388</c:v>
                </c:pt>
                <c:pt idx="3101">
                  <c:v>1294299</c:v>
                </c:pt>
                <c:pt idx="3102">
                  <c:v>1294225</c:v>
                </c:pt>
                <c:pt idx="3103">
                  <c:v>1294081</c:v>
                </c:pt>
                <c:pt idx="3104">
                  <c:v>1294034</c:v>
                </c:pt>
                <c:pt idx="3105">
                  <c:v>1294013</c:v>
                </c:pt>
                <c:pt idx="3106">
                  <c:v>1293982</c:v>
                </c:pt>
                <c:pt idx="3107">
                  <c:v>1293966</c:v>
                </c:pt>
                <c:pt idx="3108">
                  <c:v>1293950</c:v>
                </c:pt>
                <c:pt idx="3109">
                  <c:v>1293883</c:v>
                </c:pt>
                <c:pt idx="3110">
                  <c:v>1293770</c:v>
                </c:pt>
                <c:pt idx="3111">
                  <c:v>1293714</c:v>
                </c:pt>
                <c:pt idx="3112">
                  <c:v>1293694</c:v>
                </c:pt>
                <c:pt idx="3113">
                  <c:v>1293665</c:v>
                </c:pt>
                <c:pt idx="3114">
                  <c:v>1293647</c:v>
                </c:pt>
                <c:pt idx="3115">
                  <c:v>1293646</c:v>
                </c:pt>
                <c:pt idx="3116">
                  <c:v>1293576</c:v>
                </c:pt>
                <c:pt idx="3117">
                  <c:v>1293552</c:v>
                </c:pt>
                <c:pt idx="3118">
                  <c:v>1293550</c:v>
                </c:pt>
                <c:pt idx="3119">
                  <c:v>1293505</c:v>
                </c:pt>
                <c:pt idx="3120">
                  <c:v>1293479</c:v>
                </c:pt>
                <c:pt idx="3121">
                  <c:v>1293444</c:v>
                </c:pt>
                <c:pt idx="3122">
                  <c:v>1293421</c:v>
                </c:pt>
                <c:pt idx="3123">
                  <c:v>1293331</c:v>
                </c:pt>
                <c:pt idx="3124">
                  <c:v>1293089</c:v>
                </c:pt>
                <c:pt idx="3125">
                  <c:v>1292939</c:v>
                </c:pt>
                <c:pt idx="3126">
                  <c:v>1292717</c:v>
                </c:pt>
                <c:pt idx="3127">
                  <c:v>1292674</c:v>
                </c:pt>
                <c:pt idx="3128">
                  <c:v>1292646</c:v>
                </c:pt>
                <c:pt idx="3129">
                  <c:v>1292609</c:v>
                </c:pt>
                <c:pt idx="3130">
                  <c:v>1292605</c:v>
                </c:pt>
                <c:pt idx="3131">
                  <c:v>1292595</c:v>
                </c:pt>
                <c:pt idx="3132">
                  <c:v>1292563</c:v>
                </c:pt>
                <c:pt idx="3133">
                  <c:v>1292493</c:v>
                </c:pt>
                <c:pt idx="3134">
                  <c:v>1292484</c:v>
                </c:pt>
                <c:pt idx="3135">
                  <c:v>1292475</c:v>
                </c:pt>
                <c:pt idx="3136">
                  <c:v>1292257</c:v>
                </c:pt>
                <c:pt idx="3137">
                  <c:v>1292231</c:v>
                </c:pt>
                <c:pt idx="3138">
                  <c:v>1292201</c:v>
                </c:pt>
                <c:pt idx="3139">
                  <c:v>1292186</c:v>
                </c:pt>
                <c:pt idx="3140">
                  <c:v>1292105</c:v>
                </c:pt>
                <c:pt idx="3141">
                  <c:v>1292067</c:v>
                </c:pt>
                <c:pt idx="3142">
                  <c:v>1291973</c:v>
                </c:pt>
                <c:pt idx="3143">
                  <c:v>1291930</c:v>
                </c:pt>
                <c:pt idx="3144">
                  <c:v>1291849</c:v>
                </c:pt>
                <c:pt idx="3145">
                  <c:v>1291845</c:v>
                </c:pt>
                <c:pt idx="3146">
                  <c:v>1291799</c:v>
                </c:pt>
                <c:pt idx="3147">
                  <c:v>1291783</c:v>
                </c:pt>
                <c:pt idx="3148">
                  <c:v>1291778</c:v>
                </c:pt>
                <c:pt idx="3149">
                  <c:v>1291564</c:v>
                </c:pt>
                <c:pt idx="3150">
                  <c:v>1291550</c:v>
                </c:pt>
                <c:pt idx="3151">
                  <c:v>1291448</c:v>
                </c:pt>
                <c:pt idx="3152">
                  <c:v>1291431</c:v>
                </c:pt>
                <c:pt idx="3153">
                  <c:v>1291417</c:v>
                </c:pt>
                <c:pt idx="3154">
                  <c:v>1291399</c:v>
                </c:pt>
                <c:pt idx="3155">
                  <c:v>1291395</c:v>
                </c:pt>
                <c:pt idx="3156">
                  <c:v>1291371</c:v>
                </c:pt>
                <c:pt idx="3157">
                  <c:v>1291301</c:v>
                </c:pt>
                <c:pt idx="3158">
                  <c:v>1291293</c:v>
                </c:pt>
                <c:pt idx="3159">
                  <c:v>1291265</c:v>
                </c:pt>
                <c:pt idx="3160">
                  <c:v>1291134</c:v>
                </c:pt>
                <c:pt idx="3161">
                  <c:v>1291118</c:v>
                </c:pt>
                <c:pt idx="3162">
                  <c:v>1290911</c:v>
                </c:pt>
                <c:pt idx="3163">
                  <c:v>1290876</c:v>
                </c:pt>
                <c:pt idx="3164">
                  <c:v>1290876</c:v>
                </c:pt>
                <c:pt idx="3165">
                  <c:v>1290870</c:v>
                </c:pt>
                <c:pt idx="3166">
                  <c:v>1290848</c:v>
                </c:pt>
                <c:pt idx="3167">
                  <c:v>1290786</c:v>
                </c:pt>
                <c:pt idx="3168">
                  <c:v>1290758</c:v>
                </c:pt>
                <c:pt idx="3169">
                  <c:v>1290713</c:v>
                </c:pt>
                <c:pt idx="3170">
                  <c:v>1290692</c:v>
                </c:pt>
                <c:pt idx="3171">
                  <c:v>1290676</c:v>
                </c:pt>
                <c:pt idx="3172">
                  <c:v>1290675</c:v>
                </c:pt>
                <c:pt idx="3173">
                  <c:v>1290641</c:v>
                </c:pt>
                <c:pt idx="3174">
                  <c:v>1290639</c:v>
                </c:pt>
                <c:pt idx="3175">
                  <c:v>1290609</c:v>
                </c:pt>
                <c:pt idx="3176">
                  <c:v>1290554</c:v>
                </c:pt>
                <c:pt idx="3177">
                  <c:v>1290477</c:v>
                </c:pt>
                <c:pt idx="3178">
                  <c:v>1290467</c:v>
                </c:pt>
                <c:pt idx="3179">
                  <c:v>1290413</c:v>
                </c:pt>
                <c:pt idx="3180">
                  <c:v>1290402</c:v>
                </c:pt>
                <c:pt idx="3181">
                  <c:v>1290347</c:v>
                </c:pt>
                <c:pt idx="3182">
                  <c:v>1290294</c:v>
                </c:pt>
                <c:pt idx="3183">
                  <c:v>1290227</c:v>
                </c:pt>
                <c:pt idx="3184">
                  <c:v>1290177</c:v>
                </c:pt>
                <c:pt idx="3185">
                  <c:v>1290131</c:v>
                </c:pt>
                <c:pt idx="3186">
                  <c:v>1290096</c:v>
                </c:pt>
                <c:pt idx="3187">
                  <c:v>1290070</c:v>
                </c:pt>
                <c:pt idx="3188">
                  <c:v>1290053</c:v>
                </c:pt>
                <c:pt idx="3189">
                  <c:v>1290052</c:v>
                </c:pt>
                <c:pt idx="3190">
                  <c:v>1290006</c:v>
                </c:pt>
                <c:pt idx="3191">
                  <c:v>1290005</c:v>
                </c:pt>
                <c:pt idx="3192">
                  <c:v>1289967</c:v>
                </c:pt>
                <c:pt idx="3193">
                  <c:v>1289947</c:v>
                </c:pt>
                <c:pt idx="3194">
                  <c:v>1289776</c:v>
                </c:pt>
                <c:pt idx="3195">
                  <c:v>1289698</c:v>
                </c:pt>
                <c:pt idx="3196">
                  <c:v>1289657</c:v>
                </c:pt>
                <c:pt idx="3197">
                  <c:v>1289651</c:v>
                </c:pt>
                <c:pt idx="3198">
                  <c:v>1289599</c:v>
                </c:pt>
                <c:pt idx="3199">
                  <c:v>1289550</c:v>
                </c:pt>
                <c:pt idx="3200">
                  <c:v>1289328</c:v>
                </c:pt>
                <c:pt idx="3201">
                  <c:v>1289298</c:v>
                </c:pt>
                <c:pt idx="3202">
                  <c:v>1289136</c:v>
                </c:pt>
                <c:pt idx="3203">
                  <c:v>1289133</c:v>
                </c:pt>
                <c:pt idx="3204">
                  <c:v>1289124</c:v>
                </c:pt>
                <c:pt idx="3205">
                  <c:v>1289042</c:v>
                </c:pt>
                <c:pt idx="3206">
                  <c:v>1288994</c:v>
                </c:pt>
                <c:pt idx="3207">
                  <c:v>1288990</c:v>
                </c:pt>
                <c:pt idx="3208">
                  <c:v>1288926</c:v>
                </c:pt>
                <c:pt idx="3209">
                  <c:v>1288864</c:v>
                </c:pt>
                <c:pt idx="3210">
                  <c:v>1288814</c:v>
                </c:pt>
                <c:pt idx="3211">
                  <c:v>1288803</c:v>
                </c:pt>
                <c:pt idx="3212">
                  <c:v>1288795</c:v>
                </c:pt>
                <c:pt idx="3213">
                  <c:v>1288769</c:v>
                </c:pt>
                <c:pt idx="3214">
                  <c:v>1288758</c:v>
                </c:pt>
                <c:pt idx="3215">
                  <c:v>1288749</c:v>
                </c:pt>
                <c:pt idx="3216">
                  <c:v>1288744</c:v>
                </c:pt>
                <c:pt idx="3217">
                  <c:v>1288741</c:v>
                </c:pt>
                <c:pt idx="3218">
                  <c:v>1288722</c:v>
                </c:pt>
                <c:pt idx="3219">
                  <c:v>1288675</c:v>
                </c:pt>
                <c:pt idx="3220">
                  <c:v>1288589</c:v>
                </c:pt>
                <c:pt idx="3221">
                  <c:v>1288529</c:v>
                </c:pt>
                <c:pt idx="3222">
                  <c:v>1288478</c:v>
                </c:pt>
                <c:pt idx="3223">
                  <c:v>1288245</c:v>
                </c:pt>
                <c:pt idx="3224">
                  <c:v>1288172</c:v>
                </c:pt>
                <c:pt idx="3225">
                  <c:v>1288145</c:v>
                </c:pt>
                <c:pt idx="3226">
                  <c:v>1288120</c:v>
                </c:pt>
                <c:pt idx="3227">
                  <c:v>1288075</c:v>
                </c:pt>
                <c:pt idx="3228">
                  <c:v>1287928</c:v>
                </c:pt>
                <c:pt idx="3229">
                  <c:v>1287865</c:v>
                </c:pt>
                <c:pt idx="3230">
                  <c:v>1287769</c:v>
                </c:pt>
                <c:pt idx="3231">
                  <c:v>1287711</c:v>
                </c:pt>
                <c:pt idx="3232">
                  <c:v>1287664</c:v>
                </c:pt>
                <c:pt idx="3233">
                  <c:v>1287629</c:v>
                </c:pt>
                <c:pt idx="3234">
                  <c:v>1287598</c:v>
                </c:pt>
                <c:pt idx="3235">
                  <c:v>1287575</c:v>
                </c:pt>
                <c:pt idx="3236">
                  <c:v>1287479</c:v>
                </c:pt>
                <c:pt idx="3237">
                  <c:v>1287343</c:v>
                </c:pt>
                <c:pt idx="3238">
                  <c:v>1287256</c:v>
                </c:pt>
                <c:pt idx="3239">
                  <c:v>1287240</c:v>
                </c:pt>
                <c:pt idx="3240">
                  <c:v>1287183</c:v>
                </c:pt>
                <c:pt idx="3241">
                  <c:v>1286925</c:v>
                </c:pt>
                <c:pt idx="3242">
                  <c:v>1286894</c:v>
                </c:pt>
                <c:pt idx="3243">
                  <c:v>1286736</c:v>
                </c:pt>
                <c:pt idx="3244">
                  <c:v>1286633</c:v>
                </c:pt>
                <c:pt idx="3245">
                  <c:v>1286426</c:v>
                </c:pt>
                <c:pt idx="3246">
                  <c:v>1286401</c:v>
                </c:pt>
                <c:pt idx="3247">
                  <c:v>1286396</c:v>
                </c:pt>
                <c:pt idx="3248">
                  <c:v>1286327</c:v>
                </c:pt>
                <c:pt idx="3249">
                  <c:v>1286313</c:v>
                </c:pt>
                <c:pt idx="3250">
                  <c:v>1286216</c:v>
                </c:pt>
                <c:pt idx="3251">
                  <c:v>1286211</c:v>
                </c:pt>
                <c:pt idx="3252">
                  <c:v>1286189</c:v>
                </c:pt>
                <c:pt idx="3253">
                  <c:v>1286170</c:v>
                </c:pt>
                <c:pt idx="3254">
                  <c:v>1286164</c:v>
                </c:pt>
                <c:pt idx="3255">
                  <c:v>1286104</c:v>
                </c:pt>
                <c:pt idx="3256">
                  <c:v>1286000</c:v>
                </c:pt>
                <c:pt idx="3257">
                  <c:v>1285988</c:v>
                </c:pt>
                <c:pt idx="3258">
                  <c:v>1285846</c:v>
                </c:pt>
                <c:pt idx="3259">
                  <c:v>1285794</c:v>
                </c:pt>
                <c:pt idx="3260">
                  <c:v>1285714</c:v>
                </c:pt>
                <c:pt idx="3261">
                  <c:v>1285668</c:v>
                </c:pt>
                <c:pt idx="3262">
                  <c:v>1285551</c:v>
                </c:pt>
                <c:pt idx="3263">
                  <c:v>1285464</c:v>
                </c:pt>
                <c:pt idx="3264">
                  <c:v>1285438</c:v>
                </c:pt>
                <c:pt idx="3265">
                  <c:v>1285284</c:v>
                </c:pt>
                <c:pt idx="3266">
                  <c:v>1285143</c:v>
                </c:pt>
                <c:pt idx="3267">
                  <c:v>1285077</c:v>
                </c:pt>
                <c:pt idx="3268">
                  <c:v>1285073</c:v>
                </c:pt>
                <c:pt idx="3269">
                  <c:v>1285053</c:v>
                </c:pt>
                <c:pt idx="3270">
                  <c:v>1285053</c:v>
                </c:pt>
                <c:pt idx="3271">
                  <c:v>1285038</c:v>
                </c:pt>
                <c:pt idx="3272">
                  <c:v>1285036</c:v>
                </c:pt>
                <c:pt idx="3273">
                  <c:v>1285011</c:v>
                </c:pt>
                <c:pt idx="3274">
                  <c:v>1285003</c:v>
                </c:pt>
                <c:pt idx="3275">
                  <c:v>1284967</c:v>
                </c:pt>
                <c:pt idx="3276">
                  <c:v>1284948</c:v>
                </c:pt>
                <c:pt idx="3277">
                  <c:v>1284912</c:v>
                </c:pt>
                <c:pt idx="3278">
                  <c:v>1284889</c:v>
                </c:pt>
                <c:pt idx="3279">
                  <c:v>1284865</c:v>
                </c:pt>
                <c:pt idx="3280">
                  <c:v>1284782</c:v>
                </c:pt>
                <c:pt idx="3281">
                  <c:v>1284712</c:v>
                </c:pt>
                <c:pt idx="3282">
                  <c:v>1284680</c:v>
                </c:pt>
                <c:pt idx="3283">
                  <c:v>1284673</c:v>
                </c:pt>
                <c:pt idx="3284">
                  <c:v>1284644</c:v>
                </c:pt>
                <c:pt idx="3285">
                  <c:v>1284621</c:v>
                </c:pt>
                <c:pt idx="3286">
                  <c:v>1284618</c:v>
                </c:pt>
                <c:pt idx="3287">
                  <c:v>1284608</c:v>
                </c:pt>
                <c:pt idx="3288">
                  <c:v>1284553</c:v>
                </c:pt>
                <c:pt idx="3289">
                  <c:v>1284493</c:v>
                </c:pt>
                <c:pt idx="3290">
                  <c:v>1284441</c:v>
                </c:pt>
                <c:pt idx="3291">
                  <c:v>1284241</c:v>
                </c:pt>
                <c:pt idx="3292">
                  <c:v>1284227</c:v>
                </c:pt>
                <c:pt idx="3293">
                  <c:v>1284203</c:v>
                </c:pt>
                <c:pt idx="3294">
                  <c:v>1284166</c:v>
                </c:pt>
                <c:pt idx="3295">
                  <c:v>1284128</c:v>
                </c:pt>
                <c:pt idx="3296">
                  <c:v>1284055</c:v>
                </c:pt>
                <c:pt idx="3297">
                  <c:v>1284031</c:v>
                </c:pt>
                <c:pt idx="3298">
                  <c:v>1283930</c:v>
                </c:pt>
                <c:pt idx="3299">
                  <c:v>1283865</c:v>
                </c:pt>
                <c:pt idx="3300">
                  <c:v>1283828</c:v>
                </c:pt>
                <c:pt idx="3301">
                  <c:v>1283793</c:v>
                </c:pt>
                <c:pt idx="3302">
                  <c:v>1283662</c:v>
                </c:pt>
                <c:pt idx="3303">
                  <c:v>1283629</c:v>
                </c:pt>
                <c:pt idx="3304">
                  <c:v>1283569</c:v>
                </c:pt>
                <c:pt idx="3305">
                  <c:v>1283454</c:v>
                </c:pt>
                <c:pt idx="3306">
                  <c:v>1283375</c:v>
                </c:pt>
                <c:pt idx="3307">
                  <c:v>1283359</c:v>
                </c:pt>
                <c:pt idx="3308">
                  <c:v>1283260</c:v>
                </c:pt>
                <c:pt idx="3309">
                  <c:v>1283217</c:v>
                </c:pt>
                <c:pt idx="3310">
                  <c:v>1283158</c:v>
                </c:pt>
                <c:pt idx="3311">
                  <c:v>1283145</c:v>
                </c:pt>
                <c:pt idx="3312">
                  <c:v>1283081</c:v>
                </c:pt>
                <c:pt idx="3313">
                  <c:v>1283068</c:v>
                </c:pt>
                <c:pt idx="3314">
                  <c:v>1282850</c:v>
                </c:pt>
                <c:pt idx="3315">
                  <c:v>1282773</c:v>
                </c:pt>
                <c:pt idx="3316">
                  <c:v>1282767</c:v>
                </c:pt>
                <c:pt idx="3317">
                  <c:v>1282694</c:v>
                </c:pt>
                <c:pt idx="3318">
                  <c:v>1282682</c:v>
                </c:pt>
                <c:pt idx="3319">
                  <c:v>1282644</c:v>
                </c:pt>
                <c:pt idx="3320">
                  <c:v>1282637</c:v>
                </c:pt>
                <c:pt idx="3321">
                  <c:v>1282574</c:v>
                </c:pt>
                <c:pt idx="3322">
                  <c:v>1282548</c:v>
                </c:pt>
                <c:pt idx="3323">
                  <c:v>1282527</c:v>
                </c:pt>
                <c:pt idx="3324">
                  <c:v>1282491</c:v>
                </c:pt>
                <c:pt idx="3325">
                  <c:v>1282448</c:v>
                </c:pt>
                <c:pt idx="3326">
                  <c:v>1282390</c:v>
                </c:pt>
                <c:pt idx="3327">
                  <c:v>1282370</c:v>
                </c:pt>
                <c:pt idx="3328">
                  <c:v>1282364</c:v>
                </c:pt>
                <c:pt idx="3329">
                  <c:v>1282333</c:v>
                </c:pt>
                <c:pt idx="3330">
                  <c:v>1282316</c:v>
                </c:pt>
                <c:pt idx="3331">
                  <c:v>1282305</c:v>
                </c:pt>
                <c:pt idx="3332">
                  <c:v>1282266</c:v>
                </c:pt>
                <c:pt idx="3333">
                  <c:v>1282206</c:v>
                </c:pt>
                <c:pt idx="3334">
                  <c:v>1282185</c:v>
                </c:pt>
                <c:pt idx="3335">
                  <c:v>1282151</c:v>
                </c:pt>
                <c:pt idx="3336">
                  <c:v>1282066</c:v>
                </c:pt>
                <c:pt idx="3337">
                  <c:v>1281825</c:v>
                </c:pt>
                <c:pt idx="3338">
                  <c:v>1281664</c:v>
                </c:pt>
                <c:pt idx="3339">
                  <c:v>1281580</c:v>
                </c:pt>
                <c:pt idx="3340">
                  <c:v>1281573</c:v>
                </c:pt>
                <c:pt idx="3341">
                  <c:v>1281539</c:v>
                </c:pt>
                <c:pt idx="3342">
                  <c:v>1281521</c:v>
                </c:pt>
                <c:pt idx="3343">
                  <c:v>1281347</c:v>
                </c:pt>
                <c:pt idx="3344">
                  <c:v>1281289</c:v>
                </c:pt>
                <c:pt idx="3345">
                  <c:v>1281133</c:v>
                </c:pt>
                <c:pt idx="3346">
                  <c:v>1281131</c:v>
                </c:pt>
                <c:pt idx="3347">
                  <c:v>1281052</c:v>
                </c:pt>
                <c:pt idx="3348">
                  <c:v>1281031</c:v>
                </c:pt>
                <c:pt idx="3349">
                  <c:v>1281017</c:v>
                </c:pt>
                <c:pt idx="3350">
                  <c:v>1280980</c:v>
                </c:pt>
                <c:pt idx="3351">
                  <c:v>1280764</c:v>
                </c:pt>
                <c:pt idx="3352">
                  <c:v>1280745</c:v>
                </c:pt>
                <c:pt idx="3353">
                  <c:v>1280664</c:v>
                </c:pt>
                <c:pt idx="3354">
                  <c:v>1280427</c:v>
                </c:pt>
                <c:pt idx="3355">
                  <c:v>1280399</c:v>
                </c:pt>
                <c:pt idx="3356">
                  <c:v>1280390</c:v>
                </c:pt>
                <c:pt idx="3357">
                  <c:v>1280377</c:v>
                </c:pt>
                <c:pt idx="3358">
                  <c:v>1280260</c:v>
                </c:pt>
                <c:pt idx="3359">
                  <c:v>1280226</c:v>
                </c:pt>
                <c:pt idx="3360">
                  <c:v>1280195</c:v>
                </c:pt>
                <c:pt idx="3361">
                  <c:v>1280168</c:v>
                </c:pt>
                <c:pt idx="3362">
                  <c:v>1280155</c:v>
                </c:pt>
                <c:pt idx="3363">
                  <c:v>1280120</c:v>
                </c:pt>
                <c:pt idx="3364">
                  <c:v>1280070</c:v>
                </c:pt>
                <c:pt idx="3365">
                  <c:v>1279964</c:v>
                </c:pt>
                <c:pt idx="3366">
                  <c:v>1279917</c:v>
                </c:pt>
                <c:pt idx="3367">
                  <c:v>1279838</c:v>
                </c:pt>
                <c:pt idx="3368">
                  <c:v>1279792</c:v>
                </c:pt>
                <c:pt idx="3369">
                  <c:v>1279714</c:v>
                </c:pt>
                <c:pt idx="3370">
                  <c:v>1279635</c:v>
                </c:pt>
                <c:pt idx="3371">
                  <c:v>1279591</c:v>
                </c:pt>
                <c:pt idx="3372">
                  <c:v>1279569</c:v>
                </c:pt>
                <c:pt idx="3373">
                  <c:v>1279545</c:v>
                </c:pt>
                <c:pt idx="3374">
                  <c:v>1279520</c:v>
                </c:pt>
                <c:pt idx="3375">
                  <c:v>1279460</c:v>
                </c:pt>
                <c:pt idx="3376">
                  <c:v>1279409</c:v>
                </c:pt>
                <c:pt idx="3377">
                  <c:v>1279278</c:v>
                </c:pt>
                <c:pt idx="3378">
                  <c:v>1279165</c:v>
                </c:pt>
                <c:pt idx="3379">
                  <c:v>1279158</c:v>
                </c:pt>
                <c:pt idx="3380">
                  <c:v>1279096</c:v>
                </c:pt>
                <c:pt idx="3381">
                  <c:v>1279096</c:v>
                </c:pt>
                <c:pt idx="3382">
                  <c:v>1278952</c:v>
                </c:pt>
                <c:pt idx="3383">
                  <c:v>1278888</c:v>
                </c:pt>
                <c:pt idx="3384">
                  <c:v>1278740</c:v>
                </c:pt>
                <c:pt idx="3385">
                  <c:v>1278678</c:v>
                </c:pt>
                <c:pt idx="3386">
                  <c:v>1278566</c:v>
                </c:pt>
                <c:pt idx="3387">
                  <c:v>1278542</c:v>
                </c:pt>
                <c:pt idx="3388">
                  <c:v>1278540</c:v>
                </c:pt>
                <c:pt idx="3389">
                  <c:v>1278504</c:v>
                </c:pt>
                <c:pt idx="3390">
                  <c:v>1278415</c:v>
                </c:pt>
                <c:pt idx="3391">
                  <c:v>1278408</c:v>
                </c:pt>
                <c:pt idx="3392">
                  <c:v>1278250</c:v>
                </c:pt>
                <c:pt idx="3393">
                  <c:v>1278127</c:v>
                </c:pt>
                <c:pt idx="3394">
                  <c:v>1278127</c:v>
                </c:pt>
                <c:pt idx="3395">
                  <c:v>1277981</c:v>
                </c:pt>
                <c:pt idx="3396">
                  <c:v>1277979</c:v>
                </c:pt>
                <c:pt idx="3397">
                  <c:v>1277922</c:v>
                </c:pt>
                <c:pt idx="3398">
                  <c:v>1277743</c:v>
                </c:pt>
                <c:pt idx="3399">
                  <c:v>1277639</c:v>
                </c:pt>
                <c:pt idx="3400">
                  <c:v>1277616</c:v>
                </c:pt>
                <c:pt idx="3401">
                  <c:v>1277505</c:v>
                </c:pt>
                <c:pt idx="3402">
                  <c:v>1277495</c:v>
                </c:pt>
                <c:pt idx="3403">
                  <c:v>1277284</c:v>
                </c:pt>
                <c:pt idx="3404">
                  <c:v>1277281</c:v>
                </c:pt>
                <c:pt idx="3405">
                  <c:v>1277230</c:v>
                </c:pt>
                <c:pt idx="3406">
                  <c:v>1277191</c:v>
                </c:pt>
                <c:pt idx="3407">
                  <c:v>1277180</c:v>
                </c:pt>
                <c:pt idx="3408">
                  <c:v>1277077</c:v>
                </c:pt>
                <c:pt idx="3409">
                  <c:v>1276996</c:v>
                </c:pt>
                <c:pt idx="3410">
                  <c:v>1276877</c:v>
                </c:pt>
                <c:pt idx="3411">
                  <c:v>1276797</c:v>
                </c:pt>
                <c:pt idx="3412">
                  <c:v>1276788</c:v>
                </c:pt>
                <c:pt idx="3413">
                  <c:v>1276782</c:v>
                </c:pt>
                <c:pt idx="3414">
                  <c:v>1276713</c:v>
                </c:pt>
                <c:pt idx="3415">
                  <c:v>1276561</c:v>
                </c:pt>
                <c:pt idx="3416">
                  <c:v>1276488</c:v>
                </c:pt>
                <c:pt idx="3417">
                  <c:v>1276471</c:v>
                </c:pt>
                <c:pt idx="3418">
                  <c:v>1276355</c:v>
                </c:pt>
                <c:pt idx="3419">
                  <c:v>1276351</c:v>
                </c:pt>
                <c:pt idx="3420">
                  <c:v>1276349</c:v>
                </c:pt>
                <c:pt idx="3421">
                  <c:v>1276270</c:v>
                </c:pt>
                <c:pt idx="3422">
                  <c:v>1276225</c:v>
                </c:pt>
                <c:pt idx="3423">
                  <c:v>1276196</c:v>
                </c:pt>
                <c:pt idx="3424">
                  <c:v>1276173</c:v>
                </c:pt>
                <c:pt idx="3425">
                  <c:v>1276153</c:v>
                </c:pt>
                <c:pt idx="3426">
                  <c:v>1276152</c:v>
                </c:pt>
                <c:pt idx="3427">
                  <c:v>1276090</c:v>
                </c:pt>
                <c:pt idx="3428">
                  <c:v>1276021</c:v>
                </c:pt>
                <c:pt idx="3429">
                  <c:v>1276006</c:v>
                </c:pt>
                <c:pt idx="3430">
                  <c:v>1275923</c:v>
                </c:pt>
                <c:pt idx="3431">
                  <c:v>1275908</c:v>
                </c:pt>
                <c:pt idx="3432">
                  <c:v>1275869</c:v>
                </c:pt>
                <c:pt idx="3433">
                  <c:v>1275862</c:v>
                </c:pt>
                <c:pt idx="3434">
                  <c:v>1275839</c:v>
                </c:pt>
                <c:pt idx="3435">
                  <c:v>1275793</c:v>
                </c:pt>
                <c:pt idx="3436">
                  <c:v>1275731</c:v>
                </c:pt>
                <c:pt idx="3437">
                  <c:v>1275713</c:v>
                </c:pt>
                <c:pt idx="3438">
                  <c:v>1275549</c:v>
                </c:pt>
                <c:pt idx="3439">
                  <c:v>1275485</c:v>
                </c:pt>
                <c:pt idx="3440">
                  <c:v>1275335</c:v>
                </c:pt>
                <c:pt idx="3441">
                  <c:v>1275280</c:v>
                </c:pt>
                <c:pt idx="3442">
                  <c:v>1275242</c:v>
                </c:pt>
                <c:pt idx="3443">
                  <c:v>1275192</c:v>
                </c:pt>
                <c:pt idx="3444">
                  <c:v>1275184</c:v>
                </c:pt>
                <c:pt idx="3445">
                  <c:v>1275115</c:v>
                </c:pt>
                <c:pt idx="3446">
                  <c:v>1275091</c:v>
                </c:pt>
                <c:pt idx="3447">
                  <c:v>1275062</c:v>
                </c:pt>
                <c:pt idx="3448">
                  <c:v>1274979</c:v>
                </c:pt>
                <c:pt idx="3449">
                  <c:v>1274926</c:v>
                </c:pt>
                <c:pt idx="3450">
                  <c:v>1274907</c:v>
                </c:pt>
                <c:pt idx="3451">
                  <c:v>1274900</c:v>
                </c:pt>
                <c:pt idx="3452">
                  <c:v>1274880</c:v>
                </c:pt>
                <c:pt idx="3453">
                  <c:v>1274856</c:v>
                </c:pt>
                <c:pt idx="3454">
                  <c:v>1274842</c:v>
                </c:pt>
                <c:pt idx="3455">
                  <c:v>1274782</c:v>
                </c:pt>
                <c:pt idx="3456">
                  <c:v>1274647</c:v>
                </c:pt>
                <c:pt idx="3457">
                  <c:v>1274639</c:v>
                </c:pt>
                <c:pt idx="3458">
                  <c:v>1274626</c:v>
                </c:pt>
                <c:pt idx="3459">
                  <c:v>1274567</c:v>
                </c:pt>
                <c:pt idx="3460">
                  <c:v>1274479</c:v>
                </c:pt>
                <c:pt idx="3461">
                  <c:v>1274465</c:v>
                </c:pt>
                <c:pt idx="3462">
                  <c:v>1274436</c:v>
                </c:pt>
                <c:pt idx="3463">
                  <c:v>1274434</c:v>
                </c:pt>
                <c:pt idx="3464">
                  <c:v>1274433</c:v>
                </c:pt>
                <c:pt idx="3465">
                  <c:v>1274423</c:v>
                </c:pt>
                <c:pt idx="3466">
                  <c:v>1274290</c:v>
                </c:pt>
                <c:pt idx="3467">
                  <c:v>1274266</c:v>
                </c:pt>
                <c:pt idx="3468">
                  <c:v>1274229</c:v>
                </c:pt>
                <c:pt idx="3469">
                  <c:v>1274216</c:v>
                </c:pt>
                <c:pt idx="3470">
                  <c:v>1274150</c:v>
                </c:pt>
                <c:pt idx="3471">
                  <c:v>1274129</c:v>
                </c:pt>
                <c:pt idx="3472">
                  <c:v>1274050</c:v>
                </c:pt>
                <c:pt idx="3473">
                  <c:v>1274025</c:v>
                </c:pt>
                <c:pt idx="3474">
                  <c:v>1273939</c:v>
                </c:pt>
                <c:pt idx="3475">
                  <c:v>1273936</c:v>
                </c:pt>
                <c:pt idx="3476">
                  <c:v>1273931</c:v>
                </c:pt>
                <c:pt idx="3477">
                  <c:v>1273836</c:v>
                </c:pt>
                <c:pt idx="3478">
                  <c:v>1273836</c:v>
                </c:pt>
                <c:pt idx="3479">
                  <c:v>1273764</c:v>
                </c:pt>
                <c:pt idx="3480">
                  <c:v>1273740</c:v>
                </c:pt>
                <c:pt idx="3481">
                  <c:v>1273711</c:v>
                </c:pt>
                <c:pt idx="3482">
                  <c:v>1273613</c:v>
                </c:pt>
                <c:pt idx="3483">
                  <c:v>1273566</c:v>
                </c:pt>
                <c:pt idx="3484">
                  <c:v>1273502</c:v>
                </c:pt>
                <c:pt idx="3485">
                  <c:v>1273221</c:v>
                </c:pt>
                <c:pt idx="3486">
                  <c:v>1273047</c:v>
                </c:pt>
                <c:pt idx="3487">
                  <c:v>1272982</c:v>
                </c:pt>
                <c:pt idx="3488">
                  <c:v>1272895</c:v>
                </c:pt>
                <c:pt idx="3489">
                  <c:v>1272846</c:v>
                </c:pt>
                <c:pt idx="3490">
                  <c:v>1272809</c:v>
                </c:pt>
                <c:pt idx="3491">
                  <c:v>1272809</c:v>
                </c:pt>
                <c:pt idx="3492">
                  <c:v>1272806</c:v>
                </c:pt>
                <c:pt idx="3493">
                  <c:v>1272783</c:v>
                </c:pt>
                <c:pt idx="3494">
                  <c:v>1272769</c:v>
                </c:pt>
                <c:pt idx="3495">
                  <c:v>1272715</c:v>
                </c:pt>
                <c:pt idx="3496">
                  <c:v>1272685</c:v>
                </c:pt>
                <c:pt idx="3497">
                  <c:v>1272678</c:v>
                </c:pt>
                <c:pt idx="3498">
                  <c:v>1272663</c:v>
                </c:pt>
                <c:pt idx="3499">
                  <c:v>1272607</c:v>
                </c:pt>
                <c:pt idx="3500">
                  <c:v>1272577</c:v>
                </c:pt>
                <c:pt idx="3501">
                  <c:v>1272526</c:v>
                </c:pt>
                <c:pt idx="3502">
                  <c:v>1272515</c:v>
                </c:pt>
                <c:pt idx="3503">
                  <c:v>1272512</c:v>
                </c:pt>
                <c:pt idx="3504">
                  <c:v>1272476</c:v>
                </c:pt>
                <c:pt idx="3505">
                  <c:v>1272410</c:v>
                </c:pt>
                <c:pt idx="3506">
                  <c:v>1272355</c:v>
                </c:pt>
                <c:pt idx="3507">
                  <c:v>1272297</c:v>
                </c:pt>
                <c:pt idx="3508">
                  <c:v>1272240</c:v>
                </c:pt>
                <c:pt idx="3509">
                  <c:v>1272236</c:v>
                </c:pt>
                <c:pt idx="3510">
                  <c:v>1271920</c:v>
                </c:pt>
                <c:pt idx="3511">
                  <c:v>1271918</c:v>
                </c:pt>
                <c:pt idx="3512">
                  <c:v>1271895</c:v>
                </c:pt>
                <c:pt idx="3513">
                  <c:v>1271854</c:v>
                </c:pt>
                <c:pt idx="3514">
                  <c:v>1271842</c:v>
                </c:pt>
                <c:pt idx="3515">
                  <c:v>1271816</c:v>
                </c:pt>
                <c:pt idx="3516">
                  <c:v>1271579</c:v>
                </c:pt>
                <c:pt idx="3517">
                  <c:v>1271556</c:v>
                </c:pt>
                <c:pt idx="3518">
                  <c:v>1271554</c:v>
                </c:pt>
                <c:pt idx="3519">
                  <c:v>1271497</c:v>
                </c:pt>
                <c:pt idx="3520">
                  <c:v>1271416</c:v>
                </c:pt>
                <c:pt idx="3521">
                  <c:v>1271346</c:v>
                </c:pt>
                <c:pt idx="3522">
                  <c:v>1271338</c:v>
                </c:pt>
                <c:pt idx="3523">
                  <c:v>1271261</c:v>
                </c:pt>
                <c:pt idx="3524">
                  <c:v>1271219</c:v>
                </c:pt>
                <c:pt idx="3525">
                  <c:v>1271143</c:v>
                </c:pt>
                <c:pt idx="3526">
                  <c:v>1271007</c:v>
                </c:pt>
                <c:pt idx="3527">
                  <c:v>1270972</c:v>
                </c:pt>
                <c:pt idx="3528">
                  <c:v>1270954</c:v>
                </c:pt>
                <c:pt idx="3529">
                  <c:v>1270910</c:v>
                </c:pt>
                <c:pt idx="3530">
                  <c:v>1270854</c:v>
                </c:pt>
                <c:pt idx="3531">
                  <c:v>1270835</c:v>
                </c:pt>
                <c:pt idx="3532">
                  <c:v>1270782</c:v>
                </c:pt>
                <c:pt idx="3533">
                  <c:v>1270726</c:v>
                </c:pt>
                <c:pt idx="3534">
                  <c:v>1270699</c:v>
                </c:pt>
                <c:pt idx="3535">
                  <c:v>1270661</c:v>
                </c:pt>
                <c:pt idx="3536">
                  <c:v>1270650</c:v>
                </c:pt>
                <c:pt idx="3537">
                  <c:v>1270612</c:v>
                </c:pt>
                <c:pt idx="3538">
                  <c:v>1270563</c:v>
                </c:pt>
                <c:pt idx="3539">
                  <c:v>1270562</c:v>
                </c:pt>
                <c:pt idx="3540">
                  <c:v>1270559</c:v>
                </c:pt>
                <c:pt idx="3541">
                  <c:v>1270459</c:v>
                </c:pt>
                <c:pt idx="3542">
                  <c:v>1270407</c:v>
                </c:pt>
                <c:pt idx="3543">
                  <c:v>1270403</c:v>
                </c:pt>
                <c:pt idx="3544">
                  <c:v>1270351</c:v>
                </c:pt>
                <c:pt idx="3545">
                  <c:v>1270281</c:v>
                </c:pt>
                <c:pt idx="3546">
                  <c:v>1270244</c:v>
                </c:pt>
                <c:pt idx="3547">
                  <c:v>1270227</c:v>
                </c:pt>
                <c:pt idx="3548">
                  <c:v>1270187</c:v>
                </c:pt>
                <c:pt idx="3549">
                  <c:v>1270162</c:v>
                </c:pt>
                <c:pt idx="3550">
                  <c:v>1270153</c:v>
                </c:pt>
                <c:pt idx="3551">
                  <c:v>1270151</c:v>
                </c:pt>
                <c:pt idx="3552">
                  <c:v>1270137</c:v>
                </c:pt>
                <c:pt idx="3553">
                  <c:v>1270121</c:v>
                </c:pt>
                <c:pt idx="3554">
                  <c:v>1269970</c:v>
                </c:pt>
                <c:pt idx="3555">
                  <c:v>1269962</c:v>
                </c:pt>
                <c:pt idx="3556">
                  <c:v>1269883</c:v>
                </c:pt>
                <c:pt idx="3557">
                  <c:v>1269837</c:v>
                </c:pt>
                <c:pt idx="3558">
                  <c:v>1269817</c:v>
                </c:pt>
                <c:pt idx="3559">
                  <c:v>1269805</c:v>
                </c:pt>
                <c:pt idx="3560">
                  <c:v>1269788</c:v>
                </c:pt>
                <c:pt idx="3561">
                  <c:v>1269785</c:v>
                </c:pt>
                <c:pt idx="3562">
                  <c:v>1269778</c:v>
                </c:pt>
                <c:pt idx="3563">
                  <c:v>1269722</c:v>
                </c:pt>
                <c:pt idx="3564">
                  <c:v>1269713</c:v>
                </c:pt>
                <c:pt idx="3565">
                  <c:v>1269704</c:v>
                </c:pt>
                <c:pt idx="3566">
                  <c:v>1269692</c:v>
                </c:pt>
                <c:pt idx="3567">
                  <c:v>1269690</c:v>
                </c:pt>
                <c:pt idx="3568">
                  <c:v>1269646</c:v>
                </c:pt>
                <c:pt idx="3569">
                  <c:v>1269592</c:v>
                </c:pt>
                <c:pt idx="3570">
                  <c:v>1269480</c:v>
                </c:pt>
                <c:pt idx="3571">
                  <c:v>1269413</c:v>
                </c:pt>
                <c:pt idx="3572">
                  <c:v>1269405</c:v>
                </c:pt>
                <c:pt idx="3573">
                  <c:v>1269387</c:v>
                </c:pt>
                <c:pt idx="3574">
                  <c:v>1269334</c:v>
                </c:pt>
                <c:pt idx="3575">
                  <c:v>1269278</c:v>
                </c:pt>
                <c:pt idx="3576">
                  <c:v>1269171</c:v>
                </c:pt>
                <c:pt idx="3577">
                  <c:v>1269150</c:v>
                </c:pt>
                <c:pt idx="3578">
                  <c:v>1269049</c:v>
                </c:pt>
                <c:pt idx="3579">
                  <c:v>1268980</c:v>
                </c:pt>
                <c:pt idx="3580">
                  <c:v>1268915</c:v>
                </c:pt>
                <c:pt idx="3581">
                  <c:v>1268802</c:v>
                </c:pt>
                <c:pt idx="3582">
                  <c:v>1268764</c:v>
                </c:pt>
                <c:pt idx="3583">
                  <c:v>1268759</c:v>
                </c:pt>
                <c:pt idx="3584">
                  <c:v>1268692</c:v>
                </c:pt>
                <c:pt idx="3585">
                  <c:v>1268665</c:v>
                </c:pt>
                <c:pt idx="3586">
                  <c:v>1268558</c:v>
                </c:pt>
                <c:pt idx="3587">
                  <c:v>1268533</c:v>
                </c:pt>
                <c:pt idx="3588">
                  <c:v>1268520</c:v>
                </c:pt>
                <c:pt idx="3589">
                  <c:v>1268464</c:v>
                </c:pt>
                <c:pt idx="3590">
                  <c:v>1268428</c:v>
                </c:pt>
                <c:pt idx="3591">
                  <c:v>1268387</c:v>
                </c:pt>
                <c:pt idx="3592">
                  <c:v>1268383</c:v>
                </c:pt>
                <c:pt idx="3593">
                  <c:v>1268366</c:v>
                </c:pt>
                <c:pt idx="3594">
                  <c:v>1268285</c:v>
                </c:pt>
                <c:pt idx="3595">
                  <c:v>1268229</c:v>
                </c:pt>
                <c:pt idx="3596">
                  <c:v>1268198</c:v>
                </c:pt>
                <c:pt idx="3597">
                  <c:v>1268132</c:v>
                </c:pt>
                <c:pt idx="3598">
                  <c:v>1268094</c:v>
                </c:pt>
                <c:pt idx="3599">
                  <c:v>1268063</c:v>
                </c:pt>
                <c:pt idx="3600">
                  <c:v>1267842</c:v>
                </c:pt>
                <c:pt idx="3601">
                  <c:v>1267829</c:v>
                </c:pt>
                <c:pt idx="3602">
                  <c:v>1267825</c:v>
                </c:pt>
                <c:pt idx="3603">
                  <c:v>1267824</c:v>
                </c:pt>
                <c:pt idx="3604">
                  <c:v>1267737</c:v>
                </c:pt>
                <c:pt idx="3605">
                  <c:v>1267658</c:v>
                </c:pt>
                <c:pt idx="3606">
                  <c:v>1267467</c:v>
                </c:pt>
                <c:pt idx="3607">
                  <c:v>1267375</c:v>
                </c:pt>
                <c:pt idx="3608">
                  <c:v>1267216</c:v>
                </c:pt>
                <c:pt idx="3609">
                  <c:v>1266988</c:v>
                </c:pt>
                <c:pt idx="3610">
                  <c:v>1266944</c:v>
                </c:pt>
                <c:pt idx="3611">
                  <c:v>1266875</c:v>
                </c:pt>
                <c:pt idx="3612">
                  <c:v>1266818</c:v>
                </c:pt>
                <c:pt idx="3613">
                  <c:v>1266802</c:v>
                </c:pt>
                <c:pt idx="3614">
                  <c:v>1266774</c:v>
                </c:pt>
                <c:pt idx="3615">
                  <c:v>1266719</c:v>
                </c:pt>
                <c:pt idx="3616">
                  <c:v>1266710</c:v>
                </c:pt>
                <c:pt idx="3617">
                  <c:v>1266681</c:v>
                </c:pt>
                <c:pt idx="3618">
                  <c:v>1266656</c:v>
                </c:pt>
                <c:pt idx="3619">
                  <c:v>1266655</c:v>
                </c:pt>
                <c:pt idx="3620">
                  <c:v>1266575</c:v>
                </c:pt>
                <c:pt idx="3621">
                  <c:v>1266515</c:v>
                </c:pt>
                <c:pt idx="3622">
                  <c:v>1266473</c:v>
                </c:pt>
                <c:pt idx="3623">
                  <c:v>1266424</c:v>
                </c:pt>
                <c:pt idx="3624">
                  <c:v>1266399</c:v>
                </c:pt>
                <c:pt idx="3625">
                  <c:v>1266336</c:v>
                </c:pt>
                <c:pt idx="3626">
                  <c:v>1266271</c:v>
                </c:pt>
                <c:pt idx="3627">
                  <c:v>1266268</c:v>
                </c:pt>
                <c:pt idx="3628">
                  <c:v>1266218</c:v>
                </c:pt>
                <c:pt idx="3629">
                  <c:v>1266177</c:v>
                </c:pt>
                <c:pt idx="3630">
                  <c:v>1266117</c:v>
                </c:pt>
                <c:pt idx="3631">
                  <c:v>1266098</c:v>
                </c:pt>
                <c:pt idx="3632">
                  <c:v>1265995</c:v>
                </c:pt>
                <c:pt idx="3633">
                  <c:v>1265978</c:v>
                </c:pt>
                <c:pt idx="3634">
                  <c:v>1265975</c:v>
                </c:pt>
                <c:pt idx="3635">
                  <c:v>1265966</c:v>
                </c:pt>
                <c:pt idx="3636">
                  <c:v>1265950</c:v>
                </c:pt>
                <c:pt idx="3637">
                  <c:v>1265923</c:v>
                </c:pt>
                <c:pt idx="3638">
                  <c:v>1265869</c:v>
                </c:pt>
                <c:pt idx="3639">
                  <c:v>1265862</c:v>
                </c:pt>
                <c:pt idx="3640">
                  <c:v>1265821</c:v>
                </c:pt>
                <c:pt idx="3641">
                  <c:v>1265817</c:v>
                </c:pt>
                <c:pt idx="3642">
                  <c:v>1265804</c:v>
                </c:pt>
                <c:pt idx="3643">
                  <c:v>1265707</c:v>
                </c:pt>
                <c:pt idx="3644">
                  <c:v>1265631</c:v>
                </c:pt>
                <c:pt idx="3645">
                  <c:v>1265600</c:v>
                </c:pt>
                <c:pt idx="3646">
                  <c:v>1265548</c:v>
                </c:pt>
                <c:pt idx="3647">
                  <c:v>1265544</c:v>
                </c:pt>
                <c:pt idx="3648">
                  <c:v>1265523</c:v>
                </c:pt>
                <c:pt idx="3649">
                  <c:v>1265522</c:v>
                </c:pt>
                <c:pt idx="3650">
                  <c:v>1265514</c:v>
                </c:pt>
                <c:pt idx="3651">
                  <c:v>1265411</c:v>
                </c:pt>
                <c:pt idx="3652">
                  <c:v>1265330</c:v>
                </c:pt>
                <c:pt idx="3653">
                  <c:v>1265320</c:v>
                </c:pt>
                <c:pt idx="3654">
                  <c:v>1265269</c:v>
                </c:pt>
                <c:pt idx="3655">
                  <c:v>1265167</c:v>
                </c:pt>
                <c:pt idx="3656">
                  <c:v>1265145</c:v>
                </c:pt>
                <c:pt idx="3657">
                  <c:v>1265143</c:v>
                </c:pt>
                <c:pt idx="3658">
                  <c:v>1265050</c:v>
                </c:pt>
                <c:pt idx="3659">
                  <c:v>1265016</c:v>
                </c:pt>
                <c:pt idx="3660">
                  <c:v>1265010</c:v>
                </c:pt>
                <c:pt idx="3661">
                  <c:v>1264798</c:v>
                </c:pt>
                <c:pt idx="3662">
                  <c:v>1264742</c:v>
                </c:pt>
                <c:pt idx="3663">
                  <c:v>1264647</c:v>
                </c:pt>
                <c:pt idx="3664">
                  <c:v>1264626</c:v>
                </c:pt>
                <c:pt idx="3665">
                  <c:v>1264611</c:v>
                </c:pt>
                <c:pt idx="3666">
                  <c:v>1264601</c:v>
                </c:pt>
                <c:pt idx="3667">
                  <c:v>1264535</c:v>
                </c:pt>
                <c:pt idx="3668">
                  <c:v>1264500</c:v>
                </c:pt>
                <c:pt idx="3669">
                  <c:v>1264490</c:v>
                </c:pt>
                <c:pt idx="3670">
                  <c:v>1264422</c:v>
                </c:pt>
                <c:pt idx="3671">
                  <c:v>1264382</c:v>
                </c:pt>
                <c:pt idx="3672">
                  <c:v>1264336</c:v>
                </c:pt>
                <c:pt idx="3673">
                  <c:v>1264306</c:v>
                </c:pt>
                <c:pt idx="3674">
                  <c:v>1264300</c:v>
                </c:pt>
                <c:pt idx="3675">
                  <c:v>1264294</c:v>
                </c:pt>
                <c:pt idx="3676">
                  <c:v>1264293</c:v>
                </c:pt>
                <c:pt idx="3677">
                  <c:v>1264291</c:v>
                </c:pt>
                <c:pt idx="3678">
                  <c:v>1264170</c:v>
                </c:pt>
                <c:pt idx="3679">
                  <c:v>1264147</c:v>
                </c:pt>
                <c:pt idx="3680">
                  <c:v>1264133</c:v>
                </c:pt>
                <c:pt idx="3681">
                  <c:v>1264045</c:v>
                </c:pt>
                <c:pt idx="3682">
                  <c:v>1264038</c:v>
                </c:pt>
                <c:pt idx="3683">
                  <c:v>1263942</c:v>
                </c:pt>
                <c:pt idx="3684">
                  <c:v>1263818</c:v>
                </c:pt>
                <c:pt idx="3685">
                  <c:v>1263780</c:v>
                </c:pt>
                <c:pt idx="3686">
                  <c:v>1263685</c:v>
                </c:pt>
                <c:pt idx="3687">
                  <c:v>1263534</c:v>
                </c:pt>
                <c:pt idx="3688">
                  <c:v>1263476</c:v>
                </c:pt>
                <c:pt idx="3689">
                  <c:v>1263473</c:v>
                </c:pt>
                <c:pt idx="3690">
                  <c:v>1263365</c:v>
                </c:pt>
                <c:pt idx="3691">
                  <c:v>1263297</c:v>
                </c:pt>
                <c:pt idx="3692">
                  <c:v>1263215</c:v>
                </c:pt>
                <c:pt idx="3693">
                  <c:v>1263190</c:v>
                </c:pt>
                <c:pt idx="3694">
                  <c:v>1263158</c:v>
                </c:pt>
                <c:pt idx="3695">
                  <c:v>1262938</c:v>
                </c:pt>
                <c:pt idx="3696">
                  <c:v>1262900</c:v>
                </c:pt>
                <c:pt idx="3697">
                  <c:v>1262895</c:v>
                </c:pt>
                <c:pt idx="3698">
                  <c:v>1262803</c:v>
                </c:pt>
                <c:pt idx="3699">
                  <c:v>1262593</c:v>
                </c:pt>
                <c:pt idx="3700">
                  <c:v>1262557</c:v>
                </c:pt>
                <c:pt idx="3701">
                  <c:v>1262554</c:v>
                </c:pt>
                <c:pt idx="3702">
                  <c:v>1262549</c:v>
                </c:pt>
                <c:pt idx="3703">
                  <c:v>1262510</c:v>
                </c:pt>
                <c:pt idx="3704">
                  <c:v>1262495</c:v>
                </c:pt>
                <c:pt idx="3705">
                  <c:v>1262398</c:v>
                </c:pt>
                <c:pt idx="3706">
                  <c:v>1262383</c:v>
                </c:pt>
                <c:pt idx="3707">
                  <c:v>1262349</c:v>
                </c:pt>
                <c:pt idx="3708">
                  <c:v>1262339</c:v>
                </c:pt>
                <c:pt idx="3709">
                  <c:v>1262314</c:v>
                </c:pt>
                <c:pt idx="3710">
                  <c:v>1262305</c:v>
                </c:pt>
                <c:pt idx="3711">
                  <c:v>1262153</c:v>
                </c:pt>
                <c:pt idx="3712">
                  <c:v>1262148</c:v>
                </c:pt>
                <c:pt idx="3713">
                  <c:v>1262109</c:v>
                </c:pt>
                <c:pt idx="3714">
                  <c:v>1262073</c:v>
                </c:pt>
                <c:pt idx="3715">
                  <c:v>1262051</c:v>
                </c:pt>
                <c:pt idx="3716">
                  <c:v>1262051</c:v>
                </c:pt>
                <c:pt idx="3717">
                  <c:v>1262024</c:v>
                </c:pt>
                <c:pt idx="3718">
                  <c:v>1262021</c:v>
                </c:pt>
                <c:pt idx="3719">
                  <c:v>1262003</c:v>
                </c:pt>
                <c:pt idx="3720">
                  <c:v>1261969</c:v>
                </c:pt>
                <c:pt idx="3721">
                  <c:v>1261949</c:v>
                </c:pt>
                <c:pt idx="3722">
                  <c:v>1261876</c:v>
                </c:pt>
                <c:pt idx="3723">
                  <c:v>1261857</c:v>
                </c:pt>
                <c:pt idx="3724">
                  <c:v>1261832</c:v>
                </c:pt>
                <c:pt idx="3725">
                  <c:v>1261813</c:v>
                </c:pt>
                <c:pt idx="3726">
                  <c:v>1261803</c:v>
                </c:pt>
                <c:pt idx="3727">
                  <c:v>1261781</c:v>
                </c:pt>
                <c:pt idx="3728">
                  <c:v>1261742</c:v>
                </c:pt>
                <c:pt idx="3729">
                  <c:v>1261703</c:v>
                </c:pt>
                <c:pt idx="3730">
                  <c:v>1261677</c:v>
                </c:pt>
                <c:pt idx="3731">
                  <c:v>1261624</c:v>
                </c:pt>
                <c:pt idx="3732">
                  <c:v>1261585</c:v>
                </c:pt>
                <c:pt idx="3733">
                  <c:v>1261519</c:v>
                </c:pt>
                <c:pt idx="3734">
                  <c:v>1261460</c:v>
                </c:pt>
                <c:pt idx="3735">
                  <c:v>1261383</c:v>
                </c:pt>
                <c:pt idx="3736">
                  <c:v>1261350</c:v>
                </c:pt>
                <c:pt idx="3737">
                  <c:v>1261305</c:v>
                </c:pt>
                <c:pt idx="3738">
                  <c:v>1261179</c:v>
                </c:pt>
                <c:pt idx="3739">
                  <c:v>1261177</c:v>
                </c:pt>
                <c:pt idx="3740">
                  <c:v>1261168</c:v>
                </c:pt>
                <c:pt idx="3741">
                  <c:v>1261144</c:v>
                </c:pt>
                <c:pt idx="3742">
                  <c:v>1261089</c:v>
                </c:pt>
                <c:pt idx="3743">
                  <c:v>1261088</c:v>
                </c:pt>
                <c:pt idx="3744">
                  <c:v>1261078</c:v>
                </c:pt>
                <c:pt idx="3745">
                  <c:v>1261051</c:v>
                </c:pt>
                <c:pt idx="3746">
                  <c:v>1261025</c:v>
                </c:pt>
                <c:pt idx="3747">
                  <c:v>1260994</c:v>
                </c:pt>
                <c:pt idx="3748">
                  <c:v>1260968</c:v>
                </c:pt>
                <c:pt idx="3749">
                  <c:v>1260935</c:v>
                </c:pt>
                <c:pt idx="3750">
                  <c:v>1260770</c:v>
                </c:pt>
                <c:pt idx="3751">
                  <c:v>1260766</c:v>
                </c:pt>
                <c:pt idx="3752">
                  <c:v>1260763</c:v>
                </c:pt>
                <c:pt idx="3753">
                  <c:v>1260742</c:v>
                </c:pt>
                <c:pt idx="3754">
                  <c:v>1260210</c:v>
                </c:pt>
                <c:pt idx="3755">
                  <c:v>1260135</c:v>
                </c:pt>
                <c:pt idx="3756">
                  <c:v>1260122</c:v>
                </c:pt>
                <c:pt idx="3757">
                  <c:v>1260062</c:v>
                </c:pt>
                <c:pt idx="3758">
                  <c:v>1260056</c:v>
                </c:pt>
                <c:pt idx="3759">
                  <c:v>1260010</c:v>
                </c:pt>
                <c:pt idx="3760">
                  <c:v>1259992</c:v>
                </c:pt>
                <c:pt idx="3761">
                  <c:v>1259898</c:v>
                </c:pt>
                <c:pt idx="3762">
                  <c:v>1259898</c:v>
                </c:pt>
                <c:pt idx="3763">
                  <c:v>1259875</c:v>
                </c:pt>
                <c:pt idx="3764">
                  <c:v>1259767</c:v>
                </c:pt>
                <c:pt idx="3765">
                  <c:v>1259761</c:v>
                </c:pt>
                <c:pt idx="3766">
                  <c:v>1259755</c:v>
                </c:pt>
                <c:pt idx="3767">
                  <c:v>1259745</c:v>
                </c:pt>
                <c:pt idx="3768">
                  <c:v>1259737</c:v>
                </c:pt>
                <c:pt idx="3769">
                  <c:v>1259731</c:v>
                </c:pt>
                <c:pt idx="3770">
                  <c:v>1259717</c:v>
                </c:pt>
                <c:pt idx="3771">
                  <c:v>1259619</c:v>
                </c:pt>
                <c:pt idx="3772">
                  <c:v>1259537</c:v>
                </c:pt>
                <c:pt idx="3773">
                  <c:v>1259523</c:v>
                </c:pt>
                <c:pt idx="3774">
                  <c:v>1259458</c:v>
                </c:pt>
                <c:pt idx="3775">
                  <c:v>1259416</c:v>
                </c:pt>
                <c:pt idx="3776">
                  <c:v>1259397</c:v>
                </c:pt>
                <c:pt idx="3777">
                  <c:v>1259360</c:v>
                </c:pt>
                <c:pt idx="3778">
                  <c:v>1259337</c:v>
                </c:pt>
                <c:pt idx="3779">
                  <c:v>1259331</c:v>
                </c:pt>
                <c:pt idx="3780">
                  <c:v>1259223</c:v>
                </c:pt>
                <c:pt idx="3781">
                  <c:v>1259108</c:v>
                </c:pt>
                <c:pt idx="3782">
                  <c:v>1259102</c:v>
                </c:pt>
                <c:pt idx="3783">
                  <c:v>1259069</c:v>
                </c:pt>
                <c:pt idx="3784">
                  <c:v>1259011</c:v>
                </c:pt>
                <c:pt idx="3785">
                  <c:v>1258932</c:v>
                </c:pt>
                <c:pt idx="3786">
                  <c:v>1258919</c:v>
                </c:pt>
                <c:pt idx="3787">
                  <c:v>1258883</c:v>
                </c:pt>
                <c:pt idx="3788">
                  <c:v>1258711</c:v>
                </c:pt>
                <c:pt idx="3789">
                  <c:v>1258630</c:v>
                </c:pt>
                <c:pt idx="3790">
                  <c:v>1258509</c:v>
                </c:pt>
                <c:pt idx="3791">
                  <c:v>1258490</c:v>
                </c:pt>
                <c:pt idx="3792">
                  <c:v>1258387</c:v>
                </c:pt>
                <c:pt idx="3793">
                  <c:v>1258345</c:v>
                </c:pt>
                <c:pt idx="3794">
                  <c:v>1258328</c:v>
                </c:pt>
                <c:pt idx="3795">
                  <c:v>1258312</c:v>
                </c:pt>
                <c:pt idx="3796">
                  <c:v>1258272</c:v>
                </c:pt>
                <c:pt idx="3797">
                  <c:v>1258139</c:v>
                </c:pt>
                <c:pt idx="3798">
                  <c:v>1258098</c:v>
                </c:pt>
                <c:pt idx="3799">
                  <c:v>1258098</c:v>
                </c:pt>
                <c:pt idx="3800">
                  <c:v>1258008</c:v>
                </c:pt>
                <c:pt idx="3801">
                  <c:v>1258003</c:v>
                </c:pt>
                <c:pt idx="3802">
                  <c:v>1257968</c:v>
                </c:pt>
                <c:pt idx="3803">
                  <c:v>1257954</c:v>
                </c:pt>
                <c:pt idx="3804">
                  <c:v>1257902</c:v>
                </c:pt>
                <c:pt idx="3805">
                  <c:v>1257899</c:v>
                </c:pt>
                <c:pt idx="3806">
                  <c:v>1257881</c:v>
                </c:pt>
                <c:pt idx="3807">
                  <c:v>1257807</c:v>
                </c:pt>
                <c:pt idx="3808">
                  <c:v>1257798</c:v>
                </c:pt>
                <c:pt idx="3809">
                  <c:v>1257768</c:v>
                </c:pt>
                <c:pt idx="3810">
                  <c:v>1257735</c:v>
                </c:pt>
                <c:pt idx="3811">
                  <c:v>1257676</c:v>
                </c:pt>
                <c:pt idx="3812">
                  <c:v>1257500</c:v>
                </c:pt>
                <c:pt idx="3813">
                  <c:v>1257472</c:v>
                </c:pt>
                <c:pt idx="3814">
                  <c:v>1257405</c:v>
                </c:pt>
                <c:pt idx="3815">
                  <c:v>1257394</c:v>
                </c:pt>
                <c:pt idx="3816">
                  <c:v>1257393</c:v>
                </c:pt>
                <c:pt idx="3817">
                  <c:v>1257374</c:v>
                </c:pt>
                <c:pt idx="3818">
                  <c:v>1257316</c:v>
                </c:pt>
                <c:pt idx="3819">
                  <c:v>1257295</c:v>
                </c:pt>
                <c:pt idx="3820">
                  <c:v>1257266</c:v>
                </c:pt>
                <c:pt idx="3821">
                  <c:v>1257201</c:v>
                </c:pt>
                <c:pt idx="3822">
                  <c:v>1257160</c:v>
                </c:pt>
                <c:pt idx="3823">
                  <c:v>1257127</c:v>
                </c:pt>
                <c:pt idx="3824">
                  <c:v>1257089</c:v>
                </c:pt>
                <c:pt idx="3825">
                  <c:v>1257073</c:v>
                </c:pt>
                <c:pt idx="3826">
                  <c:v>1257025</c:v>
                </c:pt>
                <c:pt idx="3827">
                  <c:v>1257020</c:v>
                </c:pt>
                <c:pt idx="3828">
                  <c:v>1257014</c:v>
                </c:pt>
                <c:pt idx="3829">
                  <c:v>1256954</c:v>
                </c:pt>
                <c:pt idx="3830">
                  <c:v>1256948</c:v>
                </c:pt>
                <c:pt idx="3831">
                  <c:v>1256914</c:v>
                </c:pt>
                <c:pt idx="3832">
                  <c:v>1256822</c:v>
                </c:pt>
                <c:pt idx="3833">
                  <c:v>1256806</c:v>
                </c:pt>
                <c:pt idx="3834">
                  <c:v>1256789</c:v>
                </c:pt>
                <c:pt idx="3835">
                  <c:v>1256764</c:v>
                </c:pt>
                <c:pt idx="3836">
                  <c:v>1256738</c:v>
                </c:pt>
                <c:pt idx="3837">
                  <c:v>1256606</c:v>
                </c:pt>
                <c:pt idx="3838">
                  <c:v>1256572</c:v>
                </c:pt>
                <c:pt idx="3839">
                  <c:v>1256487</c:v>
                </c:pt>
                <c:pt idx="3840">
                  <c:v>1256471</c:v>
                </c:pt>
                <c:pt idx="3841">
                  <c:v>1256421</c:v>
                </c:pt>
                <c:pt idx="3842">
                  <c:v>1256417</c:v>
                </c:pt>
                <c:pt idx="3843">
                  <c:v>1256393</c:v>
                </c:pt>
                <c:pt idx="3844">
                  <c:v>1256378</c:v>
                </c:pt>
                <c:pt idx="3845">
                  <c:v>1256373</c:v>
                </c:pt>
                <c:pt idx="3846">
                  <c:v>1256325</c:v>
                </c:pt>
                <c:pt idx="3847">
                  <c:v>1256308</c:v>
                </c:pt>
                <c:pt idx="3848">
                  <c:v>1256304</c:v>
                </c:pt>
                <c:pt idx="3849">
                  <c:v>1256303</c:v>
                </c:pt>
                <c:pt idx="3850">
                  <c:v>1256258</c:v>
                </c:pt>
                <c:pt idx="3851">
                  <c:v>1256206</c:v>
                </c:pt>
                <c:pt idx="3852">
                  <c:v>1256197</c:v>
                </c:pt>
                <c:pt idx="3853">
                  <c:v>1256181</c:v>
                </c:pt>
                <c:pt idx="3854">
                  <c:v>1256115</c:v>
                </c:pt>
                <c:pt idx="3855">
                  <c:v>1256049</c:v>
                </c:pt>
                <c:pt idx="3856">
                  <c:v>1256043</c:v>
                </c:pt>
                <c:pt idx="3857">
                  <c:v>1255888</c:v>
                </c:pt>
                <c:pt idx="3858">
                  <c:v>1255842</c:v>
                </c:pt>
                <c:pt idx="3859">
                  <c:v>1255781</c:v>
                </c:pt>
                <c:pt idx="3860">
                  <c:v>1255774</c:v>
                </c:pt>
                <c:pt idx="3861">
                  <c:v>1255736</c:v>
                </c:pt>
                <c:pt idx="3862">
                  <c:v>1255651</c:v>
                </c:pt>
                <c:pt idx="3863">
                  <c:v>1255649</c:v>
                </c:pt>
                <c:pt idx="3864">
                  <c:v>1255604</c:v>
                </c:pt>
                <c:pt idx="3865">
                  <c:v>1255604</c:v>
                </c:pt>
                <c:pt idx="3866">
                  <c:v>1255496</c:v>
                </c:pt>
                <c:pt idx="3867">
                  <c:v>1255448</c:v>
                </c:pt>
                <c:pt idx="3868">
                  <c:v>1255384</c:v>
                </c:pt>
                <c:pt idx="3869">
                  <c:v>1255382</c:v>
                </c:pt>
                <c:pt idx="3870">
                  <c:v>1255328</c:v>
                </c:pt>
                <c:pt idx="3871">
                  <c:v>1255277</c:v>
                </c:pt>
                <c:pt idx="3872">
                  <c:v>1255109</c:v>
                </c:pt>
                <c:pt idx="3873">
                  <c:v>1255070</c:v>
                </c:pt>
                <c:pt idx="3874">
                  <c:v>1255033</c:v>
                </c:pt>
                <c:pt idx="3875">
                  <c:v>1255012</c:v>
                </c:pt>
                <c:pt idx="3876">
                  <c:v>1255009</c:v>
                </c:pt>
                <c:pt idx="3877">
                  <c:v>1254984</c:v>
                </c:pt>
                <c:pt idx="3878">
                  <c:v>1254868</c:v>
                </c:pt>
                <c:pt idx="3879">
                  <c:v>1254854</c:v>
                </c:pt>
                <c:pt idx="3880">
                  <c:v>1254814</c:v>
                </c:pt>
                <c:pt idx="3881">
                  <c:v>1254804</c:v>
                </c:pt>
                <c:pt idx="3882">
                  <c:v>1254803</c:v>
                </c:pt>
                <c:pt idx="3883">
                  <c:v>1254774</c:v>
                </c:pt>
                <c:pt idx="3884">
                  <c:v>1254704</c:v>
                </c:pt>
                <c:pt idx="3885">
                  <c:v>1254689</c:v>
                </c:pt>
                <c:pt idx="3886">
                  <c:v>1254556</c:v>
                </c:pt>
                <c:pt idx="3887">
                  <c:v>1254474</c:v>
                </c:pt>
                <c:pt idx="3888">
                  <c:v>1254405</c:v>
                </c:pt>
                <c:pt idx="3889">
                  <c:v>1254348</c:v>
                </c:pt>
                <c:pt idx="3890">
                  <c:v>1254271</c:v>
                </c:pt>
                <c:pt idx="3891">
                  <c:v>1254100</c:v>
                </c:pt>
                <c:pt idx="3892">
                  <c:v>1254092</c:v>
                </c:pt>
                <c:pt idx="3893">
                  <c:v>1254090</c:v>
                </c:pt>
                <c:pt idx="3894">
                  <c:v>1254031</c:v>
                </c:pt>
                <c:pt idx="3895">
                  <c:v>1253959</c:v>
                </c:pt>
                <c:pt idx="3896">
                  <c:v>1253800</c:v>
                </c:pt>
                <c:pt idx="3897">
                  <c:v>1253782</c:v>
                </c:pt>
                <c:pt idx="3898">
                  <c:v>1253765</c:v>
                </c:pt>
                <c:pt idx="3899">
                  <c:v>1253753</c:v>
                </c:pt>
                <c:pt idx="3900">
                  <c:v>1253598</c:v>
                </c:pt>
                <c:pt idx="3901">
                  <c:v>1253498</c:v>
                </c:pt>
                <c:pt idx="3902">
                  <c:v>1253328</c:v>
                </c:pt>
                <c:pt idx="3903">
                  <c:v>1253284</c:v>
                </c:pt>
                <c:pt idx="3904">
                  <c:v>1253231</c:v>
                </c:pt>
                <c:pt idx="3905">
                  <c:v>1253209</c:v>
                </c:pt>
                <c:pt idx="3906">
                  <c:v>1253177</c:v>
                </c:pt>
                <c:pt idx="3907">
                  <c:v>1253174</c:v>
                </c:pt>
                <c:pt idx="3908">
                  <c:v>1253157</c:v>
                </c:pt>
                <c:pt idx="3909">
                  <c:v>1253130</c:v>
                </c:pt>
                <c:pt idx="3910">
                  <c:v>1253125</c:v>
                </c:pt>
                <c:pt idx="3911">
                  <c:v>1253005</c:v>
                </c:pt>
                <c:pt idx="3912">
                  <c:v>1252996</c:v>
                </c:pt>
                <c:pt idx="3913">
                  <c:v>1252919</c:v>
                </c:pt>
                <c:pt idx="3914">
                  <c:v>1252908</c:v>
                </c:pt>
                <c:pt idx="3915">
                  <c:v>1252900</c:v>
                </c:pt>
                <c:pt idx="3916">
                  <c:v>1252882</c:v>
                </c:pt>
                <c:pt idx="3917">
                  <c:v>1252856</c:v>
                </c:pt>
                <c:pt idx="3918">
                  <c:v>1252835</c:v>
                </c:pt>
                <c:pt idx="3919">
                  <c:v>1252825</c:v>
                </c:pt>
                <c:pt idx="3920">
                  <c:v>1252771</c:v>
                </c:pt>
                <c:pt idx="3921">
                  <c:v>1252691</c:v>
                </c:pt>
                <c:pt idx="3922">
                  <c:v>1252623</c:v>
                </c:pt>
                <c:pt idx="3923">
                  <c:v>1252556</c:v>
                </c:pt>
                <c:pt idx="3924">
                  <c:v>1252535</c:v>
                </c:pt>
                <c:pt idx="3925">
                  <c:v>1252476</c:v>
                </c:pt>
                <c:pt idx="3926">
                  <c:v>1252455</c:v>
                </c:pt>
                <c:pt idx="3927">
                  <c:v>1252440</c:v>
                </c:pt>
                <c:pt idx="3928">
                  <c:v>1252428</c:v>
                </c:pt>
                <c:pt idx="3929">
                  <c:v>1252372</c:v>
                </c:pt>
                <c:pt idx="3930">
                  <c:v>1252341</c:v>
                </c:pt>
                <c:pt idx="3931">
                  <c:v>1252317</c:v>
                </c:pt>
                <c:pt idx="3932">
                  <c:v>1252312</c:v>
                </c:pt>
                <c:pt idx="3933">
                  <c:v>1252291</c:v>
                </c:pt>
                <c:pt idx="3934">
                  <c:v>1252232</c:v>
                </c:pt>
                <c:pt idx="3935">
                  <c:v>1252204</c:v>
                </c:pt>
                <c:pt idx="3936">
                  <c:v>1252145</c:v>
                </c:pt>
                <c:pt idx="3937">
                  <c:v>1252060</c:v>
                </c:pt>
                <c:pt idx="3938">
                  <c:v>1252036</c:v>
                </c:pt>
                <c:pt idx="3939">
                  <c:v>1252017</c:v>
                </c:pt>
                <c:pt idx="3940">
                  <c:v>1252016</c:v>
                </c:pt>
                <c:pt idx="3941">
                  <c:v>1251991</c:v>
                </c:pt>
                <c:pt idx="3942">
                  <c:v>1251939</c:v>
                </c:pt>
                <c:pt idx="3943">
                  <c:v>1251911</c:v>
                </c:pt>
                <c:pt idx="3944">
                  <c:v>1251908</c:v>
                </c:pt>
                <c:pt idx="3945">
                  <c:v>1251864</c:v>
                </c:pt>
                <c:pt idx="3946">
                  <c:v>1251853</c:v>
                </c:pt>
                <c:pt idx="3947">
                  <c:v>1251823</c:v>
                </c:pt>
                <c:pt idx="3948">
                  <c:v>1251799</c:v>
                </c:pt>
                <c:pt idx="3949">
                  <c:v>1251792</c:v>
                </c:pt>
                <c:pt idx="3950">
                  <c:v>1251782</c:v>
                </c:pt>
                <c:pt idx="3951">
                  <c:v>1251704</c:v>
                </c:pt>
                <c:pt idx="3952">
                  <c:v>1251701</c:v>
                </c:pt>
                <c:pt idx="3953">
                  <c:v>1251609</c:v>
                </c:pt>
                <c:pt idx="3954">
                  <c:v>1251578</c:v>
                </c:pt>
                <c:pt idx="3955">
                  <c:v>1251549</c:v>
                </c:pt>
                <c:pt idx="3956">
                  <c:v>1251518</c:v>
                </c:pt>
                <c:pt idx="3957">
                  <c:v>1251498</c:v>
                </c:pt>
                <c:pt idx="3958">
                  <c:v>1251451</c:v>
                </c:pt>
                <c:pt idx="3959">
                  <c:v>1251435</c:v>
                </c:pt>
                <c:pt idx="3960">
                  <c:v>1251333</c:v>
                </c:pt>
                <c:pt idx="3961">
                  <c:v>1251235</c:v>
                </c:pt>
                <c:pt idx="3962">
                  <c:v>1251199</c:v>
                </c:pt>
                <c:pt idx="3963">
                  <c:v>1251186</c:v>
                </c:pt>
                <c:pt idx="3964">
                  <c:v>1251133</c:v>
                </c:pt>
                <c:pt idx="3965">
                  <c:v>1251056</c:v>
                </c:pt>
                <c:pt idx="3966">
                  <c:v>1251051</c:v>
                </c:pt>
                <c:pt idx="3967">
                  <c:v>1251049</c:v>
                </c:pt>
                <c:pt idx="3968">
                  <c:v>1251038</c:v>
                </c:pt>
                <c:pt idx="3969">
                  <c:v>1250919</c:v>
                </c:pt>
                <c:pt idx="3970">
                  <c:v>1250906</c:v>
                </c:pt>
                <c:pt idx="3971">
                  <c:v>1250899</c:v>
                </c:pt>
                <c:pt idx="3972">
                  <c:v>1250889</c:v>
                </c:pt>
                <c:pt idx="3973">
                  <c:v>1250795</c:v>
                </c:pt>
                <c:pt idx="3974">
                  <c:v>1250778</c:v>
                </c:pt>
                <c:pt idx="3975">
                  <c:v>1250703</c:v>
                </c:pt>
                <c:pt idx="3976">
                  <c:v>1250665</c:v>
                </c:pt>
                <c:pt idx="3977">
                  <c:v>1250662</c:v>
                </c:pt>
                <c:pt idx="3978">
                  <c:v>1250561</c:v>
                </c:pt>
                <c:pt idx="3979">
                  <c:v>1250559</c:v>
                </c:pt>
                <c:pt idx="3980">
                  <c:v>1250527</c:v>
                </c:pt>
                <c:pt idx="3981">
                  <c:v>1250502</c:v>
                </c:pt>
                <c:pt idx="3982">
                  <c:v>1250495</c:v>
                </c:pt>
                <c:pt idx="3983">
                  <c:v>1250411</c:v>
                </c:pt>
                <c:pt idx="3984">
                  <c:v>1250344</c:v>
                </c:pt>
                <c:pt idx="3985">
                  <c:v>1250275</c:v>
                </c:pt>
                <c:pt idx="3986">
                  <c:v>1250191</c:v>
                </c:pt>
                <c:pt idx="3987">
                  <c:v>1250164</c:v>
                </c:pt>
                <c:pt idx="3988">
                  <c:v>1250093</c:v>
                </c:pt>
                <c:pt idx="3989">
                  <c:v>1250043</c:v>
                </c:pt>
                <c:pt idx="3990">
                  <c:v>1250024</c:v>
                </c:pt>
                <c:pt idx="3991">
                  <c:v>1249995</c:v>
                </c:pt>
                <c:pt idx="3992">
                  <c:v>1249919</c:v>
                </c:pt>
                <c:pt idx="3993">
                  <c:v>1249913</c:v>
                </c:pt>
                <c:pt idx="3994">
                  <c:v>1249904</c:v>
                </c:pt>
                <c:pt idx="3995">
                  <c:v>1249880</c:v>
                </c:pt>
                <c:pt idx="3996">
                  <c:v>1249779</c:v>
                </c:pt>
                <c:pt idx="3997">
                  <c:v>1249729</c:v>
                </c:pt>
                <c:pt idx="3998">
                  <c:v>1249697</c:v>
                </c:pt>
                <c:pt idx="3999">
                  <c:v>1249607</c:v>
                </c:pt>
                <c:pt idx="4000">
                  <c:v>1249530</c:v>
                </c:pt>
                <c:pt idx="4001">
                  <c:v>1249520</c:v>
                </c:pt>
                <c:pt idx="4002">
                  <c:v>1249518</c:v>
                </c:pt>
                <c:pt idx="4003">
                  <c:v>1249511</c:v>
                </c:pt>
                <c:pt idx="4004">
                  <c:v>1249438</c:v>
                </c:pt>
                <c:pt idx="4005">
                  <c:v>1249427</c:v>
                </c:pt>
                <c:pt idx="4006">
                  <c:v>1249379</c:v>
                </c:pt>
                <c:pt idx="4007">
                  <c:v>1249340</c:v>
                </c:pt>
                <c:pt idx="4008">
                  <c:v>1249124</c:v>
                </c:pt>
                <c:pt idx="4009">
                  <c:v>1249078</c:v>
                </c:pt>
                <c:pt idx="4010">
                  <c:v>1249005</c:v>
                </c:pt>
                <c:pt idx="4011">
                  <c:v>1248951</c:v>
                </c:pt>
                <c:pt idx="4012">
                  <c:v>1248826</c:v>
                </c:pt>
                <c:pt idx="4013">
                  <c:v>1248817</c:v>
                </c:pt>
                <c:pt idx="4014">
                  <c:v>1248803</c:v>
                </c:pt>
                <c:pt idx="4015">
                  <c:v>1248733</c:v>
                </c:pt>
                <c:pt idx="4016">
                  <c:v>1248628</c:v>
                </c:pt>
                <c:pt idx="4017">
                  <c:v>1248618</c:v>
                </c:pt>
                <c:pt idx="4018">
                  <c:v>1248611</c:v>
                </c:pt>
                <c:pt idx="4019">
                  <c:v>1248447</c:v>
                </c:pt>
                <c:pt idx="4020">
                  <c:v>1248378</c:v>
                </c:pt>
                <c:pt idx="4021">
                  <c:v>1248278</c:v>
                </c:pt>
                <c:pt idx="4022">
                  <c:v>1248239</c:v>
                </c:pt>
                <c:pt idx="4023">
                  <c:v>1248210</c:v>
                </c:pt>
                <c:pt idx="4024">
                  <c:v>1248186</c:v>
                </c:pt>
                <c:pt idx="4025">
                  <c:v>1248172</c:v>
                </c:pt>
                <c:pt idx="4026">
                  <c:v>1248160</c:v>
                </c:pt>
                <c:pt idx="4027">
                  <c:v>1248124</c:v>
                </c:pt>
                <c:pt idx="4028">
                  <c:v>1248098</c:v>
                </c:pt>
                <c:pt idx="4029">
                  <c:v>1248059</c:v>
                </c:pt>
                <c:pt idx="4030">
                  <c:v>1248018</c:v>
                </c:pt>
                <c:pt idx="4031">
                  <c:v>1247922</c:v>
                </c:pt>
                <c:pt idx="4032">
                  <c:v>1247886</c:v>
                </c:pt>
                <c:pt idx="4033">
                  <c:v>1247731</c:v>
                </c:pt>
                <c:pt idx="4034">
                  <c:v>1247702</c:v>
                </c:pt>
                <c:pt idx="4035">
                  <c:v>1247624</c:v>
                </c:pt>
                <c:pt idx="4036">
                  <c:v>1247621</c:v>
                </c:pt>
                <c:pt idx="4037">
                  <c:v>1247518</c:v>
                </c:pt>
                <c:pt idx="4038">
                  <c:v>1247516</c:v>
                </c:pt>
                <c:pt idx="4039">
                  <c:v>1247482</c:v>
                </c:pt>
                <c:pt idx="4040">
                  <c:v>1247465</c:v>
                </c:pt>
                <c:pt idx="4041">
                  <c:v>1247457</c:v>
                </c:pt>
                <c:pt idx="4042">
                  <c:v>1247453</c:v>
                </c:pt>
                <c:pt idx="4043">
                  <c:v>1247386</c:v>
                </c:pt>
                <c:pt idx="4044">
                  <c:v>1247385</c:v>
                </c:pt>
                <c:pt idx="4045">
                  <c:v>1247364</c:v>
                </c:pt>
                <c:pt idx="4046">
                  <c:v>1247227</c:v>
                </c:pt>
                <c:pt idx="4047">
                  <c:v>1247217</c:v>
                </c:pt>
                <c:pt idx="4048">
                  <c:v>1247091</c:v>
                </c:pt>
                <c:pt idx="4049">
                  <c:v>1247033</c:v>
                </c:pt>
                <c:pt idx="4050">
                  <c:v>1247032</c:v>
                </c:pt>
                <c:pt idx="4051">
                  <c:v>1246980</c:v>
                </c:pt>
                <c:pt idx="4052">
                  <c:v>1246924</c:v>
                </c:pt>
                <c:pt idx="4053">
                  <c:v>1246808</c:v>
                </c:pt>
                <c:pt idx="4054">
                  <c:v>1246807</c:v>
                </c:pt>
                <c:pt idx="4055">
                  <c:v>1246785</c:v>
                </c:pt>
                <c:pt idx="4056">
                  <c:v>1246769</c:v>
                </c:pt>
                <c:pt idx="4057">
                  <c:v>1246762</c:v>
                </c:pt>
                <c:pt idx="4058">
                  <c:v>1246562</c:v>
                </c:pt>
                <c:pt idx="4059">
                  <c:v>1246543</c:v>
                </c:pt>
                <c:pt idx="4060">
                  <c:v>1246489</c:v>
                </c:pt>
                <c:pt idx="4061">
                  <c:v>1246471</c:v>
                </c:pt>
                <c:pt idx="4062">
                  <c:v>1246437</c:v>
                </c:pt>
                <c:pt idx="4063">
                  <c:v>1246380</c:v>
                </c:pt>
                <c:pt idx="4064">
                  <c:v>1246341</c:v>
                </c:pt>
                <c:pt idx="4065">
                  <c:v>1246310</c:v>
                </c:pt>
                <c:pt idx="4066">
                  <c:v>1246182</c:v>
                </c:pt>
                <c:pt idx="4067">
                  <c:v>1246131</c:v>
                </c:pt>
                <c:pt idx="4068">
                  <c:v>1246086</c:v>
                </c:pt>
                <c:pt idx="4069">
                  <c:v>1246062</c:v>
                </c:pt>
                <c:pt idx="4070">
                  <c:v>1246050</c:v>
                </c:pt>
                <c:pt idx="4071">
                  <c:v>1246021</c:v>
                </c:pt>
                <c:pt idx="4072">
                  <c:v>1245977</c:v>
                </c:pt>
                <c:pt idx="4073">
                  <c:v>1245965</c:v>
                </c:pt>
                <c:pt idx="4074">
                  <c:v>1245940</c:v>
                </c:pt>
                <c:pt idx="4075">
                  <c:v>1245936</c:v>
                </c:pt>
                <c:pt idx="4076">
                  <c:v>1245832</c:v>
                </c:pt>
                <c:pt idx="4077">
                  <c:v>1245797</c:v>
                </c:pt>
                <c:pt idx="4078">
                  <c:v>1245773</c:v>
                </c:pt>
                <c:pt idx="4079">
                  <c:v>1245765</c:v>
                </c:pt>
                <c:pt idx="4080">
                  <c:v>1245700</c:v>
                </c:pt>
                <c:pt idx="4081">
                  <c:v>1245693</c:v>
                </c:pt>
                <c:pt idx="4082">
                  <c:v>1245682</c:v>
                </c:pt>
                <c:pt idx="4083">
                  <c:v>1245654</c:v>
                </c:pt>
                <c:pt idx="4084">
                  <c:v>1245624</c:v>
                </c:pt>
                <c:pt idx="4085">
                  <c:v>1245613</c:v>
                </c:pt>
                <c:pt idx="4086">
                  <c:v>1245610</c:v>
                </c:pt>
                <c:pt idx="4087">
                  <c:v>1245472</c:v>
                </c:pt>
                <c:pt idx="4088">
                  <c:v>1245433</c:v>
                </c:pt>
                <c:pt idx="4089">
                  <c:v>1245391</c:v>
                </c:pt>
                <c:pt idx="4090">
                  <c:v>1245360</c:v>
                </c:pt>
                <c:pt idx="4091">
                  <c:v>1245325</c:v>
                </c:pt>
                <c:pt idx="4092">
                  <c:v>1245291</c:v>
                </c:pt>
                <c:pt idx="4093">
                  <c:v>1245285</c:v>
                </c:pt>
                <c:pt idx="4094">
                  <c:v>1245244</c:v>
                </c:pt>
                <c:pt idx="4095">
                  <c:v>1245215</c:v>
                </c:pt>
                <c:pt idx="4096">
                  <c:v>1245201</c:v>
                </c:pt>
                <c:pt idx="4097">
                  <c:v>1245185</c:v>
                </c:pt>
                <c:pt idx="4098">
                  <c:v>1245149</c:v>
                </c:pt>
                <c:pt idx="4099">
                  <c:v>1245056</c:v>
                </c:pt>
                <c:pt idx="4100">
                  <c:v>1245006</c:v>
                </c:pt>
                <c:pt idx="4101">
                  <c:v>1244979</c:v>
                </c:pt>
                <c:pt idx="4102">
                  <c:v>1244964</c:v>
                </c:pt>
                <c:pt idx="4103">
                  <c:v>1244957</c:v>
                </c:pt>
                <c:pt idx="4104">
                  <c:v>1244923</c:v>
                </c:pt>
                <c:pt idx="4105">
                  <c:v>1244869</c:v>
                </c:pt>
                <c:pt idx="4106">
                  <c:v>1244802</c:v>
                </c:pt>
                <c:pt idx="4107">
                  <c:v>1244780</c:v>
                </c:pt>
                <c:pt idx="4108">
                  <c:v>1244774</c:v>
                </c:pt>
                <c:pt idx="4109">
                  <c:v>1244640</c:v>
                </c:pt>
                <c:pt idx="4110">
                  <c:v>1244473</c:v>
                </c:pt>
                <c:pt idx="4111">
                  <c:v>1244438</c:v>
                </c:pt>
                <c:pt idx="4112">
                  <c:v>1244386</c:v>
                </c:pt>
                <c:pt idx="4113">
                  <c:v>1244301</c:v>
                </c:pt>
                <c:pt idx="4114">
                  <c:v>1244249</c:v>
                </c:pt>
                <c:pt idx="4115">
                  <c:v>1244147</c:v>
                </c:pt>
                <c:pt idx="4116">
                  <c:v>1244142</c:v>
                </c:pt>
                <c:pt idx="4117">
                  <c:v>1244131</c:v>
                </c:pt>
                <c:pt idx="4118">
                  <c:v>1244000</c:v>
                </c:pt>
                <c:pt idx="4119">
                  <c:v>1243980</c:v>
                </c:pt>
                <c:pt idx="4120">
                  <c:v>1243969</c:v>
                </c:pt>
                <c:pt idx="4121">
                  <c:v>1243959</c:v>
                </c:pt>
                <c:pt idx="4122">
                  <c:v>1243933</c:v>
                </c:pt>
                <c:pt idx="4123">
                  <c:v>1243733</c:v>
                </c:pt>
                <c:pt idx="4124">
                  <c:v>1243704</c:v>
                </c:pt>
                <c:pt idx="4125">
                  <c:v>1243688</c:v>
                </c:pt>
                <c:pt idx="4126">
                  <c:v>1243666</c:v>
                </c:pt>
                <c:pt idx="4127">
                  <c:v>1243600</c:v>
                </c:pt>
                <c:pt idx="4128">
                  <c:v>1243568</c:v>
                </c:pt>
                <c:pt idx="4129">
                  <c:v>1243565</c:v>
                </c:pt>
                <c:pt idx="4130">
                  <c:v>1243565</c:v>
                </c:pt>
                <c:pt idx="4131">
                  <c:v>1243552</c:v>
                </c:pt>
                <c:pt idx="4132">
                  <c:v>1243536</c:v>
                </c:pt>
                <c:pt idx="4133">
                  <c:v>1243524</c:v>
                </c:pt>
                <c:pt idx="4134">
                  <c:v>1243522</c:v>
                </c:pt>
                <c:pt idx="4135">
                  <c:v>1243518</c:v>
                </c:pt>
                <c:pt idx="4136">
                  <c:v>1243493</c:v>
                </c:pt>
                <c:pt idx="4137">
                  <c:v>1243449</c:v>
                </c:pt>
                <c:pt idx="4138">
                  <c:v>1243423</c:v>
                </c:pt>
                <c:pt idx="4139">
                  <c:v>1243373</c:v>
                </c:pt>
                <c:pt idx="4140">
                  <c:v>1243312</c:v>
                </c:pt>
                <c:pt idx="4141">
                  <c:v>1243209</c:v>
                </c:pt>
                <c:pt idx="4142">
                  <c:v>1243206</c:v>
                </c:pt>
                <c:pt idx="4143">
                  <c:v>1243135</c:v>
                </c:pt>
                <c:pt idx="4144">
                  <c:v>1243105</c:v>
                </c:pt>
                <c:pt idx="4145">
                  <c:v>1243050</c:v>
                </c:pt>
                <c:pt idx="4146">
                  <c:v>1242997</c:v>
                </c:pt>
                <c:pt idx="4147">
                  <c:v>1242978</c:v>
                </c:pt>
                <c:pt idx="4148">
                  <c:v>1242917</c:v>
                </c:pt>
                <c:pt idx="4149">
                  <c:v>1242668</c:v>
                </c:pt>
                <c:pt idx="4150">
                  <c:v>1242661</c:v>
                </c:pt>
                <c:pt idx="4151">
                  <c:v>1242660</c:v>
                </c:pt>
                <c:pt idx="4152">
                  <c:v>1242634</c:v>
                </c:pt>
                <c:pt idx="4153">
                  <c:v>1242595</c:v>
                </c:pt>
                <c:pt idx="4154">
                  <c:v>1242585</c:v>
                </c:pt>
                <c:pt idx="4155">
                  <c:v>1242535</c:v>
                </c:pt>
                <c:pt idx="4156">
                  <c:v>1242451</c:v>
                </c:pt>
                <c:pt idx="4157">
                  <c:v>1242448</c:v>
                </c:pt>
                <c:pt idx="4158">
                  <c:v>1242369</c:v>
                </c:pt>
                <c:pt idx="4159">
                  <c:v>1242337</c:v>
                </c:pt>
                <c:pt idx="4160">
                  <c:v>1242271</c:v>
                </c:pt>
                <c:pt idx="4161">
                  <c:v>1242205</c:v>
                </c:pt>
                <c:pt idx="4162">
                  <c:v>1242152</c:v>
                </c:pt>
                <c:pt idx="4163">
                  <c:v>1242117</c:v>
                </c:pt>
                <c:pt idx="4164">
                  <c:v>1242109</c:v>
                </c:pt>
                <c:pt idx="4165">
                  <c:v>1242091</c:v>
                </c:pt>
                <c:pt idx="4166">
                  <c:v>1241966</c:v>
                </c:pt>
                <c:pt idx="4167">
                  <c:v>1241963</c:v>
                </c:pt>
                <c:pt idx="4168">
                  <c:v>1241951</c:v>
                </c:pt>
                <c:pt idx="4169">
                  <c:v>1241927</c:v>
                </c:pt>
                <c:pt idx="4170">
                  <c:v>1241927</c:v>
                </c:pt>
                <c:pt idx="4171">
                  <c:v>1241919</c:v>
                </c:pt>
                <c:pt idx="4172">
                  <c:v>1241887</c:v>
                </c:pt>
                <c:pt idx="4173">
                  <c:v>1241870</c:v>
                </c:pt>
                <c:pt idx="4174">
                  <c:v>1241799</c:v>
                </c:pt>
                <c:pt idx="4175">
                  <c:v>1241795</c:v>
                </c:pt>
                <c:pt idx="4176">
                  <c:v>1241757</c:v>
                </c:pt>
                <c:pt idx="4177">
                  <c:v>1241743</c:v>
                </c:pt>
                <c:pt idx="4178">
                  <c:v>1241479</c:v>
                </c:pt>
                <c:pt idx="4179">
                  <c:v>1241412</c:v>
                </c:pt>
                <c:pt idx="4180">
                  <c:v>1241378</c:v>
                </c:pt>
                <c:pt idx="4181">
                  <c:v>1241341</c:v>
                </c:pt>
                <c:pt idx="4182">
                  <c:v>1241277</c:v>
                </c:pt>
                <c:pt idx="4183">
                  <c:v>1241273</c:v>
                </c:pt>
                <c:pt idx="4184">
                  <c:v>1241240</c:v>
                </c:pt>
                <c:pt idx="4185">
                  <c:v>1241210</c:v>
                </c:pt>
                <c:pt idx="4186">
                  <c:v>1241145</c:v>
                </c:pt>
                <c:pt idx="4187">
                  <c:v>1241120</c:v>
                </c:pt>
                <c:pt idx="4188">
                  <c:v>1241058</c:v>
                </c:pt>
                <c:pt idx="4189">
                  <c:v>1240976</c:v>
                </c:pt>
                <c:pt idx="4190">
                  <c:v>1240975</c:v>
                </c:pt>
                <c:pt idx="4191">
                  <c:v>1240856</c:v>
                </c:pt>
                <c:pt idx="4192">
                  <c:v>1240835</c:v>
                </c:pt>
                <c:pt idx="4193">
                  <c:v>1240802</c:v>
                </c:pt>
                <c:pt idx="4194">
                  <c:v>1240720</c:v>
                </c:pt>
                <c:pt idx="4195">
                  <c:v>1240579</c:v>
                </c:pt>
                <c:pt idx="4196">
                  <c:v>1240574</c:v>
                </c:pt>
                <c:pt idx="4197">
                  <c:v>1240568</c:v>
                </c:pt>
                <c:pt idx="4198">
                  <c:v>1240562</c:v>
                </c:pt>
                <c:pt idx="4199">
                  <c:v>1240524</c:v>
                </c:pt>
                <c:pt idx="4200">
                  <c:v>1240402</c:v>
                </c:pt>
                <c:pt idx="4201">
                  <c:v>1240369</c:v>
                </c:pt>
                <c:pt idx="4202">
                  <c:v>1240321</c:v>
                </c:pt>
                <c:pt idx="4203">
                  <c:v>1240158</c:v>
                </c:pt>
                <c:pt idx="4204">
                  <c:v>1240137</c:v>
                </c:pt>
                <c:pt idx="4205">
                  <c:v>1240125</c:v>
                </c:pt>
                <c:pt idx="4206">
                  <c:v>1240113</c:v>
                </c:pt>
                <c:pt idx="4207">
                  <c:v>1240056</c:v>
                </c:pt>
                <c:pt idx="4208">
                  <c:v>1240031</c:v>
                </c:pt>
                <c:pt idx="4209">
                  <c:v>1240019</c:v>
                </c:pt>
                <c:pt idx="4210">
                  <c:v>1239946</c:v>
                </c:pt>
                <c:pt idx="4211">
                  <c:v>1239841</c:v>
                </c:pt>
                <c:pt idx="4212">
                  <c:v>1239750</c:v>
                </c:pt>
                <c:pt idx="4213">
                  <c:v>1239704</c:v>
                </c:pt>
                <c:pt idx="4214">
                  <c:v>1239604</c:v>
                </c:pt>
                <c:pt idx="4215">
                  <c:v>1239577</c:v>
                </c:pt>
                <c:pt idx="4216">
                  <c:v>1239535</c:v>
                </c:pt>
                <c:pt idx="4217">
                  <c:v>1239249</c:v>
                </c:pt>
                <c:pt idx="4218">
                  <c:v>1239169</c:v>
                </c:pt>
                <c:pt idx="4219">
                  <c:v>1239147</c:v>
                </c:pt>
                <c:pt idx="4220">
                  <c:v>1239115</c:v>
                </c:pt>
                <c:pt idx="4221">
                  <c:v>1239103</c:v>
                </c:pt>
                <c:pt idx="4222">
                  <c:v>1239075</c:v>
                </c:pt>
                <c:pt idx="4223">
                  <c:v>1239037</c:v>
                </c:pt>
                <c:pt idx="4224">
                  <c:v>1238994</c:v>
                </c:pt>
                <c:pt idx="4225">
                  <c:v>1238722</c:v>
                </c:pt>
                <c:pt idx="4226">
                  <c:v>1238689</c:v>
                </c:pt>
                <c:pt idx="4227">
                  <c:v>1238677</c:v>
                </c:pt>
                <c:pt idx="4228">
                  <c:v>1238639</c:v>
                </c:pt>
                <c:pt idx="4229">
                  <c:v>1238423</c:v>
                </c:pt>
                <c:pt idx="4230">
                  <c:v>1238343</c:v>
                </c:pt>
                <c:pt idx="4231">
                  <c:v>1238314</c:v>
                </c:pt>
                <c:pt idx="4232">
                  <c:v>1238259</c:v>
                </c:pt>
                <c:pt idx="4233">
                  <c:v>1238249</c:v>
                </c:pt>
                <c:pt idx="4234">
                  <c:v>1238215</c:v>
                </c:pt>
                <c:pt idx="4235">
                  <c:v>1237990</c:v>
                </c:pt>
                <c:pt idx="4236">
                  <c:v>1237964</c:v>
                </c:pt>
                <c:pt idx="4237">
                  <c:v>1237913</c:v>
                </c:pt>
                <c:pt idx="4238">
                  <c:v>1237867</c:v>
                </c:pt>
                <c:pt idx="4239">
                  <c:v>1237665</c:v>
                </c:pt>
                <c:pt idx="4240">
                  <c:v>1237661</c:v>
                </c:pt>
                <c:pt idx="4241">
                  <c:v>1237440</c:v>
                </c:pt>
                <c:pt idx="4242">
                  <c:v>1237422</c:v>
                </c:pt>
                <c:pt idx="4243">
                  <c:v>1237393</c:v>
                </c:pt>
                <c:pt idx="4244">
                  <c:v>1237362</c:v>
                </c:pt>
                <c:pt idx="4245">
                  <c:v>1237288</c:v>
                </c:pt>
                <c:pt idx="4246">
                  <c:v>1237276</c:v>
                </c:pt>
                <c:pt idx="4247">
                  <c:v>1237260</c:v>
                </c:pt>
                <c:pt idx="4248">
                  <c:v>1237188</c:v>
                </c:pt>
                <c:pt idx="4249">
                  <c:v>1237140</c:v>
                </c:pt>
                <c:pt idx="4250">
                  <c:v>1237079</c:v>
                </c:pt>
                <c:pt idx="4251">
                  <c:v>1236948</c:v>
                </c:pt>
                <c:pt idx="4252">
                  <c:v>1236854</c:v>
                </c:pt>
                <c:pt idx="4253">
                  <c:v>1236826</c:v>
                </c:pt>
                <c:pt idx="4254">
                  <c:v>1236782</c:v>
                </c:pt>
                <c:pt idx="4255">
                  <c:v>1236726</c:v>
                </c:pt>
                <c:pt idx="4256">
                  <c:v>1236700</c:v>
                </c:pt>
                <c:pt idx="4257">
                  <c:v>1236648</c:v>
                </c:pt>
                <c:pt idx="4258">
                  <c:v>1236590</c:v>
                </c:pt>
                <c:pt idx="4259">
                  <c:v>1236571</c:v>
                </c:pt>
                <c:pt idx="4260">
                  <c:v>1236551</c:v>
                </c:pt>
                <c:pt idx="4261">
                  <c:v>1236482</c:v>
                </c:pt>
                <c:pt idx="4262">
                  <c:v>1236390</c:v>
                </c:pt>
                <c:pt idx="4263">
                  <c:v>1236363</c:v>
                </c:pt>
                <c:pt idx="4264">
                  <c:v>1236280</c:v>
                </c:pt>
                <c:pt idx="4265">
                  <c:v>1236071</c:v>
                </c:pt>
                <c:pt idx="4266">
                  <c:v>1236059</c:v>
                </c:pt>
                <c:pt idx="4267">
                  <c:v>1235993</c:v>
                </c:pt>
                <c:pt idx="4268">
                  <c:v>1235969</c:v>
                </c:pt>
                <c:pt idx="4269">
                  <c:v>1235962</c:v>
                </c:pt>
                <c:pt idx="4270">
                  <c:v>1235956</c:v>
                </c:pt>
                <c:pt idx="4271">
                  <c:v>1235949</c:v>
                </c:pt>
                <c:pt idx="4272">
                  <c:v>1235850</c:v>
                </c:pt>
                <c:pt idx="4273">
                  <c:v>1235749</c:v>
                </c:pt>
                <c:pt idx="4274">
                  <c:v>1235678</c:v>
                </c:pt>
                <c:pt idx="4275">
                  <c:v>1235611</c:v>
                </c:pt>
                <c:pt idx="4276">
                  <c:v>1235605</c:v>
                </c:pt>
                <c:pt idx="4277">
                  <c:v>1235541</c:v>
                </c:pt>
                <c:pt idx="4278">
                  <c:v>1235520</c:v>
                </c:pt>
                <c:pt idx="4279">
                  <c:v>1235373</c:v>
                </c:pt>
                <c:pt idx="4280">
                  <c:v>1235336</c:v>
                </c:pt>
                <c:pt idx="4281">
                  <c:v>1235279</c:v>
                </c:pt>
                <c:pt idx="4282">
                  <c:v>1235178</c:v>
                </c:pt>
                <c:pt idx="4283">
                  <c:v>1235156</c:v>
                </c:pt>
                <c:pt idx="4284">
                  <c:v>1235155</c:v>
                </c:pt>
                <c:pt idx="4285">
                  <c:v>1235126</c:v>
                </c:pt>
                <c:pt idx="4286">
                  <c:v>1235117</c:v>
                </c:pt>
                <c:pt idx="4287">
                  <c:v>1235106</c:v>
                </c:pt>
                <c:pt idx="4288">
                  <c:v>1235066</c:v>
                </c:pt>
                <c:pt idx="4289">
                  <c:v>1235039</c:v>
                </c:pt>
                <c:pt idx="4290">
                  <c:v>1235022</c:v>
                </c:pt>
                <c:pt idx="4291">
                  <c:v>1235003</c:v>
                </c:pt>
                <c:pt idx="4292">
                  <c:v>1234963</c:v>
                </c:pt>
                <c:pt idx="4293">
                  <c:v>1234951</c:v>
                </c:pt>
                <c:pt idx="4294">
                  <c:v>1234919</c:v>
                </c:pt>
                <c:pt idx="4295">
                  <c:v>1234913</c:v>
                </c:pt>
                <c:pt idx="4296">
                  <c:v>1234859</c:v>
                </c:pt>
                <c:pt idx="4297">
                  <c:v>1234832</c:v>
                </c:pt>
                <c:pt idx="4298">
                  <c:v>1234800</c:v>
                </c:pt>
                <c:pt idx="4299">
                  <c:v>1234767</c:v>
                </c:pt>
                <c:pt idx="4300">
                  <c:v>1234694</c:v>
                </c:pt>
                <c:pt idx="4301">
                  <c:v>1234692</c:v>
                </c:pt>
                <c:pt idx="4302">
                  <c:v>1234614</c:v>
                </c:pt>
                <c:pt idx="4303">
                  <c:v>1234590</c:v>
                </c:pt>
                <c:pt idx="4304">
                  <c:v>1234589</c:v>
                </c:pt>
                <c:pt idx="4305">
                  <c:v>1234576</c:v>
                </c:pt>
                <c:pt idx="4306">
                  <c:v>1234421</c:v>
                </c:pt>
                <c:pt idx="4307">
                  <c:v>1234366</c:v>
                </c:pt>
                <c:pt idx="4308">
                  <c:v>1234352</c:v>
                </c:pt>
                <c:pt idx="4309">
                  <c:v>1234331</c:v>
                </c:pt>
                <c:pt idx="4310">
                  <c:v>1234316</c:v>
                </c:pt>
                <c:pt idx="4311">
                  <c:v>1234309</c:v>
                </c:pt>
                <c:pt idx="4312">
                  <c:v>1234279</c:v>
                </c:pt>
                <c:pt idx="4313">
                  <c:v>1234253</c:v>
                </c:pt>
                <c:pt idx="4314">
                  <c:v>1234219</c:v>
                </c:pt>
                <c:pt idx="4315">
                  <c:v>1234159</c:v>
                </c:pt>
                <c:pt idx="4316">
                  <c:v>1234150</c:v>
                </c:pt>
                <c:pt idx="4317">
                  <c:v>1233950</c:v>
                </c:pt>
                <c:pt idx="4318">
                  <c:v>1233867</c:v>
                </c:pt>
                <c:pt idx="4319">
                  <c:v>1233810</c:v>
                </c:pt>
                <c:pt idx="4320">
                  <c:v>1233762</c:v>
                </c:pt>
                <c:pt idx="4321">
                  <c:v>1233476</c:v>
                </c:pt>
                <c:pt idx="4322">
                  <c:v>1233417</c:v>
                </c:pt>
                <c:pt idx="4323">
                  <c:v>1233410</c:v>
                </c:pt>
                <c:pt idx="4324">
                  <c:v>1233279</c:v>
                </c:pt>
                <c:pt idx="4325">
                  <c:v>1233269</c:v>
                </c:pt>
                <c:pt idx="4326">
                  <c:v>1233259</c:v>
                </c:pt>
                <c:pt idx="4327">
                  <c:v>1233253</c:v>
                </c:pt>
                <c:pt idx="4328">
                  <c:v>1233216</c:v>
                </c:pt>
                <c:pt idx="4329">
                  <c:v>1233213</c:v>
                </c:pt>
                <c:pt idx="4330">
                  <c:v>1233079</c:v>
                </c:pt>
                <c:pt idx="4331">
                  <c:v>1232998</c:v>
                </c:pt>
                <c:pt idx="4332">
                  <c:v>1232978</c:v>
                </c:pt>
                <c:pt idx="4333">
                  <c:v>1232970</c:v>
                </c:pt>
                <c:pt idx="4334">
                  <c:v>1232811</c:v>
                </c:pt>
                <c:pt idx="4335">
                  <c:v>1232799</c:v>
                </c:pt>
                <c:pt idx="4336">
                  <c:v>1232756</c:v>
                </c:pt>
                <c:pt idx="4337">
                  <c:v>1232708</c:v>
                </c:pt>
                <c:pt idx="4338">
                  <c:v>1232703</c:v>
                </c:pt>
                <c:pt idx="4339">
                  <c:v>1232566</c:v>
                </c:pt>
                <c:pt idx="4340">
                  <c:v>1232487</c:v>
                </c:pt>
                <c:pt idx="4341">
                  <c:v>1232378</c:v>
                </c:pt>
                <c:pt idx="4342">
                  <c:v>1232239</c:v>
                </c:pt>
                <c:pt idx="4343">
                  <c:v>1232027</c:v>
                </c:pt>
                <c:pt idx="4344">
                  <c:v>1231940</c:v>
                </c:pt>
                <c:pt idx="4345">
                  <c:v>1231926</c:v>
                </c:pt>
                <c:pt idx="4346">
                  <c:v>1231906</c:v>
                </c:pt>
                <c:pt idx="4347">
                  <c:v>1231886</c:v>
                </c:pt>
                <c:pt idx="4348">
                  <c:v>1231830</c:v>
                </c:pt>
                <c:pt idx="4349">
                  <c:v>1231829</c:v>
                </c:pt>
                <c:pt idx="4350">
                  <c:v>1231800</c:v>
                </c:pt>
                <c:pt idx="4351">
                  <c:v>1231771</c:v>
                </c:pt>
                <c:pt idx="4352">
                  <c:v>1231766</c:v>
                </c:pt>
                <c:pt idx="4353">
                  <c:v>1231765</c:v>
                </c:pt>
                <c:pt idx="4354">
                  <c:v>1231763</c:v>
                </c:pt>
                <c:pt idx="4355">
                  <c:v>1231706</c:v>
                </c:pt>
                <c:pt idx="4356">
                  <c:v>1231605</c:v>
                </c:pt>
                <c:pt idx="4357">
                  <c:v>1231410</c:v>
                </c:pt>
                <c:pt idx="4358">
                  <c:v>1231364</c:v>
                </c:pt>
                <c:pt idx="4359">
                  <c:v>1231316</c:v>
                </c:pt>
                <c:pt idx="4360">
                  <c:v>1231304</c:v>
                </c:pt>
                <c:pt idx="4361">
                  <c:v>1231277</c:v>
                </c:pt>
                <c:pt idx="4362">
                  <c:v>1231262</c:v>
                </c:pt>
                <c:pt idx="4363">
                  <c:v>1231190</c:v>
                </c:pt>
                <c:pt idx="4364">
                  <c:v>1231179</c:v>
                </c:pt>
                <c:pt idx="4365">
                  <c:v>1231174</c:v>
                </c:pt>
                <c:pt idx="4366">
                  <c:v>1231155</c:v>
                </c:pt>
                <c:pt idx="4367">
                  <c:v>1231153</c:v>
                </c:pt>
                <c:pt idx="4368">
                  <c:v>1231146</c:v>
                </c:pt>
                <c:pt idx="4369">
                  <c:v>1231140</c:v>
                </c:pt>
                <c:pt idx="4370">
                  <c:v>1231116</c:v>
                </c:pt>
                <c:pt idx="4371">
                  <c:v>1231015</c:v>
                </c:pt>
                <c:pt idx="4372">
                  <c:v>1230906</c:v>
                </c:pt>
                <c:pt idx="4373">
                  <c:v>1230895</c:v>
                </c:pt>
                <c:pt idx="4374">
                  <c:v>1230894</c:v>
                </c:pt>
                <c:pt idx="4375">
                  <c:v>1230703</c:v>
                </c:pt>
                <c:pt idx="4376">
                  <c:v>1230680</c:v>
                </c:pt>
                <c:pt idx="4377">
                  <c:v>1230658</c:v>
                </c:pt>
                <c:pt idx="4378">
                  <c:v>1230608</c:v>
                </c:pt>
                <c:pt idx="4379">
                  <c:v>1230598</c:v>
                </c:pt>
                <c:pt idx="4380">
                  <c:v>1230564</c:v>
                </c:pt>
                <c:pt idx="4381">
                  <c:v>1230557</c:v>
                </c:pt>
                <c:pt idx="4382">
                  <c:v>1230368</c:v>
                </c:pt>
                <c:pt idx="4383">
                  <c:v>1230300</c:v>
                </c:pt>
                <c:pt idx="4384">
                  <c:v>1230267</c:v>
                </c:pt>
                <c:pt idx="4385">
                  <c:v>1230232</c:v>
                </c:pt>
                <c:pt idx="4386">
                  <c:v>1230170</c:v>
                </c:pt>
                <c:pt idx="4387">
                  <c:v>1230065</c:v>
                </c:pt>
                <c:pt idx="4388">
                  <c:v>1230041</c:v>
                </c:pt>
                <c:pt idx="4389">
                  <c:v>1229940</c:v>
                </c:pt>
                <c:pt idx="4390">
                  <c:v>1229922</c:v>
                </c:pt>
                <c:pt idx="4391">
                  <c:v>1229881</c:v>
                </c:pt>
                <c:pt idx="4392">
                  <c:v>1229844</c:v>
                </c:pt>
                <c:pt idx="4393">
                  <c:v>1229839</c:v>
                </c:pt>
                <c:pt idx="4394">
                  <c:v>1229763</c:v>
                </c:pt>
                <c:pt idx="4395">
                  <c:v>1229744</c:v>
                </c:pt>
                <c:pt idx="4396">
                  <c:v>1229661</c:v>
                </c:pt>
                <c:pt idx="4397">
                  <c:v>1229543</c:v>
                </c:pt>
                <c:pt idx="4398">
                  <c:v>1229539</c:v>
                </c:pt>
                <c:pt idx="4399">
                  <c:v>1229357</c:v>
                </c:pt>
                <c:pt idx="4400">
                  <c:v>1229328</c:v>
                </c:pt>
                <c:pt idx="4401">
                  <c:v>1229322</c:v>
                </c:pt>
                <c:pt idx="4402">
                  <c:v>1229311</c:v>
                </c:pt>
                <c:pt idx="4403">
                  <c:v>1229301</c:v>
                </c:pt>
                <c:pt idx="4404">
                  <c:v>1229247</c:v>
                </c:pt>
                <c:pt idx="4405">
                  <c:v>1229145</c:v>
                </c:pt>
                <c:pt idx="4406">
                  <c:v>1229143</c:v>
                </c:pt>
                <c:pt idx="4407">
                  <c:v>1229105</c:v>
                </c:pt>
                <c:pt idx="4408">
                  <c:v>1229041</c:v>
                </c:pt>
                <c:pt idx="4409">
                  <c:v>1228976</c:v>
                </c:pt>
                <c:pt idx="4410">
                  <c:v>1228935</c:v>
                </c:pt>
                <c:pt idx="4411">
                  <c:v>1228887</c:v>
                </c:pt>
                <c:pt idx="4412">
                  <c:v>1228866</c:v>
                </c:pt>
                <c:pt idx="4413">
                  <c:v>1228866</c:v>
                </c:pt>
                <c:pt idx="4414">
                  <c:v>1228860</c:v>
                </c:pt>
                <c:pt idx="4415">
                  <c:v>1228854</c:v>
                </c:pt>
                <c:pt idx="4416">
                  <c:v>1228852</c:v>
                </c:pt>
                <c:pt idx="4417">
                  <c:v>1228841</c:v>
                </c:pt>
                <c:pt idx="4418">
                  <c:v>1228825</c:v>
                </c:pt>
                <c:pt idx="4419">
                  <c:v>1228769</c:v>
                </c:pt>
                <c:pt idx="4420">
                  <c:v>1228759</c:v>
                </c:pt>
                <c:pt idx="4421">
                  <c:v>1228727</c:v>
                </c:pt>
                <c:pt idx="4422">
                  <c:v>1228674</c:v>
                </c:pt>
                <c:pt idx="4423">
                  <c:v>1228673</c:v>
                </c:pt>
                <c:pt idx="4424">
                  <c:v>1228620</c:v>
                </c:pt>
                <c:pt idx="4425">
                  <c:v>1228603</c:v>
                </c:pt>
                <c:pt idx="4426">
                  <c:v>1228495</c:v>
                </c:pt>
                <c:pt idx="4427">
                  <c:v>1228479</c:v>
                </c:pt>
                <c:pt idx="4428">
                  <c:v>1228475</c:v>
                </c:pt>
                <c:pt idx="4429">
                  <c:v>1228471</c:v>
                </c:pt>
                <c:pt idx="4430">
                  <c:v>1228393</c:v>
                </c:pt>
                <c:pt idx="4431">
                  <c:v>1228346</c:v>
                </c:pt>
                <c:pt idx="4432">
                  <c:v>1228343</c:v>
                </c:pt>
                <c:pt idx="4433">
                  <c:v>1228341</c:v>
                </c:pt>
                <c:pt idx="4434">
                  <c:v>1228320</c:v>
                </c:pt>
                <c:pt idx="4435">
                  <c:v>1228307</c:v>
                </c:pt>
                <c:pt idx="4436">
                  <c:v>1228251</c:v>
                </c:pt>
                <c:pt idx="4437">
                  <c:v>1228249</c:v>
                </c:pt>
                <c:pt idx="4438">
                  <c:v>1228228</c:v>
                </c:pt>
                <c:pt idx="4439">
                  <c:v>1228143</c:v>
                </c:pt>
                <c:pt idx="4440">
                  <c:v>1228120</c:v>
                </c:pt>
                <c:pt idx="4441">
                  <c:v>1228078</c:v>
                </c:pt>
                <c:pt idx="4442">
                  <c:v>1228041</c:v>
                </c:pt>
                <c:pt idx="4443">
                  <c:v>1228003</c:v>
                </c:pt>
                <c:pt idx="4444">
                  <c:v>1227898</c:v>
                </c:pt>
                <c:pt idx="4445">
                  <c:v>1227837</c:v>
                </c:pt>
                <c:pt idx="4446">
                  <c:v>1227746</c:v>
                </c:pt>
                <c:pt idx="4447">
                  <c:v>1227517</c:v>
                </c:pt>
                <c:pt idx="4448">
                  <c:v>1227453</c:v>
                </c:pt>
                <c:pt idx="4449">
                  <c:v>1227413</c:v>
                </c:pt>
                <c:pt idx="4450">
                  <c:v>1227396</c:v>
                </c:pt>
                <c:pt idx="4451">
                  <c:v>1227348</c:v>
                </c:pt>
                <c:pt idx="4452">
                  <c:v>1227296</c:v>
                </c:pt>
                <c:pt idx="4453">
                  <c:v>1227255</c:v>
                </c:pt>
                <c:pt idx="4454">
                  <c:v>1227225</c:v>
                </c:pt>
                <c:pt idx="4455">
                  <c:v>1227202</c:v>
                </c:pt>
                <c:pt idx="4456">
                  <c:v>1227115</c:v>
                </c:pt>
                <c:pt idx="4457">
                  <c:v>1227002</c:v>
                </c:pt>
                <c:pt idx="4458">
                  <c:v>1226992</c:v>
                </c:pt>
                <c:pt idx="4459">
                  <c:v>1226959</c:v>
                </c:pt>
                <c:pt idx="4460">
                  <c:v>1226953</c:v>
                </c:pt>
                <c:pt idx="4461">
                  <c:v>1226869</c:v>
                </c:pt>
                <c:pt idx="4462">
                  <c:v>1226816</c:v>
                </c:pt>
                <c:pt idx="4463">
                  <c:v>1226804</c:v>
                </c:pt>
                <c:pt idx="4464">
                  <c:v>1226764</c:v>
                </c:pt>
                <c:pt idx="4465">
                  <c:v>1226744</c:v>
                </c:pt>
                <c:pt idx="4466">
                  <c:v>1226687</c:v>
                </c:pt>
                <c:pt idx="4467">
                  <c:v>1226677</c:v>
                </c:pt>
                <c:pt idx="4468">
                  <c:v>1226664</c:v>
                </c:pt>
                <c:pt idx="4469">
                  <c:v>1226644</c:v>
                </c:pt>
                <c:pt idx="4470">
                  <c:v>1226625</c:v>
                </c:pt>
                <c:pt idx="4471">
                  <c:v>1226585</c:v>
                </c:pt>
                <c:pt idx="4472">
                  <c:v>1226542</c:v>
                </c:pt>
                <c:pt idx="4473">
                  <c:v>1226464</c:v>
                </c:pt>
                <c:pt idx="4474">
                  <c:v>1226454</c:v>
                </c:pt>
                <c:pt idx="4475">
                  <c:v>1226428</c:v>
                </c:pt>
                <c:pt idx="4476">
                  <c:v>1226326</c:v>
                </c:pt>
                <c:pt idx="4477">
                  <c:v>1226255</c:v>
                </c:pt>
                <c:pt idx="4478">
                  <c:v>1226209</c:v>
                </c:pt>
                <c:pt idx="4479">
                  <c:v>1226195</c:v>
                </c:pt>
                <c:pt idx="4480">
                  <c:v>1226150</c:v>
                </c:pt>
                <c:pt idx="4481">
                  <c:v>1226147</c:v>
                </c:pt>
                <c:pt idx="4482">
                  <c:v>1226130</c:v>
                </c:pt>
                <c:pt idx="4483">
                  <c:v>1226048</c:v>
                </c:pt>
                <c:pt idx="4484">
                  <c:v>1225982</c:v>
                </c:pt>
                <c:pt idx="4485">
                  <c:v>1225917</c:v>
                </c:pt>
                <c:pt idx="4486">
                  <c:v>1225857</c:v>
                </c:pt>
                <c:pt idx="4487">
                  <c:v>1225798</c:v>
                </c:pt>
                <c:pt idx="4488">
                  <c:v>1225745</c:v>
                </c:pt>
                <c:pt idx="4489">
                  <c:v>1225681</c:v>
                </c:pt>
                <c:pt idx="4490">
                  <c:v>1225678</c:v>
                </c:pt>
                <c:pt idx="4491">
                  <c:v>1225549</c:v>
                </c:pt>
                <c:pt idx="4492">
                  <c:v>1225532</c:v>
                </c:pt>
                <c:pt idx="4493">
                  <c:v>1225476</c:v>
                </c:pt>
                <c:pt idx="4494">
                  <c:v>1225470</c:v>
                </c:pt>
                <c:pt idx="4495">
                  <c:v>1225450</c:v>
                </c:pt>
                <c:pt idx="4496">
                  <c:v>1225444</c:v>
                </c:pt>
                <c:pt idx="4497">
                  <c:v>1225439</c:v>
                </c:pt>
                <c:pt idx="4498">
                  <c:v>1225420</c:v>
                </c:pt>
                <c:pt idx="4499">
                  <c:v>1225338</c:v>
                </c:pt>
                <c:pt idx="4500">
                  <c:v>1225304</c:v>
                </c:pt>
                <c:pt idx="4501">
                  <c:v>1225275</c:v>
                </c:pt>
                <c:pt idx="4502">
                  <c:v>1225231</c:v>
                </c:pt>
                <c:pt idx="4503">
                  <c:v>1225078</c:v>
                </c:pt>
                <c:pt idx="4504">
                  <c:v>1225017</c:v>
                </c:pt>
                <c:pt idx="4505">
                  <c:v>1225004</c:v>
                </c:pt>
                <c:pt idx="4506">
                  <c:v>1224992</c:v>
                </c:pt>
                <c:pt idx="4507">
                  <c:v>1224982</c:v>
                </c:pt>
                <c:pt idx="4508">
                  <c:v>1224959</c:v>
                </c:pt>
                <c:pt idx="4509">
                  <c:v>1224930</c:v>
                </c:pt>
                <c:pt idx="4510">
                  <c:v>1224866</c:v>
                </c:pt>
                <c:pt idx="4511">
                  <c:v>1224858</c:v>
                </c:pt>
                <c:pt idx="4512">
                  <c:v>1224849</c:v>
                </c:pt>
                <c:pt idx="4513">
                  <c:v>1224848</c:v>
                </c:pt>
                <c:pt idx="4514">
                  <c:v>1224808</c:v>
                </c:pt>
                <c:pt idx="4515">
                  <c:v>1224807</c:v>
                </c:pt>
                <c:pt idx="4516">
                  <c:v>1224775</c:v>
                </c:pt>
                <c:pt idx="4517">
                  <c:v>1224774</c:v>
                </c:pt>
                <c:pt idx="4518">
                  <c:v>1224718</c:v>
                </c:pt>
                <c:pt idx="4519">
                  <c:v>1224590</c:v>
                </c:pt>
                <c:pt idx="4520">
                  <c:v>1224560</c:v>
                </c:pt>
                <c:pt idx="4521">
                  <c:v>1224532</c:v>
                </c:pt>
                <c:pt idx="4522">
                  <c:v>1224440</c:v>
                </c:pt>
                <c:pt idx="4523">
                  <c:v>1224424</c:v>
                </c:pt>
                <c:pt idx="4524">
                  <c:v>1224353</c:v>
                </c:pt>
                <c:pt idx="4525">
                  <c:v>1224321</c:v>
                </c:pt>
                <c:pt idx="4526">
                  <c:v>1224178</c:v>
                </c:pt>
                <c:pt idx="4527">
                  <c:v>1224156</c:v>
                </c:pt>
                <c:pt idx="4528">
                  <c:v>1224140</c:v>
                </c:pt>
                <c:pt idx="4529">
                  <c:v>1224056</c:v>
                </c:pt>
                <c:pt idx="4530">
                  <c:v>1224047</c:v>
                </c:pt>
                <c:pt idx="4531">
                  <c:v>1223993</c:v>
                </c:pt>
                <c:pt idx="4532">
                  <c:v>1223969</c:v>
                </c:pt>
                <c:pt idx="4533">
                  <c:v>1223799</c:v>
                </c:pt>
                <c:pt idx="4534">
                  <c:v>1223767</c:v>
                </c:pt>
                <c:pt idx="4535">
                  <c:v>1223659</c:v>
                </c:pt>
                <c:pt idx="4536">
                  <c:v>1223615</c:v>
                </c:pt>
                <c:pt idx="4537">
                  <c:v>1223585</c:v>
                </c:pt>
                <c:pt idx="4538">
                  <c:v>1223556</c:v>
                </c:pt>
                <c:pt idx="4539">
                  <c:v>1223552</c:v>
                </c:pt>
                <c:pt idx="4540">
                  <c:v>1223481</c:v>
                </c:pt>
                <c:pt idx="4541">
                  <c:v>1223387</c:v>
                </c:pt>
                <c:pt idx="4542">
                  <c:v>1223333</c:v>
                </c:pt>
                <c:pt idx="4543">
                  <c:v>1223257</c:v>
                </c:pt>
                <c:pt idx="4544">
                  <c:v>1223228</c:v>
                </c:pt>
                <c:pt idx="4545">
                  <c:v>1223226</c:v>
                </c:pt>
                <c:pt idx="4546">
                  <c:v>1223020</c:v>
                </c:pt>
                <c:pt idx="4547">
                  <c:v>1222910</c:v>
                </c:pt>
                <c:pt idx="4548">
                  <c:v>1222882</c:v>
                </c:pt>
                <c:pt idx="4549">
                  <c:v>1222841</c:v>
                </c:pt>
                <c:pt idx="4550">
                  <c:v>1222805</c:v>
                </c:pt>
                <c:pt idx="4551">
                  <c:v>1222701</c:v>
                </c:pt>
                <c:pt idx="4552">
                  <c:v>1222554</c:v>
                </c:pt>
                <c:pt idx="4553">
                  <c:v>1222522</c:v>
                </c:pt>
                <c:pt idx="4554">
                  <c:v>1222502</c:v>
                </c:pt>
                <c:pt idx="4555">
                  <c:v>1222418</c:v>
                </c:pt>
                <c:pt idx="4556">
                  <c:v>1222371</c:v>
                </c:pt>
                <c:pt idx="4557">
                  <c:v>1222320</c:v>
                </c:pt>
                <c:pt idx="4558">
                  <c:v>1222197</c:v>
                </c:pt>
                <c:pt idx="4559">
                  <c:v>1222137</c:v>
                </c:pt>
                <c:pt idx="4560">
                  <c:v>1222095</c:v>
                </c:pt>
                <c:pt idx="4561">
                  <c:v>1221951</c:v>
                </c:pt>
                <c:pt idx="4562">
                  <c:v>1221791</c:v>
                </c:pt>
                <c:pt idx="4563">
                  <c:v>1221736</c:v>
                </c:pt>
                <c:pt idx="4564">
                  <c:v>1221725</c:v>
                </c:pt>
                <c:pt idx="4565">
                  <c:v>1221694</c:v>
                </c:pt>
                <c:pt idx="4566">
                  <c:v>1221285</c:v>
                </c:pt>
                <c:pt idx="4567">
                  <c:v>1221282</c:v>
                </c:pt>
                <c:pt idx="4568">
                  <c:v>1221270</c:v>
                </c:pt>
                <c:pt idx="4569">
                  <c:v>1221145</c:v>
                </c:pt>
                <c:pt idx="4570">
                  <c:v>1221087</c:v>
                </c:pt>
                <c:pt idx="4571">
                  <c:v>1221031</c:v>
                </c:pt>
                <c:pt idx="4572">
                  <c:v>1220999</c:v>
                </c:pt>
                <c:pt idx="4573">
                  <c:v>1220906</c:v>
                </c:pt>
                <c:pt idx="4574">
                  <c:v>1220795</c:v>
                </c:pt>
                <c:pt idx="4575">
                  <c:v>1220778</c:v>
                </c:pt>
                <c:pt idx="4576">
                  <c:v>1220692</c:v>
                </c:pt>
                <c:pt idx="4577">
                  <c:v>1220685</c:v>
                </c:pt>
                <c:pt idx="4578">
                  <c:v>1220683</c:v>
                </c:pt>
                <c:pt idx="4579">
                  <c:v>1220676</c:v>
                </c:pt>
                <c:pt idx="4580">
                  <c:v>1220569</c:v>
                </c:pt>
                <c:pt idx="4581">
                  <c:v>1220490</c:v>
                </c:pt>
                <c:pt idx="4582">
                  <c:v>1220467</c:v>
                </c:pt>
                <c:pt idx="4583">
                  <c:v>1220428</c:v>
                </c:pt>
                <c:pt idx="4584">
                  <c:v>1220392</c:v>
                </c:pt>
                <c:pt idx="4585">
                  <c:v>1220391</c:v>
                </c:pt>
                <c:pt idx="4586">
                  <c:v>1220381</c:v>
                </c:pt>
                <c:pt idx="4587">
                  <c:v>1220366</c:v>
                </c:pt>
                <c:pt idx="4588">
                  <c:v>1220309</c:v>
                </c:pt>
                <c:pt idx="4589">
                  <c:v>1220192</c:v>
                </c:pt>
                <c:pt idx="4590">
                  <c:v>1220151</c:v>
                </c:pt>
                <c:pt idx="4591">
                  <c:v>1220111</c:v>
                </c:pt>
                <c:pt idx="4592">
                  <c:v>1220057</c:v>
                </c:pt>
                <c:pt idx="4593">
                  <c:v>1220053</c:v>
                </c:pt>
                <c:pt idx="4594">
                  <c:v>1219994</c:v>
                </c:pt>
                <c:pt idx="4595">
                  <c:v>1219968</c:v>
                </c:pt>
                <c:pt idx="4596">
                  <c:v>1219954</c:v>
                </c:pt>
                <c:pt idx="4597">
                  <c:v>1219920</c:v>
                </c:pt>
                <c:pt idx="4598">
                  <c:v>1219894</c:v>
                </c:pt>
                <c:pt idx="4599">
                  <c:v>1219870</c:v>
                </c:pt>
                <c:pt idx="4600">
                  <c:v>1219862</c:v>
                </c:pt>
                <c:pt idx="4601">
                  <c:v>1219834</c:v>
                </c:pt>
                <c:pt idx="4602">
                  <c:v>1219829</c:v>
                </c:pt>
                <c:pt idx="4603">
                  <c:v>1219771</c:v>
                </c:pt>
                <c:pt idx="4604">
                  <c:v>1219755</c:v>
                </c:pt>
                <c:pt idx="4605">
                  <c:v>1219716</c:v>
                </c:pt>
                <c:pt idx="4606">
                  <c:v>1219688</c:v>
                </c:pt>
                <c:pt idx="4607">
                  <c:v>1219619</c:v>
                </c:pt>
                <c:pt idx="4608">
                  <c:v>1219533</c:v>
                </c:pt>
                <c:pt idx="4609">
                  <c:v>1219485</c:v>
                </c:pt>
                <c:pt idx="4610">
                  <c:v>1219329</c:v>
                </c:pt>
                <c:pt idx="4611">
                  <c:v>1219323</c:v>
                </c:pt>
                <c:pt idx="4612">
                  <c:v>1219267</c:v>
                </c:pt>
                <c:pt idx="4613">
                  <c:v>1219257</c:v>
                </c:pt>
                <c:pt idx="4614">
                  <c:v>1219196</c:v>
                </c:pt>
                <c:pt idx="4615">
                  <c:v>1219056</c:v>
                </c:pt>
                <c:pt idx="4616">
                  <c:v>1218989</c:v>
                </c:pt>
                <c:pt idx="4617">
                  <c:v>1218929</c:v>
                </c:pt>
                <c:pt idx="4618">
                  <c:v>1218901</c:v>
                </c:pt>
                <c:pt idx="4619">
                  <c:v>1218862</c:v>
                </c:pt>
                <c:pt idx="4620">
                  <c:v>1218853</c:v>
                </c:pt>
                <c:pt idx="4621">
                  <c:v>1218843</c:v>
                </c:pt>
                <c:pt idx="4622">
                  <c:v>1218750</c:v>
                </c:pt>
                <c:pt idx="4623">
                  <c:v>1218625</c:v>
                </c:pt>
                <c:pt idx="4624">
                  <c:v>1218613</c:v>
                </c:pt>
                <c:pt idx="4625">
                  <c:v>1218473</c:v>
                </c:pt>
                <c:pt idx="4626">
                  <c:v>1218421</c:v>
                </c:pt>
                <c:pt idx="4627">
                  <c:v>1218412</c:v>
                </c:pt>
                <c:pt idx="4628">
                  <c:v>1218294</c:v>
                </c:pt>
                <c:pt idx="4629">
                  <c:v>1218261</c:v>
                </c:pt>
                <c:pt idx="4630">
                  <c:v>1218238</c:v>
                </c:pt>
                <c:pt idx="4631">
                  <c:v>1218202</c:v>
                </c:pt>
                <c:pt idx="4632">
                  <c:v>1218193</c:v>
                </c:pt>
                <c:pt idx="4633">
                  <c:v>1217947</c:v>
                </c:pt>
                <c:pt idx="4634">
                  <c:v>1217916</c:v>
                </c:pt>
                <c:pt idx="4635">
                  <c:v>1217890</c:v>
                </c:pt>
                <c:pt idx="4636">
                  <c:v>1217829</c:v>
                </c:pt>
                <c:pt idx="4637">
                  <c:v>1217782</c:v>
                </c:pt>
                <c:pt idx="4638">
                  <c:v>1217734</c:v>
                </c:pt>
                <c:pt idx="4639">
                  <c:v>1217728</c:v>
                </c:pt>
                <c:pt idx="4640">
                  <c:v>1217675</c:v>
                </c:pt>
                <c:pt idx="4641">
                  <c:v>1217675</c:v>
                </c:pt>
                <c:pt idx="4642">
                  <c:v>1217581</c:v>
                </c:pt>
                <c:pt idx="4643">
                  <c:v>1217499</c:v>
                </c:pt>
                <c:pt idx="4644">
                  <c:v>1217425</c:v>
                </c:pt>
                <c:pt idx="4645">
                  <c:v>1217370</c:v>
                </c:pt>
                <c:pt idx="4646">
                  <c:v>1217370</c:v>
                </c:pt>
                <c:pt idx="4647">
                  <c:v>1217369</c:v>
                </c:pt>
                <c:pt idx="4648">
                  <c:v>1217312</c:v>
                </c:pt>
                <c:pt idx="4649">
                  <c:v>1217307</c:v>
                </c:pt>
                <c:pt idx="4650">
                  <c:v>1217242</c:v>
                </c:pt>
                <c:pt idx="4651">
                  <c:v>1217231</c:v>
                </c:pt>
                <c:pt idx="4652">
                  <c:v>1217192</c:v>
                </c:pt>
                <c:pt idx="4653">
                  <c:v>1217165</c:v>
                </c:pt>
                <c:pt idx="4654">
                  <c:v>1217114</c:v>
                </c:pt>
                <c:pt idx="4655">
                  <c:v>1216869</c:v>
                </c:pt>
                <c:pt idx="4656">
                  <c:v>1216789</c:v>
                </c:pt>
                <c:pt idx="4657">
                  <c:v>1216746</c:v>
                </c:pt>
                <c:pt idx="4658">
                  <c:v>1216618</c:v>
                </c:pt>
                <c:pt idx="4659">
                  <c:v>1216445</c:v>
                </c:pt>
                <c:pt idx="4660">
                  <c:v>1216441</c:v>
                </c:pt>
                <c:pt idx="4661">
                  <c:v>1216402</c:v>
                </c:pt>
                <c:pt idx="4662">
                  <c:v>1216346</c:v>
                </c:pt>
                <c:pt idx="4663">
                  <c:v>1216301</c:v>
                </c:pt>
                <c:pt idx="4664">
                  <c:v>1216264</c:v>
                </c:pt>
                <c:pt idx="4665">
                  <c:v>1216227</c:v>
                </c:pt>
                <c:pt idx="4666">
                  <c:v>1216197</c:v>
                </c:pt>
                <c:pt idx="4667">
                  <c:v>1216117</c:v>
                </c:pt>
                <c:pt idx="4668">
                  <c:v>1216042</c:v>
                </c:pt>
                <c:pt idx="4669">
                  <c:v>1216024</c:v>
                </c:pt>
                <c:pt idx="4670">
                  <c:v>1216011</c:v>
                </c:pt>
                <c:pt idx="4671">
                  <c:v>1216005</c:v>
                </c:pt>
                <c:pt idx="4672">
                  <c:v>1215984</c:v>
                </c:pt>
                <c:pt idx="4673">
                  <c:v>1215984</c:v>
                </c:pt>
                <c:pt idx="4674">
                  <c:v>1215947</c:v>
                </c:pt>
                <c:pt idx="4675">
                  <c:v>1215933</c:v>
                </c:pt>
                <c:pt idx="4676">
                  <c:v>1215916</c:v>
                </c:pt>
                <c:pt idx="4677">
                  <c:v>1215826</c:v>
                </c:pt>
                <c:pt idx="4678">
                  <c:v>1215810</c:v>
                </c:pt>
                <c:pt idx="4679">
                  <c:v>1215763</c:v>
                </c:pt>
                <c:pt idx="4680">
                  <c:v>1215739</c:v>
                </c:pt>
                <c:pt idx="4681">
                  <c:v>1215564</c:v>
                </c:pt>
                <c:pt idx="4682">
                  <c:v>1215542</c:v>
                </c:pt>
                <c:pt idx="4683">
                  <c:v>1215506</c:v>
                </c:pt>
                <c:pt idx="4684">
                  <c:v>1215504</c:v>
                </c:pt>
                <c:pt idx="4685">
                  <c:v>1215466</c:v>
                </c:pt>
                <c:pt idx="4686">
                  <c:v>1215437</c:v>
                </c:pt>
                <c:pt idx="4687">
                  <c:v>1215432</c:v>
                </c:pt>
                <c:pt idx="4688">
                  <c:v>1215425</c:v>
                </c:pt>
                <c:pt idx="4689">
                  <c:v>1215343</c:v>
                </c:pt>
                <c:pt idx="4690">
                  <c:v>1215201</c:v>
                </c:pt>
                <c:pt idx="4691">
                  <c:v>1215038</c:v>
                </c:pt>
                <c:pt idx="4692">
                  <c:v>1215025</c:v>
                </c:pt>
                <c:pt idx="4693">
                  <c:v>1214967</c:v>
                </c:pt>
                <c:pt idx="4694">
                  <c:v>1214965</c:v>
                </c:pt>
                <c:pt idx="4695">
                  <c:v>1214922</c:v>
                </c:pt>
                <c:pt idx="4696">
                  <c:v>1214839</c:v>
                </c:pt>
                <c:pt idx="4697">
                  <c:v>1214823</c:v>
                </c:pt>
                <c:pt idx="4698">
                  <c:v>1214734</c:v>
                </c:pt>
                <c:pt idx="4699">
                  <c:v>1214718</c:v>
                </c:pt>
                <c:pt idx="4700">
                  <c:v>1214647</c:v>
                </c:pt>
                <c:pt idx="4701">
                  <c:v>1214554</c:v>
                </c:pt>
                <c:pt idx="4702">
                  <c:v>1214547</c:v>
                </c:pt>
                <c:pt idx="4703">
                  <c:v>1214541</c:v>
                </c:pt>
                <c:pt idx="4704">
                  <c:v>1214503</c:v>
                </c:pt>
                <c:pt idx="4705">
                  <c:v>1214427</c:v>
                </c:pt>
                <c:pt idx="4706">
                  <c:v>1214306</c:v>
                </c:pt>
                <c:pt idx="4707">
                  <c:v>1214155</c:v>
                </c:pt>
                <c:pt idx="4708">
                  <c:v>1214116</c:v>
                </c:pt>
                <c:pt idx="4709">
                  <c:v>1214110</c:v>
                </c:pt>
                <c:pt idx="4710">
                  <c:v>1214077</c:v>
                </c:pt>
                <c:pt idx="4711">
                  <c:v>1213935</c:v>
                </c:pt>
                <c:pt idx="4712">
                  <c:v>1213907</c:v>
                </c:pt>
                <c:pt idx="4713">
                  <c:v>1213890</c:v>
                </c:pt>
                <c:pt idx="4714">
                  <c:v>1213768</c:v>
                </c:pt>
                <c:pt idx="4715">
                  <c:v>1213721</c:v>
                </c:pt>
                <c:pt idx="4716">
                  <c:v>1213630</c:v>
                </c:pt>
                <c:pt idx="4717">
                  <c:v>1213619</c:v>
                </c:pt>
                <c:pt idx="4718">
                  <c:v>1213507</c:v>
                </c:pt>
                <c:pt idx="4719">
                  <c:v>1213490</c:v>
                </c:pt>
                <c:pt idx="4720">
                  <c:v>1213465</c:v>
                </c:pt>
                <c:pt idx="4721">
                  <c:v>1213456</c:v>
                </c:pt>
                <c:pt idx="4722">
                  <c:v>1213326</c:v>
                </c:pt>
                <c:pt idx="4723">
                  <c:v>1213287</c:v>
                </c:pt>
                <c:pt idx="4724">
                  <c:v>1213200</c:v>
                </c:pt>
                <c:pt idx="4725">
                  <c:v>1213145</c:v>
                </c:pt>
                <c:pt idx="4726">
                  <c:v>1213129</c:v>
                </c:pt>
                <c:pt idx="4727">
                  <c:v>1213084</c:v>
                </c:pt>
                <c:pt idx="4728">
                  <c:v>1212929</c:v>
                </c:pt>
                <c:pt idx="4729">
                  <c:v>1212909</c:v>
                </c:pt>
                <c:pt idx="4730">
                  <c:v>1212898</c:v>
                </c:pt>
                <c:pt idx="4731">
                  <c:v>1212887</c:v>
                </c:pt>
                <c:pt idx="4732">
                  <c:v>1212884</c:v>
                </c:pt>
                <c:pt idx="4733">
                  <c:v>1212843</c:v>
                </c:pt>
                <c:pt idx="4734">
                  <c:v>1212707</c:v>
                </c:pt>
                <c:pt idx="4735">
                  <c:v>1212619</c:v>
                </c:pt>
                <c:pt idx="4736">
                  <c:v>1212575</c:v>
                </c:pt>
                <c:pt idx="4737">
                  <c:v>1212559</c:v>
                </c:pt>
                <c:pt idx="4738">
                  <c:v>1212544</c:v>
                </c:pt>
                <c:pt idx="4739">
                  <c:v>1212494</c:v>
                </c:pt>
                <c:pt idx="4740">
                  <c:v>1212464</c:v>
                </c:pt>
                <c:pt idx="4741">
                  <c:v>1212303</c:v>
                </c:pt>
                <c:pt idx="4742">
                  <c:v>1212285</c:v>
                </c:pt>
                <c:pt idx="4743">
                  <c:v>1212261</c:v>
                </c:pt>
                <c:pt idx="4744">
                  <c:v>1212227</c:v>
                </c:pt>
                <c:pt idx="4745">
                  <c:v>1211947</c:v>
                </c:pt>
                <c:pt idx="4746">
                  <c:v>1211907</c:v>
                </c:pt>
                <c:pt idx="4747">
                  <c:v>1211863</c:v>
                </c:pt>
                <c:pt idx="4748">
                  <c:v>1211841</c:v>
                </c:pt>
                <c:pt idx="4749">
                  <c:v>1211840</c:v>
                </c:pt>
                <c:pt idx="4750">
                  <c:v>1211832</c:v>
                </c:pt>
                <c:pt idx="4751">
                  <c:v>1211753</c:v>
                </c:pt>
                <c:pt idx="4752">
                  <c:v>1211604</c:v>
                </c:pt>
                <c:pt idx="4753">
                  <c:v>1211531</c:v>
                </c:pt>
                <c:pt idx="4754">
                  <c:v>1211479</c:v>
                </c:pt>
                <c:pt idx="4755">
                  <c:v>1211464</c:v>
                </c:pt>
                <c:pt idx="4756">
                  <c:v>1211451</c:v>
                </c:pt>
                <c:pt idx="4757">
                  <c:v>1211443</c:v>
                </c:pt>
                <c:pt idx="4758">
                  <c:v>1211433</c:v>
                </c:pt>
                <c:pt idx="4759">
                  <c:v>1211410</c:v>
                </c:pt>
                <c:pt idx="4760">
                  <c:v>1211409</c:v>
                </c:pt>
                <c:pt idx="4761">
                  <c:v>1211382</c:v>
                </c:pt>
                <c:pt idx="4762">
                  <c:v>1211343</c:v>
                </c:pt>
                <c:pt idx="4763">
                  <c:v>1211343</c:v>
                </c:pt>
                <c:pt idx="4764">
                  <c:v>1211192</c:v>
                </c:pt>
                <c:pt idx="4765">
                  <c:v>1211181</c:v>
                </c:pt>
                <c:pt idx="4766">
                  <c:v>1211147</c:v>
                </c:pt>
                <c:pt idx="4767">
                  <c:v>1211141</c:v>
                </c:pt>
                <c:pt idx="4768">
                  <c:v>1211114</c:v>
                </c:pt>
                <c:pt idx="4769">
                  <c:v>1211002</c:v>
                </c:pt>
                <c:pt idx="4770">
                  <c:v>1210997</c:v>
                </c:pt>
                <c:pt idx="4771">
                  <c:v>1210967</c:v>
                </c:pt>
                <c:pt idx="4772">
                  <c:v>1210830</c:v>
                </c:pt>
                <c:pt idx="4773">
                  <c:v>1210764</c:v>
                </c:pt>
                <c:pt idx="4774">
                  <c:v>1210679</c:v>
                </c:pt>
                <c:pt idx="4775">
                  <c:v>1210663</c:v>
                </c:pt>
                <c:pt idx="4776">
                  <c:v>1210595</c:v>
                </c:pt>
                <c:pt idx="4777">
                  <c:v>1210411</c:v>
                </c:pt>
                <c:pt idx="4778">
                  <c:v>1210362</c:v>
                </c:pt>
                <c:pt idx="4779">
                  <c:v>1210258</c:v>
                </c:pt>
                <c:pt idx="4780">
                  <c:v>1210070</c:v>
                </c:pt>
                <c:pt idx="4781">
                  <c:v>1210063</c:v>
                </c:pt>
                <c:pt idx="4782">
                  <c:v>1209984</c:v>
                </c:pt>
                <c:pt idx="4783">
                  <c:v>1209883</c:v>
                </c:pt>
                <c:pt idx="4784">
                  <c:v>1209832</c:v>
                </c:pt>
                <c:pt idx="4785">
                  <c:v>1209828</c:v>
                </c:pt>
                <c:pt idx="4786">
                  <c:v>1209805</c:v>
                </c:pt>
                <c:pt idx="4787">
                  <c:v>1209777</c:v>
                </c:pt>
                <c:pt idx="4788">
                  <c:v>1209730</c:v>
                </c:pt>
                <c:pt idx="4789">
                  <c:v>1209709</c:v>
                </c:pt>
                <c:pt idx="4790">
                  <c:v>1209662</c:v>
                </c:pt>
                <c:pt idx="4791">
                  <c:v>1209635</c:v>
                </c:pt>
                <c:pt idx="4792">
                  <c:v>1209588</c:v>
                </c:pt>
                <c:pt idx="4793">
                  <c:v>1209437</c:v>
                </c:pt>
                <c:pt idx="4794">
                  <c:v>1209402</c:v>
                </c:pt>
                <c:pt idx="4795">
                  <c:v>1209256</c:v>
                </c:pt>
                <c:pt idx="4796">
                  <c:v>1209168</c:v>
                </c:pt>
                <c:pt idx="4797">
                  <c:v>1209156</c:v>
                </c:pt>
                <c:pt idx="4798">
                  <c:v>1209154</c:v>
                </c:pt>
                <c:pt idx="4799">
                  <c:v>1209140</c:v>
                </c:pt>
                <c:pt idx="4800">
                  <c:v>1209020</c:v>
                </c:pt>
                <c:pt idx="4801">
                  <c:v>1208955</c:v>
                </c:pt>
                <c:pt idx="4802">
                  <c:v>1208896</c:v>
                </c:pt>
                <c:pt idx="4803">
                  <c:v>1208775</c:v>
                </c:pt>
                <c:pt idx="4804">
                  <c:v>1208727</c:v>
                </c:pt>
                <c:pt idx="4805">
                  <c:v>1208561</c:v>
                </c:pt>
                <c:pt idx="4806">
                  <c:v>1208544</c:v>
                </c:pt>
                <c:pt idx="4807">
                  <c:v>1208503</c:v>
                </c:pt>
                <c:pt idx="4808">
                  <c:v>1208490</c:v>
                </c:pt>
                <c:pt idx="4809">
                  <c:v>1208427</c:v>
                </c:pt>
                <c:pt idx="4810">
                  <c:v>1208387</c:v>
                </c:pt>
                <c:pt idx="4811">
                  <c:v>1208363</c:v>
                </c:pt>
                <c:pt idx="4812">
                  <c:v>1208340</c:v>
                </c:pt>
                <c:pt idx="4813">
                  <c:v>1208211</c:v>
                </c:pt>
                <c:pt idx="4814">
                  <c:v>1208145</c:v>
                </c:pt>
                <c:pt idx="4815">
                  <c:v>1208110</c:v>
                </c:pt>
                <c:pt idx="4816">
                  <c:v>1208103</c:v>
                </c:pt>
                <c:pt idx="4817">
                  <c:v>1208089</c:v>
                </c:pt>
                <c:pt idx="4818">
                  <c:v>1208035</c:v>
                </c:pt>
                <c:pt idx="4819">
                  <c:v>1207511</c:v>
                </c:pt>
                <c:pt idx="4820">
                  <c:v>1207422</c:v>
                </c:pt>
                <c:pt idx="4821">
                  <c:v>1207378</c:v>
                </c:pt>
                <c:pt idx="4822">
                  <c:v>1207376</c:v>
                </c:pt>
                <c:pt idx="4823">
                  <c:v>1207349</c:v>
                </c:pt>
                <c:pt idx="4824">
                  <c:v>1207326</c:v>
                </c:pt>
                <c:pt idx="4825">
                  <c:v>1207293</c:v>
                </c:pt>
                <c:pt idx="4826">
                  <c:v>1207105</c:v>
                </c:pt>
                <c:pt idx="4827">
                  <c:v>1207025</c:v>
                </c:pt>
                <c:pt idx="4828">
                  <c:v>1207022</c:v>
                </c:pt>
                <c:pt idx="4829">
                  <c:v>1207018</c:v>
                </c:pt>
                <c:pt idx="4830">
                  <c:v>1207013</c:v>
                </c:pt>
                <c:pt idx="4831">
                  <c:v>1206917</c:v>
                </c:pt>
                <c:pt idx="4832">
                  <c:v>1206740</c:v>
                </c:pt>
                <c:pt idx="4833">
                  <c:v>1206680</c:v>
                </c:pt>
                <c:pt idx="4834">
                  <c:v>1206652</c:v>
                </c:pt>
                <c:pt idx="4835">
                  <c:v>1206621</c:v>
                </c:pt>
                <c:pt idx="4836">
                  <c:v>1206584</c:v>
                </c:pt>
                <c:pt idx="4837">
                  <c:v>1206482</c:v>
                </c:pt>
                <c:pt idx="4838">
                  <c:v>1206464</c:v>
                </c:pt>
                <c:pt idx="4839">
                  <c:v>1206462</c:v>
                </c:pt>
                <c:pt idx="4840">
                  <c:v>1206429</c:v>
                </c:pt>
                <c:pt idx="4841">
                  <c:v>1206407</c:v>
                </c:pt>
                <c:pt idx="4842">
                  <c:v>1206315</c:v>
                </c:pt>
                <c:pt idx="4843">
                  <c:v>1206245</c:v>
                </c:pt>
                <c:pt idx="4844">
                  <c:v>1206231</c:v>
                </c:pt>
                <c:pt idx="4845">
                  <c:v>1206142</c:v>
                </c:pt>
                <c:pt idx="4846">
                  <c:v>1206031</c:v>
                </c:pt>
                <c:pt idx="4847">
                  <c:v>1205801</c:v>
                </c:pt>
                <c:pt idx="4848">
                  <c:v>1205765</c:v>
                </c:pt>
                <c:pt idx="4849">
                  <c:v>1205667</c:v>
                </c:pt>
                <c:pt idx="4850">
                  <c:v>1205603</c:v>
                </c:pt>
                <c:pt idx="4851">
                  <c:v>1205540</c:v>
                </c:pt>
                <c:pt idx="4852">
                  <c:v>1205434</c:v>
                </c:pt>
                <c:pt idx="4853">
                  <c:v>1205352</c:v>
                </c:pt>
                <c:pt idx="4854">
                  <c:v>1205335</c:v>
                </c:pt>
                <c:pt idx="4855">
                  <c:v>1205310</c:v>
                </c:pt>
                <c:pt idx="4856">
                  <c:v>1205270</c:v>
                </c:pt>
                <c:pt idx="4857">
                  <c:v>1205246</c:v>
                </c:pt>
                <c:pt idx="4858">
                  <c:v>1205127</c:v>
                </c:pt>
                <c:pt idx="4859">
                  <c:v>1205121</c:v>
                </c:pt>
                <c:pt idx="4860">
                  <c:v>1205103</c:v>
                </c:pt>
                <c:pt idx="4861">
                  <c:v>1205092</c:v>
                </c:pt>
                <c:pt idx="4862">
                  <c:v>1205057</c:v>
                </c:pt>
                <c:pt idx="4863">
                  <c:v>1205050</c:v>
                </c:pt>
                <c:pt idx="4864">
                  <c:v>1204987</c:v>
                </c:pt>
                <c:pt idx="4865">
                  <c:v>1204969</c:v>
                </c:pt>
                <c:pt idx="4866">
                  <c:v>1204876</c:v>
                </c:pt>
                <c:pt idx="4867">
                  <c:v>1204874</c:v>
                </c:pt>
                <c:pt idx="4868">
                  <c:v>1204791</c:v>
                </c:pt>
                <c:pt idx="4869">
                  <c:v>1204777</c:v>
                </c:pt>
                <c:pt idx="4870">
                  <c:v>1204728</c:v>
                </c:pt>
                <c:pt idx="4871">
                  <c:v>1204726</c:v>
                </c:pt>
                <c:pt idx="4872">
                  <c:v>1204719</c:v>
                </c:pt>
                <c:pt idx="4873">
                  <c:v>1204670</c:v>
                </c:pt>
                <c:pt idx="4874">
                  <c:v>1204658</c:v>
                </c:pt>
                <c:pt idx="4875">
                  <c:v>1204620</c:v>
                </c:pt>
                <c:pt idx="4876">
                  <c:v>1204513</c:v>
                </c:pt>
                <c:pt idx="4877">
                  <c:v>1204447</c:v>
                </c:pt>
                <c:pt idx="4878">
                  <c:v>1204349</c:v>
                </c:pt>
                <c:pt idx="4879">
                  <c:v>1204334</c:v>
                </c:pt>
                <c:pt idx="4880">
                  <c:v>1204320</c:v>
                </c:pt>
                <c:pt idx="4881">
                  <c:v>1204294</c:v>
                </c:pt>
                <c:pt idx="4882">
                  <c:v>1204277</c:v>
                </c:pt>
                <c:pt idx="4883">
                  <c:v>1204238</c:v>
                </c:pt>
                <c:pt idx="4884">
                  <c:v>1204188</c:v>
                </c:pt>
                <c:pt idx="4885">
                  <c:v>1204116</c:v>
                </c:pt>
                <c:pt idx="4886">
                  <c:v>1203967</c:v>
                </c:pt>
                <c:pt idx="4887">
                  <c:v>1203926</c:v>
                </c:pt>
                <c:pt idx="4888">
                  <c:v>1203871</c:v>
                </c:pt>
                <c:pt idx="4889">
                  <c:v>1203722</c:v>
                </c:pt>
                <c:pt idx="4890">
                  <c:v>1203680</c:v>
                </c:pt>
                <c:pt idx="4891">
                  <c:v>1203578</c:v>
                </c:pt>
                <c:pt idx="4892">
                  <c:v>1203491</c:v>
                </c:pt>
                <c:pt idx="4893">
                  <c:v>1203439</c:v>
                </c:pt>
                <c:pt idx="4894">
                  <c:v>1203286</c:v>
                </c:pt>
                <c:pt idx="4895">
                  <c:v>1203260</c:v>
                </c:pt>
                <c:pt idx="4896">
                  <c:v>1203227</c:v>
                </c:pt>
                <c:pt idx="4897">
                  <c:v>1203191</c:v>
                </c:pt>
                <c:pt idx="4898">
                  <c:v>1203021</c:v>
                </c:pt>
                <c:pt idx="4899">
                  <c:v>1202870</c:v>
                </c:pt>
                <c:pt idx="4900">
                  <c:v>1202819</c:v>
                </c:pt>
                <c:pt idx="4901">
                  <c:v>1202622</c:v>
                </c:pt>
                <c:pt idx="4902">
                  <c:v>1202595</c:v>
                </c:pt>
                <c:pt idx="4903">
                  <c:v>1202588</c:v>
                </c:pt>
                <c:pt idx="4904">
                  <c:v>1202539</c:v>
                </c:pt>
                <c:pt idx="4905">
                  <c:v>1202490</c:v>
                </c:pt>
                <c:pt idx="4906">
                  <c:v>1202470</c:v>
                </c:pt>
                <c:pt idx="4907">
                  <c:v>1202428</c:v>
                </c:pt>
                <c:pt idx="4908">
                  <c:v>1202382</c:v>
                </c:pt>
                <c:pt idx="4909">
                  <c:v>1202255</c:v>
                </c:pt>
                <c:pt idx="4910">
                  <c:v>1202209</c:v>
                </c:pt>
                <c:pt idx="4911">
                  <c:v>1202195</c:v>
                </c:pt>
                <c:pt idx="4912">
                  <c:v>1202142</c:v>
                </c:pt>
                <c:pt idx="4913">
                  <c:v>1202137</c:v>
                </c:pt>
                <c:pt idx="4914">
                  <c:v>1202111</c:v>
                </c:pt>
                <c:pt idx="4915">
                  <c:v>1201913</c:v>
                </c:pt>
                <c:pt idx="4916">
                  <c:v>1201848</c:v>
                </c:pt>
                <c:pt idx="4917">
                  <c:v>1201831</c:v>
                </c:pt>
                <c:pt idx="4918">
                  <c:v>1201703</c:v>
                </c:pt>
                <c:pt idx="4919">
                  <c:v>1201657</c:v>
                </c:pt>
                <c:pt idx="4920">
                  <c:v>1201616</c:v>
                </c:pt>
                <c:pt idx="4921">
                  <c:v>1201529</c:v>
                </c:pt>
                <c:pt idx="4922">
                  <c:v>1201505</c:v>
                </c:pt>
                <c:pt idx="4923">
                  <c:v>1201393</c:v>
                </c:pt>
                <c:pt idx="4924">
                  <c:v>1201311</c:v>
                </c:pt>
                <c:pt idx="4925">
                  <c:v>1201256</c:v>
                </c:pt>
                <c:pt idx="4926">
                  <c:v>1201210</c:v>
                </c:pt>
                <c:pt idx="4927">
                  <c:v>1201082</c:v>
                </c:pt>
                <c:pt idx="4928">
                  <c:v>1201062</c:v>
                </c:pt>
                <c:pt idx="4929">
                  <c:v>1201044</c:v>
                </c:pt>
                <c:pt idx="4930">
                  <c:v>1201012</c:v>
                </c:pt>
                <c:pt idx="4931">
                  <c:v>1200898</c:v>
                </c:pt>
                <c:pt idx="4932">
                  <c:v>1200832</c:v>
                </c:pt>
                <c:pt idx="4933">
                  <c:v>1200687</c:v>
                </c:pt>
                <c:pt idx="4934">
                  <c:v>1200661</c:v>
                </c:pt>
                <c:pt idx="4935">
                  <c:v>1200652</c:v>
                </c:pt>
                <c:pt idx="4936">
                  <c:v>1200522</c:v>
                </c:pt>
                <c:pt idx="4937">
                  <c:v>1200482</c:v>
                </c:pt>
                <c:pt idx="4938">
                  <c:v>1200428</c:v>
                </c:pt>
                <c:pt idx="4939">
                  <c:v>1200420</c:v>
                </c:pt>
                <c:pt idx="4940">
                  <c:v>1200361</c:v>
                </c:pt>
                <c:pt idx="4941">
                  <c:v>1200346</c:v>
                </c:pt>
                <c:pt idx="4942">
                  <c:v>1200228</c:v>
                </c:pt>
                <c:pt idx="4943">
                  <c:v>1200120</c:v>
                </c:pt>
                <c:pt idx="4944">
                  <c:v>1200052</c:v>
                </c:pt>
                <c:pt idx="4945">
                  <c:v>1200026</c:v>
                </c:pt>
                <c:pt idx="4946">
                  <c:v>1199927</c:v>
                </c:pt>
                <c:pt idx="4947">
                  <c:v>1199915</c:v>
                </c:pt>
                <c:pt idx="4948">
                  <c:v>1199851</c:v>
                </c:pt>
                <c:pt idx="4949">
                  <c:v>1199796</c:v>
                </c:pt>
                <c:pt idx="4950">
                  <c:v>1199720</c:v>
                </c:pt>
                <c:pt idx="4951">
                  <c:v>1199626</c:v>
                </c:pt>
                <c:pt idx="4952">
                  <c:v>1199614</c:v>
                </c:pt>
                <c:pt idx="4953">
                  <c:v>1199569</c:v>
                </c:pt>
                <c:pt idx="4954">
                  <c:v>1199452</c:v>
                </c:pt>
                <c:pt idx="4955">
                  <c:v>1199423</c:v>
                </c:pt>
                <c:pt idx="4956">
                  <c:v>1199380</c:v>
                </c:pt>
                <c:pt idx="4957">
                  <c:v>1199266</c:v>
                </c:pt>
                <c:pt idx="4958">
                  <c:v>1199233</c:v>
                </c:pt>
                <c:pt idx="4959">
                  <c:v>1199165</c:v>
                </c:pt>
                <c:pt idx="4960">
                  <c:v>1199145</c:v>
                </c:pt>
                <c:pt idx="4961">
                  <c:v>1199113</c:v>
                </c:pt>
                <c:pt idx="4962">
                  <c:v>1199094</c:v>
                </c:pt>
                <c:pt idx="4963">
                  <c:v>1199019</c:v>
                </c:pt>
                <c:pt idx="4964">
                  <c:v>1198979</c:v>
                </c:pt>
                <c:pt idx="4965">
                  <c:v>1198691</c:v>
                </c:pt>
                <c:pt idx="4966">
                  <c:v>1198682</c:v>
                </c:pt>
                <c:pt idx="4967">
                  <c:v>1198556</c:v>
                </c:pt>
                <c:pt idx="4968">
                  <c:v>1198553</c:v>
                </c:pt>
                <c:pt idx="4969">
                  <c:v>1198522</c:v>
                </c:pt>
                <c:pt idx="4970">
                  <c:v>1198464</c:v>
                </c:pt>
                <c:pt idx="4971">
                  <c:v>1198382</c:v>
                </c:pt>
                <c:pt idx="4972">
                  <c:v>1198374</c:v>
                </c:pt>
                <c:pt idx="4973">
                  <c:v>1198314</c:v>
                </c:pt>
                <c:pt idx="4974">
                  <c:v>1198303</c:v>
                </c:pt>
                <c:pt idx="4975">
                  <c:v>1198161</c:v>
                </c:pt>
                <c:pt idx="4976">
                  <c:v>1198070</c:v>
                </c:pt>
                <c:pt idx="4977">
                  <c:v>1198044</c:v>
                </c:pt>
                <c:pt idx="4978">
                  <c:v>1198023</c:v>
                </c:pt>
                <c:pt idx="4979">
                  <c:v>1197990</c:v>
                </c:pt>
                <c:pt idx="4980">
                  <c:v>1197964</c:v>
                </c:pt>
                <c:pt idx="4981">
                  <c:v>1197925</c:v>
                </c:pt>
                <c:pt idx="4982">
                  <c:v>1197858</c:v>
                </c:pt>
                <c:pt idx="4983">
                  <c:v>1197829</c:v>
                </c:pt>
                <c:pt idx="4984">
                  <c:v>1197768</c:v>
                </c:pt>
                <c:pt idx="4985">
                  <c:v>1197709</c:v>
                </c:pt>
                <c:pt idx="4986">
                  <c:v>1197660</c:v>
                </c:pt>
                <c:pt idx="4987">
                  <c:v>1197569</c:v>
                </c:pt>
                <c:pt idx="4988">
                  <c:v>1197443</c:v>
                </c:pt>
                <c:pt idx="4989">
                  <c:v>1197414</c:v>
                </c:pt>
                <c:pt idx="4990">
                  <c:v>1197301</c:v>
                </c:pt>
                <c:pt idx="4991">
                  <c:v>1197252</c:v>
                </c:pt>
                <c:pt idx="4992">
                  <c:v>1197128</c:v>
                </c:pt>
                <c:pt idx="4993">
                  <c:v>1197079</c:v>
                </c:pt>
                <c:pt idx="4994">
                  <c:v>1197037</c:v>
                </c:pt>
                <c:pt idx="4995">
                  <c:v>1196972</c:v>
                </c:pt>
                <c:pt idx="4996">
                  <c:v>1196966</c:v>
                </c:pt>
                <c:pt idx="4997">
                  <c:v>1196940</c:v>
                </c:pt>
                <c:pt idx="4998">
                  <c:v>1196900</c:v>
                </c:pt>
                <c:pt idx="4999">
                  <c:v>1196839</c:v>
                </c:pt>
                <c:pt idx="5000">
                  <c:v>1196789</c:v>
                </c:pt>
                <c:pt idx="5001">
                  <c:v>1196745</c:v>
                </c:pt>
                <c:pt idx="5002">
                  <c:v>1196739</c:v>
                </c:pt>
                <c:pt idx="5003">
                  <c:v>1196658</c:v>
                </c:pt>
                <c:pt idx="5004">
                  <c:v>1196627</c:v>
                </c:pt>
                <c:pt idx="5005">
                  <c:v>1196582</c:v>
                </c:pt>
                <c:pt idx="5006">
                  <c:v>1196573</c:v>
                </c:pt>
                <c:pt idx="5007">
                  <c:v>1196554</c:v>
                </c:pt>
                <c:pt idx="5008">
                  <c:v>1196496</c:v>
                </c:pt>
                <c:pt idx="5009">
                  <c:v>1196470</c:v>
                </c:pt>
                <c:pt idx="5010">
                  <c:v>1196425</c:v>
                </c:pt>
                <c:pt idx="5011">
                  <c:v>1196419</c:v>
                </c:pt>
                <c:pt idx="5012">
                  <c:v>1196397</c:v>
                </c:pt>
                <c:pt idx="5013">
                  <c:v>1196379</c:v>
                </c:pt>
                <c:pt idx="5014">
                  <c:v>1196250</c:v>
                </c:pt>
                <c:pt idx="5015">
                  <c:v>1196079</c:v>
                </c:pt>
                <c:pt idx="5016">
                  <c:v>1196076</c:v>
                </c:pt>
                <c:pt idx="5017">
                  <c:v>1196035</c:v>
                </c:pt>
                <c:pt idx="5018">
                  <c:v>1196026</c:v>
                </c:pt>
                <c:pt idx="5019">
                  <c:v>1196013</c:v>
                </c:pt>
                <c:pt idx="5020">
                  <c:v>1195984</c:v>
                </c:pt>
                <c:pt idx="5021">
                  <c:v>1195949</c:v>
                </c:pt>
                <c:pt idx="5022">
                  <c:v>1195932</c:v>
                </c:pt>
                <c:pt idx="5023">
                  <c:v>1195835</c:v>
                </c:pt>
                <c:pt idx="5024">
                  <c:v>1195767</c:v>
                </c:pt>
                <c:pt idx="5025">
                  <c:v>1195692</c:v>
                </c:pt>
                <c:pt idx="5026">
                  <c:v>1195690</c:v>
                </c:pt>
                <c:pt idx="5027">
                  <c:v>1195575</c:v>
                </c:pt>
                <c:pt idx="5028">
                  <c:v>1195314</c:v>
                </c:pt>
                <c:pt idx="5029">
                  <c:v>1195284</c:v>
                </c:pt>
                <c:pt idx="5030">
                  <c:v>1195260</c:v>
                </c:pt>
                <c:pt idx="5031">
                  <c:v>1195185</c:v>
                </c:pt>
                <c:pt idx="5032">
                  <c:v>1195157</c:v>
                </c:pt>
                <c:pt idx="5033">
                  <c:v>1194951</c:v>
                </c:pt>
                <c:pt idx="5034">
                  <c:v>1194815</c:v>
                </c:pt>
                <c:pt idx="5035">
                  <c:v>1194682</c:v>
                </c:pt>
                <c:pt idx="5036">
                  <c:v>1194669</c:v>
                </c:pt>
                <c:pt idx="5037">
                  <c:v>1194565</c:v>
                </c:pt>
                <c:pt idx="5038">
                  <c:v>1194565</c:v>
                </c:pt>
                <c:pt idx="5039">
                  <c:v>1194560</c:v>
                </c:pt>
                <c:pt idx="5040">
                  <c:v>1194340</c:v>
                </c:pt>
                <c:pt idx="5041">
                  <c:v>1194333</c:v>
                </c:pt>
                <c:pt idx="5042">
                  <c:v>1194328</c:v>
                </c:pt>
                <c:pt idx="5043">
                  <c:v>1194310</c:v>
                </c:pt>
                <c:pt idx="5044">
                  <c:v>1194141</c:v>
                </c:pt>
                <c:pt idx="5045">
                  <c:v>1194089</c:v>
                </c:pt>
                <c:pt idx="5046">
                  <c:v>1194038</c:v>
                </c:pt>
                <c:pt idx="5047">
                  <c:v>1194028</c:v>
                </c:pt>
                <c:pt idx="5048">
                  <c:v>1193877</c:v>
                </c:pt>
                <c:pt idx="5049">
                  <c:v>1193780</c:v>
                </c:pt>
                <c:pt idx="5050">
                  <c:v>1193765</c:v>
                </c:pt>
                <c:pt idx="5051">
                  <c:v>1193712</c:v>
                </c:pt>
                <c:pt idx="5052">
                  <c:v>1193663</c:v>
                </c:pt>
                <c:pt idx="5053">
                  <c:v>1193632</c:v>
                </c:pt>
                <c:pt idx="5054">
                  <c:v>1193622</c:v>
                </c:pt>
                <c:pt idx="5055">
                  <c:v>1193611</c:v>
                </c:pt>
                <c:pt idx="5056">
                  <c:v>1193609</c:v>
                </c:pt>
                <c:pt idx="5057">
                  <c:v>1193592</c:v>
                </c:pt>
                <c:pt idx="5058">
                  <c:v>1193567</c:v>
                </c:pt>
                <c:pt idx="5059">
                  <c:v>1193428</c:v>
                </c:pt>
                <c:pt idx="5060">
                  <c:v>1193280</c:v>
                </c:pt>
                <c:pt idx="5061">
                  <c:v>1193247</c:v>
                </c:pt>
                <c:pt idx="5062">
                  <c:v>1193052</c:v>
                </c:pt>
                <c:pt idx="5063">
                  <c:v>1192957</c:v>
                </c:pt>
                <c:pt idx="5064">
                  <c:v>1192913</c:v>
                </c:pt>
                <c:pt idx="5065">
                  <c:v>1192889</c:v>
                </c:pt>
                <c:pt idx="5066">
                  <c:v>1192863</c:v>
                </c:pt>
                <c:pt idx="5067">
                  <c:v>1192743</c:v>
                </c:pt>
                <c:pt idx="5068">
                  <c:v>1192733</c:v>
                </c:pt>
                <c:pt idx="5069">
                  <c:v>1192458</c:v>
                </c:pt>
                <c:pt idx="5070">
                  <c:v>1192446</c:v>
                </c:pt>
                <c:pt idx="5071">
                  <c:v>1192407</c:v>
                </c:pt>
                <c:pt idx="5072">
                  <c:v>1192395</c:v>
                </c:pt>
                <c:pt idx="5073">
                  <c:v>1192376</c:v>
                </c:pt>
                <c:pt idx="5074">
                  <c:v>1192371</c:v>
                </c:pt>
                <c:pt idx="5075">
                  <c:v>1192203</c:v>
                </c:pt>
                <c:pt idx="5076">
                  <c:v>1192162</c:v>
                </c:pt>
                <c:pt idx="5077">
                  <c:v>1192128</c:v>
                </c:pt>
                <c:pt idx="5078">
                  <c:v>1191988</c:v>
                </c:pt>
                <c:pt idx="5079">
                  <c:v>1191977</c:v>
                </c:pt>
                <c:pt idx="5080">
                  <c:v>1191852</c:v>
                </c:pt>
                <c:pt idx="5081">
                  <c:v>1191838</c:v>
                </c:pt>
                <c:pt idx="5082">
                  <c:v>1191620</c:v>
                </c:pt>
                <c:pt idx="5083">
                  <c:v>1191527</c:v>
                </c:pt>
                <c:pt idx="5084">
                  <c:v>1191405</c:v>
                </c:pt>
                <c:pt idx="5085">
                  <c:v>1191315</c:v>
                </c:pt>
                <c:pt idx="5086">
                  <c:v>1191258</c:v>
                </c:pt>
                <c:pt idx="5087">
                  <c:v>1191215</c:v>
                </c:pt>
                <c:pt idx="5088">
                  <c:v>1191144</c:v>
                </c:pt>
                <c:pt idx="5089">
                  <c:v>1191114</c:v>
                </c:pt>
                <c:pt idx="5090">
                  <c:v>1191065</c:v>
                </c:pt>
                <c:pt idx="5091">
                  <c:v>1191056</c:v>
                </c:pt>
                <c:pt idx="5092">
                  <c:v>1190999</c:v>
                </c:pt>
                <c:pt idx="5093">
                  <c:v>1190932</c:v>
                </c:pt>
                <c:pt idx="5094">
                  <c:v>1190925</c:v>
                </c:pt>
                <c:pt idx="5095">
                  <c:v>1190869</c:v>
                </c:pt>
                <c:pt idx="5096">
                  <c:v>1190869</c:v>
                </c:pt>
                <c:pt idx="5097">
                  <c:v>1190702</c:v>
                </c:pt>
                <c:pt idx="5098">
                  <c:v>1190699</c:v>
                </c:pt>
                <c:pt idx="5099">
                  <c:v>1190597</c:v>
                </c:pt>
                <c:pt idx="5100">
                  <c:v>1190554</c:v>
                </c:pt>
                <c:pt idx="5101">
                  <c:v>1190527</c:v>
                </c:pt>
                <c:pt idx="5102">
                  <c:v>1190459</c:v>
                </c:pt>
                <c:pt idx="5103">
                  <c:v>1190408</c:v>
                </c:pt>
                <c:pt idx="5104">
                  <c:v>1190281</c:v>
                </c:pt>
                <c:pt idx="5105">
                  <c:v>1190257</c:v>
                </c:pt>
                <c:pt idx="5106">
                  <c:v>1190248</c:v>
                </c:pt>
                <c:pt idx="5107">
                  <c:v>1190221</c:v>
                </c:pt>
                <c:pt idx="5108">
                  <c:v>1190146</c:v>
                </c:pt>
                <c:pt idx="5109">
                  <c:v>1190146</c:v>
                </c:pt>
                <c:pt idx="5110">
                  <c:v>1190144</c:v>
                </c:pt>
                <c:pt idx="5111">
                  <c:v>1190124</c:v>
                </c:pt>
                <c:pt idx="5112">
                  <c:v>1190069</c:v>
                </c:pt>
                <c:pt idx="5113">
                  <c:v>1189975</c:v>
                </c:pt>
                <c:pt idx="5114">
                  <c:v>1189762</c:v>
                </c:pt>
                <c:pt idx="5115">
                  <c:v>1189709</c:v>
                </c:pt>
                <c:pt idx="5116">
                  <c:v>1189613</c:v>
                </c:pt>
                <c:pt idx="5117">
                  <c:v>1189522</c:v>
                </c:pt>
                <c:pt idx="5118">
                  <c:v>1189505</c:v>
                </c:pt>
                <c:pt idx="5119">
                  <c:v>1189504</c:v>
                </c:pt>
                <c:pt idx="5120">
                  <c:v>1189493</c:v>
                </c:pt>
                <c:pt idx="5121">
                  <c:v>1189451</c:v>
                </c:pt>
                <c:pt idx="5122">
                  <c:v>1189440</c:v>
                </c:pt>
                <c:pt idx="5123">
                  <c:v>1189331</c:v>
                </c:pt>
                <c:pt idx="5124">
                  <c:v>1189248</c:v>
                </c:pt>
                <c:pt idx="5125">
                  <c:v>1189228</c:v>
                </c:pt>
                <c:pt idx="5126">
                  <c:v>1189228</c:v>
                </c:pt>
                <c:pt idx="5127">
                  <c:v>1189205</c:v>
                </c:pt>
                <c:pt idx="5128">
                  <c:v>1189164</c:v>
                </c:pt>
                <c:pt idx="5129">
                  <c:v>1189150</c:v>
                </c:pt>
                <c:pt idx="5130">
                  <c:v>1188990</c:v>
                </c:pt>
                <c:pt idx="5131">
                  <c:v>1188887</c:v>
                </c:pt>
                <c:pt idx="5132">
                  <c:v>1188870</c:v>
                </c:pt>
                <c:pt idx="5133">
                  <c:v>1188809</c:v>
                </c:pt>
                <c:pt idx="5134">
                  <c:v>1188770</c:v>
                </c:pt>
                <c:pt idx="5135">
                  <c:v>1188769</c:v>
                </c:pt>
                <c:pt idx="5136">
                  <c:v>1188678</c:v>
                </c:pt>
                <c:pt idx="5137">
                  <c:v>1188639</c:v>
                </c:pt>
                <c:pt idx="5138">
                  <c:v>1188632</c:v>
                </c:pt>
                <c:pt idx="5139">
                  <c:v>1188550</c:v>
                </c:pt>
                <c:pt idx="5140">
                  <c:v>1188436</c:v>
                </c:pt>
                <c:pt idx="5141">
                  <c:v>1188429</c:v>
                </c:pt>
                <c:pt idx="5142">
                  <c:v>1188429</c:v>
                </c:pt>
                <c:pt idx="5143">
                  <c:v>1188356</c:v>
                </c:pt>
                <c:pt idx="5144">
                  <c:v>1188306</c:v>
                </c:pt>
                <c:pt idx="5145">
                  <c:v>1188291</c:v>
                </c:pt>
                <c:pt idx="5146">
                  <c:v>1188234</c:v>
                </c:pt>
                <c:pt idx="5147">
                  <c:v>1188224</c:v>
                </c:pt>
                <c:pt idx="5148">
                  <c:v>1188140</c:v>
                </c:pt>
                <c:pt idx="5149">
                  <c:v>1188074</c:v>
                </c:pt>
                <c:pt idx="5150">
                  <c:v>1188008</c:v>
                </c:pt>
                <c:pt idx="5151">
                  <c:v>1187979</c:v>
                </c:pt>
                <c:pt idx="5152">
                  <c:v>1187807</c:v>
                </c:pt>
                <c:pt idx="5153">
                  <c:v>1187797</c:v>
                </c:pt>
                <c:pt idx="5154">
                  <c:v>1187791</c:v>
                </c:pt>
                <c:pt idx="5155">
                  <c:v>1187779</c:v>
                </c:pt>
                <c:pt idx="5156">
                  <c:v>1187766</c:v>
                </c:pt>
                <c:pt idx="5157">
                  <c:v>1187734</c:v>
                </c:pt>
                <c:pt idx="5158">
                  <c:v>1187668</c:v>
                </c:pt>
                <c:pt idx="5159">
                  <c:v>1187558</c:v>
                </c:pt>
                <c:pt idx="5160">
                  <c:v>1187530</c:v>
                </c:pt>
                <c:pt idx="5161">
                  <c:v>1187470</c:v>
                </c:pt>
                <c:pt idx="5162">
                  <c:v>1187277</c:v>
                </c:pt>
                <c:pt idx="5163">
                  <c:v>1187226</c:v>
                </c:pt>
                <c:pt idx="5164">
                  <c:v>1187224</c:v>
                </c:pt>
                <c:pt idx="5165">
                  <c:v>1187001</c:v>
                </c:pt>
                <c:pt idx="5166">
                  <c:v>1186936</c:v>
                </c:pt>
                <c:pt idx="5167">
                  <c:v>1186830</c:v>
                </c:pt>
                <c:pt idx="5168">
                  <c:v>1186650</c:v>
                </c:pt>
                <c:pt idx="5169">
                  <c:v>1186638</c:v>
                </c:pt>
                <c:pt idx="5170">
                  <c:v>1186551</c:v>
                </c:pt>
                <c:pt idx="5171">
                  <c:v>1186538</c:v>
                </c:pt>
                <c:pt idx="5172">
                  <c:v>1186527</c:v>
                </c:pt>
                <c:pt idx="5173">
                  <c:v>1186486</c:v>
                </c:pt>
                <c:pt idx="5174">
                  <c:v>1186438</c:v>
                </c:pt>
                <c:pt idx="5175">
                  <c:v>1186020</c:v>
                </c:pt>
                <c:pt idx="5176">
                  <c:v>1185821</c:v>
                </c:pt>
                <c:pt idx="5177">
                  <c:v>1185552</c:v>
                </c:pt>
                <c:pt idx="5178">
                  <c:v>1185552</c:v>
                </c:pt>
                <c:pt idx="5179">
                  <c:v>1185546</c:v>
                </c:pt>
                <c:pt idx="5180">
                  <c:v>1185470</c:v>
                </c:pt>
                <c:pt idx="5181">
                  <c:v>1185448</c:v>
                </c:pt>
                <c:pt idx="5182">
                  <c:v>1185293</c:v>
                </c:pt>
                <c:pt idx="5183">
                  <c:v>1185105</c:v>
                </c:pt>
                <c:pt idx="5184">
                  <c:v>1185061</c:v>
                </c:pt>
                <c:pt idx="5185">
                  <c:v>1184951</c:v>
                </c:pt>
                <c:pt idx="5186">
                  <c:v>1184948</c:v>
                </c:pt>
                <c:pt idx="5187">
                  <c:v>1184894</c:v>
                </c:pt>
                <c:pt idx="5188">
                  <c:v>1184821</c:v>
                </c:pt>
                <c:pt idx="5189">
                  <c:v>1184817</c:v>
                </c:pt>
                <c:pt idx="5190">
                  <c:v>1184795</c:v>
                </c:pt>
                <c:pt idx="5191">
                  <c:v>1184782</c:v>
                </c:pt>
                <c:pt idx="5192">
                  <c:v>1184765</c:v>
                </c:pt>
                <c:pt idx="5193">
                  <c:v>1184664</c:v>
                </c:pt>
                <c:pt idx="5194">
                  <c:v>1184651</c:v>
                </c:pt>
                <c:pt idx="5195">
                  <c:v>1184614</c:v>
                </c:pt>
                <c:pt idx="5196">
                  <c:v>1184520</c:v>
                </c:pt>
                <c:pt idx="5197">
                  <c:v>1184494</c:v>
                </c:pt>
                <c:pt idx="5198">
                  <c:v>1184284</c:v>
                </c:pt>
                <c:pt idx="5199">
                  <c:v>1184185</c:v>
                </c:pt>
                <c:pt idx="5200">
                  <c:v>1184141</c:v>
                </c:pt>
                <c:pt idx="5201">
                  <c:v>1184098</c:v>
                </c:pt>
                <c:pt idx="5202">
                  <c:v>1184003</c:v>
                </c:pt>
                <c:pt idx="5203">
                  <c:v>1183934</c:v>
                </c:pt>
                <c:pt idx="5204">
                  <c:v>1183915</c:v>
                </c:pt>
                <c:pt idx="5205">
                  <c:v>1183788</c:v>
                </c:pt>
                <c:pt idx="5206">
                  <c:v>1183762</c:v>
                </c:pt>
                <c:pt idx="5207">
                  <c:v>1183695</c:v>
                </c:pt>
                <c:pt idx="5208">
                  <c:v>1183575</c:v>
                </c:pt>
                <c:pt idx="5209">
                  <c:v>1183555</c:v>
                </c:pt>
                <c:pt idx="5210">
                  <c:v>1183492</c:v>
                </c:pt>
                <c:pt idx="5211">
                  <c:v>1183447</c:v>
                </c:pt>
                <c:pt idx="5212">
                  <c:v>1183423</c:v>
                </c:pt>
                <c:pt idx="5213">
                  <c:v>1183299</c:v>
                </c:pt>
                <c:pt idx="5214">
                  <c:v>1183279</c:v>
                </c:pt>
                <c:pt idx="5215">
                  <c:v>1183121</c:v>
                </c:pt>
                <c:pt idx="5216">
                  <c:v>1183063</c:v>
                </c:pt>
                <c:pt idx="5217">
                  <c:v>1182936</c:v>
                </c:pt>
                <c:pt idx="5218">
                  <c:v>1182758</c:v>
                </c:pt>
                <c:pt idx="5219">
                  <c:v>1182725</c:v>
                </c:pt>
                <c:pt idx="5220">
                  <c:v>1182717</c:v>
                </c:pt>
                <c:pt idx="5221">
                  <c:v>1182524</c:v>
                </c:pt>
                <c:pt idx="5222">
                  <c:v>1182359</c:v>
                </c:pt>
                <c:pt idx="5223">
                  <c:v>1182191</c:v>
                </c:pt>
                <c:pt idx="5224">
                  <c:v>1182139</c:v>
                </c:pt>
                <c:pt idx="5225">
                  <c:v>1182079</c:v>
                </c:pt>
                <c:pt idx="5226">
                  <c:v>1182032</c:v>
                </c:pt>
                <c:pt idx="5227">
                  <c:v>1182013</c:v>
                </c:pt>
                <c:pt idx="5228">
                  <c:v>1181905</c:v>
                </c:pt>
                <c:pt idx="5229">
                  <c:v>1181864</c:v>
                </c:pt>
                <c:pt idx="5230">
                  <c:v>1181785</c:v>
                </c:pt>
                <c:pt idx="5231">
                  <c:v>1181770</c:v>
                </c:pt>
                <c:pt idx="5232">
                  <c:v>1181645</c:v>
                </c:pt>
                <c:pt idx="5233">
                  <c:v>1181621</c:v>
                </c:pt>
                <c:pt idx="5234">
                  <c:v>1181621</c:v>
                </c:pt>
                <c:pt idx="5235">
                  <c:v>1181579</c:v>
                </c:pt>
                <c:pt idx="5236">
                  <c:v>1181536</c:v>
                </c:pt>
                <c:pt idx="5237">
                  <c:v>1181534</c:v>
                </c:pt>
                <c:pt idx="5238">
                  <c:v>1181505</c:v>
                </c:pt>
                <c:pt idx="5239">
                  <c:v>1181457</c:v>
                </c:pt>
                <c:pt idx="5240">
                  <c:v>1181441</c:v>
                </c:pt>
                <c:pt idx="5241">
                  <c:v>1181360</c:v>
                </c:pt>
                <c:pt idx="5242">
                  <c:v>1181190</c:v>
                </c:pt>
                <c:pt idx="5243">
                  <c:v>1181140</c:v>
                </c:pt>
                <c:pt idx="5244">
                  <c:v>1181122</c:v>
                </c:pt>
                <c:pt idx="5245">
                  <c:v>1181114</c:v>
                </c:pt>
                <c:pt idx="5246">
                  <c:v>1180951</c:v>
                </c:pt>
                <c:pt idx="5247">
                  <c:v>1180857</c:v>
                </c:pt>
                <c:pt idx="5248">
                  <c:v>1180815</c:v>
                </c:pt>
                <c:pt idx="5249">
                  <c:v>1180788</c:v>
                </c:pt>
                <c:pt idx="5250">
                  <c:v>1180587</c:v>
                </c:pt>
                <c:pt idx="5251">
                  <c:v>1180565</c:v>
                </c:pt>
                <c:pt idx="5252">
                  <c:v>1180507</c:v>
                </c:pt>
                <c:pt idx="5253">
                  <c:v>1180460</c:v>
                </c:pt>
                <c:pt idx="5254">
                  <c:v>1180226</c:v>
                </c:pt>
                <c:pt idx="5255">
                  <c:v>1180040</c:v>
                </c:pt>
                <c:pt idx="5256">
                  <c:v>1179921</c:v>
                </c:pt>
                <c:pt idx="5257">
                  <c:v>1179856</c:v>
                </c:pt>
                <c:pt idx="5258">
                  <c:v>1179782</c:v>
                </c:pt>
                <c:pt idx="5259">
                  <c:v>1179580</c:v>
                </c:pt>
                <c:pt idx="5260">
                  <c:v>1179576</c:v>
                </c:pt>
                <c:pt idx="5261">
                  <c:v>1179522</c:v>
                </c:pt>
                <c:pt idx="5262">
                  <c:v>1179421</c:v>
                </c:pt>
                <c:pt idx="5263">
                  <c:v>1179187</c:v>
                </c:pt>
                <c:pt idx="5264">
                  <c:v>1179164</c:v>
                </c:pt>
                <c:pt idx="5265">
                  <c:v>1178832</c:v>
                </c:pt>
                <c:pt idx="5266">
                  <c:v>1178749</c:v>
                </c:pt>
                <c:pt idx="5267">
                  <c:v>1178745</c:v>
                </c:pt>
                <c:pt idx="5268">
                  <c:v>1178723</c:v>
                </c:pt>
                <c:pt idx="5269">
                  <c:v>1178705</c:v>
                </c:pt>
                <c:pt idx="5270">
                  <c:v>1178694</c:v>
                </c:pt>
                <c:pt idx="5271">
                  <c:v>1178667</c:v>
                </c:pt>
                <c:pt idx="5272">
                  <c:v>1178618</c:v>
                </c:pt>
                <c:pt idx="5273">
                  <c:v>1178535</c:v>
                </c:pt>
                <c:pt idx="5274">
                  <c:v>1178454</c:v>
                </c:pt>
                <c:pt idx="5275">
                  <c:v>1178444</c:v>
                </c:pt>
                <c:pt idx="5276">
                  <c:v>1178254</c:v>
                </c:pt>
                <c:pt idx="5277">
                  <c:v>1178245</c:v>
                </c:pt>
                <c:pt idx="5278">
                  <c:v>1178206</c:v>
                </c:pt>
                <c:pt idx="5279">
                  <c:v>1178069</c:v>
                </c:pt>
                <c:pt idx="5280">
                  <c:v>1178001</c:v>
                </c:pt>
                <c:pt idx="5281">
                  <c:v>1177901</c:v>
                </c:pt>
                <c:pt idx="5282">
                  <c:v>1177844</c:v>
                </c:pt>
                <c:pt idx="5283">
                  <c:v>1177801</c:v>
                </c:pt>
                <c:pt idx="5284">
                  <c:v>1177622</c:v>
                </c:pt>
                <c:pt idx="5285">
                  <c:v>1177533</c:v>
                </c:pt>
                <c:pt idx="5286">
                  <c:v>1177515</c:v>
                </c:pt>
                <c:pt idx="5287">
                  <c:v>1177502</c:v>
                </c:pt>
                <c:pt idx="5288">
                  <c:v>1177497</c:v>
                </c:pt>
                <c:pt idx="5289">
                  <c:v>1177492</c:v>
                </c:pt>
                <c:pt idx="5290">
                  <c:v>1177478</c:v>
                </c:pt>
                <c:pt idx="5291">
                  <c:v>1177455</c:v>
                </c:pt>
                <c:pt idx="5292">
                  <c:v>1177363</c:v>
                </c:pt>
                <c:pt idx="5293">
                  <c:v>1177348</c:v>
                </c:pt>
                <c:pt idx="5294">
                  <c:v>1177147</c:v>
                </c:pt>
                <c:pt idx="5295">
                  <c:v>1177127</c:v>
                </c:pt>
                <c:pt idx="5296">
                  <c:v>1177121</c:v>
                </c:pt>
                <c:pt idx="5297">
                  <c:v>1177036</c:v>
                </c:pt>
                <c:pt idx="5298">
                  <c:v>1177015</c:v>
                </c:pt>
                <c:pt idx="5299">
                  <c:v>1176982</c:v>
                </c:pt>
                <c:pt idx="5300">
                  <c:v>1176925</c:v>
                </c:pt>
                <c:pt idx="5301">
                  <c:v>1176892</c:v>
                </c:pt>
                <c:pt idx="5302">
                  <c:v>1176691</c:v>
                </c:pt>
                <c:pt idx="5303">
                  <c:v>1176675</c:v>
                </c:pt>
                <c:pt idx="5304">
                  <c:v>1176668</c:v>
                </c:pt>
                <c:pt idx="5305">
                  <c:v>1176584</c:v>
                </c:pt>
                <c:pt idx="5306">
                  <c:v>1176433</c:v>
                </c:pt>
                <c:pt idx="5307">
                  <c:v>1176409</c:v>
                </c:pt>
                <c:pt idx="5308">
                  <c:v>1176341</c:v>
                </c:pt>
                <c:pt idx="5309">
                  <c:v>1176306</c:v>
                </c:pt>
                <c:pt idx="5310">
                  <c:v>1176230</c:v>
                </c:pt>
                <c:pt idx="5311">
                  <c:v>1176225</c:v>
                </c:pt>
                <c:pt idx="5312">
                  <c:v>1176104</c:v>
                </c:pt>
                <c:pt idx="5313">
                  <c:v>1175802</c:v>
                </c:pt>
                <c:pt idx="5314">
                  <c:v>1175776</c:v>
                </c:pt>
                <c:pt idx="5315">
                  <c:v>1175767</c:v>
                </c:pt>
                <c:pt idx="5316">
                  <c:v>1175758</c:v>
                </c:pt>
                <c:pt idx="5317">
                  <c:v>1175629</c:v>
                </c:pt>
                <c:pt idx="5318">
                  <c:v>1175542</c:v>
                </c:pt>
                <c:pt idx="5319">
                  <c:v>1175537</c:v>
                </c:pt>
                <c:pt idx="5320">
                  <c:v>1175529</c:v>
                </c:pt>
                <c:pt idx="5321">
                  <c:v>1175445</c:v>
                </c:pt>
                <c:pt idx="5322">
                  <c:v>1175346</c:v>
                </c:pt>
                <c:pt idx="5323">
                  <c:v>1175328</c:v>
                </c:pt>
                <c:pt idx="5324">
                  <c:v>1175317</c:v>
                </c:pt>
                <c:pt idx="5325">
                  <c:v>1175308</c:v>
                </c:pt>
                <c:pt idx="5326">
                  <c:v>1175266</c:v>
                </c:pt>
                <c:pt idx="5327">
                  <c:v>1175158</c:v>
                </c:pt>
                <c:pt idx="5328">
                  <c:v>1175114</c:v>
                </c:pt>
                <c:pt idx="5329">
                  <c:v>1175114</c:v>
                </c:pt>
                <c:pt idx="5330">
                  <c:v>1175099</c:v>
                </c:pt>
                <c:pt idx="5331">
                  <c:v>1175069</c:v>
                </c:pt>
                <c:pt idx="5332">
                  <c:v>1175032</c:v>
                </c:pt>
                <c:pt idx="5333">
                  <c:v>1175020</c:v>
                </c:pt>
                <c:pt idx="5334">
                  <c:v>1175014</c:v>
                </c:pt>
                <c:pt idx="5335">
                  <c:v>1174980</c:v>
                </c:pt>
                <c:pt idx="5336">
                  <c:v>1174917</c:v>
                </c:pt>
                <c:pt idx="5337">
                  <c:v>1174684</c:v>
                </c:pt>
                <c:pt idx="5338">
                  <c:v>1174561</c:v>
                </c:pt>
                <c:pt idx="5339">
                  <c:v>1174536</c:v>
                </c:pt>
                <c:pt idx="5340">
                  <c:v>1174526</c:v>
                </c:pt>
                <c:pt idx="5341">
                  <c:v>1174524</c:v>
                </c:pt>
                <c:pt idx="5342">
                  <c:v>1174489</c:v>
                </c:pt>
                <c:pt idx="5343">
                  <c:v>1174349</c:v>
                </c:pt>
                <c:pt idx="5344">
                  <c:v>1174310</c:v>
                </c:pt>
                <c:pt idx="5345">
                  <c:v>1174310</c:v>
                </c:pt>
                <c:pt idx="5346">
                  <c:v>1174174</c:v>
                </c:pt>
                <c:pt idx="5347">
                  <c:v>1174153</c:v>
                </c:pt>
                <c:pt idx="5348">
                  <c:v>1174097</c:v>
                </c:pt>
                <c:pt idx="5349">
                  <c:v>1174024</c:v>
                </c:pt>
                <c:pt idx="5350">
                  <c:v>1173935</c:v>
                </c:pt>
                <c:pt idx="5351">
                  <c:v>1173904</c:v>
                </c:pt>
                <c:pt idx="5352">
                  <c:v>1173829</c:v>
                </c:pt>
                <c:pt idx="5353">
                  <c:v>1173762</c:v>
                </c:pt>
                <c:pt idx="5354">
                  <c:v>1173711</c:v>
                </c:pt>
                <c:pt idx="5355">
                  <c:v>1173522</c:v>
                </c:pt>
                <c:pt idx="5356">
                  <c:v>1173252</c:v>
                </c:pt>
                <c:pt idx="5357">
                  <c:v>1173237</c:v>
                </c:pt>
                <c:pt idx="5358">
                  <c:v>1173165</c:v>
                </c:pt>
                <c:pt idx="5359">
                  <c:v>1173115</c:v>
                </c:pt>
                <c:pt idx="5360">
                  <c:v>1173091</c:v>
                </c:pt>
                <c:pt idx="5361">
                  <c:v>1172989</c:v>
                </c:pt>
                <c:pt idx="5362">
                  <c:v>1172980</c:v>
                </c:pt>
                <c:pt idx="5363">
                  <c:v>1172940</c:v>
                </c:pt>
                <c:pt idx="5364">
                  <c:v>1172904</c:v>
                </c:pt>
                <c:pt idx="5365">
                  <c:v>1172784</c:v>
                </c:pt>
                <c:pt idx="5366">
                  <c:v>1172463</c:v>
                </c:pt>
                <c:pt idx="5367">
                  <c:v>1172436</c:v>
                </c:pt>
                <c:pt idx="5368">
                  <c:v>1172360</c:v>
                </c:pt>
                <c:pt idx="5369">
                  <c:v>1172318</c:v>
                </c:pt>
                <c:pt idx="5370">
                  <c:v>1172234</c:v>
                </c:pt>
                <c:pt idx="5371">
                  <c:v>1172155</c:v>
                </c:pt>
                <c:pt idx="5372">
                  <c:v>1171768</c:v>
                </c:pt>
                <c:pt idx="5373">
                  <c:v>1171721</c:v>
                </c:pt>
                <c:pt idx="5374">
                  <c:v>1171683</c:v>
                </c:pt>
                <c:pt idx="5375">
                  <c:v>1171609</c:v>
                </c:pt>
                <c:pt idx="5376">
                  <c:v>1171607</c:v>
                </c:pt>
                <c:pt idx="5377">
                  <c:v>1171513</c:v>
                </c:pt>
                <c:pt idx="5378">
                  <c:v>1171418</c:v>
                </c:pt>
                <c:pt idx="5379">
                  <c:v>1171363</c:v>
                </c:pt>
                <c:pt idx="5380">
                  <c:v>1171252</c:v>
                </c:pt>
                <c:pt idx="5381">
                  <c:v>1171173</c:v>
                </c:pt>
                <c:pt idx="5382">
                  <c:v>1171152</c:v>
                </c:pt>
                <c:pt idx="5383">
                  <c:v>1171058</c:v>
                </c:pt>
                <c:pt idx="5384">
                  <c:v>1170886</c:v>
                </c:pt>
                <c:pt idx="5385">
                  <c:v>1170874</c:v>
                </c:pt>
                <c:pt idx="5386">
                  <c:v>1170628</c:v>
                </c:pt>
                <c:pt idx="5387">
                  <c:v>1170589</c:v>
                </c:pt>
                <c:pt idx="5388">
                  <c:v>1170574</c:v>
                </c:pt>
                <c:pt idx="5389">
                  <c:v>1170511</c:v>
                </c:pt>
                <c:pt idx="5390">
                  <c:v>1170449</c:v>
                </c:pt>
                <c:pt idx="5391">
                  <c:v>1170393</c:v>
                </c:pt>
                <c:pt idx="5392">
                  <c:v>1170076</c:v>
                </c:pt>
                <c:pt idx="5393">
                  <c:v>1169918</c:v>
                </c:pt>
                <c:pt idx="5394">
                  <c:v>1169745</c:v>
                </c:pt>
                <c:pt idx="5395">
                  <c:v>1169690</c:v>
                </c:pt>
                <c:pt idx="5396">
                  <c:v>1169671</c:v>
                </c:pt>
                <c:pt idx="5397">
                  <c:v>1169667</c:v>
                </c:pt>
                <c:pt idx="5398">
                  <c:v>1169648</c:v>
                </c:pt>
                <c:pt idx="5399">
                  <c:v>1169615</c:v>
                </c:pt>
                <c:pt idx="5400">
                  <c:v>1169568</c:v>
                </c:pt>
                <c:pt idx="5401">
                  <c:v>1169541</c:v>
                </c:pt>
                <c:pt idx="5402">
                  <c:v>1169399</c:v>
                </c:pt>
                <c:pt idx="5403">
                  <c:v>1169392</c:v>
                </c:pt>
                <c:pt idx="5404">
                  <c:v>1169337</c:v>
                </c:pt>
                <c:pt idx="5405">
                  <c:v>1169328</c:v>
                </c:pt>
                <c:pt idx="5406">
                  <c:v>1169306</c:v>
                </c:pt>
                <c:pt idx="5407">
                  <c:v>1169174</c:v>
                </c:pt>
                <c:pt idx="5408">
                  <c:v>1169092</c:v>
                </c:pt>
                <c:pt idx="5409">
                  <c:v>1168932</c:v>
                </c:pt>
                <c:pt idx="5410">
                  <c:v>1168932</c:v>
                </c:pt>
                <c:pt idx="5411">
                  <c:v>1168927</c:v>
                </c:pt>
                <c:pt idx="5412">
                  <c:v>1168884</c:v>
                </c:pt>
                <c:pt idx="5413">
                  <c:v>1168823</c:v>
                </c:pt>
                <c:pt idx="5414">
                  <c:v>1168759</c:v>
                </c:pt>
                <c:pt idx="5415">
                  <c:v>1168728</c:v>
                </c:pt>
                <c:pt idx="5416">
                  <c:v>1168700</c:v>
                </c:pt>
                <c:pt idx="5417">
                  <c:v>1168637</c:v>
                </c:pt>
                <c:pt idx="5418">
                  <c:v>1168510</c:v>
                </c:pt>
                <c:pt idx="5419">
                  <c:v>1168494</c:v>
                </c:pt>
                <c:pt idx="5420">
                  <c:v>1168198</c:v>
                </c:pt>
                <c:pt idx="5421">
                  <c:v>1168111</c:v>
                </c:pt>
                <c:pt idx="5422">
                  <c:v>1167923</c:v>
                </c:pt>
                <c:pt idx="5423">
                  <c:v>1167884</c:v>
                </c:pt>
                <c:pt idx="5424">
                  <c:v>1167788</c:v>
                </c:pt>
                <c:pt idx="5425">
                  <c:v>1167572</c:v>
                </c:pt>
                <c:pt idx="5426">
                  <c:v>1167562</c:v>
                </c:pt>
                <c:pt idx="5427">
                  <c:v>1167431</c:v>
                </c:pt>
                <c:pt idx="5428">
                  <c:v>1167320</c:v>
                </c:pt>
                <c:pt idx="5429">
                  <c:v>1167257</c:v>
                </c:pt>
                <c:pt idx="5430">
                  <c:v>1167249</c:v>
                </c:pt>
                <c:pt idx="5431">
                  <c:v>1167227</c:v>
                </c:pt>
                <c:pt idx="5432">
                  <c:v>1167095</c:v>
                </c:pt>
                <c:pt idx="5433">
                  <c:v>1167012</c:v>
                </c:pt>
                <c:pt idx="5434">
                  <c:v>1166860</c:v>
                </c:pt>
                <c:pt idx="5435">
                  <c:v>1166842</c:v>
                </c:pt>
                <c:pt idx="5436">
                  <c:v>1166833</c:v>
                </c:pt>
                <c:pt idx="5437">
                  <c:v>1166831</c:v>
                </c:pt>
                <c:pt idx="5438">
                  <c:v>1166829</c:v>
                </c:pt>
                <c:pt idx="5439">
                  <c:v>1166784</c:v>
                </c:pt>
                <c:pt idx="5440">
                  <c:v>1166731</c:v>
                </c:pt>
                <c:pt idx="5441">
                  <c:v>1166630</c:v>
                </c:pt>
                <c:pt idx="5442">
                  <c:v>1166620</c:v>
                </c:pt>
                <c:pt idx="5443">
                  <c:v>1166452</c:v>
                </c:pt>
                <c:pt idx="5444">
                  <c:v>1166361</c:v>
                </c:pt>
                <c:pt idx="5445">
                  <c:v>1166316</c:v>
                </c:pt>
                <c:pt idx="5446">
                  <c:v>1166260</c:v>
                </c:pt>
                <c:pt idx="5447">
                  <c:v>1166240</c:v>
                </c:pt>
                <c:pt idx="5448">
                  <c:v>1166203</c:v>
                </c:pt>
                <c:pt idx="5449">
                  <c:v>1166114</c:v>
                </c:pt>
                <c:pt idx="5450">
                  <c:v>1166072</c:v>
                </c:pt>
                <c:pt idx="5451">
                  <c:v>1166035</c:v>
                </c:pt>
                <c:pt idx="5452">
                  <c:v>1166028</c:v>
                </c:pt>
                <c:pt idx="5453">
                  <c:v>1165898</c:v>
                </c:pt>
                <c:pt idx="5454">
                  <c:v>1165826</c:v>
                </c:pt>
                <c:pt idx="5455">
                  <c:v>1165816</c:v>
                </c:pt>
                <c:pt idx="5456">
                  <c:v>1165737</c:v>
                </c:pt>
                <c:pt idx="5457">
                  <c:v>1165650</c:v>
                </c:pt>
                <c:pt idx="5458">
                  <c:v>1165468</c:v>
                </c:pt>
                <c:pt idx="5459">
                  <c:v>1165429</c:v>
                </c:pt>
                <c:pt idx="5460">
                  <c:v>1165314</c:v>
                </c:pt>
                <c:pt idx="5461">
                  <c:v>1165266</c:v>
                </c:pt>
                <c:pt idx="5462">
                  <c:v>1165246</c:v>
                </c:pt>
                <c:pt idx="5463">
                  <c:v>1165090</c:v>
                </c:pt>
                <c:pt idx="5464">
                  <c:v>1165075</c:v>
                </c:pt>
                <c:pt idx="5465">
                  <c:v>1165042</c:v>
                </c:pt>
                <c:pt idx="5466">
                  <c:v>1164893</c:v>
                </c:pt>
                <c:pt idx="5467">
                  <c:v>1164831</c:v>
                </c:pt>
                <c:pt idx="5468">
                  <c:v>1164821</c:v>
                </c:pt>
                <c:pt idx="5469">
                  <c:v>1164705</c:v>
                </c:pt>
                <c:pt idx="5470">
                  <c:v>1164685</c:v>
                </c:pt>
                <c:pt idx="5471">
                  <c:v>1164682</c:v>
                </c:pt>
                <c:pt idx="5472">
                  <c:v>1164555</c:v>
                </c:pt>
                <c:pt idx="5473">
                  <c:v>1164513</c:v>
                </c:pt>
                <c:pt idx="5474">
                  <c:v>1164444</c:v>
                </c:pt>
                <c:pt idx="5475">
                  <c:v>1164415</c:v>
                </c:pt>
                <c:pt idx="5476">
                  <c:v>1164296</c:v>
                </c:pt>
                <c:pt idx="5477">
                  <c:v>1164222</c:v>
                </c:pt>
                <c:pt idx="5478">
                  <c:v>1164220</c:v>
                </c:pt>
                <c:pt idx="5479">
                  <c:v>1164173</c:v>
                </c:pt>
                <c:pt idx="5480">
                  <c:v>1163983</c:v>
                </c:pt>
                <c:pt idx="5481">
                  <c:v>1163977</c:v>
                </c:pt>
                <c:pt idx="5482">
                  <c:v>1163912</c:v>
                </c:pt>
                <c:pt idx="5483">
                  <c:v>1163824</c:v>
                </c:pt>
                <c:pt idx="5484">
                  <c:v>1163777</c:v>
                </c:pt>
                <c:pt idx="5485">
                  <c:v>1163712</c:v>
                </c:pt>
                <c:pt idx="5486">
                  <c:v>1163574</c:v>
                </c:pt>
                <c:pt idx="5487">
                  <c:v>1163555</c:v>
                </c:pt>
                <c:pt idx="5488">
                  <c:v>1163469</c:v>
                </c:pt>
                <c:pt idx="5489">
                  <c:v>1163448</c:v>
                </c:pt>
                <c:pt idx="5490">
                  <c:v>1163240</c:v>
                </c:pt>
                <c:pt idx="5491">
                  <c:v>1163104</c:v>
                </c:pt>
                <c:pt idx="5492">
                  <c:v>1162976</c:v>
                </c:pt>
                <c:pt idx="5493">
                  <c:v>1162971</c:v>
                </c:pt>
                <c:pt idx="5494">
                  <c:v>1162910</c:v>
                </c:pt>
                <c:pt idx="5495">
                  <c:v>1162827</c:v>
                </c:pt>
                <c:pt idx="5496">
                  <c:v>1162809</c:v>
                </c:pt>
                <c:pt idx="5497">
                  <c:v>1162806</c:v>
                </c:pt>
                <c:pt idx="5498">
                  <c:v>1162685</c:v>
                </c:pt>
                <c:pt idx="5499">
                  <c:v>1162556</c:v>
                </c:pt>
                <c:pt idx="5500">
                  <c:v>1162527</c:v>
                </c:pt>
                <c:pt idx="5501">
                  <c:v>1162451</c:v>
                </c:pt>
                <c:pt idx="5502">
                  <c:v>1162400</c:v>
                </c:pt>
                <c:pt idx="5503">
                  <c:v>1162317</c:v>
                </c:pt>
                <c:pt idx="5504">
                  <c:v>1162309</c:v>
                </c:pt>
                <c:pt idx="5505">
                  <c:v>1162282</c:v>
                </c:pt>
                <c:pt idx="5506">
                  <c:v>1162074</c:v>
                </c:pt>
                <c:pt idx="5507">
                  <c:v>1161671</c:v>
                </c:pt>
                <c:pt idx="5508">
                  <c:v>1161577</c:v>
                </c:pt>
                <c:pt idx="5509">
                  <c:v>1161573</c:v>
                </c:pt>
                <c:pt idx="5510">
                  <c:v>1161522</c:v>
                </c:pt>
                <c:pt idx="5511">
                  <c:v>1161508</c:v>
                </c:pt>
                <c:pt idx="5512">
                  <c:v>1161498</c:v>
                </c:pt>
                <c:pt idx="5513">
                  <c:v>1161449</c:v>
                </c:pt>
                <c:pt idx="5514">
                  <c:v>1161384</c:v>
                </c:pt>
                <c:pt idx="5515">
                  <c:v>1161376</c:v>
                </c:pt>
                <c:pt idx="5516">
                  <c:v>1161328</c:v>
                </c:pt>
                <c:pt idx="5517">
                  <c:v>1161164</c:v>
                </c:pt>
                <c:pt idx="5518">
                  <c:v>1161159</c:v>
                </c:pt>
                <c:pt idx="5519">
                  <c:v>1161117</c:v>
                </c:pt>
                <c:pt idx="5520">
                  <c:v>1161052</c:v>
                </c:pt>
                <c:pt idx="5521">
                  <c:v>1160899</c:v>
                </c:pt>
                <c:pt idx="5522">
                  <c:v>1160640</c:v>
                </c:pt>
                <c:pt idx="5523">
                  <c:v>1160507</c:v>
                </c:pt>
                <c:pt idx="5524">
                  <c:v>1160499</c:v>
                </c:pt>
                <c:pt idx="5525">
                  <c:v>1160437</c:v>
                </c:pt>
                <c:pt idx="5526">
                  <c:v>1160113</c:v>
                </c:pt>
                <c:pt idx="5527">
                  <c:v>1160034</c:v>
                </c:pt>
                <c:pt idx="5528">
                  <c:v>1159938</c:v>
                </c:pt>
                <c:pt idx="5529">
                  <c:v>1159842</c:v>
                </c:pt>
                <c:pt idx="5530">
                  <c:v>1159834</c:v>
                </c:pt>
                <c:pt idx="5531">
                  <c:v>1159742</c:v>
                </c:pt>
                <c:pt idx="5532">
                  <c:v>1159575</c:v>
                </c:pt>
                <c:pt idx="5533">
                  <c:v>1159569</c:v>
                </c:pt>
                <c:pt idx="5534">
                  <c:v>1159556</c:v>
                </c:pt>
                <c:pt idx="5535">
                  <c:v>1159509</c:v>
                </c:pt>
                <c:pt idx="5536">
                  <c:v>1159495</c:v>
                </c:pt>
                <c:pt idx="5537">
                  <c:v>1159486</c:v>
                </c:pt>
                <c:pt idx="5538">
                  <c:v>1159342</c:v>
                </c:pt>
                <c:pt idx="5539">
                  <c:v>1159333</c:v>
                </c:pt>
                <c:pt idx="5540">
                  <c:v>1159308</c:v>
                </c:pt>
                <c:pt idx="5541">
                  <c:v>1159305</c:v>
                </c:pt>
                <c:pt idx="5542">
                  <c:v>1159298</c:v>
                </c:pt>
                <c:pt idx="5543">
                  <c:v>1159223</c:v>
                </c:pt>
                <c:pt idx="5544">
                  <c:v>1159150</c:v>
                </c:pt>
                <c:pt idx="5545">
                  <c:v>1158915</c:v>
                </c:pt>
                <c:pt idx="5546">
                  <c:v>1158807</c:v>
                </c:pt>
                <c:pt idx="5547">
                  <c:v>1158763</c:v>
                </c:pt>
                <c:pt idx="5548">
                  <c:v>1158714</c:v>
                </c:pt>
                <c:pt idx="5549">
                  <c:v>1158691</c:v>
                </c:pt>
                <c:pt idx="5550">
                  <c:v>1158648</c:v>
                </c:pt>
                <c:pt idx="5551">
                  <c:v>1158588</c:v>
                </c:pt>
                <c:pt idx="5552">
                  <c:v>1158521</c:v>
                </c:pt>
                <c:pt idx="5553">
                  <c:v>1158485</c:v>
                </c:pt>
                <c:pt idx="5554">
                  <c:v>1158438</c:v>
                </c:pt>
                <c:pt idx="5555">
                  <c:v>1158399</c:v>
                </c:pt>
                <c:pt idx="5556">
                  <c:v>1158259</c:v>
                </c:pt>
                <c:pt idx="5557">
                  <c:v>1158127</c:v>
                </c:pt>
                <c:pt idx="5558">
                  <c:v>1157912</c:v>
                </c:pt>
                <c:pt idx="5559">
                  <c:v>1157888</c:v>
                </c:pt>
                <c:pt idx="5560">
                  <c:v>1157873</c:v>
                </c:pt>
                <c:pt idx="5561">
                  <c:v>1157839</c:v>
                </c:pt>
                <c:pt idx="5562">
                  <c:v>1157750</c:v>
                </c:pt>
                <c:pt idx="5563">
                  <c:v>1157645</c:v>
                </c:pt>
                <c:pt idx="5564">
                  <c:v>1157610</c:v>
                </c:pt>
                <c:pt idx="5565">
                  <c:v>1157596</c:v>
                </c:pt>
                <c:pt idx="5566">
                  <c:v>1157580</c:v>
                </c:pt>
                <c:pt idx="5567">
                  <c:v>1157518</c:v>
                </c:pt>
                <c:pt idx="5568">
                  <c:v>1157511</c:v>
                </c:pt>
                <c:pt idx="5569">
                  <c:v>1157474</c:v>
                </c:pt>
                <c:pt idx="5570">
                  <c:v>1157434</c:v>
                </c:pt>
                <c:pt idx="5571">
                  <c:v>1157421</c:v>
                </c:pt>
                <c:pt idx="5572">
                  <c:v>1157356</c:v>
                </c:pt>
                <c:pt idx="5573">
                  <c:v>1157215</c:v>
                </c:pt>
                <c:pt idx="5574">
                  <c:v>1157165</c:v>
                </c:pt>
                <c:pt idx="5575">
                  <c:v>1157122</c:v>
                </c:pt>
                <c:pt idx="5576">
                  <c:v>1157048</c:v>
                </c:pt>
                <c:pt idx="5577">
                  <c:v>1156874</c:v>
                </c:pt>
                <c:pt idx="5578">
                  <c:v>1156863</c:v>
                </c:pt>
                <c:pt idx="5579">
                  <c:v>1156765</c:v>
                </c:pt>
                <c:pt idx="5580">
                  <c:v>1156649</c:v>
                </c:pt>
                <c:pt idx="5581">
                  <c:v>1156632</c:v>
                </c:pt>
                <c:pt idx="5582">
                  <c:v>1156498</c:v>
                </c:pt>
                <c:pt idx="5583">
                  <c:v>1156485</c:v>
                </c:pt>
                <c:pt idx="5584">
                  <c:v>1156458</c:v>
                </c:pt>
                <c:pt idx="5585">
                  <c:v>1156445</c:v>
                </c:pt>
                <c:pt idx="5586">
                  <c:v>1156433</c:v>
                </c:pt>
                <c:pt idx="5587">
                  <c:v>1156394</c:v>
                </c:pt>
                <c:pt idx="5588">
                  <c:v>1156324</c:v>
                </c:pt>
                <c:pt idx="5589">
                  <c:v>1156259</c:v>
                </c:pt>
                <c:pt idx="5590">
                  <c:v>1156237</c:v>
                </c:pt>
                <c:pt idx="5591">
                  <c:v>1156117</c:v>
                </c:pt>
                <c:pt idx="5592">
                  <c:v>1156040</c:v>
                </c:pt>
                <c:pt idx="5593">
                  <c:v>1155973</c:v>
                </c:pt>
                <c:pt idx="5594">
                  <c:v>1155902</c:v>
                </c:pt>
                <c:pt idx="5595">
                  <c:v>1155872</c:v>
                </c:pt>
                <c:pt idx="5596">
                  <c:v>1155851</c:v>
                </c:pt>
                <c:pt idx="5597">
                  <c:v>1155825</c:v>
                </c:pt>
                <c:pt idx="5598">
                  <c:v>1155699</c:v>
                </c:pt>
                <c:pt idx="5599">
                  <c:v>1155471</c:v>
                </c:pt>
                <c:pt idx="5600">
                  <c:v>1155437</c:v>
                </c:pt>
                <c:pt idx="5601">
                  <c:v>1155294</c:v>
                </c:pt>
                <c:pt idx="5602">
                  <c:v>1155010</c:v>
                </c:pt>
                <c:pt idx="5603">
                  <c:v>1154902</c:v>
                </c:pt>
                <c:pt idx="5604">
                  <c:v>1154725</c:v>
                </c:pt>
                <c:pt idx="5605">
                  <c:v>1154717</c:v>
                </c:pt>
                <c:pt idx="5606">
                  <c:v>1154601</c:v>
                </c:pt>
                <c:pt idx="5607">
                  <c:v>1154551</c:v>
                </c:pt>
                <c:pt idx="5608">
                  <c:v>1154536</c:v>
                </c:pt>
                <c:pt idx="5609">
                  <c:v>1154380</c:v>
                </c:pt>
                <c:pt idx="5610">
                  <c:v>1154317</c:v>
                </c:pt>
                <c:pt idx="5611">
                  <c:v>1154205</c:v>
                </c:pt>
                <c:pt idx="5612">
                  <c:v>1154161</c:v>
                </c:pt>
                <c:pt idx="5613">
                  <c:v>1153968</c:v>
                </c:pt>
                <c:pt idx="5614">
                  <c:v>1153892</c:v>
                </c:pt>
                <c:pt idx="5615">
                  <c:v>1153870</c:v>
                </c:pt>
                <c:pt idx="5616">
                  <c:v>1153527</c:v>
                </c:pt>
                <c:pt idx="5617">
                  <c:v>1153523</c:v>
                </c:pt>
                <c:pt idx="5618">
                  <c:v>1153463</c:v>
                </c:pt>
                <c:pt idx="5619">
                  <c:v>1153453</c:v>
                </c:pt>
                <c:pt idx="5620">
                  <c:v>1153349</c:v>
                </c:pt>
                <c:pt idx="5621">
                  <c:v>1153282</c:v>
                </c:pt>
                <c:pt idx="5622">
                  <c:v>1153235</c:v>
                </c:pt>
                <c:pt idx="5623">
                  <c:v>1153179</c:v>
                </c:pt>
                <c:pt idx="5624">
                  <c:v>1153058</c:v>
                </c:pt>
                <c:pt idx="5625">
                  <c:v>1153031</c:v>
                </c:pt>
                <c:pt idx="5626">
                  <c:v>1152995</c:v>
                </c:pt>
                <c:pt idx="5627">
                  <c:v>1152800</c:v>
                </c:pt>
                <c:pt idx="5628">
                  <c:v>1152692</c:v>
                </c:pt>
                <c:pt idx="5629">
                  <c:v>1152659</c:v>
                </c:pt>
                <c:pt idx="5630">
                  <c:v>1152618</c:v>
                </c:pt>
                <c:pt idx="5631">
                  <c:v>1152407</c:v>
                </c:pt>
                <c:pt idx="5632">
                  <c:v>1152325</c:v>
                </c:pt>
                <c:pt idx="5633">
                  <c:v>1152281</c:v>
                </c:pt>
                <c:pt idx="5634">
                  <c:v>1151844</c:v>
                </c:pt>
                <c:pt idx="5635">
                  <c:v>1151829</c:v>
                </c:pt>
                <c:pt idx="5636">
                  <c:v>1151706</c:v>
                </c:pt>
                <c:pt idx="5637">
                  <c:v>1151638</c:v>
                </c:pt>
                <c:pt idx="5638">
                  <c:v>1151383</c:v>
                </c:pt>
                <c:pt idx="5639">
                  <c:v>1151325</c:v>
                </c:pt>
                <c:pt idx="5640">
                  <c:v>1151268</c:v>
                </c:pt>
                <c:pt idx="5641">
                  <c:v>1151210</c:v>
                </c:pt>
                <c:pt idx="5642">
                  <c:v>1151162</c:v>
                </c:pt>
                <c:pt idx="5643">
                  <c:v>1150855</c:v>
                </c:pt>
                <c:pt idx="5644">
                  <c:v>1150818</c:v>
                </c:pt>
                <c:pt idx="5645">
                  <c:v>1150744</c:v>
                </c:pt>
                <c:pt idx="5646">
                  <c:v>1150712</c:v>
                </c:pt>
                <c:pt idx="5647">
                  <c:v>1150606</c:v>
                </c:pt>
                <c:pt idx="5648">
                  <c:v>1150359</c:v>
                </c:pt>
                <c:pt idx="5649">
                  <c:v>1150353</c:v>
                </c:pt>
                <c:pt idx="5650">
                  <c:v>1150114</c:v>
                </c:pt>
                <c:pt idx="5651">
                  <c:v>1149909</c:v>
                </c:pt>
                <c:pt idx="5652">
                  <c:v>1149590</c:v>
                </c:pt>
                <c:pt idx="5653">
                  <c:v>1149545</c:v>
                </c:pt>
                <c:pt idx="5654">
                  <c:v>1149465</c:v>
                </c:pt>
                <c:pt idx="5655">
                  <c:v>1149446</c:v>
                </c:pt>
                <c:pt idx="5656">
                  <c:v>1149442</c:v>
                </c:pt>
                <c:pt idx="5657">
                  <c:v>1149380</c:v>
                </c:pt>
                <c:pt idx="5658">
                  <c:v>1149170</c:v>
                </c:pt>
                <c:pt idx="5659">
                  <c:v>1149139</c:v>
                </c:pt>
                <c:pt idx="5660">
                  <c:v>1149055</c:v>
                </c:pt>
                <c:pt idx="5661">
                  <c:v>1148936</c:v>
                </c:pt>
                <c:pt idx="5662">
                  <c:v>1148872</c:v>
                </c:pt>
                <c:pt idx="5663">
                  <c:v>1148824</c:v>
                </c:pt>
                <c:pt idx="5664">
                  <c:v>1148777</c:v>
                </c:pt>
                <c:pt idx="5665">
                  <c:v>1148660</c:v>
                </c:pt>
                <c:pt idx="5666">
                  <c:v>1148588</c:v>
                </c:pt>
                <c:pt idx="5667">
                  <c:v>1148536</c:v>
                </c:pt>
                <c:pt idx="5668">
                  <c:v>1148508</c:v>
                </c:pt>
                <c:pt idx="5669">
                  <c:v>1148495</c:v>
                </c:pt>
                <c:pt idx="5670">
                  <c:v>1148301</c:v>
                </c:pt>
                <c:pt idx="5671">
                  <c:v>1148294</c:v>
                </c:pt>
                <c:pt idx="5672">
                  <c:v>1148286</c:v>
                </c:pt>
                <c:pt idx="5673">
                  <c:v>1148241</c:v>
                </c:pt>
                <c:pt idx="5674">
                  <c:v>1147971</c:v>
                </c:pt>
                <c:pt idx="5675">
                  <c:v>1147938</c:v>
                </c:pt>
                <c:pt idx="5676">
                  <c:v>1147849</c:v>
                </c:pt>
                <c:pt idx="5677">
                  <c:v>1147766</c:v>
                </c:pt>
                <c:pt idx="5678">
                  <c:v>1147752</c:v>
                </c:pt>
                <c:pt idx="5679">
                  <c:v>1147677</c:v>
                </c:pt>
                <c:pt idx="5680">
                  <c:v>1147577</c:v>
                </c:pt>
                <c:pt idx="5681">
                  <c:v>1147510</c:v>
                </c:pt>
                <c:pt idx="5682">
                  <c:v>1147482</c:v>
                </c:pt>
                <c:pt idx="5683">
                  <c:v>1147373</c:v>
                </c:pt>
                <c:pt idx="5684">
                  <c:v>1147353</c:v>
                </c:pt>
                <c:pt idx="5685">
                  <c:v>1147350</c:v>
                </c:pt>
                <c:pt idx="5686">
                  <c:v>1147116</c:v>
                </c:pt>
                <c:pt idx="5687">
                  <c:v>1147115</c:v>
                </c:pt>
                <c:pt idx="5688">
                  <c:v>1147047</c:v>
                </c:pt>
                <c:pt idx="5689">
                  <c:v>1147002</c:v>
                </c:pt>
                <c:pt idx="5690">
                  <c:v>1146917</c:v>
                </c:pt>
                <c:pt idx="5691">
                  <c:v>1146757</c:v>
                </c:pt>
                <c:pt idx="5692">
                  <c:v>1146665</c:v>
                </c:pt>
                <c:pt idx="5693">
                  <c:v>1146502</c:v>
                </c:pt>
                <c:pt idx="5694">
                  <c:v>1146214</c:v>
                </c:pt>
                <c:pt idx="5695">
                  <c:v>1146214</c:v>
                </c:pt>
                <c:pt idx="5696">
                  <c:v>1146157</c:v>
                </c:pt>
                <c:pt idx="5697">
                  <c:v>1146101</c:v>
                </c:pt>
                <c:pt idx="5698">
                  <c:v>1145971</c:v>
                </c:pt>
                <c:pt idx="5699">
                  <c:v>1145921</c:v>
                </c:pt>
                <c:pt idx="5700">
                  <c:v>1145915</c:v>
                </c:pt>
                <c:pt idx="5701">
                  <c:v>1145866</c:v>
                </c:pt>
                <c:pt idx="5702">
                  <c:v>1145865</c:v>
                </c:pt>
                <c:pt idx="5703">
                  <c:v>1145792</c:v>
                </c:pt>
                <c:pt idx="5704">
                  <c:v>1145622</c:v>
                </c:pt>
                <c:pt idx="5705">
                  <c:v>1145587</c:v>
                </c:pt>
                <c:pt idx="5706">
                  <c:v>1145571</c:v>
                </c:pt>
                <c:pt idx="5707">
                  <c:v>1144957</c:v>
                </c:pt>
                <c:pt idx="5708">
                  <c:v>1144893</c:v>
                </c:pt>
                <c:pt idx="5709">
                  <c:v>1144721</c:v>
                </c:pt>
                <c:pt idx="5710">
                  <c:v>1144696</c:v>
                </c:pt>
                <c:pt idx="5711">
                  <c:v>1144688</c:v>
                </c:pt>
                <c:pt idx="5712">
                  <c:v>1144682</c:v>
                </c:pt>
                <c:pt idx="5713">
                  <c:v>1144486</c:v>
                </c:pt>
                <c:pt idx="5714">
                  <c:v>1144320</c:v>
                </c:pt>
                <c:pt idx="5715">
                  <c:v>1144250</c:v>
                </c:pt>
                <c:pt idx="5716">
                  <c:v>1143936</c:v>
                </c:pt>
                <c:pt idx="5717">
                  <c:v>1143834</c:v>
                </c:pt>
                <c:pt idx="5718">
                  <c:v>1143709</c:v>
                </c:pt>
                <c:pt idx="5719">
                  <c:v>1143707</c:v>
                </c:pt>
                <c:pt idx="5720">
                  <c:v>1143693</c:v>
                </c:pt>
                <c:pt idx="5721">
                  <c:v>1143572</c:v>
                </c:pt>
                <c:pt idx="5722">
                  <c:v>1143554</c:v>
                </c:pt>
                <c:pt idx="5723">
                  <c:v>1143426</c:v>
                </c:pt>
                <c:pt idx="5724">
                  <c:v>1143379</c:v>
                </c:pt>
                <c:pt idx="5725">
                  <c:v>1143246</c:v>
                </c:pt>
                <c:pt idx="5726">
                  <c:v>1143165</c:v>
                </c:pt>
                <c:pt idx="5727">
                  <c:v>1143151</c:v>
                </c:pt>
                <c:pt idx="5728">
                  <c:v>1143023</c:v>
                </c:pt>
                <c:pt idx="5729">
                  <c:v>1142927</c:v>
                </c:pt>
                <c:pt idx="5730">
                  <c:v>1142848</c:v>
                </c:pt>
                <c:pt idx="5731">
                  <c:v>1142824</c:v>
                </c:pt>
                <c:pt idx="5732">
                  <c:v>1142725</c:v>
                </c:pt>
                <c:pt idx="5733">
                  <c:v>1142591</c:v>
                </c:pt>
                <c:pt idx="5734">
                  <c:v>1142073</c:v>
                </c:pt>
                <c:pt idx="5735">
                  <c:v>1141979</c:v>
                </c:pt>
                <c:pt idx="5736">
                  <c:v>1141935</c:v>
                </c:pt>
                <c:pt idx="5737">
                  <c:v>1141884</c:v>
                </c:pt>
                <c:pt idx="5738">
                  <c:v>1141830</c:v>
                </c:pt>
                <c:pt idx="5739">
                  <c:v>1141669</c:v>
                </c:pt>
                <c:pt idx="5740">
                  <c:v>1141667</c:v>
                </c:pt>
                <c:pt idx="5741">
                  <c:v>1141659</c:v>
                </c:pt>
                <c:pt idx="5742">
                  <c:v>1141618</c:v>
                </c:pt>
                <c:pt idx="5743">
                  <c:v>1141521</c:v>
                </c:pt>
                <c:pt idx="5744">
                  <c:v>1141409</c:v>
                </c:pt>
                <c:pt idx="5745">
                  <c:v>1141308</c:v>
                </c:pt>
                <c:pt idx="5746">
                  <c:v>1141186</c:v>
                </c:pt>
                <c:pt idx="5747">
                  <c:v>1141101</c:v>
                </c:pt>
                <c:pt idx="5748">
                  <c:v>1141055</c:v>
                </c:pt>
                <c:pt idx="5749">
                  <c:v>1141024</c:v>
                </c:pt>
                <c:pt idx="5750">
                  <c:v>1141011</c:v>
                </c:pt>
                <c:pt idx="5751">
                  <c:v>1140930</c:v>
                </c:pt>
                <c:pt idx="5752">
                  <c:v>1140856</c:v>
                </c:pt>
                <c:pt idx="5753">
                  <c:v>1140777</c:v>
                </c:pt>
                <c:pt idx="5754">
                  <c:v>1140688</c:v>
                </c:pt>
                <c:pt idx="5755">
                  <c:v>1140669</c:v>
                </c:pt>
                <c:pt idx="5756">
                  <c:v>1140491</c:v>
                </c:pt>
                <c:pt idx="5757">
                  <c:v>1140475</c:v>
                </c:pt>
                <c:pt idx="5758">
                  <c:v>1140385</c:v>
                </c:pt>
                <c:pt idx="5759">
                  <c:v>1140359</c:v>
                </c:pt>
                <c:pt idx="5760">
                  <c:v>1140299</c:v>
                </c:pt>
                <c:pt idx="5761">
                  <c:v>1140279</c:v>
                </c:pt>
                <c:pt idx="5762">
                  <c:v>1140209</c:v>
                </c:pt>
                <c:pt idx="5763">
                  <c:v>1140178</c:v>
                </c:pt>
                <c:pt idx="5764">
                  <c:v>1140128</c:v>
                </c:pt>
                <c:pt idx="5765">
                  <c:v>1139806</c:v>
                </c:pt>
                <c:pt idx="5766">
                  <c:v>1139711</c:v>
                </c:pt>
                <c:pt idx="5767">
                  <c:v>1139515</c:v>
                </c:pt>
                <c:pt idx="5768">
                  <c:v>1139243</c:v>
                </c:pt>
                <c:pt idx="5769">
                  <c:v>1139234</c:v>
                </c:pt>
                <c:pt idx="5770">
                  <c:v>1139007</c:v>
                </c:pt>
                <c:pt idx="5771">
                  <c:v>1138926</c:v>
                </c:pt>
                <c:pt idx="5772">
                  <c:v>1138833</c:v>
                </c:pt>
                <c:pt idx="5773">
                  <c:v>1138713</c:v>
                </c:pt>
                <c:pt idx="5774">
                  <c:v>1138669</c:v>
                </c:pt>
                <c:pt idx="5775">
                  <c:v>1138650</c:v>
                </c:pt>
                <c:pt idx="5776">
                  <c:v>1138556</c:v>
                </c:pt>
                <c:pt idx="5777">
                  <c:v>1138390</c:v>
                </c:pt>
                <c:pt idx="5778">
                  <c:v>1138381</c:v>
                </c:pt>
                <c:pt idx="5779">
                  <c:v>1138356</c:v>
                </c:pt>
                <c:pt idx="5780">
                  <c:v>1138287</c:v>
                </c:pt>
                <c:pt idx="5781">
                  <c:v>1138219</c:v>
                </c:pt>
                <c:pt idx="5782">
                  <c:v>1138079</c:v>
                </c:pt>
                <c:pt idx="5783">
                  <c:v>1138078</c:v>
                </c:pt>
                <c:pt idx="5784">
                  <c:v>1138018</c:v>
                </c:pt>
                <c:pt idx="5785">
                  <c:v>1137962</c:v>
                </c:pt>
                <c:pt idx="5786">
                  <c:v>1137864</c:v>
                </c:pt>
                <c:pt idx="5787">
                  <c:v>1137704</c:v>
                </c:pt>
                <c:pt idx="5788">
                  <c:v>1137545</c:v>
                </c:pt>
                <c:pt idx="5789">
                  <c:v>1137440</c:v>
                </c:pt>
                <c:pt idx="5790">
                  <c:v>1137286</c:v>
                </c:pt>
                <c:pt idx="5791">
                  <c:v>1137267</c:v>
                </c:pt>
                <c:pt idx="5792">
                  <c:v>1137132</c:v>
                </c:pt>
                <c:pt idx="5793">
                  <c:v>1137015</c:v>
                </c:pt>
                <c:pt idx="5794">
                  <c:v>1137014</c:v>
                </c:pt>
                <c:pt idx="5795">
                  <c:v>1136873</c:v>
                </c:pt>
                <c:pt idx="5796">
                  <c:v>1136843</c:v>
                </c:pt>
                <c:pt idx="5797">
                  <c:v>1136753</c:v>
                </c:pt>
                <c:pt idx="5798">
                  <c:v>1136636</c:v>
                </c:pt>
                <c:pt idx="5799">
                  <c:v>1136583</c:v>
                </c:pt>
                <c:pt idx="5800">
                  <c:v>1136342</c:v>
                </c:pt>
                <c:pt idx="5801">
                  <c:v>1136329</c:v>
                </c:pt>
                <c:pt idx="5802">
                  <c:v>1136301</c:v>
                </c:pt>
                <c:pt idx="5803">
                  <c:v>1136296</c:v>
                </c:pt>
                <c:pt idx="5804">
                  <c:v>1136235</c:v>
                </c:pt>
                <c:pt idx="5805">
                  <c:v>1136205</c:v>
                </c:pt>
                <c:pt idx="5806">
                  <c:v>1136204</c:v>
                </c:pt>
                <c:pt idx="5807">
                  <c:v>1136169</c:v>
                </c:pt>
                <c:pt idx="5808">
                  <c:v>1136140</c:v>
                </c:pt>
                <c:pt idx="5809">
                  <c:v>1136072</c:v>
                </c:pt>
                <c:pt idx="5810">
                  <c:v>1135911</c:v>
                </c:pt>
                <c:pt idx="5811">
                  <c:v>1135903</c:v>
                </c:pt>
                <c:pt idx="5812">
                  <c:v>1135841</c:v>
                </c:pt>
                <c:pt idx="5813">
                  <c:v>1135283</c:v>
                </c:pt>
                <c:pt idx="5814">
                  <c:v>1135049</c:v>
                </c:pt>
                <c:pt idx="5815">
                  <c:v>1134966</c:v>
                </c:pt>
                <c:pt idx="5816">
                  <c:v>1134758</c:v>
                </c:pt>
                <c:pt idx="5817">
                  <c:v>1134721</c:v>
                </c:pt>
                <c:pt idx="5818">
                  <c:v>1134330</c:v>
                </c:pt>
                <c:pt idx="5819">
                  <c:v>1134295</c:v>
                </c:pt>
                <c:pt idx="5820">
                  <c:v>1134270</c:v>
                </c:pt>
                <c:pt idx="5821">
                  <c:v>1134171</c:v>
                </c:pt>
                <c:pt idx="5822">
                  <c:v>1133925</c:v>
                </c:pt>
                <c:pt idx="5823">
                  <c:v>1133905</c:v>
                </c:pt>
                <c:pt idx="5824">
                  <c:v>1133854</c:v>
                </c:pt>
                <c:pt idx="5825">
                  <c:v>1133784</c:v>
                </c:pt>
                <c:pt idx="5826">
                  <c:v>1133735</c:v>
                </c:pt>
                <c:pt idx="5827">
                  <c:v>1133516</c:v>
                </c:pt>
                <c:pt idx="5828">
                  <c:v>1133503</c:v>
                </c:pt>
                <c:pt idx="5829">
                  <c:v>1133408</c:v>
                </c:pt>
                <c:pt idx="5830">
                  <c:v>1133258</c:v>
                </c:pt>
                <c:pt idx="5831">
                  <c:v>1133227</c:v>
                </c:pt>
                <c:pt idx="5832">
                  <c:v>1133151</c:v>
                </c:pt>
                <c:pt idx="5833">
                  <c:v>1132992</c:v>
                </c:pt>
                <c:pt idx="5834">
                  <c:v>1132969</c:v>
                </c:pt>
                <c:pt idx="5835">
                  <c:v>1132841</c:v>
                </c:pt>
                <c:pt idx="5836">
                  <c:v>1132755</c:v>
                </c:pt>
                <c:pt idx="5837">
                  <c:v>1132361</c:v>
                </c:pt>
                <c:pt idx="5838">
                  <c:v>1132335</c:v>
                </c:pt>
                <c:pt idx="5839">
                  <c:v>1132315</c:v>
                </c:pt>
                <c:pt idx="5840">
                  <c:v>1132279</c:v>
                </c:pt>
                <c:pt idx="5841">
                  <c:v>1132271</c:v>
                </c:pt>
                <c:pt idx="5842">
                  <c:v>1132222</c:v>
                </c:pt>
                <c:pt idx="5843">
                  <c:v>1132158</c:v>
                </c:pt>
                <c:pt idx="5844">
                  <c:v>1132136</c:v>
                </c:pt>
                <c:pt idx="5845">
                  <c:v>1132020</c:v>
                </c:pt>
                <c:pt idx="5846">
                  <c:v>1132013</c:v>
                </c:pt>
                <c:pt idx="5847">
                  <c:v>1131803</c:v>
                </c:pt>
                <c:pt idx="5848">
                  <c:v>1131576</c:v>
                </c:pt>
                <c:pt idx="5849">
                  <c:v>1131524</c:v>
                </c:pt>
                <c:pt idx="5850">
                  <c:v>1131405</c:v>
                </c:pt>
                <c:pt idx="5851">
                  <c:v>1131369</c:v>
                </c:pt>
                <c:pt idx="5852">
                  <c:v>1131229</c:v>
                </c:pt>
                <c:pt idx="5853">
                  <c:v>1131164</c:v>
                </c:pt>
                <c:pt idx="5854">
                  <c:v>1131153</c:v>
                </c:pt>
                <c:pt idx="5855">
                  <c:v>1131040</c:v>
                </c:pt>
                <c:pt idx="5856">
                  <c:v>1130993</c:v>
                </c:pt>
                <c:pt idx="5857">
                  <c:v>1130889</c:v>
                </c:pt>
                <c:pt idx="5858">
                  <c:v>1130753</c:v>
                </c:pt>
                <c:pt idx="5859">
                  <c:v>1130685</c:v>
                </c:pt>
                <c:pt idx="5860">
                  <c:v>1130520</c:v>
                </c:pt>
                <c:pt idx="5861">
                  <c:v>1130438</c:v>
                </c:pt>
                <c:pt idx="5862">
                  <c:v>1130367</c:v>
                </c:pt>
                <c:pt idx="5863">
                  <c:v>1130163</c:v>
                </c:pt>
                <c:pt idx="5864">
                  <c:v>1130065</c:v>
                </c:pt>
                <c:pt idx="5865">
                  <c:v>1129925</c:v>
                </c:pt>
                <c:pt idx="5866">
                  <c:v>1129630</c:v>
                </c:pt>
                <c:pt idx="5867">
                  <c:v>1129563</c:v>
                </c:pt>
                <c:pt idx="5868">
                  <c:v>1129552</c:v>
                </c:pt>
                <c:pt idx="5869">
                  <c:v>1129518</c:v>
                </c:pt>
                <c:pt idx="5870">
                  <c:v>1129461</c:v>
                </c:pt>
                <c:pt idx="5871">
                  <c:v>1129444</c:v>
                </c:pt>
                <c:pt idx="5872">
                  <c:v>1129385</c:v>
                </c:pt>
                <c:pt idx="5873">
                  <c:v>1129294</c:v>
                </c:pt>
                <c:pt idx="5874">
                  <c:v>1129066</c:v>
                </c:pt>
                <c:pt idx="5875">
                  <c:v>1129005</c:v>
                </c:pt>
                <c:pt idx="5876">
                  <c:v>1128968</c:v>
                </c:pt>
                <c:pt idx="5877">
                  <c:v>1128967</c:v>
                </c:pt>
                <c:pt idx="5878">
                  <c:v>1128748</c:v>
                </c:pt>
                <c:pt idx="5879">
                  <c:v>1128558</c:v>
                </c:pt>
                <c:pt idx="5880">
                  <c:v>1128339</c:v>
                </c:pt>
                <c:pt idx="5881">
                  <c:v>1128294</c:v>
                </c:pt>
                <c:pt idx="5882">
                  <c:v>1128014</c:v>
                </c:pt>
                <c:pt idx="5883">
                  <c:v>1127506</c:v>
                </c:pt>
                <c:pt idx="5884">
                  <c:v>1127359</c:v>
                </c:pt>
                <c:pt idx="5885">
                  <c:v>1127259</c:v>
                </c:pt>
                <c:pt idx="5886">
                  <c:v>1127218</c:v>
                </c:pt>
                <c:pt idx="5887">
                  <c:v>1127186</c:v>
                </c:pt>
                <c:pt idx="5888">
                  <c:v>1127128</c:v>
                </c:pt>
                <c:pt idx="5889">
                  <c:v>1126714</c:v>
                </c:pt>
                <c:pt idx="5890">
                  <c:v>1126612</c:v>
                </c:pt>
                <c:pt idx="5891">
                  <c:v>1126486</c:v>
                </c:pt>
                <c:pt idx="5892">
                  <c:v>1126369</c:v>
                </c:pt>
                <c:pt idx="5893">
                  <c:v>1126352</c:v>
                </c:pt>
                <c:pt idx="5894">
                  <c:v>1126186</c:v>
                </c:pt>
                <c:pt idx="5895">
                  <c:v>1126139</c:v>
                </c:pt>
                <c:pt idx="5896">
                  <c:v>1126099</c:v>
                </c:pt>
                <c:pt idx="5897">
                  <c:v>1126077</c:v>
                </c:pt>
                <c:pt idx="5898">
                  <c:v>1125922</c:v>
                </c:pt>
                <c:pt idx="5899">
                  <c:v>1125736</c:v>
                </c:pt>
                <c:pt idx="5900">
                  <c:v>1125608</c:v>
                </c:pt>
                <c:pt idx="5901">
                  <c:v>1125588</c:v>
                </c:pt>
                <c:pt idx="5902">
                  <c:v>1125576</c:v>
                </c:pt>
                <c:pt idx="5903">
                  <c:v>1125481</c:v>
                </c:pt>
                <c:pt idx="5904">
                  <c:v>1125464</c:v>
                </c:pt>
                <c:pt idx="5905">
                  <c:v>1125455</c:v>
                </c:pt>
                <c:pt idx="5906">
                  <c:v>1125307</c:v>
                </c:pt>
                <c:pt idx="5907">
                  <c:v>1124870</c:v>
                </c:pt>
                <c:pt idx="5908">
                  <c:v>1124800</c:v>
                </c:pt>
                <c:pt idx="5909">
                  <c:v>1124788</c:v>
                </c:pt>
                <c:pt idx="5910">
                  <c:v>1124778</c:v>
                </c:pt>
                <c:pt idx="5911">
                  <c:v>1124715</c:v>
                </c:pt>
                <c:pt idx="5912">
                  <c:v>1124304</c:v>
                </c:pt>
                <c:pt idx="5913">
                  <c:v>1124253</c:v>
                </c:pt>
                <c:pt idx="5914">
                  <c:v>1124241</c:v>
                </c:pt>
                <c:pt idx="5915">
                  <c:v>1124185</c:v>
                </c:pt>
                <c:pt idx="5916">
                  <c:v>1124084</c:v>
                </c:pt>
                <c:pt idx="5917">
                  <c:v>1123985</c:v>
                </c:pt>
                <c:pt idx="5918">
                  <c:v>1123944</c:v>
                </c:pt>
                <c:pt idx="5919">
                  <c:v>1123894</c:v>
                </c:pt>
                <c:pt idx="5920">
                  <c:v>1123801</c:v>
                </c:pt>
                <c:pt idx="5921">
                  <c:v>1123631</c:v>
                </c:pt>
                <c:pt idx="5922">
                  <c:v>1123578</c:v>
                </c:pt>
                <c:pt idx="5923">
                  <c:v>1123499</c:v>
                </c:pt>
                <c:pt idx="5924">
                  <c:v>1123424</c:v>
                </c:pt>
                <c:pt idx="5925">
                  <c:v>1123393</c:v>
                </c:pt>
                <c:pt idx="5926">
                  <c:v>1123265</c:v>
                </c:pt>
                <c:pt idx="5927">
                  <c:v>1123205</c:v>
                </c:pt>
                <c:pt idx="5928">
                  <c:v>1123068</c:v>
                </c:pt>
                <c:pt idx="5929">
                  <c:v>1123030</c:v>
                </c:pt>
                <c:pt idx="5930">
                  <c:v>1122899</c:v>
                </c:pt>
                <c:pt idx="5931">
                  <c:v>1122879</c:v>
                </c:pt>
                <c:pt idx="5932">
                  <c:v>1122865</c:v>
                </c:pt>
                <c:pt idx="5933">
                  <c:v>1122705</c:v>
                </c:pt>
                <c:pt idx="5934">
                  <c:v>1122655</c:v>
                </c:pt>
                <c:pt idx="5935">
                  <c:v>1122468</c:v>
                </c:pt>
                <c:pt idx="5936">
                  <c:v>1122103</c:v>
                </c:pt>
                <c:pt idx="5937">
                  <c:v>1122046</c:v>
                </c:pt>
                <c:pt idx="5938">
                  <c:v>1121993</c:v>
                </c:pt>
                <c:pt idx="5939">
                  <c:v>1121955</c:v>
                </c:pt>
                <c:pt idx="5940">
                  <c:v>1121758</c:v>
                </c:pt>
                <c:pt idx="5941">
                  <c:v>1121728</c:v>
                </c:pt>
                <c:pt idx="5942">
                  <c:v>1121660</c:v>
                </c:pt>
                <c:pt idx="5943">
                  <c:v>1121524</c:v>
                </c:pt>
                <c:pt idx="5944">
                  <c:v>1121340</c:v>
                </c:pt>
                <c:pt idx="5945">
                  <c:v>1121335</c:v>
                </c:pt>
                <c:pt idx="5946">
                  <c:v>1121302</c:v>
                </c:pt>
                <c:pt idx="5947">
                  <c:v>1121146</c:v>
                </c:pt>
                <c:pt idx="5948">
                  <c:v>1121077</c:v>
                </c:pt>
                <c:pt idx="5949">
                  <c:v>1121067</c:v>
                </c:pt>
                <c:pt idx="5950">
                  <c:v>1121032</c:v>
                </c:pt>
                <c:pt idx="5951">
                  <c:v>1120965</c:v>
                </c:pt>
                <c:pt idx="5952">
                  <c:v>1120950</c:v>
                </c:pt>
                <c:pt idx="5953">
                  <c:v>1120931</c:v>
                </c:pt>
                <c:pt idx="5954">
                  <c:v>1120782</c:v>
                </c:pt>
                <c:pt idx="5955">
                  <c:v>1120722</c:v>
                </c:pt>
                <c:pt idx="5956">
                  <c:v>1120472</c:v>
                </c:pt>
                <c:pt idx="5957">
                  <c:v>1120466</c:v>
                </c:pt>
                <c:pt idx="5958">
                  <c:v>1120267</c:v>
                </c:pt>
                <c:pt idx="5959">
                  <c:v>1120129</c:v>
                </c:pt>
                <c:pt idx="5960">
                  <c:v>1119766</c:v>
                </c:pt>
                <c:pt idx="5961">
                  <c:v>1119745</c:v>
                </c:pt>
                <c:pt idx="5962">
                  <c:v>1119652</c:v>
                </c:pt>
                <c:pt idx="5963">
                  <c:v>1119622</c:v>
                </c:pt>
                <c:pt idx="5964">
                  <c:v>1119572</c:v>
                </c:pt>
                <c:pt idx="5965">
                  <c:v>1119431</c:v>
                </c:pt>
                <c:pt idx="5966">
                  <c:v>1119408</c:v>
                </c:pt>
                <c:pt idx="5967">
                  <c:v>1119348</c:v>
                </c:pt>
                <c:pt idx="5968">
                  <c:v>1119054</c:v>
                </c:pt>
                <c:pt idx="5969">
                  <c:v>1118984</c:v>
                </c:pt>
                <c:pt idx="5970">
                  <c:v>1118979</c:v>
                </c:pt>
                <c:pt idx="5971">
                  <c:v>1118651</c:v>
                </c:pt>
                <c:pt idx="5972">
                  <c:v>1118637</c:v>
                </c:pt>
                <c:pt idx="5973">
                  <c:v>1118616</c:v>
                </c:pt>
                <c:pt idx="5974">
                  <c:v>1118534</c:v>
                </c:pt>
                <c:pt idx="5975">
                  <c:v>1118253</c:v>
                </c:pt>
                <c:pt idx="5976">
                  <c:v>1118140</c:v>
                </c:pt>
                <c:pt idx="5977">
                  <c:v>1118137</c:v>
                </c:pt>
                <c:pt idx="5978">
                  <c:v>1118101</c:v>
                </c:pt>
                <c:pt idx="5979">
                  <c:v>1118098</c:v>
                </c:pt>
                <c:pt idx="5980">
                  <c:v>1118077</c:v>
                </c:pt>
                <c:pt idx="5981">
                  <c:v>1117761</c:v>
                </c:pt>
                <c:pt idx="5982">
                  <c:v>1117742</c:v>
                </c:pt>
                <c:pt idx="5983">
                  <c:v>1117653</c:v>
                </c:pt>
                <c:pt idx="5984">
                  <c:v>1117633</c:v>
                </c:pt>
                <c:pt idx="5985">
                  <c:v>1117571</c:v>
                </c:pt>
                <c:pt idx="5986">
                  <c:v>1117558</c:v>
                </c:pt>
                <c:pt idx="5987">
                  <c:v>1117548</c:v>
                </c:pt>
                <c:pt idx="5988">
                  <c:v>1117521</c:v>
                </c:pt>
                <c:pt idx="5989">
                  <c:v>1117451</c:v>
                </c:pt>
                <c:pt idx="5990">
                  <c:v>1117371</c:v>
                </c:pt>
                <c:pt idx="5991">
                  <c:v>1117274</c:v>
                </c:pt>
                <c:pt idx="5992">
                  <c:v>1117224</c:v>
                </c:pt>
                <c:pt idx="5993">
                  <c:v>1117158</c:v>
                </c:pt>
                <c:pt idx="5994">
                  <c:v>1116914</c:v>
                </c:pt>
                <c:pt idx="5995">
                  <c:v>1116847</c:v>
                </c:pt>
                <c:pt idx="5996">
                  <c:v>1116789</c:v>
                </c:pt>
                <c:pt idx="5997">
                  <c:v>1116696</c:v>
                </c:pt>
                <c:pt idx="5998">
                  <c:v>1116591</c:v>
                </c:pt>
                <c:pt idx="5999">
                  <c:v>1116438</c:v>
                </c:pt>
                <c:pt idx="6000">
                  <c:v>1116338</c:v>
                </c:pt>
                <c:pt idx="6001">
                  <c:v>1116268</c:v>
                </c:pt>
                <c:pt idx="6002">
                  <c:v>1116167</c:v>
                </c:pt>
                <c:pt idx="6003">
                  <c:v>1116156</c:v>
                </c:pt>
                <c:pt idx="6004">
                  <c:v>1115980</c:v>
                </c:pt>
                <c:pt idx="6005">
                  <c:v>1115898</c:v>
                </c:pt>
                <c:pt idx="6006">
                  <c:v>1115813</c:v>
                </c:pt>
                <c:pt idx="6007">
                  <c:v>1115794</c:v>
                </c:pt>
                <c:pt idx="6008">
                  <c:v>1115737</c:v>
                </c:pt>
                <c:pt idx="6009">
                  <c:v>1115699</c:v>
                </c:pt>
                <c:pt idx="6010">
                  <c:v>1115602</c:v>
                </c:pt>
                <c:pt idx="6011">
                  <c:v>1115592</c:v>
                </c:pt>
                <c:pt idx="6012">
                  <c:v>1115514</c:v>
                </c:pt>
                <c:pt idx="6013">
                  <c:v>1115505</c:v>
                </c:pt>
                <c:pt idx="6014">
                  <c:v>1115468</c:v>
                </c:pt>
                <c:pt idx="6015">
                  <c:v>1115132</c:v>
                </c:pt>
                <c:pt idx="6016">
                  <c:v>1114959</c:v>
                </c:pt>
                <c:pt idx="6017">
                  <c:v>1114836</c:v>
                </c:pt>
                <c:pt idx="6018">
                  <c:v>1114812</c:v>
                </c:pt>
                <c:pt idx="6019">
                  <c:v>1114490</c:v>
                </c:pt>
                <c:pt idx="6020">
                  <c:v>1114418</c:v>
                </c:pt>
                <c:pt idx="6021">
                  <c:v>1114250</c:v>
                </c:pt>
                <c:pt idx="6022">
                  <c:v>1114250</c:v>
                </c:pt>
                <c:pt idx="6023">
                  <c:v>1113991</c:v>
                </c:pt>
                <c:pt idx="6024">
                  <c:v>1113587</c:v>
                </c:pt>
                <c:pt idx="6025">
                  <c:v>1113296</c:v>
                </c:pt>
                <c:pt idx="6026">
                  <c:v>1113143</c:v>
                </c:pt>
                <c:pt idx="6027">
                  <c:v>1113085</c:v>
                </c:pt>
                <c:pt idx="6028">
                  <c:v>1112985</c:v>
                </c:pt>
                <c:pt idx="6029">
                  <c:v>1112871</c:v>
                </c:pt>
                <c:pt idx="6030">
                  <c:v>1112725</c:v>
                </c:pt>
                <c:pt idx="6031">
                  <c:v>1112646</c:v>
                </c:pt>
                <c:pt idx="6032">
                  <c:v>1112455</c:v>
                </c:pt>
                <c:pt idx="6033">
                  <c:v>1112392</c:v>
                </c:pt>
                <c:pt idx="6034">
                  <c:v>1112349</c:v>
                </c:pt>
                <c:pt idx="6035">
                  <c:v>1112252</c:v>
                </c:pt>
                <c:pt idx="6036">
                  <c:v>1112061</c:v>
                </c:pt>
                <c:pt idx="6037">
                  <c:v>1111995</c:v>
                </c:pt>
                <c:pt idx="6038">
                  <c:v>1111939</c:v>
                </c:pt>
                <c:pt idx="6039">
                  <c:v>1111840</c:v>
                </c:pt>
                <c:pt idx="6040">
                  <c:v>1111822</c:v>
                </c:pt>
                <c:pt idx="6041">
                  <c:v>1111745</c:v>
                </c:pt>
                <c:pt idx="6042">
                  <c:v>1111718</c:v>
                </c:pt>
                <c:pt idx="6043">
                  <c:v>1111602</c:v>
                </c:pt>
                <c:pt idx="6044">
                  <c:v>1111384</c:v>
                </c:pt>
                <c:pt idx="6045">
                  <c:v>1111119</c:v>
                </c:pt>
                <c:pt idx="6046">
                  <c:v>1111012</c:v>
                </c:pt>
                <c:pt idx="6047">
                  <c:v>1110823</c:v>
                </c:pt>
                <c:pt idx="6048">
                  <c:v>1110099</c:v>
                </c:pt>
                <c:pt idx="6049">
                  <c:v>1110066</c:v>
                </c:pt>
                <c:pt idx="6050">
                  <c:v>1110060</c:v>
                </c:pt>
                <c:pt idx="6051">
                  <c:v>1110004</c:v>
                </c:pt>
                <c:pt idx="6052">
                  <c:v>1109856</c:v>
                </c:pt>
                <c:pt idx="6053">
                  <c:v>1109806</c:v>
                </c:pt>
                <c:pt idx="6054">
                  <c:v>1109723</c:v>
                </c:pt>
                <c:pt idx="6055">
                  <c:v>1109683</c:v>
                </c:pt>
                <c:pt idx="6056">
                  <c:v>1109523</c:v>
                </c:pt>
                <c:pt idx="6057">
                  <c:v>1109200</c:v>
                </c:pt>
                <c:pt idx="6058">
                  <c:v>1109114</c:v>
                </c:pt>
                <c:pt idx="6059">
                  <c:v>1109093</c:v>
                </c:pt>
                <c:pt idx="6060">
                  <c:v>1108836</c:v>
                </c:pt>
                <c:pt idx="6061">
                  <c:v>1108617</c:v>
                </c:pt>
                <c:pt idx="6062">
                  <c:v>1108534</c:v>
                </c:pt>
                <c:pt idx="6063">
                  <c:v>1108364</c:v>
                </c:pt>
                <c:pt idx="6064">
                  <c:v>1108297</c:v>
                </c:pt>
                <c:pt idx="6065">
                  <c:v>1108230</c:v>
                </c:pt>
                <c:pt idx="6066">
                  <c:v>1108030</c:v>
                </c:pt>
                <c:pt idx="6067">
                  <c:v>1108026</c:v>
                </c:pt>
                <c:pt idx="6068">
                  <c:v>1107952</c:v>
                </c:pt>
                <c:pt idx="6069">
                  <c:v>1107892</c:v>
                </c:pt>
                <c:pt idx="6070">
                  <c:v>1107830</c:v>
                </c:pt>
                <c:pt idx="6071">
                  <c:v>1107828</c:v>
                </c:pt>
                <c:pt idx="6072">
                  <c:v>1107595</c:v>
                </c:pt>
                <c:pt idx="6073">
                  <c:v>1107360</c:v>
                </c:pt>
                <c:pt idx="6074">
                  <c:v>1107053</c:v>
                </c:pt>
                <c:pt idx="6075">
                  <c:v>1107027</c:v>
                </c:pt>
                <c:pt idx="6076">
                  <c:v>1106892</c:v>
                </c:pt>
                <c:pt idx="6077">
                  <c:v>1106844</c:v>
                </c:pt>
                <c:pt idx="6078">
                  <c:v>1106761</c:v>
                </c:pt>
                <c:pt idx="6079">
                  <c:v>1106687</c:v>
                </c:pt>
                <c:pt idx="6080">
                  <c:v>1106442</c:v>
                </c:pt>
                <c:pt idx="6081">
                  <c:v>1106232</c:v>
                </c:pt>
                <c:pt idx="6082">
                  <c:v>1106198</c:v>
                </c:pt>
                <c:pt idx="6083">
                  <c:v>1106143</c:v>
                </c:pt>
                <c:pt idx="6084">
                  <c:v>1105801</c:v>
                </c:pt>
                <c:pt idx="6085">
                  <c:v>1105687</c:v>
                </c:pt>
                <c:pt idx="6086">
                  <c:v>1105462</c:v>
                </c:pt>
                <c:pt idx="6087">
                  <c:v>1105436</c:v>
                </c:pt>
                <c:pt idx="6088">
                  <c:v>1105354</c:v>
                </c:pt>
                <c:pt idx="6089">
                  <c:v>1105270</c:v>
                </c:pt>
                <c:pt idx="6090">
                  <c:v>1105177</c:v>
                </c:pt>
                <c:pt idx="6091">
                  <c:v>1105170</c:v>
                </c:pt>
                <c:pt idx="6092">
                  <c:v>1104840</c:v>
                </c:pt>
                <c:pt idx="6093">
                  <c:v>1104628</c:v>
                </c:pt>
                <c:pt idx="6094">
                  <c:v>1104355</c:v>
                </c:pt>
                <c:pt idx="6095">
                  <c:v>1104344</c:v>
                </c:pt>
                <c:pt idx="6096">
                  <c:v>1104180</c:v>
                </c:pt>
                <c:pt idx="6097">
                  <c:v>1104071</c:v>
                </c:pt>
                <c:pt idx="6098">
                  <c:v>1103914</c:v>
                </c:pt>
                <c:pt idx="6099">
                  <c:v>1103805</c:v>
                </c:pt>
                <c:pt idx="6100">
                  <c:v>1103760</c:v>
                </c:pt>
                <c:pt idx="6101">
                  <c:v>1103677</c:v>
                </c:pt>
                <c:pt idx="6102">
                  <c:v>1103382</c:v>
                </c:pt>
                <c:pt idx="6103">
                  <c:v>1103115</c:v>
                </c:pt>
                <c:pt idx="6104">
                  <c:v>1103038</c:v>
                </c:pt>
                <c:pt idx="6105">
                  <c:v>1102995</c:v>
                </c:pt>
                <c:pt idx="6106">
                  <c:v>1102945</c:v>
                </c:pt>
                <c:pt idx="6107">
                  <c:v>1102810</c:v>
                </c:pt>
                <c:pt idx="6108">
                  <c:v>1102587</c:v>
                </c:pt>
                <c:pt idx="6109">
                  <c:v>1102425</c:v>
                </c:pt>
                <c:pt idx="6110">
                  <c:v>1102409</c:v>
                </c:pt>
                <c:pt idx="6111">
                  <c:v>1101878</c:v>
                </c:pt>
                <c:pt idx="6112">
                  <c:v>1101858</c:v>
                </c:pt>
                <c:pt idx="6113">
                  <c:v>1101855</c:v>
                </c:pt>
                <c:pt idx="6114">
                  <c:v>1101847</c:v>
                </c:pt>
                <c:pt idx="6115">
                  <c:v>1101777</c:v>
                </c:pt>
                <c:pt idx="6116">
                  <c:v>1101730</c:v>
                </c:pt>
                <c:pt idx="6117">
                  <c:v>1101629</c:v>
                </c:pt>
                <c:pt idx="6118">
                  <c:v>1101544</c:v>
                </c:pt>
                <c:pt idx="6119">
                  <c:v>1101201</c:v>
                </c:pt>
                <c:pt idx="6120">
                  <c:v>1101041</c:v>
                </c:pt>
                <c:pt idx="6121">
                  <c:v>1101016</c:v>
                </c:pt>
                <c:pt idx="6122">
                  <c:v>1101011</c:v>
                </c:pt>
                <c:pt idx="6123">
                  <c:v>1101002</c:v>
                </c:pt>
                <c:pt idx="6124">
                  <c:v>1100761</c:v>
                </c:pt>
                <c:pt idx="6125">
                  <c:v>1100721</c:v>
                </c:pt>
                <c:pt idx="6126">
                  <c:v>1100657</c:v>
                </c:pt>
                <c:pt idx="6127">
                  <c:v>1100464</c:v>
                </c:pt>
                <c:pt idx="6128">
                  <c:v>1100368</c:v>
                </c:pt>
                <c:pt idx="6129">
                  <c:v>1100222</c:v>
                </c:pt>
                <c:pt idx="6130">
                  <c:v>1100178</c:v>
                </c:pt>
                <c:pt idx="6131">
                  <c:v>1100111</c:v>
                </c:pt>
                <c:pt idx="6132">
                  <c:v>1100109</c:v>
                </c:pt>
                <c:pt idx="6133">
                  <c:v>1099664</c:v>
                </c:pt>
                <c:pt idx="6134">
                  <c:v>1099638</c:v>
                </c:pt>
                <c:pt idx="6135">
                  <c:v>1099190</c:v>
                </c:pt>
                <c:pt idx="6136">
                  <c:v>1099186</c:v>
                </c:pt>
                <c:pt idx="6137">
                  <c:v>1099068</c:v>
                </c:pt>
                <c:pt idx="6138">
                  <c:v>1099005</c:v>
                </c:pt>
                <c:pt idx="6139">
                  <c:v>1098633</c:v>
                </c:pt>
                <c:pt idx="6140">
                  <c:v>1098591</c:v>
                </c:pt>
                <c:pt idx="6141">
                  <c:v>1098542</c:v>
                </c:pt>
                <c:pt idx="6142">
                  <c:v>1098517</c:v>
                </c:pt>
                <c:pt idx="6143">
                  <c:v>1098436</c:v>
                </c:pt>
                <c:pt idx="6144">
                  <c:v>1098317</c:v>
                </c:pt>
                <c:pt idx="6145">
                  <c:v>1098183</c:v>
                </c:pt>
                <c:pt idx="6146">
                  <c:v>1098153</c:v>
                </c:pt>
                <c:pt idx="6147">
                  <c:v>1098048</c:v>
                </c:pt>
                <c:pt idx="6148">
                  <c:v>1098005</c:v>
                </c:pt>
                <c:pt idx="6149">
                  <c:v>1097953</c:v>
                </c:pt>
                <c:pt idx="6150">
                  <c:v>1097630</c:v>
                </c:pt>
                <c:pt idx="6151">
                  <c:v>1097146</c:v>
                </c:pt>
                <c:pt idx="6152">
                  <c:v>1097142</c:v>
                </c:pt>
                <c:pt idx="6153">
                  <c:v>1096860</c:v>
                </c:pt>
                <c:pt idx="6154">
                  <c:v>1096727</c:v>
                </c:pt>
                <c:pt idx="6155">
                  <c:v>1096719</c:v>
                </c:pt>
                <c:pt idx="6156">
                  <c:v>1096667</c:v>
                </c:pt>
                <c:pt idx="6157">
                  <c:v>1096597</c:v>
                </c:pt>
                <c:pt idx="6158">
                  <c:v>1096554</c:v>
                </c:pt>
                <c:pt idx="6159">
                  <c:v>1096541</c:v>
                </c:pt>
                <c:pt idx="6160">
                  <c:v>1096208</c:v>
                </c:pt>
                <c:pt idx="6161">
                  <c:v>1096013</c:v>
                </c:pt>
                <c:pt idx="6162">
                  <c:v>1095938</c:v>
                </c:pt>
                <c:pt idx="6163">
                  <c:v>1095280</c:v>
                </c:pt>
                <c:pt idx="6164">
                  <c:v>1095192</c:v>
                </c:pt>
                <c:pt idx="6165">
                  <c:v>1095126</c:v>
                </c:pt>
                <c:pt idx="6166">
                  <c:v>1094532</c:v>
                </c:pt>
                <c:pt idx="6167">
                  <c:v>1094509</c:v>
                </c:pt>
                <c:pt idx="6168">
                  <c:v>1094241</c:v>
                </c:pt>
                <c:pt idx="6169">
                  <c:v>1094074</c:v>
                </c:pt>
                <c:pt idx="6170">
                  <c:v>1093714</c:v>
                </c:pt>
                <c:pt idx="6171">
                  <c:v>1093702</c:v>
                </c:pt>
                <c:pt idx="6172">
                  <c:v>1093660</c:v>
                </c:pt>
                <c:pt idx="6173">
                  <c:v>1093614</c:v>
                </c:pt>
                <c:pt idx="6174">
                  <c:v>1093542</c:v>
                </c:pt>
                <c:pt idx="6175">
                  <c:v>1093349</c:v>
                </c:pt>
                <c:pt idx="6176">
                  <c:v>1093174</c:v>
                </c:pt>
                <c:pt idx="6177">
                  <c:v>1093080</c:v>
                </c:pt>
                <c:pt idx="6178">
                  <c:v>1093019</c:v>
                </c:pt>
                <c:pt idx="6179">
                  <c:v>1092763</c:v>
                </c:pt>
                <c:pt idx="6180">
                  <c:v>1091984</c:v>
                </c:pt>
                <c:pt idx="6181">
                  <c:v>1091889</c:v>
                </c:pt>
                <c:pt idx="6182">
                  <c:v>1091584</c:v>
                </c:pt>
                <c:pt idx="6183">
                  <c:v>1091573</c:v>
                </c:pt>
                <c:pt idx="6184">
                  <c:v>1091415</c:v>
                </c:pt>
                <c:pt idx="6185">
                  <c:v>1091404</c:v>
                </c:pt>
                <c:pt idx="6186">
                  <c:v>1091400</c:v>
                </c:pt>
                <c:pt idx="6187">
                  <c:v>1091113</c:v>
                </c:pt>
                <c:pt idx="6188">
                  <c:v>1091074</c:v>
                </c:pt>
                <c:pt idx="6189">
                  <c:v>1090917</c:v>
                </c:pt>
                <c:pt idx="6190">
                  <c:v>1090896</c:v>
                </c:pt>
                <c:pt idx="6191">
                  <c:v>1090886</c:v>
                </c:pt>
                <c:pt idx="6192">
                  <c:v>1090729</c:v>
                </c:pt>
                <c:pt idx="6193">
                  <c:v>1090479</c:v>
                </c:pt>
                <c:pt idx="6194">
                  <c:v>1089788</c:v>
                </c:pt>
                <c:pt idx="6195">
                  <c:v>1089659</c:v>
                </c:pt>
                <c:pt idx="6196">
                  <c:v>1089501</c:v>
                </c:pt>
                <c:pt idx="6197">
                  <c:v>1089399</c:v>
                </c:pt>
                <c:pt idx="6198">
                  <c:v>1089382</c:v>
                </c:pt>
                <c:pt idx="6199">
                  <c:v>1089379</c:v>
                </c:pt>
                <c:pt idx="6200">
                  <c:v>1089377</c:v>
                </c:pt>
                <c:pt idx="6201">
                  <c:v>1089204</c:v>
                </c:pt>
                <c:pt idx="6202">
                  <c:v>1088891</c:v>
                </c:pt>
                <c:pt idx="6203">
                  <c:v>1088705</c:v>
                </c:pt>
                <c:pt idx="6204">
                  <c:v>1088642</c:v>
                </c:pt>
                <c:pt idx="6205">
                  <c:v>1088628</c:v>
                </c:pt>
                <c:pt idx="6206">
                  <c:v>1088307</c:v>
                </c:pt>
                <c:pt idx="6207">
                  <c:v>1087871</c:v>
                </c:pt>
                <c:pt idx="6208">
                  <c:v>1087840</c:v>
                </c:pt>
                <c:pt idx="6209">
                  <c:v>1087516</c:v>
                </c:pt>
                <c:pt idx="6210">
                  <c:v>1087492</c:v>
                </c:pt>
                <c:pt idx="6211">
                  <c:v>1087351</c:v>
                </c:pt>
                <c:pt idx="6212">
                  <c:v>1087317</c:v>
                </c:pt>
                <c:pt idx="6213">
                  <c:v>1087260</c:v>
                </c:pt>
                <c:pt idx="6214">
                  <c:v>1087050</c:v>
                </c:pt>
                <c:pt idx="6215">
                  <c:v>1086719</c:v>
                </c:pt>
                <c:pt idx="6216">
                  <c:v>1086621</c:v>
                </c:pt>
                <c:pt idx="6217">
                  <c:v>1086528</c:v>
                </c:pt>
                <c:pt idx="6218">
                  <c:v>1086343</c:v>
                </c:pt>
                <c:pt idx="6219">
                  <c:v>1086308</c:v>
                </c:pt>
                <c:pt idx="6220">
                  <c:v>1085921</c:v>
                </c:pt>
                <c:pt idx="6221">
                  <c:v>1085655</c:v>
                </c:pt>
                <c:pt idx="6222">
                  <c:v>1085485</c:v>
                </c:pt>
                <c:pt idx="6223">
                  <c:v>1085406</c:v>
                </c:pt>
                <c:pt idx="6224">
                  <c:v>1085364</c:v>
                </c:pt>
                <c:pt idx="6225">
                  <c:v>1084662</c:v>
                </c:pt>
                <c:pt idx="6226">
                  <c:v>1084604</c:v>
                </c:pt>
                <c:pt idx="6227">
                  <c:v>1084437</c:v>
                </c:pt>
                <c:pt idx="6228">
                  <c:v>1084289</c:v>
                </c:pt>
                <c:pt idx="6229">
                  <c:v>1084277</c:v>
                </c:pt>
                <c:pt idx="6230">
                  <c:v>1084112</c:v>
                </c:pt>
                <c:pt idx="6231">
                  <c:v>1083390</c:v>
                </c:pt>
                <c:pt idx="6232">
                  <c:v>1083315</c:v>
                </c:pt>
                <c:pt idx="6233">
                  <c:v>1083034</c:v>
                </c:pt>
                <c:pt idx="6234">
                  <c:v>1082847</c:v>
                </c:pt>
                <c:pt idx="6235">
                  <c:v>1082509</c:v>
                </c:pt>
                <c:pt idx="6236">
                  <c:v>1082458</c:v>
                </c:pt>
                <c:pt idx="6237">
                  <c:v>1082437</c:v>
                </c:pt>
                <c:pt idx="6238">
                  <c:v>1082185</c:v>
                </c:pt>
                <c:pt idx="6239">
                  <c:v>1081799</c:v>
                </c:pt>
                <c:pt idx="6240">
                  <c:v>1081713</c:v>
                </c:pt>
                <c:pt idx="6241">
                  <c:v>1081210</c:v>
                </c:pt>
                <c:pt idx="6242">
                  <c:v>1081065</c:v>
                </c:pt>
                <c:pt idx="6243">
                  <c:v>1080876</c:v>
                </c:pt>
                <c:pt idx="6244">
                  <c:v>1080719</c:v>
                </c:pt>
                <c:pt idx="6245">
                  <c:v>1080597</c:v>
                </c:pt>
                <c:pt idx="6246">
                  <c:v>1080538</c:v>
                </c:pt>
                <c:pt idx="6247">
                  <c:v>1080479</c:v>
                </c:pt>
                <c:pt idx="6248">
                  <c:v>1080430</c:v>
                </c:pt>
                <c:pt idx="6249">
                  <c:v>1080219</c:v>
                </c:pt>
                <c:pt idx="6250">
                  <c:v>1080192</c:v>
                </c:pt>
                <c:pt idx="6251">
                  <c:v>1079962</c:v>
                </c:pt>
                <c:pt idx="6252">
                  <c:v>1079866</c:v>
                </c:pt>
                <c:pt idx="6253">
                  <c:v>1079781</c:v>
                </c:pt>
                <c:pt idx="6254">
                  <c:v>1079703</c:v>
                </c:pt>
                <c:pt idx="6255">
                  <c:v>1079664</c:v>
                </c:pt>
                <c:pt idx="6256">
                  <c:v>1079609</c:v>
                </c:pt>
                <c:pt idx="6257">
                  <c:v>1079573</c:v>
                </c:pt>
                <c:pt idx="6258">
                  <c:v>1079381</c:v>
                </c:pt>
                <c:pt idx="6259">
                  <c:v>1079378</c:v>
                </c:pt>
                <c:pt idx="6260">
                  <c:v>1079334</c:v>
                </c:pt>
                <c:pt idx="6261">
                  <c:v>1079319</c:v>
                </c:pt>
                <c:pt idx="6262">
                  <c:v>1079258</c:v>
                </c:pt>
                <c:pt idx="6263">
                  <c:v>1079198</c:v>
                </c:pt>
                <c:pt idx="6264">
                  <c:v>1079059</c:v>
                </c:pt>
                <c:pt idx="6265">
                  <c:v>1078980</c:v>
                </c:pt>
                <c:pt idx="6266">
                  <c:v>1078853</c:v>
                </c:pt>
                <c:pt idx="6267">
                  <c:v>1078845</c:v>
                </c:pt>
                <c:pt idx="6268">
                  <c:v>1078740</c:v>
                </c:pt>
                <c:pt idx="6269">
                  <c:v>1078681</c:v>
                </c:pt>
                <c:pt idx="6270">
                  <c:v>1078680</c:v>
                </c:pt>
                <c:pt idx="6271">
                  <c:v>1078432</c:v>
                </c:pt>
                <c:pt idx="6272">
                  <c:v>1078394</c:v>
                </c:pt>
                <c:pt idx="6273">
                  <c:v>1078207</c:v>
                </c:pt>
                <c:pt idx="6274">
                  <c:v>1077994</c:v>
                </c:pt>
                <c:pt idx="6275">
                  <c:v>1077893</c:v>
                </c:pt>
                <c:pt idx="6276">
                  <c:v>1077596</c:v>
                </c:pt>
                <c:pt idx="6277">
                  <c:v>1077431</c:v>
                </c:pt>
                <c:pt idx="6278">
                  <c:v>1077128</c:v>
                </c:pt>
                <c:pt idx="6279">
                  <c:v>1077083</c:v>
                </c:pt>
                <c:pt idx="6280">
                  <c:v>1076888</c:v>
                </c:pt>
                <c:pt idx="6281">
                  <c:v>1076821</c:v>
                </c:pt>
                <c:pt idx="6282">
                  <c:v>1076767</c:v>
                </c:pt>
                <c:pt idx="6283">
                  <c:v>1076733</c:v>
                </c:pt>
                <c:pt idx="6284">
                  <c:v>1076727</c:v>
                </c:pt>
                <c:pt idx="6285">
                  <c:v>1076299</c:v>
                </c:pt>
                <c:pt idx="6286">
                  <c:v>1076243</c:v>
                </c:pt>
                <c:pt idx="6287">
                  <c:v>1076219</c:v>
                </c:pt>
                <c:pt idx="6288">
                  <c:v>1076103</c:v>
                </c:pt>
                <c:pt idx="6289">
                  <c:v>1075973</c:v>
                </c:pt>
                <c:pt idx="6290">
                  <c:v>1075867</c:v>
                </c:pt>
                <c:pt idx="6291">
                  <c:v>1075812</c:v>
                </c:pt>
                <c:pt idx="6292">
                  <c:v>1075602</c:v>
                </c:pt>
                <c:pt idx="6293">
                  <c:v>1075411</c:v>
                </c:pt>
                <c:pt idx="6294">
                  <c:v>1075071</c:v>
                </c:pt>
                <c:pt idx="6295">
                  <c:v>1074873</c:v>
                </c:pt>
                <c:pt idx="6296">
                  <c:v>1074797</c:v>
                </c:pt>
                <c:pt idx="6297">
                  <c:v>1074716</c:v>
                </c:pt>
                <c:pt idx="6298">
                  <c:v>1074644</c:v>
                </c:pt>
                <c:pt idx="6299">
                  <c:v>1074614</c:v>
                </c:pt>
                <c:pt idx="6300">
                  <c:v>1074219</c:v>
                </c:pt>
                <c:pt idx="6301">
                  <c:v>1073964</c:v>
                </c:pt>
                <c:pt idx="6302">
                  <c:v>1073920</c:v>
                </c:pt>
                <c:pt idx="6303">
                  <c:v>1073912</c:v>
                </c:pt>
                <c:pt idx="6304">
                  <c:v>1073852</c:v>
                </c:pt>
                <c:pt idx="6305">
                  <c:v>1073819</c:v>
                </c:pt>
                <c:pt idx="6306">
                  <c:v>1073570</c:v>
                </c:pt>
                <c:pt idx="6307">
                  <c:v>1073489</c:v>
                </c:pt>
                <c:pt idx="6308">
                  <c:v>1073422</c:v>
                </c:pt>
                <c:pt idx="6309">
                  <c:v>1073306</c:v>
                </c:pt>
                <c:pt idx="6310">
                  <c:v>1073105</c:v>
                </c:pt>
                <c:pt idx="6311">
                  <c:v>1072878</c:v>
                </c:pt>
                <c:pt idx="6312">
                  <c:v>1072413</c:v>
                </c:pt>
                <c:pt idx="6313">
                  <c:v>1072265</c:v>
                </c:pt>
                <c:pt idx="6314">
                  <c:v>1071255</c:v>
                </c:pt>
                <c:pt idx="6315">
                  <c:v>1070642</c:v>
                </c:pt>
                <c:pt idx="6316">
                  <c:v>1070371</c:v>
                </c:pt>
                <c:pt idx="6317">
                  <c:v>1070322</c:v>
                </c:pt>
                <c:pt idx="6318">
                  <c:v>1069979</c:v>
                </c:pt>
                <c:pt idx="6319">
                  <c:v>1069365</c:v>
                </c:pt>
                <c:pt idx="6320">
                  <c:v>1069174</c:v>
                </c:pt>
                <c:pt idx="6321">
                  <c:v>1068786</c:v>
                </c:pt>
                <c:pt idx="6322">
                  <c:v>1068565</c:v>
                </c:pt>
                <c:pt idx="6323">
                  <c:v>1068257</c:v>
                </c:pt>
                <c:pt idx="6324">
                  <c:v>1068216</c:v>
                </c:pt>
                <c:pt idx="6325">
                  <c:v>1067998</c:v>
                </c:pt>
                <c:pt idx="6326">
                  <c:v>1067975</c:v>
                </c:pt>
                <c:pt idx="6327">
                  <c:v>1067918</c:v>
                </c:pt>
                <c:pt idx="6328">
                  <c:v>1067586</c:v>
                </c:pt>
                <c:pt idx="6329">
                  <c:v>1067494</c:v>
                </c:pt>
                <c:pt idx="6330">
                  <c:v>1067085</c:v>
                </c:pt>
                <c:pt idx="6331">
                  <c:v>1066006</c:v>
                </c:pt>
                <c:pt idx="6332">
                  <c:v>1066002</c:v>
                </c:pt>
                <c:pt idx="6333">
                  <c:v>1065946</c:v>
                </c:pt>
                <c:pt idx="6334">
                  <c:v>1065324</c:v>
                </c:pt>
                <c:pt idx="6335">
                  <c:v>1065308</c:v>
                </c:pt>
                <c:pt idx="6336">
                  <c:v>1065153</c:v>
                </c:pt>
                <c:pt idx="6337">
                  <c:v>1065007</c:v>
                </c:pt>
                <c:pt idx="6338">
                  <c:v>1064938</c:v>
                </c:pt>
                <c:pt idx="6339">
                  <c:v>1064287</c:v>
                </c:pt>
                <c:pt idx="6340">
                  <c:v>1064153</c:v>
                </c:pt>
                <c:pt idx="6341">
                  <c:v>1064118</c:v>
                </c:pt>
                <c:pt idx="6342">
                  <c:v>1063703</c:v>
                </c:pt>
                <c:pt idx="6343">
                  <c:v>1063524</c:v>
                </c:pt>
                <c:pt idx="6344">
                  <c:v>1063436</c:v>
                </c:pt>
                <c:pt idx="6345">
                  <c:v>1063159</c:v>
                </c:pt>
                <c:pt idx="6346">
                  <c:v>1063119</c:v>
                </c:pt>
                <c:pt idx="6347">
                  <c:v>1063100</c:v>
                </c:pt>
                <c:pt idx="6348">
                  <c:v>1063036</c:v>
                </c:pt>
                <c:pt idx="6349">
                  <c:v>1062828</c:v>
                </c:pt>
                <c:pt idx="6350">
                  <c:v>1062577</c:v>
                </c:pt>
                <c:pt idx="6351">
                  <c:v>1062222</c:v>
                </c:pt>
                <c:pt idx="6352">
                  <c:v>1061906</c:v>
                </c:pt>
                <c:pt idx="6353">
                  <c:v>1061556</c:v>
                </c:pt>
                <c:pt idx="6354">
                  <c:v>1060811</c:v>
                </c:pt>
                <c:pt idx="6355">
                  <c:v>1060581</c:v>
                </c:pt>
                <c:pt idx="6356">
                  <c:v>1060408</c:v>
                </c:pt>
                <c:pt idx="6357">
                  <c:v>1059877</c:v>
                </c:pt>
                <c:pt idx="6358">
                  <c:v>1059479</c:v>
                </c:pt>
                <c:pt idx="6359">
                  <c:v>1059407</c:v>
                </c:pt>
                <c:pt idx="6360">
                  <c:v>1059405</c:v>
                </c:pt>
                <c:pt idx="6361">
                  <c:v>1059297</c:v>
                </c:pt>
                <c:pt idx="6362">
                  <c:v>1058944</c:v>
                </c:pt>
                <c:pt idx="6363">
                  <c:v>1058905</c:v>
                </c:pt>
                <c:pt idx="6364">
                  <c:v>1058888</c:v>
                </c:pt>
                <c:pt idx="6365">
                  <c:v>1058883</c:v>
                </c:pt>
                <c:pt idx="6366">
                  <c:v>1058312</c:v>
                </c:pt>
                <c:pt idx="6367">
                  <c:v>1058026</c:v>
                </c:pt>
                <c:pt idx="6368">
                  <c:v>1057998</c:v>
                </c:pt>
                <c:pt idx="6369">
                  <c:v>1057647</c:v>
                </c:pt>
                <c:pt idx="6370">
                  <c:v>1057265</c:v>
                </c:pt>
                <c:pt idx="6371">
                  <c:v>1057217</c:v>
                </c:pt>
                <c:pt idx="6372">
                  <c:v>1057187</c:v>
                </c:pt>
                <c:pt idx="6373">
                  <c:v>1056991</c:v>
                </c:pt>
                <c:pt idx="6374">
                  <c:v>1056725</c:v>
                </c:pt>
                <c:pt idx="6375">
                  <c:v>1056722</c:v>
                </c:pt>
                <c:pt idx="6376">
                  <c:v>1056719</c:v>
                </c:pt>
                <c:pt idx="6377">
                  <c:v>1056616</c:v>
                </c:pt>
                <c:pt idx="6378">
                  <c:v>1056518</c:v>
                </c:pt>
                <c:pt idx="6379">
                  <c:v>1056490</c:v>
                </c:pt>
                <c:pt idx="6380">
                  <c:v>1056482</c:v>
                </c:pt>
                <c:pt idx="6381">
                  <c:v>1056391</c:v>
                </c:pt>
                <c:pt idx="6382">
                  <c:v>1056042</c:v>
                </c:pt>
                <c:pt idx="6383">
                  <c:v>1056041</c:v>
                </c:pt>
                <c:pt idx="6384">
                  <c:v>1055916</c:v>
                </c:pt>
                <c:pt idx="6385">
                  <c:v>1055378</c:v>
                </c:pt>
                <c:pt idx="6386">
                  <c:v>1055294</c:v>
                </c:pt>
                <c:pt idx="6387">
                  <c:v>1055171</c:v>
                </c:pt>
                <c:pt idx="6388">
                  <c:v>1055148</c:v>
                </c:pt>
                <c:pt idx="6389">
                  <c:v>1055136</c:v>
                </c:pt>
                <c:pt idx="6390">
                  <c:v>1055047</c:v>
                </c:pt>
                <c:pt idx="6391">
                  <c:v>1054652</c:v>
                </c:pt>
                <c:pt idx="6392">
                  <c:v>1054353</c:v>
                </c:pt>
                <c:pt idx="6393">
                  <c:v>1054265</c:v>
                </c:pt>
                <c:pt idx="6394">
                  <c:v>1054142</c:v>
                </c:pt>
                <c:pt idx="6395">
                  <c:v>1054136</c:v>
                </c:pt>
                <c:pt idx="6396">
                  <c:v>1053665</c:v>
                </c:pt>
                <c:pt idx="6397">
                  <c:v>1053480</c:v>
                </c:pt>
                <c:pt idx="6398">
                  <c:v>1053460</c:v>
                </c:pt>
                <c:pt idx="6399">
                  <c:v>1053315</c:v>
                </c:pt>
                <c:pt idx="6400">
                  <c:v>1053043</c:v>
                </c:pt>
                <c:pt idx="6401">
                  <c:v>1053024</c:v>
                </c:pt>
                <c:pt idx="6402">
                  <c:v>1053010</c:v>
                </c:pt>
                <c:pt idx="6403">
                  <c:v>1052911</c:v>
                </c:pt>
                <c:pt idx="6404">
                  <c:v>1052612</c:v>
                </c:pt>
                <c:pt idx="6405">
                  <c:v>1052382</c:v>
                </c:pt>
                <c:pt idx="6406">
                  <c:v>1052251</c:v>
                </c:pt>
                <c:pt idx="6407">
                  <c:v>1052215</c:v>
                </c:pt>
                <c:pt idx="6408">
                  <c:v>1051829</c:v>
                </c:pt>
                <c:pt idx="6409">
                  <c:v>1051694</c:v>
                </c:pt>
                <c:pt idx="6410">
                  <c:v>1051693</c:v>
                </c:pt>
                <c:pt idx="6411">
                  <c:v>1051598</c:v>
                </c:pt>
                <c:pt idx="6412">
                  <c:v>1051253</c:v>
                </c:pt>
                <c:pt idx="6413">
                  <c:v>1051201</c:v>
                </c:pt>
                <c:pt idx="6414">
                  <c:v>1050904</c:v>
                </c:pt>
                <c:pt idx="6415">
                  <c:v>1050776</c:v>
                </c:pt>
                <c:pt idx="6416">
                  <c:v>1050749</c:v>
                </c:pt>
                <c:pt idx="6417">
                  <c:v>1050631</c:v>
                </c:pt>
                <c:pt idx="6418">
                  <c:v>1050578</c:v>
                </c:pt>
                <c:pt idx="6419">
                  <c:v>1050559</c:v>
                </c:pt>
                <c:pt idx="6420">
                  <c:v>1050508</c:v>
                </c:pt>
                <c:pt idx="6421">
                  <c:v>1050037</c:v>
                </c:pt>
                <c:pt idx="6422">
                  <c:v>1049536</c:v>
                </c:pt>
                <c:pt idx="6423">
                  <c:v>1049357</c:v>
                </c:pt>
                <c:pt idx="6424">
                  <c:v>1049351</c:v>
                </c:pt>
                <c:pt idx="6425">
                  <c:v>1049053</c:v>
                </c:pt>
                <c:pt idx="6426">
                  <c:v>1048899</c:v>
                </c:pt>
                <c:pt idx="6427">
                  <c:v>1048742</c:v>
                </c:pt>
                <c:pt idx="6428">
                  <c:v>1048726</c:v>
                </c:pt>
                <c:pt idx="6429">
                  <c:v>1048666</c:v>
                </c:pt>
                <c:pt idx="6430">
                  <c:v>1048211</c:v>
                </c:pt>
                <c:pt idx="6431">
                  <c:v>1048202</c:v>
                </c:pt>
                <c:pt idx="6432">
                  <c:v>1048017</c:v>
                </c:pt>
                <c:pt idx="6433">
                  <c:v>1047959</c:v>
                </c:pt>
                <c:pt idx="6434">
                  <c:v>1047888</c:v>
                </c:pt>
                <c:pt idx="6435">
                  <c:v>1047882</c:v>
                </c:pt>
                <c:pt idx="6436">
                  <c:v>1047858</c:v>
                </c:pt>
                <c:pt idx="6437">
                  <c:v>1047851</c:v>
                </c:pt>
                <c:pt idx="6438">
                  <c:v>1047428</c:v>
                </c:pt>
                <c:pt idx="6439">
                  <c:v>1047295</c:v>
                </c:pt>
                <c:pt idx="6440">
                  <c:v>1046593</c:v>
                </c:pt>
                <c:pt idx="6441">
                  <c:v>1046463</c:v>
                </c:pt>
                <c:pt idx="6442">
                  <c:v>1046239</c:v>
                </c:pt>
                <c:pt idx="6443">
                  <c:v>1046058</c:v>
                </c:pt>
                <c:pt idx="6444">
                  <c:v>1045889</c:v>
                </c:pt>
                <c:pt idx="6445">
                  <c:v>1045638</c:v>
                </c:pt>
                <c:pt idx="6446">
                  <c:v>1045609</c:v>
                </c:pt>
                <c:pt idx="6447">
                  <c:v>1045520</c:v>
                </c:pt>
                <c:pt idx="6448">
                  <c:v>1045369</c:v>
                </c:pt>
                <c:pt idx="6449">
                  <c:v>1045302</c:v>
                </c:pt>
                <c:pt idx="6450">
                  <c:v>1045049</c:v>
                </c:pt>
                <c:pt idx="6451">
                  <c:v>1045046</c:v>
                </c:pt>
                <c:pt idx="6452">
                  <c:v>1044616</c:v>
                </c:pt>
                <c:pt idx="6453">
                  <c:v>1044486</c:v>
                </c:pt>
                <c:pt idx="6454">
                  <c:v>1044420</c:v>
                </c:pt>
                <c:pt idx="6455">
                  <c:v>1044189</c:v>
                </c:pt>
                <c:pt idx="6456">
                  <c:v>1044054</c:v>
                </c:pt>
                <c:pt idx="6457">
                  <c:v>1043878</c:v>
                </c:pt>
                <c:pt idx="6458">
                  <c:v>1043641</c:v>
                </c:pt>
                <c:pt idx="6459">
                  <c:v>1043616</c:v>
                </c:pt>
                <c:pt idx="6460">
                  <c:v>1043490</c:v>
                </c:pt>
                <c:pt idx="6461">
                  <c:v>1043448</c:v>
                </c:pt>
                <c:pt idx="6462">
                  <c:v>1043285</c:v>
                </c:pt>
                <c:pt idx="6463">
                  <c:v>1043178</c:v>
                </c:pt>
                <c:pt idx="6464">
                  <c:v>1043012</c:v>
                </c:pt>
                <c:pt idx="6465">
                  <c:v>1042614</c:v>
                </c:pt>
                <c:pt idx="6466">
                  <c:v>1042237</c:v>
                </c:pt>
                <c:pt idx="6467">
                  <c:v>1042220</c:v>
                </c:pt>
                <c:pt idx="6468">
                  <c:v>1042167</c:v>
                </c:pt>
                <c:pt idx="6469">
                  <c:v>1041862</c:v>
                </c:pt>
                <c:pt idx="6470">
                  <c:v>1041855</c:v>
                </c:pt>
                <c:pt idx="6471">
                  <c:v>1041328</c:v>
                </c:pt>
                <c:pt idx="6472">
                  <c:v>1041312</c:v>
                </c:pt>
                <c:pt idx="6473">
                  <c:v>1041208</c:v>
                </c:pt>
                <c:pt idx="6474">
                  <c:v>1041178</c:v>
                </c:pt>
                <c:pt idx="6475">
                  <c:v>1041149</c:v>
                </c:pt>
                <c:pt idx="6476">
                  <c:v>1040915</c:v>
                </c:pt>
                <c:pt idx="6477">
                  <c:v>1040868</c:v>
                </c:pt>
                <c:pt idx="6478">
                  <c:v>1040808</c:v>
                </c:pt>
                <c:pt idx="6479">
                  <c:v>1040376</c:v>
                </c:pt>
                <c:pt idx="6480">
                  <c:v>1040345</c:v>
                </c:pt>
                <c:pt idx="6481">
                  <c:v>1040312</c:v>
                </c:pt>
                <c:pt idx="6482">
                  <c:v>1040173</c:v>
                </c:pt>
                <c:pt idx="6483">
                  <c:v>1040039</c:v>
                </c:pt>
                <c:pt idx="6484">
                  <c:v>1039998</c:v>
                </c:pt>
                <c:pt idx="6485">
                  <c:v>1039660</c:v>
                </c:pt>
                <c:pt idx="6486">
                  <c:v>1039649</c:v>
                </c:pt>
                <c:pt idx="6487">
                  <c:v>1039427</c:v>
                </c:pt>
                <c:pt idx="6488">
                  <c:v>1039427</c:v>
                </c:pt>
                <c:pt idx="6489">
                  <c:v>1039391</c:v>
                </c:pt>
                <c:pt idx="6490">
                  <c:v>1039366</c:v>
                </c:pt>
                <c:pt idx="6491">
                  <c:v>1039342</c:v>
                </c:pt>
                <c:pt idx="6492">
                  <c:v>1038739</c:v>
                </c:pt>
                <c:pt idx="6493">
                  <c:v>1038532</c:v>
                </c:pt>
                <c:pt idx="6494">
                  <c:v>1038434</c:v>
                </c:pt>
                <c:pt idx="6495">
                  <c:v>1038317</c:v>
                </c:pt>
                <c:pt idx="6496">
                  <c:v>1037589</c:v>
                </c:pt>
                <c:pt idx="6497">
                  <c:v>1037561</c:v>
                </c:pt>
                <c:pt idx="6498">
                  <c:v>1037327</c:v>
                </c:pt>
                <c:pt idx="6499">
                  <c:v>1037230</c:v>
                </c:pt>
                <c:pt idx="6500">
                  <c:v>1037007</c:v>
                </c:pt>
                <c:pt idx="6501">
                  <c:v>1036963</c:v>
                </c:pt>
                <c:pt idx="6502">
                  <c:v>1036779</c:v>
                </c:pt>
                <c:pt idx="6503">
                  <c:v>1036695</c:v>
                </c:pt>
                <c:pt idx="6504">
                  <c:v>1036626</c:v>
                </c:pt>
                <c:pt idx="6505">
                  <c:v>1036528</c:v>
                </c:pt>
                <c:pt idx="6506">
                  <c:v>1036364</c:v>
                </c:pt>
                <c:pt idx="6507">
                  <c:v>1036192</c:v>
                </c:pt>
                <c:pt idx="6508">
                  <c:v>1035956</c:v>
                </c:pt>
                <c:pt idx="6509">
                  <c:v>1035646</c:v>
                </c:pt>
                <c:pt idx="6510">
                  <c:v>1035243</c:v>
                </c:pt>
                <c:pt idx="6511">
                  <c:v>1035032</c:v>
                </c:pt>
                <c:pt idx="6512">
                  <c:v>1034995</c:v>
                </c:pt>
                <c:pt idx="6513">
                  <c:v>1034698</c:v>
                </c:pt>
                <c:pt idx="6514">
                  <c:v>1034610</c:v>
                </c:pt>
                <c:pt idx="6515">
                  <c:v>1034438</c:v>
                </c:pt>
                <c:pt idx="6516">
                  <c:v>1034204</c:v>
                </c:pt>
                <c:pt idx="6517">
                  <c:v>1033982</c:v>
                </c:pt>
                <c:pt idx="6518">
                  <c:v>1033898</c:v>
                </c:pt>
                <c:pt idx="6519">
                  <c:v>1033745</c:v>
                </c:pt>
                <c:pt idx="6520">
                  <c:v>1033641</c:v>
                </c:pt>
                <c:pt idx="6521">
                  <c:v>1033559</c:v>
                </c:pt>
                <c:pt idx="6522">
                  <c:v>1033118</c:v>
                </c:pt>
                <c:pt idx="6523">
                  <c:v>1032851</c:v>
                </c:pt>
                <c:pt idx="6524">
                  <c:v>1032845</c:v>
                </c:pt>
                <c:pt idx="6525">
                  <c:v>1032746</c:v>
                </c:pt>
                <c:pt idx="6526">
                  <c:v>1032666</c:v>
                </c:pt>
                <c:pt idx="6527">
                  <c:v>1032409</c:v>
                </c:pt>
                <c:pt idx="6528">
                  <c:v>1032365</c:v>
                </c:pt>
                <c:pt idx="6529">
                  <c:v>1031699</c:v>
                </c:pt>
                <c:pt idx="6530">
                  <c:v>1031668</c:v>
                </c:pt>
                <c:pt idx="6531">
                  <c:v>1031471</c:v>
                </c:pt>
                <c:pt idx="6532">
                  <c:v>1031270</c:v>
                </c:pt>
                <c:pt idx="6533">
                  <c:v>1031146</c:v>
                </c:pt>
                <c:pt idx="6534">
                  <c:v>1031118</c:v>
                </c:pt>
                <c:pt idx="6535">
                  <c:v>1031024</c:v>
                </c:pt>
                <c:pt idx="6536">
                  <c:v>1030788</c:v>
                </c:pt>
                <c:pt idx="6537">
                  <c:v>1030453</c:v>
                </c:pt>
                <c:pt idx="6538">
                  <c:v>1030310</c:v>
                </c:pt>
                <c:pt idx="6539">
                  <c:v>1030261</c:v>
                </c:pt>
                <c:pt idx="6540">
                  <c:v>1030125</c:v>
                </c:pt>
                <c:pt idx="6541">
                  <c:v>1029984</c:v>
                </c:pt>
                <c:pt idx="6542">
                  <c:v>1029897</c:v>
                </c:pt>
                <c:pt idx="6543">
                  <c:v>1029769</c:v>
                </c:pt>
                <c:pt idx="6544">
                  <c:v>1029725</c:v>
                </c:pt>
                <c:pt idx="6545">
                  <c:v>1029695</c:v>
                </c:pt>
                <c:pt idx="6546">
                  <c:v>1029650</c:v>
                </c:pt>
                <c:pt idx="6547">
                  <c:v>1029529</c:v>
                </c:pt>
                <c:pt idx="6548">
                  <c:v>1029528</c:v>
                </c:pt>
                <c:pt idx="6549">
                  <c:v>1029334</c:v>
                </c:pt>
                <c:pt idx="6550">
                  <c:v>1029317</c:v>
                </c:pt>
                <c:pt idx="6551">
                  <c:v>1029096</c:v>
                </c:pt>
                <c:pt idx="6552">
                  <c:v>1029050</c:v>
                </c:pt>
                <c:pt idx="6553">
                  <c:v>1028991</c:v>
                </c:pt>
                <c:pt idx="6554">
                  <c:v>1028990</c:v>
                </c:pt>
                <c:pt idx="6555">
                  <c:v>1028790</c:v>
                </c:pt>
                <c:pt idx="6556">
                  <c:v>1028108</c:v>
                </c:pt>
                <c:pt idx="6557">
                  <c:v>1027943</c:v>
                </c:pt>
                <c:pt idx="6558">
                  <c:v>1027891</c:v>
                </c:pt>
                <c:pt idx="6559">
                  <c:v>1027886</c:v>
                </c:pt>
                <c:pt idx="6560">
                  <c:v>1027607</c:v>
                </c:pt>
                <c:pt idx="6561">
                  <c:v>1027513</c:v>
                </c:pt>
                <c:pt idx="6562">
                  <c:v>1027484</c:v>
                </c:pt>
                <c:pt idx="6563">
                  <c:v>1027427</c:v>
                </c:pt>
                <c:pt idx="6564">
                  <c:v>1027410</c:v>
                </c:pt>
                <c:pt idx="6565">
                  <c:v>1027027</c:v>
                </c:pt>
                <c:pt idx="6566">
                  <c:v>1027023</c:v>
                </c:pt>
                <c:pt idx="6567">
                  <c:v>1027009</c:v>
                </c:pt>
                <c:pt idx="6568">
                  <c:v>1026995</c:v>
                </c:pt>
                <c:pt idx="6569">
                  <c:v>1026886</c:v>
                </c:pt>
                <c:pt idx="6570">
                  <c:v>1026859</c:v>
                </c:pt>
                <c:pt idx="6571">
                  <c:v>1026768</c:v>
                </c:pt>
                <c:pt idx="6572">
                  <c:v>1026698</c:v>
                </c:pt>
                <c:pt idx="6573">
                  <c:v>1026343</c:v>
                </c:pt>
                <c:pt idx="6574">
                  <c:v>1026294</c:v>
                </c:pt>
                <c:pt idx="6575">
                  <c:v>1026251</c:v>
                </c:pt>
                <c:pt idx="6576">
                  <c:v>1026142</c:v>
                </c:pt>
                <c:pt idx="6577">
                  <c:v>1026085</c:v>
                </c:pt>
                <c:pt idx="6578">
                  <c:v>1026061</c:v>
                </c:pt>
                <c:pt idx="6579">
                  <c:v>1026051</c:v>
                </c:pt>
                <c:pt idx="6580">
                  <c:v>1025946</c:v>
                </c:pt>
                <c:pt idx="6581">
                  <c:v>1025893</c:v>
                </c:pt>
                <c:pt idx="6582">
                  <c:v>1025793</c:v>
                </c:pt>
                <c:pt idx="6583">
                  <c:v>1025760</c:v>
                </c:pt>
                <c:pt idx="6584">
                  <c:v>1025684</c:v>
                </c:pt>
                <c:pt idx="6585">
                  <c:v>1025660</c:v>
                </c:pt>
                <c:pt idx="6586">
                  <c:v>1025599</c:v>
                </c:pt>
                <c:pt idx="6587">
                  <c:v>1025597</c:v>
                </c:pt>
                <c:pt idx="6588">
                  <c:v>1025510</c:v>
                </c:pt>
                <c:pt idx="6589">
                  <c:v>1025353</c:v>
                </c:pt>
                <c:pt idx="6590">
                  <c:v>1025084</c:v>
                </c:pt>
                <c:pt idx="6591">
                  <c:v>1024724</c:v>
                </c:pt>
                <c:pt idx="6592">
                  <c:v>1024636</c:v>
                </c:pt>
                <c:pt idx="6593">
                  <c:v>1024452</c:v>
                </c:pt>
                <c:pt idx="6594">
                  <c:v>1024390</c:v>
                </c:pt>
                <c:pt idx="6595">
                  <c:v>1024374</c:v>
                </c:pt>
                <c:pt idx="6596">
                  <c:v>1024267</c:v>
                </c:pt>
                <c:pt idx="6597">
                  <c:v>1024173</c:v>
                </c:pt>
                <c:pt idx="6598">
                  <c:v>1024015</c:v>
                </c:pt>
                <c:pt idx="6599">
                  <c:v>1023984</c:v>
                </c:pt>
                <c:pt idx="6600">
                  <c:v>1023955</c:v>
                </c:pt>
                <c:pt idx="6601">
                  <c:v>1023886</c:v>
                </c:pt>
                <c:pt idx="6602">
                  <c:v>1023867</c:v>
                </c:pt>
                <c:pt idx="6603">
                  <c:v>1023753</c:v>
                </c:pt>
                <c:pt idx="6604">
                  <c:v>1023696</c:v>
                </c:pt>
                <c:pt idx="6605">
                  <c:v>1023201</c:v>
                </c:pt>
                <c:pt idx="6606">
                  <c:v>1023087</c:v>
                </c:pt>
                <c:pt idx="6607">
                  <c:v>1022872</c:v>
                </c:pt>
                <c:pt idx="6608">
                  <c:v>1022407</c:v>
                </c:pt>
                <c:pt idx="6609">
                  <c:v>1022372</c:v>
                </c:pt>
                <c:pt idx="6610">
                  <c:v>1022370</c:v>
                </c:pt>
                <c:pt idx="6611">
                  <c:v>1021925</c:v>
                </c:pt>
                <c:pt idx="6612">
                  <c:v>1021870</c:v>
                </c:pt>
                <c:pt idx="6613">
                  <c:v>1021870</c:v>
                </c:pt>
                <c:pt idx="6614">
                  <c:v>1021623</c:v>
                </c:pt>
                <c:pt idx="6615">
                  <c:v>1021535</c:v>
                </c:pt>
                <c:pt idx="6616">
                  <c:v>1021478</c:v>
                </c:pt>
                <c:pt idx="6617">
                  <c:v>1021280</c:v>
                </c:pt>
                <c:pt idx="6618">
                  <c:v>1021209</c:v>
                </c:pt>
                <c:pt idx="6619">
                  <c:v>1021082</c:v>
                </c:pt>
                <c:pt idx="6620">
                  <c:v>1020990</c:v>
                </c:pt>
                <c:pt idx="6621">
                  <c:v>1020964</c:v>
                </c:pt>
                <c:pt idx="6622">
                  <c:v>1020946</c:v>
                </c:pt>
                <c:pt idx="6623">
                  <c:v>1020870</c:v>
                </c:pt>
                <c:pt idx="6624">
                  <c:v>1020706</c:v>
                </c:pt>
                <c:pt idx="6625">
                  <c:v>1020507</c:v>
                </c:pt>
                <c:pt idx="6626">
                  <c:v>1019807</c:v>
                </c:pt>
                <c:pt idx="6627">
                  <c:v>1019613</c:v>
                </c:pt>
                <c:pt idx="6628">
                  <c:v>1019276</c:v>
                </c:pt>
                <c:pt idx="6629">
                  <c:v>1019246</c:v>
                </c:pt>
                <c:pt idx="6630">
                  <c:v>1019177</c:v>
                </c:pt>
                <c:pt idx="6631">
                  <c:v>1019089</c:v>
                </c:pt>
                <c:pt idx="6632">
                  <c:v>1018781</c:v>
                </c:pt>
                <c:pt idx="6633">
                  <c:v>1018651</c:v>
                </c:pt>
                <c:pt idx="6634">
                  <c:v>1018623</c:v>
                </c:pt>
                <c:pt idx="6635">
                  <c:v>1018492</c:v>
                </c:pt>
                <c:pt idx="6636">
                  <c:v>1018179</c:v>
                </c:pt>
                <c:pt idx="6637">
                  <c:v>1018176</c:v>
                </c:pt>
                <c:pt idx="6638">
                  <c:v>1018128</c:v>
                </c:pt>
                <c:pt idx="6639">
                  <c:v>1017958</c:v>
                </c:pt>
                <c:pt idx="6640">
                  <c:v>1017652</c:v>
                </c:pt>
                <c:pt idx="6641">
                  <c:v>1017637</c:v>
                </c:pt>
                <c:pt idx="6642">
                  <c:v>1017612</c:v>
                </c:pt>
                <c:pt idx="6643">
                  <c:v>1017602</c:v>
                </c:pt>
                <c:pt idx="6644">
                  <c:v>1017583</c:v>
                </c:pt>
                <c:pt idx="6645">
                  <c:v>1017501</c:v>
                </c:pt>
                <c:pt idx="6646">
                  <c:v>1017413</c:v>
                </c:pt>
                <c:pt idx="6647">
                  <c:v>1017068</c:v>
                </c:pt>
                <c:pt idx="6648">
                  <c:v>1017055</c:v>
                </c:pt>
                <c:pt idx="6649">
                  <c:v>1016991</c:v>
                </c:pt>
                <c:pt idx="6650">
                  <c:v>1016874</c:v>
                </c:pt>
                <c:pt idx="6651">
                  <c:v>1016805</c:v>
                </c:pt>
                <c:pt idx="6652">
                  <c:v>1016695</c:v>
                </c:pt>
                <c:pt idx="6653">
                  <c:v>1016638</c:v>
                </c:pt>
                <c:pt idx="6654">
                  <c:v>1016506</c:v>
                </c:pt>
                <c:pt idx="6655">
                  <c:v>1016414</c:v>
                </c:pt>
                <c:pt idx="6656">
                  <c:v>1016356</c:v>
                </c:pt>
                <c:pt idx="6657">
                  <c:v>1016263</c:v>
                </c:pt>
                <c:pt idx="6658">
                  <c:v>1016238</c:v>
                </c:pt>
                <c:pt idx="6659">
                  <c:v>1016218</c:v>
                </c:pt>
                <c:pt idx="6660">
                  <c:v>1016181</c:v>
                </c:pt>
                <c:pt idx="6661">
                  <c:v>1015804</c:v>
                </c:pt>
                <c:pt idx="6662">
                  <c:v>1015757</c:v>
                </c:pt>
                <c:pt idx="6663">
                  <c:v>1015582</c:v>
                </c:pt>
                <c:pt idx="6664">
                  <c:v>1015492</c:v>
                </c:pt>
                <c:pt idx="6665">
                  <c:v>1015168</c:v>
                </c:pt>
                <c:pt idx="6666">
                  <c:v>1014874</c:v>
                </c:pt>
                <c:pt idx="6667">
                  <c:v>1014790</c:v>
                </c:pt>
                <c:pt idx="6668">
                  <c:v>1014648</c:v>
                </c:pt>
                <c:pt idx="6669">
                  <c:v>1014414</c:v>
                </c:pt>
                <c:pt idx="6670">
                  <c:v>1014262</c:v>
                </c:pt>
                <c:pt idx="6671">
                  <c:v>1014158</c:v>
                </c:pt>
                <c:pt idx="6672">
                  <c:v>1014105</c:v>
                </c:pt>
                <c:pt idx="6673">
                  <c:v>1013969</c:v>
                </c:pt>
                <c:pt idx="6674">
                  <c:v>1013785</c:v>
                </c:pt>
                <c:pt idx="6675">
                  <c:v>1013671</c:v>
                </c:pt>
                <c:pt idx="6676">
                  <c:v>1013502</c:v>
                </c:pt>
                <c:pt idx="6677">
                  <c:v>1013441</c:v>
                </c:pt>
                <c:pt idx="6678">
                  <c:v>1013404</c:v>
                </c:pt>
                <c:pt idx="6679">
                  <c:v>1013336</c:v>
                </c:pt>
                <c:pt idx="6680">
                  <c:v>1013249</c:v>
                </c:pt>
                <c:pt idx="6681">
                  <c:v>1013139</c:v>
                </c:pt>
                <c:pt idx="6682">
                  <c:v>1013139</c:v>
                </c:pt>
                <c:pt idx="6683">
                  <c:v>1013074</c:v>
                </c:pt>
                <c:pt idx="6684">
                  <c:v>1012985</c:v>
                </c:pt>
                <c:pt idx="6685">
                  <c:v>1012970</c:v>
                </c:pt>
                <c:pt idx="6686">
                  <c:v>1012923</c:v>
                </c:pt>
                <c:pt idx="6687">
                  <c:v>1012516</c:v>
                </c:pt>
                <c:pt idx="6688">
                  <c:v>1012334</c:v>
                </c:pt>
                <c:pt idx="6689">
                  <c:v>1011876</c:v>
                </c:pt>
                <c:pt idx="6690">
                  <c:v>1011746</c:v>
                </c:pt>
                <c:pt idx="6691">
                  <c:v>1011719</c:v>
                </c:pt>
                <c:pt idx="6692">
                  <c:v>1011367</c:v>
                </c:pt>
                <c:pt idx="6693">
                  <c:v>1011269</c:v>
                </c:pt>
                <c:pt idx="6694">
                  <c:v>1011168</c:v>
                </c:pt>
                <c:pt idx="6695">
                  <c:v>1010886</c:v>
                </c:pt>
                <c:pt idx="6696">
                  <c:v>1010473</c:v>
                </c:pt>
                <c:pt idx="6697">
                  <c:v>1010403</c:v>
                </c:pt>
                <c:pt idx="6698">
                  <c:v>1010345</c:v>
                </c:pt>
                <c:pt idx="6699">
                  <c:v>1010276</c:v>
                </c:pt>
                <c:pt idx="6700">
                  <c:v>1010017</c:v>
                </c:pt>
                <c:pt idx="6701">
                  <c:v>1009640</c:v>
                </c:pt>
                <c:pt idx="6702">
                  <c:v>1009506</c:v>
                </c:pt>
                <c:pt idx="6703">
                  <c:v>1009420</c:v>
                </c:pt>
                <c:pt idx="6704">
                  <c:v>1009385</c:v>
                </c:pt>
                <c:pt idx="6705">
                  <c:v>1008917</c:v>
                </c:pt>
                <c:pt idx="6706">
                  <c:v>1008777</c:v>
                </c:pt>
                <c:pt idx="6707">
                  <c:v>1008725</c:v>
                </c:pt>
                <c:pt idx="6708">
                  <c:v>1008639</c:v>
                </c:pt>
                <c:pt idx="6709">
                  <c:v>1008469</c:v>
                </c:pt>
                <c:pt idx="6710">
                  <c:v>1007949</c:v>
                </c:pt>
                <c:pt idx="6711">
                  <c:v>1007805</c:v>
                </c:pt>
                <c:pt idx="6712">
                  <c:v>1007616</c:v>
                </c:pt>
                <c:pt idx="6713">
                  <c:v>1007599</c:v>
                </c:pt>
                <c:pt idx="6714">
                  <c:v>1007548</c:v>
                </c:pt>
                <c:pt idx="6715">
                  <c:v>1007501</c:v>
                </c:pt>
                <c:pt idx="6716">
                  <c:v>1007341</c:v>
                </c:pt>
                <c:pt idx="6717">
                  <c:v>1006750</c:v>
                </c:pt>
                <c:pt idx="6718">
                  <c:v>1006579</c:v>
                </c:pt>
                <c:pt idx="6719">
                  <c:v>1006484</c:v>
                </c:pt>
                <c:pt idx="6720">
                  <c:v>1006409</c:v>
                </c:pt>
                <c:pt idx="6721">
                  <c:v>1006364</c:v>
                </c:pt>
                <c:pt idx="6722">
                  <c:v>1006349</c:v>
                </c:pt>
                <c:pt idx="6723">
                  <c:v>1006305</c:v>
                </c:pt>
                <c:pt idx="6724">
                  <c:v>1006207</c:v>
                </c:pt>
                <c:pt idx="6725">
                  <c:v>1006104</c:v>
                </c:pt>
                <c:pt idx="6726">
                  <c:v>1006010</c:v>
                </c:pt>
                <c:pt idx="6727">
                  <c:v>1005956</c:v>
                </c:pt>
                <c:pt idx="6728">
                  <c:v>1005752</c:v>
                </c:pt>
                <c:pt idx="6729">
                  <c:v>1005591</c:v>
                </c:pt>
                <c:pt idx="6730">
                  <c:v>1005436</c:v>
                </c:pt>
                <c:pt idx="6731">
                  <c:v>1005204</c:v>
                </c:pt>
                <c:pt idx="6732">
                  <c:v>1005127</c:v>
                </c:pt>
                <c:pt idx="6733">
                  <c:v>1004939</c:v>
                </c:pt>
                <c:pt idx="6734">
                  <c:v>1004934</c:v>
                </c:pt>
                <c:pt idx="6735">
                  <c:v>1004801</c:v>
                </c:pt>
                <c:pt idx="6736">
                  <c:v>1004776</c:v>
                </c:pt>
                <c:pt idx="6737">
                  <c:v>1004733</c:v>
                </c:pt>
                <c:pt idx="6738">
                  <c:v>1004721</c:v>
                </c:pt>
                <c:pt idx="6739">
                  <c:v>1004602</c:v>
                </c:pt>
                <c:pt idx="6740">
                  <c:v>1004572</c:v>
                </c:pt>
                <c:pt idx="6741">
                  <c:v>1004550</c:v>
                </c:pt>
                <c:pt idx="6742">
                  <c:v>1004523</c:v>
                </c:pt>
                <c:pt idx="6743">
                  <c:v>1004353</c:v>
                </c:pt>
                <c:pt idx="6744">
                  <c:v>1004335</c:v>
                </c:pt>
                <c:pt idx="6745">
                  <c:v>1004303</c:v>
                </c:pt>
                <c:pt idx="6746">
                  <c:v>1004246</c:v>
                </c:pt>
                <c:pt idx="6747">
                  <c:v>1004053</c:v>
                </c:pt>
                <c:pt idx="6748">
                  <c:v>1003913</c:v>
                </c:pt>
                <c:pt idx="6749">
                  <c:v>1003734</c:v>
                </c:pt>
                <c:pt idx="6750">
                  <c:v>1003659</c:v>
                </c:pt>
                <c:pt idx="6751">
                  <c:v>1003619</c:v>
                </c:pt>
                <c:pt idx="6752">
                  <c:v>1003415</c:v>
                </c:pt>
                <c:pt idx="6753">
                  <c:v>1003293</c:v>
                </c:pt>
                <c:pt idx="6754">
                  <c:v>1003263</c:v>
                </c:pt>
                <c:pt idx="6755">
                  <c:v>1003231</c:v>
                </c:pt>
                <c:pt idx="6756">
                  <c:v>1003217</c:v>
                </c:pt>
                <c:pt idx="6757">
                  <c:v>1003077</c:v>
                </c:pt>
                <c:pt idx="6758">
                  <c:v>1002939</c:v>
                </c:pt>
                <c:pt idx="6759">
                  <c:v>1002880</c:v>
                </c:pt>
                <c:pt idx="6760">
                  <c:v>1002813</c:v>
                </c:pt>
                <c:pt idx="6761">
                  <c:v>1002764</c:v>
                </c:pt>
                <c:pt idx="6762">
                  <c:v>1002668</c:v>
                </c:pt>
                <c:pt idx="6763">
                  <c:v>1002615</c:v>
                </c:pt>
                <c:pt idx="6764">
                  <c:v>1002540</c:v>
                </c:pt>
                <c:pt idx="6765">
                  <c:v>1002478</c:v>
                </c:pt>
                <c:pt idx="6766">
                  <c:v>1002472</c:v>
                </c:pt>
                <c:pt idx="6767">
                  <c:v>1002309</c:v>
                </c:pt>
                <c:pt idx="6768">
                  <c:v>1002295</c:v>
                </c:pt>
                <c:pt idx="6769">
                  <c:v>1002169</c:v>
                </c:pt>
                <c:pt idx="6770">
                  <c:v>1001830</c:v>
                </c:pt>
                <c:pt idx="6771">
                  <c:v>1001790</c:v>
                </c:pt>
                <c:pt idx="6772">
                  <c:v>1001741</c:v>
                </c:pt>
                <c:pt idx="6773">
                  <c:v>1001734</c:v>
                </c:pt>
                <c:pt idx="6774">
                  <c:v>1001605</c:v>
                </c:pt>
                <c:pt idx="6775">
                  <c:v>1001579</c:v>
                </c:pt>
                <c:pt idx="6776">
                  <c:v>1001393</c:v>
                </c:pt>
                <c:pt idx="6777">
                  <c:v>1001327</c:v>
                </c:pt>
                <c:pt idx="6778">
                  <c:v>1001243</c:v>
                </c:pt>
                <c:pt idx="6779">
                  <c:v>1001240</c:v>
                </c:pt>
                <c:pt idx="6780">
                  <c:v>1001138</c:v>
                </c:pt>
                <c:pt idx="6781">
                  <c:v>1000881</c:v>
                </c:pt>
                <c:pt idx="6782">
                  <c:v>1000729</c:v>
                </c:pt>
                <c:pt idx="6783">
                  <c:v>1000558</c:v>
                </c:pt>
                <c:pt idx="6784">
                  <c:v>1000519</c:v>
                </c:pt>
                <c:pt idx="6785">
                  <c:v>1000486</c:v>
                </c:pt>
                <c:pt idx="6786">
                  <c:v>1000325</c:v>
                </c:pt>
                <c:pt idx="6787">
                  <c:v>1000145</c:v>
                </c:pt>
                <c:pt idx="6788">
                  <c:v>1000018</c:v>
                </c:pt>
                <c:pt idx="6789">
                  <c:v>999942</c:v>
                </c:pt>
                <c:pt idx="6790">
                  <c:v>999822</c:v>
                </c:pt>
                <c:pt idx="6791">
                  <c:v>999677</c:v>
                </c:pt>
                <c:pt idx="6792">
                  <c:v>999620</c:v>
                </c:pt>
                <c:pt idx="6793">
                  <c:v>999314</c:v>
                </c:pt>
                <c:pt idx="6794">
                  <c:v>999279</c:v>
                </c:pt>
                <c:pt idx="6795">
                  <c:v>999152</c:v>
                </c:pt>
                <c:pt idx="6796">
                  <c:v>998971</c:v>
                </c:pt>
                <c:pt idx="6797">
                  <c:v>998940</c:v>
                </c:pt>
                <c:pt idx="6798">
                  <c:v>998927</c:v>
                </c:pt>
                <c:pt idx="6799">
                  <c:v>998900</c:v>
                </c:pt>
                <c:pt idx="6800">
                  <c:v>998889</c:v>
                </c:pt>
                <c:pt idx="6801">
                  <c:v>998820</c:v>
                </c:pt>
                <c:pt idx="6802">
                  <c:v>998679</c:v>
                </c:pt>
                <c:pt idx="6803">
                  <c:v>998541</c:v>
                </c:pt>
                <c:pt idx="6804">
                  <c:v>998431</c:v>
                </c:pt>
                <c:pt idx="6805">
                  <c:v>998427</c:v>
                </c:pt>
                <c:pt idx="6806">
                  <c:v>998332</c:v>
                </c:pt>
                <c:pt idx="6807">
                  <c:v>998126</c:v>
                </c:pt>
                <c:pt idx="6808">
                  <c:v>998078</c:v>
                </c:pt>
                <c:pt idx="6809">
                  <c:v>997879</c:v>
                </c:pt>
                <c:pt idx="6810">
                  <c:v>997624</c:v>
                </c:pt>
                <c:pt idx="6811">
                  <c:v>997255</c:v>
                </c:pt>
                <c:pt idx="6812">
                  <c:v>997149</c:v>
                </c:pt>
                <c:pt idx="6813">
                  <c:v>996860</c:v>
                </c:pt>
                <c:pt idx="6814">
                  <c:v>996832</c:v>
                </c:pt>
                <c:pt idx="6815">
                  <c:v>996731</c:v>
                </c:pt>
                <c:pt idx="6816">
                  <c:v>996664</c:v>
                </c:pt>
                <c:pt idx="6817">
                  <c:v>996630</c:v>
                </c:pt>
                <c:pt idx="6818">
                  <c:v>996447</c:v>
                </c:pt>
                <c:pt idx="6819">
                  <c:v>996347</c:v>
                </c:pt>
                <c:pt idx="6820">
                  <c:v>996321</c:v>
                </c:pt>
                <c:pt idx="6821">
                  <c:v>996126</c:v>
                </c:pt>
                <c:pt idx="6822">
                  <c:v>996079</c:v>
                </c:pt>
                <c:pt idx="6823">
                  <c:v>996068</c:v>
                </c:pt>
                <c:pt idx="6824">
                  <c:v>996032</c:v>
                </c:pt>
                <c:pt idx="6825">
                  <c:v>995863</c:v>
                </c:pt>
                <c:pt idx="6826">
                  <c:v>995444</c:v>
                </c:pt>
                <c:pt idx="6827">
                  <c:v>995404</c:v>
                </c:pt>
                <c:pt idx="6828">
                  <c:v>995339</c:v>
                </c:pt>
                <c:pt idx="6829">
                  <c:v>995273</c:v>
                </c:pt>
                <c:pt idx="6830">
                  <c:v>995266</c:v>
                </c:pt>
                <c:pt idx="6831">
                  <c:v>995085</c:v>
                </c:pt>
                <c:pt idx="6832">
                  <c:v>995052</c:v>
                </c:pt>
                <c:pt idx="6833">
                  <c:v>995028</c:v>
                </c:pt>
                <c:pt idx="6834">
                  <c:v>994980</c:v>
                </c:pt>
                <c:pt idx="6835">
                  <c:v>994952</c:v>
                </c:pt>
                <c:pt idx="6836">
                  <c:v>994835</c:v>
                </c:pt>
                <c:pt idx="6837">
                  <c:v>994796</c:v>
                </c:pt>
                <c:pt idx="6838">
                  <c:v>994786</c:v>
                </c:pt>
                <c:pt idx="6839">
                  <c:v>994774</c:v>
                </c:pt>
                <c:pt idx="6840">
                  <c:v>994721</c:v>
                </c:pt>
                <c:pt idx="6841">
                  <c:v>994642</c:v>
                </c:pt>
                <c:pt idx="6842">
                  <c:v>994518</c:v>
                </c:pt>
                <c:pt idx="6843">
                  <c:v>994421</c:v>
                </c:pt>
                <c:pt idx="6844">
                  <c:v>994367</c:v>
                </c:pt>
                <c:pt idx="6845">
                  <c:v>994317</c:v>
                </c:pt>
                <c:pt idx="6846">
                  <c:v>994278</c:v>
                </c:pt>
                <c:pt idx="6847">
                  <c:v>994082</c:v>
                </c:pt>
                <c:pt idx="6848">
                  <c:v>993870</c:v>
                </c:pt>
                <c:pt idx="6849">
                  <c:v>993820</c:v>
                </c:pt>
                <c:pt idx="6850">
                  <c:v>993708</c:v>
                </c:pt>
                <c:pt idx="6851">
                  <c:v>993638</c:v>
                </c:pt>
                <c:pt idx="6852">
                  <c:v>993389</c:v>
                </c:pt>
                <c:pt idx="6853">
                  <c:v>993358</c:v>
                </c:pt>
                <c:pt idx="6854">
                  <c:v>993277</c:v>
                </c:pt>
                <c:pt idx="6855">
                  <c:v>993108</c:v>
                </c:pt>
                <c:pt idx="6856">
                  <c:v>993083</c:v>
                </c:pt>
                <c:pt idx="6857">
                  <c:v>993004</c:v>
                </c:pt>
                <c:pt idx="6858">
                  <c:v>992792</c:v>
                </c:pt>
                <c:pt idx="6859">
                  <c:v>992759</c:v>
                </c:pt>
                <c:pt idx="6860">
                  <c:v>992662</c:v>
                </c:pt>
                <c:pt idx="6861">
                  <c:v>992574</c:v>
                </c:pt>
                <c:pt idx="6862">
                  <c:v>992557</c:v>
                </c:pt>
                <c:pt idx="6863">
                  <c:v>992442</c:v>
                </c:pt>
                <c:pt idx="6864">
                  <c:v>992336</c:v>
                </c:pt>
                <c:pt idx="6865">
                  <c:v>992230</c:v>
                </c:pt>
                <c:pt idx="6866">
                  <c:v>992178</c:v>
                </c:pt>
                <c:pt idx="6867">
                  <c:v>992015</c:v>
                </c:pt>
                <c:pt idx="6868">
                  <c:v>991966</c:v>
                </c:pt>
                <c:pt idx="6869">
                  <c:v>991846</c:v>
                </c:pt>
                <c:pt idx="6870">
                  <c:v>991829</c:v>
                </c:pt>
                <c:pt idx="6871">
                  <c:v>991686</c:v>
                </c:pt>
                <c:pt idx="6872">
                  <c:v>991651</c:v>
                </c:pt>
                <c:pt idx="6873">
                  <c:v>991630</c:v>
                </c:pt>
                <c:pt idx="6874">
                  <c:v>991616</c:v>
                </c:pt>
                <c:pt idx="6875">
                  <c:v>991596</c:v>
                </c:pt>
                <c:pt idx="6876">
                  <c:v>991559</c:v>
                </c:pt>
                <c:pt idx="6877">
                  <c:v>991301</c:v>
                </c:pt>
                <c:pt idx="6878">
                  <c:v>991194</c:v>
                </c:pt>
                <c:pt idx="6879">
                  <c:v>990887</c:v>
                </c:pt>
                <c:pt idx="6880">
                  <c:v>990847</c:v>
                </c:pt>
                <c:pt idx="6881">
                  <c:v>990819</c:v>
                </c:pt>
                <c:pt idx="6882">
                  <c:v>990582</c:v>
                </c:pt>
                <c:pt idx="6883">
                  <c:v>990421</c:v>
                </c:pt>
                <c:pt idx="6884">
                  <c:v>989971</c:v>
                </c:pt>
                <c:pt idx="6885">
                  <c:v>989964</c:v>
                </c:pt>
                <c:pt idx="6886">
                  <c:v>989870</c:v>
                </c:pt>
                <c:pt idx="6887">
                  <c:v>989785</c:v>
                </c:pt>
                <c:pt idx="6888">
                  <c:v>989749</c:v>
                </c:pt>
                <c:pt idx="6889">
                  <c:v>989626</c:v>
                </c:pt>
                <c:pt idx="6890">
                  <c:v>989620</c:v>
                </c:pt>
                <c:pt idx="6891">
                  <c:v>989618</c:v>
                </c:pt>
                <c:pt idx="6892">
                  <c:v>989615</c:v>
                </c:pt>
                <c:pt idx="6893">
                  <c:v>989527</c:v>
                </c:pt>
                <c:pt idx="6894">
                  <c:v>989451</c:v>
                </c:pt>
                <c:pt idx="6895">
                  <c:v>989379</c:v>
                </c:pt>
                <c:pt idx="6896">
                  <c:v>989253</c:v>
                </c:pt>
                <c:pt idx="6897">
                  <c:v>989228</c:v>
                </c:pt>
                <c:pt idx="6898">
                  <c:v>989134</c:v>
                </c:pt>
                <c:pt idx="6899">
                  <c:v>989122</c:v>
                </c:pt>
                <c:pt idx="6900">
                  <c:v>988806</c:v>
                </c:pt>
                <c:pt idx="6901">
                  <c:v>988655</c:v>
                </c:pt>
                <c:pt idx="6902">
                  <c:v>988634</c:v>
                </c:pt>
                <c:pt idx="6903">
                  <c:v>988612</c:v>
                </c:pt>
                <c:pt idx="6904">
                  <c:v>988560</c:v>
                </c:pt>
                <c:pt idx="6905">
                  <c:v>988384</c:v>
                </c:pt>
                <c:pt idx="6906">
                  <c:v>988334</c:v>
                </c:pt>
                <c:pt idx="6907">
                  <c:v>988173</c:v>
                </c:pt>
                <c:pt idx="6908">
                  <c:v>988105</c:v>
                </c:pt>
                <c:pt idx="6909">
                  <c:v>988095</c:v>
                </c:pt>
                <c:pt idx="6910">
                  <c:v>987948</c:v>
                </c:pt>
                <c:pt idx="6911">
                  <c:v>987946</c:v>
                </c:pt>
                <c:pt idx="6912">
                  <c:v>987882</c:v>
                </c:pt>
                <c:pt idx="6913">
                  <c:v>987758</c:v>
                </c:pt>
                <c:pt idx="6914">
                  <c:v>987611</c:v>
                </c:pt>
                <c:pt idx="6915">
                  <c:v>987577</c:v>
                </c:pt>
                <c:pt idx="6916">
                  <c:v>987518</c:v>
                </c:pt>
                <c:pt idx="6917">
                  <c:v>987482</c:v>
                </c:pt>
                <c:pt idx="6918">
                  <c:v>987313</c:v>
                </c:pt>
                <c:pt idx="6919">
                  <c:v>987263</c:v>
                </c:pt>
                <c:pt idx="6920">
                  <c:v>987180</c:v>
                </c:pt>
                <c:pt idx="6921">
                  <c:v>987130</c:v>
                </c:pt>
                <c:pt idx="6922">
                  <c:v>986863</c:v>
                </c:pt>
                <c:pt idx="6923">
                  <c:v>986851</c:v>
                </c:pt>
                <c:pt idx="6924">
                  <c:v>986812</c:v>
                </c:pt>
                <c:pt idx="6925">
                  <c:v>986731</c:v>
                </c:pt>
                <c:pt idx="6926">
                  <c:v>986675</c:v>
                </c:pt>
                <c:pt idx="6927">
                  <c:v>986465</c:v>
                </c:pt>
                <c:pt idx="6928">
                  <c:v>986343</c:v>
                </c:pt>
                <c:pt idx="6929">
                  <c:v>986288</c:v>
                </c:pt>
                <c:pt idx="6930">
                  <c:v>986245</c:v>
                </c:pt>
                <c:pt idx="6931">
                  <c:v>986240</c:v>
                </c:pt>
                <c:pt idx="6932">
                  <c:v>986057</c:v>
                </c:pt>
                <c:pt idx="6933">
                  <c:v>985995</c:v>
                </c:pt>
                <c:pt idx="6934">
                  <c:v>985965</c:v>
                </c:pt>
                <c:pt idx="6935">
                  <c:v>985950</c:v>
                </c:pt>
                <c:pt idx="6936">
                  <c:v>985923</c:v>
                </c:pt>
                <c:pt idx="6937">
                  <c:v>985570</c:v>
                </c:pt>
                <c:pt idx="6938">
                  <c:v>985416</c:v>
                </c:pt>
                <c:pt idx="6939">
                  <c:v>985392</c:v>
                </c:pt>
                <c:pt idx="6940">
                  <c:v>985346</c:v>
                </c:pt>
                <c:pt idx="6941">
                  <c:v>985291</c:v>
                </c:pt>
                <c:pt idx="6942">
                  <c:v>985145</c:v>
                </c:pt>
                <c:pt idx="6943">
                  <c:v>984872</c:v>
                </c:pt>
                <c:pt idx="6944">
                  <c:v>984836</c:v>
                </c:pt>
                <c:pt idx="6945">
                  <c:v>984779</c:v>
                </c:pt>
                <c:pt idx="6946">
                  <c:v>984777</c:v>
                </c:pt>
                <c:pt idx="6947">
                  <c:v>984761</c:v>
                </c:pt>
                <c:pt idx="6948">
                  <c:v>984584</c:v>
                </c:pt>
                <c:pt idx="6949">
                  <c:v>984455</c:v>
                </c:pt>
                <c:pt idx="6950">
                  <c:v>984285</c:v>
                </c:pt>
                <c:pt idx="6951">
                  <c:v>984087</c:v>
                </c:pt>
                <c:pt idx="6952">
                  <c:v>983712</c:v>
                </c:pt>
                <c:pt idx="6953">
                  <c:v>983664</c:v>
                </c:pt>
                <c:pt idx="6954">
                  <c:v>983513</c:v>
                </c:pt>
                <c:pt idx="6955">
                  <c:v>983463</c:v>
                </c:pt>
                <c:pt idx="6956">
                  <c:v>983454</c:v>
                </c:pt>
                <c:pt idx="6957">
                  <c:v>983431</c:v>
                </c:pt>
                <c:pt idx="6958">
                  <c:v>983346</c:v>
                </c:pt>
                <c:pt idx="6959">
                  <c:v>983323</c:v>
                </c:pt>
                <c:pt idx="6960">
                  <c:v>983293</c:v>
                </c:pt>
                <c:pt idx="6961">
                  <c:v>982951</c:v>
                </c:pt>
                <c:pt idx="6962">
                  <c:v>982937</c:v>
                </c:pt>
                <c:pt idx="6963">
                  <c:v>982813</c:v>
                </c:pt>
                <c:pt idx="6964">
                  <c:v>982764</c:v>
                </c:pt>
                <c:pt idx="6965">
                  <c:v>982630</c:v>
                </c:pt>
                <c:pt idx="6966">
                  <c:v>982580</c:v>
                </c:pt>
                <c:pt idx="6967">
                  <c:v>982517</c:v>
                </c:pt>
                <c:pt idx="6968">
                  <c:v>982306</c:v>
                </c:pt>
                <c:pt idx="6969">
                  <c:v>981950</c:v>
                </c:pt>
                <c:pt idx="6970">
                  <c:v>981810</c:v>
                </c:pt>
                <c:pt idx="6971">
                  <c:v>981639</c:v>
                </c:pt>
                <c:pt idx="6972">
                  <c:v>981592</c:v>
                </c:pt>
                <c:pt idx="6973">
                  <c:v>981475</c:v>
                </c:pt>
                <c:pt idx="6974">
                  <c:v>981430</c:v>
                </c:pt>
                <c:pt idx="6975">
                  <c:v>981393</c:v>
                </c:pt>
                <c:pt idx="6976">
                  <c:v>981380</c:v>
                </c:pt>
                <c:pt idx="6977">
                  <c:v>981099</c:v>
                </c:pt>
                <c:pt idx="6978">
                  <c:v>981068</c:v>
                </c:pt>
                <c:pt idx="6979">
                  <c:v>981041</c:v>
                </c:pt>
                <c:pt idx="6980">
                  <c:v>980920</c:v>
                </c:pt>
                <c:pt idx="6981">
                  <c:v>980882</c:v>
                </c:pt>
                <c:pt idx="6982">
                  <c:v>980809</c:v>
                </c:pt>
                <c:pt idx="6983">
                  <c:v>980760</c:v>
                </c:pt>
                <c:pt idx="6984">
                  <c:v>980757</c:v>
                </c:pt>
                <c:pt idx="6985">
                  <c:v>980705</c:v>
                </c:pt>
                <c:pt idx="6986">
                  <c:v>980702</c:v>
                </c:pt>
                <c:pt idx="6987">
                  <c:v>980604</c:v>
                </c:pt>
                <c:pt idx="6988">
                  <c:v>980571</c:v>
                </c:pt>
                <c:pt idx="6989">
                  <c:v>980212</c:v>
                </c:pt>
                <c:pt idx="6990">
                  <c:v>980209</c:v>
                </c:pt>
                <c:pt idx="6991">
                  <c:v>980178</c:v>
                </c:pt>
                <c:pt idx="6992">
                  <c:v>980177</c:v>
                </c:pt>
                <c:pt idx="6993">
                  <c:v>980164</c:v>
                </c:pt>
                <c:pt idx="6994">
                  <c:v>980044</c:v>
                </c:pt>
                <c:pt idx="6995">
                  <c:v>979913</c:v>
                </c:pt>
                <c:pt idx="6996">
                  <c:v>979865</c:v>
                </c:pt>
                <c:pt idx="6997">
                  <c:v>979765</c:v>
                </c:pt>
                <c:pt idx="6998">
                  <c:v>979699</c:v>
                </c:pt>
                <c:pt idx="6999">
                  <c:v>979692</c:v>
                </c:pt>
                <c:pt idx="7000">
                  <c:v>979393</c:v>
                </c:pt>
                <c:pt idx="7001">
                  <c:v>979245</c:v>
                </c:pt>
                <c:pt idx="7002">
                  <c:v>979212</c:v>
                </c:pt>
                <c:pt idx="7003">
                  <c:v>979179</c:v>
                </c:pt>
                <c:pt idx="7004">
                  <c:v>979150</c:v>
                </c:pt>
                <c:pt idx="7005">
                  <c:v>979110</c:v>
                </c:pt>
                <c:pt idx="7006">
                  <c:v>978971</c:v>
                </c:pt>
                <c:pt idx="7007">
                  <c:v>978942</c:v>
                </c:pt>
                <c:pt idx="7008">
                  <c:v>978914</c:v>
                </c:pt>
                <c:pt idx="7009">
                  <c:v>978864</c:v>
                </c:pt>
                <c:pt idx="7010">
                  <c:v>978834</c:v>
                </c:pt>
                <c:pt idx="7011">
                  <c:v>978750</c:v>
                </c:pt>
                <c:pt idx="7012">
                  <c:v>978687</c:v>
                </c:pt>
                <c:pt idx="7013">
                  <c:v>978664</c:v>
                </c:pt>
                <c:pt idx="7014">
                  <c:v>978580</c:v>
                </c:pt>
                <c:pt idx="7015">
                  <c:v>978577</c:v>
                </c:pt>
                <c:pt idx="7016">
                  <c:v>978469</c:v>
                </c:pt>
                <c:pt idx="7017">
                  <c:v>978468</c:v>
                </c:pt>
                <c:pt idx="7018">
                  <c:v>978228</c:v>
                </c:pt>
                <c:pt idx="7019">
                  <c:v>978207</c:v>
                </c:pt>
                <c:pt idx="7020">
                  <c:v>978148</c:v>
                </c:pt>
                <c:pt idx="7021">
                  <c:v>978134</c:v>
                </c:pt>
                <c:pt idx="7022">
                  <c:v>977882</c:v>
                </c:pt>
                <c:pt idx="7023">
                  <c:v>977879</c:v>
                </c:pt>
                <c:pt idx="7024">
                  <c:v>977801</c:v>
                </c:pt>
                <c:pt idx="7025">
                  <c:v>977619</c:v>
                </c:pt>
                <c:pt idx="7026">
                  <c:v>977585</c:v>
                </c:pt>
                <c:pt idx="7027">
                  <c:v>977505</c:v>
                </c:pt>
                <c:pt idx="7028">
                  <c:v>977488</c:v>
                </c:pt>
                <c:pt idx="7029">
                  <c:v>977475</c:v>
                </c:pt>
                <c:pt idx="7030">
                  <c:v>977432</c:v>
                </c:pt>
                <c:pt idx="7031">
                  <c:v>977336</c:v>
                </c:pt>
                <c:pt idx="7032">
                  <c:v>977167</c:v>
                </c:pt>
                <c:pt idx="7033">
                  <c:v>976930</c:v>
                </c:pt>
                <c:pt idx="7034">
                  <c:v>976916</c:v>
                </c:pt>
                <c:pt idx="7035">
                  <c:v>976802</c:v>
                </c:pt>
                <c:pt idx="7036">
                  <c:v>976798</c:v>
                </c:pt>
                <c:pt idx="7037">
                  <c:v>976658</c:v>
                </c:pt>
                <c:pt idx="7038">
                  <c:v>976655</c:v>
                </c:pt>
                <c:pt idx="7039">
                  <c:v>976604</c:v>
                </c:pt>
                <c:pt idx="7040">
                  <c:v>976588</c:v>
                </c:pt>
                <c:pt idx="7041">
                  <c:v>976307</c:v>
                </c:pt>
                <c:pt idx="7042">
                  <c:v>976303</c:v>
                </c:pt>
                <c:pt idx="7043">
                  <c:v>976296</c:v>
                </c:pt>
                <c:pt idx="7044">
                  <c:v>976228</c:v>
                </c:pt>
                <c:pt idx="7045">
                  <c:v>976201</c:v>
                </c:pt>
                <c:pt idx="7046">
                  <c:v>976164</c:v>
                </c:pt>
                <c:pt idx="7047">
                  <c:v>976127</c:v>
                </c:pt>
                <c:pt idx="7048">
                  <c:v>976086</c:v>
                </c:pt>
                <c:pt idx="7049">
                  <c:v>976068</c:v>
                </c:pt>
                <c:pt idx="7050">
                  <c:v>976030</c:v>
                </c:pt>
                <c:pt idx="7051">
                  <c:v>975889</c:v>
                </c:pt>
                <c:pt idx="7052">
                  <c:v>975880</c:v>
                </c:pt>
                <c:pt idx="7053">
                  <c:v>975863</c:v>
                </c:pt>
                <c:pt idx="7054">
                  <c:v>975826</c:v>
                </c:pt>
                <c:pt idx="7055">
                  <c:v>975788</c:v>
                </c:pt>
                <c:pt idx="7056">
                  <c:v>975742</c:v>
                </c:pt>
                <c:pt idx="7057">
                  <c:v>975610</c:v>
                </c:pt>
                <c:pt idx="7058">
                  <c:v>975597</c:v>
                </c:pt>
                <c:pt idx="7059">
                  <c:v>975544</c:v>
                </c:pt>
                <c:pt idx="7060">
                  <c:v>975451</c:v>
                </c:pt>
                <c:pt idx="7061">
                  <c:v>975448</c:v>
                </c:pt>
                <c:pt idx="7062">
                  <c:v>975145</c:v>
                </c:pt>
                <c:pt idx="7063">
                  <c:v>975122</c:v>
                </c:pt>
                <c:pt idx="7064">
                  <c:v>974964</c:v>
                </c:pt>
                <c:pt idx="7065">
                  <c:v>974894</c:v>
                </c:pt>
                <c:pt idx="7066">
                  <c:v>974784</c:v>
                </c:pt>
                <c:pt idx="7067">
                  <c:v>974735</c:v>
                </c:pt>
                <c:pt idx="7068">
                  <c:v>974698</c:v>
                </c:pt>
                <c:pt idx="7069">
                  <c:v>974694</c:v>
                </c:pt>
                <c:pt idx="7070">
                  <c:v>974670</c:v>
                </c:pt>
                <c:pt idx="7071">
                  <c:v>974463</c:v>
                </c:pt>
                <c:pt idx="7072">
                  <c:v>974451</c:v>
                </c:pt>
                <c:pt idx="7073">
                  <c:v>974371</c:v>
                </c:pt>
                <c:pt idx="7074">
                  <c:v>974322</c:v>
                </c:pt>
                <c:pt idx="7075">
                  <c:v>974322</c:v>
                </c:pt>
                <c:pt idx="7076">
                  <c:v>974254</c:v>
                </c:pt>
                <c:pt idx="7077">
                  <c:v>974234</c:v>
                </c:pt>
                <c:pt idx="7078">
                  <c:v>974189</c:v>
                </c:pt>
                <c:pt idx="7079">
                  <c:v>974124</c:v>
                </c:pt>
                <c:pt idx="7080">
                  <c:v>973848</c:v>
                </c:pt>
                <c:pt idx="7081">
                  <c:v>973586</c:v>
                </c:pt>
                <c:pt idx="7082">
                  <c:v>973494</c:v>
                </c:pt>
                <c:pt idx="7083">
                  <c:v>973450</c:v>
                </c:pt>
                <c:pt idx="7084">
                  <c:v>973439</c:v>
                </c:pt>
                <c:pt idx="7085">
                  <c:v>973086</c:v>
                </c:pt>
                <c:pt idx="7086">
                  <c:v>973047</c:v>
                </c:pt>
                <c:pt idx="7087">
                  <c:v>973036</c:v>
                </c:pt>
                <c:pt idx="7088">
                  <c:v>972976</c:v>
                </c:pt>
                <c:pt idx="7089">
                  <c:v>972971</c:v>
                </c:pt>
                <c:pt idx="7090">
                  <c:v>972895</c:v>
                </c:pt>
                <c:pt idx="7091">
                  <c:v>972800</c:v>
                </c:pt>
                <c:pt idx="7092">
                  <c:v>972706</c:v>
                </c:pt>
                <c:pt idx="7093">
                  <c:v>972600</c:v>
                </c:pt>
                <c:pt idx="7094">
                  <c:v>972551</c:v>
                </c:pt>
                <c:pt idx="7095">
                  <c:v>972520</c:v>
                </c:pt>
                <c:pt idx="7096">
                  <c:v>972508</c:v>
                </c:pt>
                <c:pt idx="7097">
                  <c:v>972415</c:v>
                </c:pt>
                <c:pt idx="7098">
                  <c:v>972340</c:v>
                </c:pt>
                <c:pt idx="7099">
                  <c:v>972286</c:v>
                </c:pt>
                <c:pt idx="7100">
                  <c:v>972200</c:v>
                </c:pt>
                <c:pt idx="7101">
                  <c:v>972198</c:v>
                </c:pt>
                <c:pt idx="7102">
                  <c:v>972152</c:v>
                </c:pt>
                <c:pt idx="7103">
                  <c:v>971908</c:v>
                </c:pt>
                <c:pt idx="7104">
                  <c:v>971901</c:v>
                </c:pt>
                <c:pt idx="7105">
                  <c:v>971886</c:v>
                </c:pt>
                <c:pt idx="7106">
                  <c:v>971855</c:v>
                </c:pt>
                <c:pt idx="7107">
                  <c:v>971801</c:v>
                </c:pt>
                <c:pt idx="7108">
                  <c:v>971674</c:v>
                </c:pt>
                <c:pt idx="7109">
                  <c:v>971645</c:v>
                </c:pt>
                <c:pt idx="7110">
                  <c:v>971578</c:v>
                </c:pt>
                <c:pt idx="7111">
                  <c:v>971510</c:v>
                </c:pt>
                <c:pt idx="7112">
                  <c:v>971506</c:v>
                </c:pt>
                <c:pt idx="7113">
                  <c:v>971463</c:v>
                </c:pt>
                <c:pt idx="7114">
                  <c:v>971456</c:v>
                </c:pt>
                <c:pt idx="7115">
                  <c:v>971404</c:v>
                </c:pt>
                <c:pt idx="7116">
                  <c:v>971275</c:v>
                </c:pt>
                <c:pt idx="7117">
                  <c:v>971219</c:v>
                </c:pt>
                <c:pt idx="7118">
                  <c:v>971134</c:v>
                </c:pt>
                <c:pt idx="7119">
                  <c:v>971097</c:v>
                </c:pt>
                <c:pt idx="7120">
                  <c:v>970988</c:v>
                </c:pt>
                <c:pt idx="7121">
                  <c:v>970731</c:v>
                </c:pt>
                <c:pt idx="7122">
                  <c:v>970673</c:v>
                </c:pt>
                <c:pt idx="7123">
                  <c:v>970639</c:v>
                </c:pt>
                <c:pt idx="7124">
                  <c:v>970608</c:v>
                </c:pt>
                <c:pt idx="7125">
                  <c:v>970518</c:v>
                </c:pt>
                <c:pt idx="7126">
                  <c:v>970441</c:v>
                </c:pt>
                <c:pt idx="7127">
                  <c:v>970432</c:v>
                </c:pt>
                <c:pt idx="7128">
                  <c:v>970423</c:v>
                </c:pt>
                <c:pt idx="7129">
                  <c:v>970272</c:v>
                </c:pt>
                <c:pt idx="7130">
                  <c:v>970268</c:v>
                </c:pt>
                <c:pt idx="7131">
                  <c:v>970206</c:v>
                </c:pt>
                <c:pt idx="7132">
                  <c:v>970197</c:v>
                </c:pt>
                <c:pt idx="7133">
                  <c:v>970165</c:v>
                </c:pt>
                <c:pt idx="7134">
                  <c:v>970107</c:v>
                </c:pt>
                <c:pt idx="7135">
                  <c:v>970042</c:v>
                </c:pt>
                <c:pt idx="7136">
                  <c:v>970025</c:v>
                </c:pt>
                <c:pt idx="7137">
                  <c:v>969888</c:v>
                </c:pt>
                <c:pt idx="7138">
                  <c:v>969868</c:v>
                </c:pt>
                <c:pt idx="7139">
                  <c:v>969868</c:v>
                </c:pt>
                <c:pt idx="7140">
                  <c:v>969742</c:v>
                </c:pt>
                <c:pt idx="7141">
                  <c:v>969666</c:v>
                </c:pt>
                <c:pt idx="7142">
                  <c:v>969658</c:v>
                </c:pt>
                <c:pt idx="7143">
                  <c:v>969529</c:v>
                </c:pt>
                <c:pt idx="7144">
                  <c:v>969420</c:v>
                </c:pt>
                <c:pt idx="7145">
                  <c:v>969343</c:v>
                </c:pt>
                <c:pt idx="7146">
                  <c:v>969301</c:v>
                </c:pt>
                <c:pt idx="7147">
                  <c:v>969183</c:v>
                </c:pt>
                <c:pt idx="7148">
                  <c:v>969029</c:v>
                </c:pt>
                <c:pt idx="7149">
                  <c:v>968863</c:v>
                </c:pt>
                <c:pt idx="7150">
                  <c:v>968720</c:v>
                </c:pt>
                <c:pt idx="7151">
                  <c:v>968716</c:v>
                </c:pt>
                <c:pt idx="7152">
                  <c:v>968705</c:v>
                </c:pt>
                <c:pt idx="7153">
                  <c:v>968704</c:v>
                </c:pt>
                <c:pt idx="7154">
                  <c:v>968700</c:v>
                </c:pt>
                <c:pt idx="7155">
                  <c:v>968589</c:v>
                </c:pt>
                <c:pt idx="7156">
                  <c:v>968577</c:v>
                </c:pt>
                <c:pt idx="7157">
                  <c:v>968572</c:v>
                </c:pt>
                <c:pt idx="7158">
                  <c:v>968513</c:v>
                </c:pt>
                <c:pt idx="7159">
                  <c:v>968438</c:v>
                </c:pt>
                <c:pt idx="7160">
                  <c:v>967951</c:v>
                </c:pt>
                <c:pt idx="7161">
                  <c:v>967932</c:v>
                </c:pt>
                <c:pt idx="7162">
                  <c:v>967906</c:v>
                </c:pt>
                <c:pt idx="7163">
                  <c:v>967900</c:v>
                </c:pt>
                <c:pt idx="7164">
                  <c:v>967858</c:v>
                </c:pt>
                <c:pt idx="7165">
                  <c:v>967834</c:v>
                </c:pt>
                <c:pt idx="7166">
                  <c:v>967797</c:v>
                </c:pt>
                <c:pt idx="7167">
                  <c:v>967680</c:v>
                </c:pt>
                <c:pt idx="7168">
                  <c:v>967619</c:v>
                </c:pt>
                <c:pt idx="7169">
                  <c:v>967558</c:v>
                </c:pt>
                <c:pt idx="7170">
                  <c:v>967490</c:v>
                </c:pt>
                <c:pt idx="7171">
                  <c:v>967464</c:v>
                </c:pt>
                <c:pt idx="7172">
                  <c:v>967424</c:v>
                </c:pt>
                <c:pt idx="7173">
                  <c:v>967400</c:v>
                </c:pt>
                <c:pt idx="7174">
                  <c:v>967369</c:v>
                </c:pt>
                <c:pt idx="7175">
                  <c:v>967315</c:v>
                </c:pt>
                <c:pt idx="7176">
                  <c:v>967224</c:v>
                </c:pt>
                <c:pt idx="7177">
                  <c:v>967180</c:v>
                </c:pt>
                <c:pt idx="7178">
                  <c:v>966942</c:v>
                </c:pt>
                <c:pt idx="7179">
                  <c:v>966866</c:v>
                </c:pt>
                <c:pt idx="7180">
                  <c:v>966746</c:v>
                </c:pt>
                <c:pt idx="7181">
                  <c:v>966700</c:v>
                </c:pt>
                <c:pt idx="7182">
                  <c:v>966641</c:v>
                </c:pt>
                <c:pt idx="7183">
                  <c:v>966551</c:v>
                </c:pt>
                <c:pt idx="7184">
                  <c:v>966530</c:v>
                </c:pt>
                <c:pt idx="7185">
                  <c:v>966374</c:v>
                </c:pt>
                <c:pt idx="7186">
                  <c:v>966367</c:v>
                </c:pt>
                <c:pt idx="7187">
                  <c:v>966342</c:v>
                </c:pt>
                <c:pt idx="7188">
                  <c:v>966299</c:v>
                </c:pt>
                <c:pt idx="7189">
                  <c:v>966292</c:v>
                </c:pt>
                <c:pt idx="7190">
                  <c:v>966286</c:v>
                </c:pt>
                <c:pt idx="7191">
                  <c:v>966262</c:v>
                </c:pt>
                <c:pt idx="7192">
                  <c:v>966001</c:v>
                </c:pt>
                <c:pt idx="7193">
                  <c:v>965972</c:v>
                </c:pt>
                <c:pt idx="7194">
                  <c:v>965932</c:v>
                </c:pt>
                <c:pt idx="7195">
                  <c:v>965918</c:v>
                </c:pt>
                <c:pt idx="7196">
                  <c:v>965753</c:v>
                </c:pt>
                <c:pt idx="7197">
                  <c:v>965677</c:v>
                </c:pt>
                <c:pt idx="7198">
                  <c:v>965665</c:v>
                </c:pt>
                <c:pt idx="7199">
                  <c:v>965553</c:v>
                </c:pt>
                <c:pt idx="7200">
                  <c:v>965524</c:v>
                </c:pt>
                <c:pt idx="7201">
                  <c:v>965408</c:v>
                </c:pt>
                <c:pt idx="7202">
                  <c:v>965342</c:v>
                </c:pt>
                <c:pt idx="7203">
                  <c:v>965293</c:v>
                </c:pt>
                <c:pt idx="7204">
                  <c:v>965167</c:v>
                </c:pt>
                <c:pt idx="7205">
                  <c:v>965120</c:v>
                </c:pt>
                <c:pt idx="7206">
                  <c:v>964919</c:v>
                </c:pt>
                <c:pt idx="7207">
                  <c:v>964854</c:v>
                </c:pt>
                <c:pt idx="7208">
                  <c:v>964850</c:v>
                </c:pt>
                <c:pt idx="7209">
                  <c:v>964817</c:v>
                </c:pt>
                <c:pt idx="7210">
                  <c:v>964802</c:v>
                </c:pt>
                <c:pt idx="7211">
                  <c:v>964792</c:v>
                </c:pt>
                <c:pt idx="7212">
                  <c:v>964759</c:v>
                </c:pt>
                <c:pt idx="7213">
                  <c:v>964677</c:v>
                </c:pt>
                <c:pt idx="7214">
                  <c:v>964638</c:v>
                </c:pt>
                <c:pt idx="7215">
                  <c:v>964605</c:v>
                </c:pt>
                <c:pt idx="7216">
                  <c:v>964534</c:v>
                </c:pt>
                <c:pt idx="7217">
                  <c:v>964510</c:v>
                </c:pt>
                <c:pt idx="7218">
                  <c:v>964304</c:v>
                </c:pt>
                <c:pt idx="7219">
                  <c:v>964256</c:v>
                </c:pt>
                <c:pt idx="7220">
                  <c:v>964098</c:v>
                </c:pt>
                <c:pt idx="7221">
                  <c:v>963921</c:v>
                </c:pt>
                <c:pt idx="7222">
                  <c:v>963895</c:v>
                </c:pt>
                <c:pt idx="7223">
                  <c:v>963875</c:v>
                </c:pt>
                <c:pt idx="7224">
                  <c:v>963870</c:v>
                </c:pt>
                <c:pt idx="7225">
                  <c:v>963837</c:v>
                </c:pt>
                <c:pt idx="7226">
                  <c:v>963809</c:v>
                </c:pt>
                <c:pt idx="7227">
                  <c:v>963771</c:v>
                </c:pt>
                <c:pt idx="7228">
                  <c:v>963658</c:v>
                </c:pt>
                <c:pt idx="7229">
                  <c:v>963585</c:v>
                </c:pt>
                <c:pt idx="7230">
                  <c:v>963582</c:v>
                </c:pt>
                <c:pt idx="7231">
                  <c:v>963442</c:v>
                </c:pt>
                <c:pt idx="7232">
                  <c:v>963247</c:v>
                </c:pt>
                <c:pt idx="7233">
                  <c:v>963229</c:v>
                </c:pt>
                <c:pt idx="7234">
                  <c:v>963207</c:v>
                </c:pt>
                <c:pt idx="7235">
                  <c:v>963175</c:v>
                </c:pt>
                <c:pt idx="7236">
                  <c:v>963119</c:v>
                </c:pt>
                <c:pt idx="7237">
                  <c:v>963101</c:v>
                </c:pt>
                <c:pt idx="7238">
                  <c:v>963095</c:v>
                </c:pt>
                <c:pt idx="7239">
                  <c:v>963085</c:v>
                </c:pt>
                <c:pt idx="7240">
                  <c:v>963062</c:v>
                </c:pt>
                <c:pt idx="7241">
                  <c:v>963000</c:v>
                </c:pt>
                <c:pt idx="7242">
                  <c:v>962987</c:v>
                </c:pt>
                <c:pt idx="7243">
                  <c:v>962897</c:v>
                </c:pt>
                <c:pt idx="7244">
                  <c:v>962829</c:v>
                </c:pt>
                <c:pt idx="7245">
                  <c:v>962816</c:v>
                </c:pt>
                <c:pt idx="7246">
                  <c:v>962752</c:v>
                </c:pt>
                <c:pt idx="7247">
                  <c:v>962617</c:v>
                </c:pt>
                <c:pt idx="7248">
                  <c:v>962489</c:v>
                </c:pt>
                <c:pt idx="7249">
                  <c:v>962480</c:v>
                </c:pt>
                <c:pt idx="7250">
                  <c:v>962445</c:v>
                </c:pt>
                <c:pt idx="7251">
                  <c:v>962278</c:v>
                </c:pt>
                <c:pt idx="7252">
                  <c:v>962224</c:v>
                </c:pt>
                <c:pt idx="7253">
                  <c:v>962207</c:v>
                </c:pt>
                <c:pt idx="7254">
                  <c:v>962186</c:v>
                </c:pt>
                <c:pt idx="7255">
                  <c:v>962104</c:v>
                </c:pt>
                <c:pt idx="7256">
                  <c:v>962068</c:v>
                </c:pt>
                <c:pt idx="7257">
                  <c:v>962057</c:v>
                </c:pt>
                <c:pt idx="7258">
                  <c:v>962049</c:v>
                </c:pt>
                <c:pt idx="7259">
                  <c:v>962019</c:v>
                </c:pt>
                <c:pt idx="7260">
                  <c:v>961997</c:v>
                </c:pt>
                <c:pt idx="7261">
                  <c:v>961645</c:v>
                </c:pt>
                <c:pt idx="7262">
                  <c:v>961588</c:v>
                </c:pt>
                <c:pt idx="7263">
                  <c:v>961584</c:v>
                </c:pt>
                <c:pt idx="7264">
                  <c:v>961337</c:v>
                </c:pt>
                <c:pt idx="7265">
                  <c:v>961218</c:v>
                </c:pt>
                <c:pt idx="7266">
                  <c:v>961053</c:v>
                </c:pt>
                <c:pt idx="7267">
                  <c:v>960985</c:v>
                </c:pt>
                <c:pt idx="7268">
                  <c:v>960945</c:v>
                </c:pt>
                <c:pt idx="7269">
                  <c:v>960917</c:v>
                </c:pt>
                <c:pt idx="7270">
                  <c:v>960792</c:v>
                </c:pt>
                <c:pt idx="7271">
                  <c:v>960729</c:v>
                </c:pt>
                <c:pt idx="7272">
                  <c:v>960690</c:v>
                </c:pt>
                <c:pt idx="7273">
                  <c:v>960564</c:v>
                </c:pt>
                <c:pt idx="7274">
                  <c:v>960466</c:v>
                </c:pt>
                <c:pt idx="7275">
                  <c:v>960373</c:v>
                </c:pt>
                <c:pt idx="7276">
                  <c:v>960367</c:v>
                </c:pt>
                <c:pt idx="7277">
                  <c:v>960275</c:v>
                </c:pt>
                <c:pt idx="7278">
                  <c:v>960249</c:v>
                </c:pt>
                <c:pt idx="7279">
                  <c:v>959974</c:v>
                </c:pt>
                <c:pt idx="7280">
                  <c:v>959965</c:v>
                </c:pt>
                <c:pt idx="7281">
                  <c:v>959935</c:v>
                </c:pt>
                <c:pt idx="7282">
                  <c:v>959870</c:v>
                </c:pt>
                <c:pt idx="7283">
                  <c:v>959838</c:v>
                </c:pt>
                <c:pt idx="7284">
                  <c:v>959815</c:v>
                </c:pt>
                <c:pt idx="7285">
                  <c:v>959791</c:v>
                </c:pt>
                <c:pt idx="7286">
                  <c:v>959771</c:v>
                </c:pt>
                <c:pt idx="7287">
                  <c:v>959769</c:v>
                </c:pt>
                <c:pt idx="7288">
                  <c:v>959724</c:v>
                </c:pt>
                <c:pt idx="7289">
                  <c:v>959694</c:v>
                </c:pt>
                <c:pt idx="7290">
                  <c:v>959671</c:v>
                </c:pt>
                <c:pt idx="7291">
                  <c:v>959660</c:v>
                </c:pt>
                <c:pt idx="7292">
                  <c:v>959622</c:v>
                </c:pt>
                <c:pt idx="7293">
                  <c:v>959621</c:v>
                </c:pt>
                <c:pt idx="7294">
                  <c:v>959617</c:v>
                </c:pt>
                <c:pt idx="7295">
                  <c:v>959488</c:v>
                </c:pt>
                <c:pt idx="7296">
                  <c:v>959419</c:v>
                </c:pt>
                <c:pt idx="7297">
                  <c:v>959360</c:v>
                </c:pt>
                <c:pt idx="7298">
                  <c:v>959293</c:v>
                </c:pt>
                <c:pt idx="7299">
                  <c:v>959186</c:v>
                </c:pt>
                <c:pt idx="7300">
                  <c:v>959126</c:v>
                </c:pt>
                <c:pt idx="7301">
                  <c:v>959092</c:v>
                </c:pt>
                <c:pt idx="7302">
                  <c:v>959068</c:v>
                </c:pt>
                <c:pt idx="7303">
                  <c:v>959020</c:v>
                </c:pt>
                <c:pt idx="7304">
                  <c:v>959016</c:v>
                </c:pt>
                <c:pt idx="7305">
                  <c:v>958933</c:v>
                </c:pt>
                <c:pt idx="7306">
                  <c:v>958895</c:v>
                </c:pt>
                <c:pt idx="7307">
                  <c:v>958878</c:v>
                </c:pt>
                <c:pt idx="7308">
                  <c:v>958847</c:v>
                </c:pt>
                <c:pt idx="7309">
                  <c:v>958842</c:v>
                </c:pt>
                <c:pt idx="7310">
                  <c:v>958785</c:v>
                </c:pt>
                <c:pt idx="7311">
                  <c:v>958627</c:v>
                </c:pt>
                <c:pt idx="7312">
                  <c:v>958561</c:v>
                </c:pt>
                <c:pt idx="7313">
                  <c:v>958523</c:v>
                </c:pt>
                <c:pt idx="7314">
                  <c:v>958508</c:v>
                </c:pt>
                <c:pt idx="7315">
                  <c:v>958432</c:v>
                </c:pt>
                <c:pt idx="7316">
                  <c:v>958374</c:v>
                </c:pt>
                <c:pt idx="7317">
                  <c:v>958288</c:v>
                </c:pt>
                <c:pt idx="7318">
                  <c:v>958246</c:v>
                </c:pt>
                <c:pt idx="7319">
                  <c:v>958241</c:v>
                </c:pt>
                <c:pt idx="7320">
                  <c:v>958189</c:v>
                </c:pt>
                <c:pt idx="7321">
                  <c:v>958186</c:v>
                </c:pt>
                <c:pt idx="7322">
                  <c:v>958178</c:v>
                </c:pt>
                <c:pt idx="7323">
                  <c:v>957624</c:v>
                </c:pt>
                <c:pt idx="7324">
                  <c:v>957555</c:v>
                </c:pt>
                <c:pt idx="7325">
                  <c:v>957464</c:v>
                </c:pt>
                <c:pt idx="7326">
                  <c:v>957333</c:v>
                </c:pt>
                <c:pt idx="7327">
                  <c:v>957089</c:v>
                </c:pt>
                <c:pt idx="7328">
                  <c:v>956962</c:v>
                </c:pt>
                <c:pt idx="7329">
                  <c:v>956933</c:v>
                </c:pt>
                <c:pt idx="7330">
                  <c:v>956880</c:v>
                </c:pt>
                <c:pt idx="7331">
                  <c:v>956794</c:v>
                </c:pt>
                <c:pt idx="7332">
                  <c:v>956708</c:v>
                </c:pt>
                <c:pt idx="7333">
                  <c:v>956650</c:v>
                </c:pt>
                <c:pt idx="7334">
                  <c:v>956638</c:v>
                </c:pt>
                <c:pt idx="7335">
                  <c:v>956548</c:v>
                </c:pt>
                <c:pt idx="7336">
                  <c:v>956355</c:v>
                </c:pt>
                <c:pt idx="7337">
                  <c:v>956270</c:v>
                </c:pt>
                <c:pt idx="7338">
                  <c:v>956251</c:v>
                </c:pt>
                <c:pt idx="7339">
                  <c:v>956240</c:v>
                </c:pt>
                <c:pt idx="7340">
                  <c:v>956146</c:v>
                </c:pt>
                <c:pt idx="7341">
                  <c:v>956119</c:v>
                </c:pt>
                <c:pt idx="7342">
                  <c:v>956096</c:v>
                </c:pt>
                <c:pt idx="7343">
                  <c:v>956073</c:v>
                </c:pt>
                <c:pt idx="7344">
                  <c:v>955932</c:v>
                </c:pt>
                <c:pt idx="7345">
                  <c:v>955890</c:v>
                </c:pt>
                <c:pt idx="7346">
                  <c:v>955776</c:v>
                </c:pt>
                <c:pt idx="7347">
                  <c:v>955765</c:v>
                </c:pt>
                <c:pt idx="7348">
                  <c:v>955530</c:v>
                </c:pt>
                <c:pt idx="7349">
                  <c:v>955512</c:v>
                </c:pt>
                <c:pt idx="7350">
                  <c:v>955497</c:v>
                </c:pt>
                <c:pt idx="7351">
                  <c:v>955454</c:v>
                </c:pt>
                <c:pt idx="7352">
                  <c:v>955324</c:v>
                </c:pt>
                <c:pt idx="7353">
                  <c:v>955307</c:v>
                </c:pt>
                <c:pt idx="7354">
                  <c:v>955282</c:v>
                </c:pt>
                <c:pt idx="7355">
                  <c:v>955274</c:v>
                </c:pt>
                <c:pt idx="7356">
                  <c:v>955248</c:v>
                </c:pt>
                <c:pt idx="7357">
                  <c:v>955133</c:v>
                </c:pt>
                <c:pt idx="7358">
                  <c:v>955113</c:v>
                </c:pt>
                <c:pt idx="7359">
                  <c:v>954909</c:v>
                </c:pt>
                <c:pt idx="7360">
                  <c:v>954835</c:v>
                </c:pt>
                <c:pt idx="7361">
                  <c:v>954811</c:v>
                </c:pt>
                <c:pt idx="7362">
                  <c:v>954763</c:v>
                </c:pt>
                <c:pt idx="7363">
                  <c:v>954621</c:v>
                </c:pt>
                <c:pt idx="7364">
                  <c:v>954619</c:v>
                </c:pt>
                <c:pt idx="7365">
                  <c:v>954590</c:v>
                </c:pt>
                <c:pt idx="7366">
                  <c:v>954561</c:v>
                </c:pt>
                <c:pt idx="7367">
                  <c:v>954537</c:v>
                </c:pt>
                <c:pt idx="7368">
                  <c:v>954496</c:v>
                </c:pt>
                <c:pt idx="7369">
                  <c:v>954464</c:v>
                </c:pt>
                <c:pt idx="7370">
                  <c:v>954462</c:v>
                </c:pt>
                <c:pt idx="7371">
                  <c:v>954448</c:v>
                </c:pt>
                <c:pt idx="7372">
                  <c:v>954419</c:v>
                </c:pt>
                <c:pt idx="7373">
                  <c:v>954389</c:v>
                </c:pt>
                <c:pt idx="7374">
                  <c:v>954097</c:v>
                </c:pt>
                <c:pt idx="7375">
                  <c:v>954025</c:v>
                </c:pt>
                <c:pt idx="7376">
                  <c:v>954004</c:v>
                </c:pt>
                <c:pt idx="7377">
                  <c:v>953986</c:v>
                </c:pt>
                <c:pt idx="7378">
                  <c:v>953911</c:v>
                </c:pt>
                <c:pt idx="7379">
                  <c:v>953865</c:v>
                </c:pt>
                <c:pt idx="7380">
                  <c:v>953841</c:v>
                </c:pt>
                <c:pt idx="7381">
                  <c:v>953839</c:v>
                </c:pt>
                <c:pt idx="7382">
                  <c:v>953775</c:v>
                </c:pt>
                <c:pt idx="7383">
                  <c:v>953756</c:v>
                </c:pt>
                <c:pt idx="7384">
                  <c:v>953714</c:v>
                </c:pt>
                <c:pt idx="7385">
                  <c:v>953694</c:v>
                </c:pt>
                <c:pt idx="7386">
                  <c:v>953589</c:v>
                </c:pt>
                <c:pt idx="7387">
                  <c:v>953513</c:v>
                </c:pt>
                <c:pt idx="7388">
                  <c:v>953451</c:v>
                </c:pt>
                <c:pt idx="7389">
                  <c:v>953431</c:v>
                </c:pt>
                <c:pt idx="7390">
                  <c:v>953258</c:v>
                </c:pt>
                <c:pt idx="7391">
                  <c:v>953243</c:v>
                </c:pt>
                <c:pt idx="7392">
                  <c:v>953150</c:v>
                </c:pt>
                <c:pt idx="7393">
                  <c:v>953131</c:v>
                </c:pt>
                <c:pt idx="7394">
                  <c:v>952778</c:v>
                </c:pt>
                <c:pt idx="7395">
                  <c:v>952616</c:v>
                </c:pt>
                <c:pt idx="7396">
                  <c:v>952543</c:v>
                </c:pt>
                <c:pt idx="7397">
                  <c:v>952456</c:v>
                </c:pt>
                <c:pt idx="7398">
                  <c:v>952343</c:v>
                </c:pt>
                <c:pt idx="7399">
                  <c:v>952327</c:v>
                </c:pt>
                <c:pt idx="7400">
                  <c:v>952285</c:v>
                </c:pt>
                <c:pt idx="7401">
                  <c:v>952262</c:v>
                </c:pt>
                <c:pt idx="7402">
                  <c:v>952236</c:v>
                </c:pt>
                <c:pt idx="7403">
                  <c:v>952175</c:v>
                </c:pt>
                <c:pt idx="7404">
                  <c:v>952119</c:v>
                </c:pt>
                <c:pt idx="7405">
                  <c:v>952023</c:v>
                </c:pt>
                <c:pt idx="7406">
                  <c:v>952012</c:v>
                </c:pt>
                <c:pt idx="7407">
                  <c:v>951859</c:v>
                </c:pt>
                <c:pt idx="7408">
                  <c:v>951834</c:v>
                </c:pt>
                <c:pt idx="7409">
                  <c:v>951806</c:v>
                </c:pt>
                <c:pt idx="7410">
                  <c:v>951744</c:v>
                </c:pt>
                <c:pt idx="7411">
                  <c:v>951736</c:v>
                </c:pt>
                <c:pt idx="7412">
                  <c:v>951699</c:v>
                </c:pt>
                <c:pt idx="7413">
                  <c:v>951629</c:v>
                </c:pt>
                <c:pt idx="7414">
                  <c:v>951593</c:v>
                </c:pt>
                <c:pt idx="7415">
                  <c:v>951511</c:v>
                </c:pt>
                <c:pt idx="7416">
                  <c:v>951362</c:v>
                </c:pt>
                <c:pt idx="7417">
                  <c:v>951308</c:v>
                </c:pt>
                <c:pt idx="7418">
                  <c:v>951296</c:v>
                </c:pt>
                <c:pt idx="7419">
                  <c:v>951285</c:v>
                </c:pt>
                <c:pt idx="7420">
                  <c:v>951049</c:v>
                </c:pt>
                <c:pt idx="7421">
                  <c:v>950870</c:v>
                </c:pt>
                <c:pt idx="7422">
                  <c:v>950862</c:v>
                </c:pt>
                <c:pt idx="7423">
                  <c:v>950570</c:v>
                </c:pt>
                <c:pt idx="7424">
                  <c:v>950450</c:v>
                </c:pt>
                <c:pt idx="7425">
                  <c:v>950418</c:v>
                </c:pt>
                <c:pt idx="7426">
                  <c:v>950188</c:v>
                </c:pt>
                <c:pt idx="7427">
                  <c:v>950173</c:v>
                </c:pt>
                <c:pt idx="7428">
                  <c:v>950157</c:v>
                </c:pt>
                <c:pt idx="7429">
                  <c:v>950103</c:v>
                </c:pt>
                <c:pt idx="7430">
                  <c:v>950063</c:v>
                </c:pt>
                <c:pt idx="7431">
                  <c:v>949989</c:v>
                </c:pt>
                <c:pt idx="7432">
                  <c:v>949975</c:v>
                </c:pt>
                <c:pt idx="7433">
                  <c:v>949930</c:v>
                </c:pt>
                <c:pt idx="7434">
                  <c:v>949860</c:v>
                </c:pt>
                <c:pt idx="7435">
                  <c:v>949757</c:v>
                </c:pt>
                <c:pt idx="7436">
                  <c:v>949735</c:v>
                </c:pt>
                <c:pt idx="7437">
                  <c:v>949712</c:v>
                </c:pt>
                <c:pt idx="7438">
                  <c:v>949657</c:v>
                </c:pt>
                <c:pt idx="7439">
                  <c:v>949600</c:v>
                </c:pt>
                <c:pt idx="7440">
                  <c:v>949591</c:v>
                </c:pt>
                <c:pt idx="7441">
                  <c:v>949405</c:v>
                </c:pt>
                <c:pt idx="7442">
                  <c:v>949389</c:v>
                </c:pt>
                <c:pt idx="7443">
                  <c:v>949351</c:v>
                </c:pt>
                <c:pt idx="7444">
                  <c:v>949295</c:v>
                </c:pt>
                <c:pt idx="7445">
                  <c:v>949273</c:v>
                </c:pt>
                <c:pt idx="7446">
                  <c:v>949249</c:v>
                </c:pt>
                <c:pt idx="7447">
                  <c:v>949248</c:v>
                </c:pt>
                <c:pt idx="7448">
                  <c:v>949245</c:v>
                </c:pt>
                <c:pt idx="7449">
                  <c:v>949158</c:v>
                </c:pt>
                <c:pt idx="7450">
                  <c:v>949150</c:v>
                </c:pt>
                <c:pt idx="7451">
                  <c:v>948989</c:v>
                </c:pt>
                <c:pt idx="7452">
                  <c:v>948954</c:v>
                </c:pt>
                <c:pt idx="7453">
                  <c:v>948782</c:v>
                </c:pt>
                <c:pt idx="7454">
                  <c:v>948778</c:v>
                </c:pt>
                <c:pt idx="7455">
                  <c:v>948739</c:v>
                </c:pt>
                <c:pt idx="7456">
                  <c:v>948526</c:v>
                </c:pt>
                <c:pt idx="7457">
                  <c:v>948500</c:v>
                </c:pt>
                <c:pt idx="7458">
                  <c:v>948490</c:v>
                </c:pt>
                <c:pt idx="7459">
                  <c:v>948450</c:v>
                </c:pt>
                <c:pt idx="7460">
                  <c:v>948394</c:v>
                </c:pt>
                <c:pt idx="7461">
                  <c:v>948374</c:v>
                </c:pt>
                <c:pt idx="7462">
                  <c:v>948371</c:v>
                </c:pt>
                <c:pt idx="7463">
                  <c:v>948250</c:v>
                </c:pt>
                <c:pt idx="7464">
                  <c:v>948131</c:v>
                </c:pt>
                <c:pt idx="7465">
                  <c:v>948065</c:v>
                </c:pt>
                <c:pt idx="7466">
                  <c:v>948050</c:v>
                </c:pt>
                <c:pt idx="7467">
                  <c:v>948050</c:v>
                </c:pt>
                <c:pt idx="7468">
                  <c:v>947985</c:v>
                </c:pt>
                <c:pt idx="7469">
                  <c:v>947966</c:v>
                </c:pt>
                <c:pt idx="7470">
                  <c:v>947935</c:v>
                </c:pt>
                <c:pt idx="7471">
                  <c:v>947862</c:v>
                </c:pt>
                <c:pt idx="7472">
                  <c:v>947831</c:v>
                </c:pt>
                <c:pt idx="7473">
                  <c:v>947782</c:v>
                </c:pt>
                <c:pt idx="7474">
                  <c:v>947732</c:v>
                </c:pt>
                <c:pt idx="7475">
                  <c:v>947728</c:v>
                </c:pt>
                <c:pt idx="7476">
                  <c:v>947433</c:v>
                </c:pt>
                <c:pt idx="7477">
                  <c:v>947130</c:v>
                </c:pt>
                <c:pt idx="7478">
                  <c:v>947113</c:v>
                </c:pt>
                <c:pt idx="7479">
                  <c:v>947088</c:v>
                </c:pt>
                <c:pt idx="7480">
                  <c:v>946812</c:v>
                </c:pt>
                <c:pt idx="7481">
                  <c:v>946808</c:v>
                </c:pt>
                <c:pt idx="7482">
                  <c:v>946762</c:v>
                </c:pt>
                <c:pt idx="7483">
                  <c:v>946577</c:v>
                </c:pt>
                <c:pt idx="7484">
                  <c:v>946563</c:v>
                </c:pt>
                <c:pt idx="7485">
                  <c:v>946470</c:v>
                </c:pt>
                <c:pt idx="7486">
                  <c:v>946437</c:v>
                </c:pt>
                <c:pt idx="7487">
                  <c:v>946336</c:v>
                </c:pt>
                <c:pt idx="7488">
                  <c:v>946178</c:v>
                </c:pt>
                <c:pt idx="7489">
                  <c:v>946125</c:v>
                </c:pt>
                <c:pt idx="7490">
                  <c:v>945919</c:v>
                </c:pt>
                <c:pt idx="7491">
                  <c:v>945832</c:v>
                </c:pt>
                <c:pt idx="7492">
                  <c:v>945775</c:v>
                </c:pt>
                <c:pt idx="7493">
                  <c:v>945755</c:v>
                </c:pt>
                <c:pt idx="7494">
                  <c:v>945446</c:v>
                </c:pt>
                <c:pt idx="7495">
                  <c:v>945388</c:v>
                </c:pt>
                <c:pt idx="7496">
                  <c:v>945284</c:v>
                </c:pt>
                <c:pt idx="7497">
                  <c:v>945267</c:v>
                </c:pt>
                <c:pt idx="7498">
                  <c:v>945057</c:v>
                </c:pt>
                <c:pt idx="7499">
                  <c:v>944953</c:v>
                </c:pt>
                <c:pt idx="7500">
                  <c:v>944940</c:v>
                </c:pt>
                <c:pt idx="7501">
                  <c:v>944877</c:v>
                </c:pt>
                <c:pt idx="7502">
                  <c:v>944775</c:v>
                </c:pt>
                <c:pt idx="7503">
                  <c:v>944725</c:v>
                </c:pt>
                <c:pt idx="7504">
                  <c:v>944604</c:v>
                </c:pt>
                <c:pt idx="7505">
                  <c:v>944597</c:v>
                </c:pt>
                <c:pt idx="7506">
                  <c:v>944466</c:v>
                </c:pt>
                <c:pt idx="7507">
                  <c:v>944414</c:v>
                </c:pt>
                <c:pt idx="7508">
                  <c:v>944265</c:v>
                </c:pt>
                <c:pt idx="7509">
                  <c:v>944199</c:v>
                </c:pt>
                <c:pt idx="7510">
                  <c:v>944053</c:v>
                </c:pt>
                <c:pt idx="7511">
                  <c:v>943912</c:v>
                </c:pt>
                <c:pt idx="7512">
                  <c:v>943753</c:v>
                </c:pt>
                <c:pt idx="7513">
                  <c:v>943752</c:v>
                </c:pt>
                <c:pt idx="7514">
                  <c:v>943615</c:v>
                </c:pt>
                <c:pt idx="7515">
                  <c:v>943600</c:v>
                </c:pt>
                <c:pt idx="7516">
                  <c:v>943475</c:v>
                </c:pt>
                <c:pt idx="7517">
                  <c:v>943461</c:v>
                </c:pt>
                <c:pt idx="7518">
                  <c:v>943380</c:v>
                </c:pt>
                <c:pt idx="7519">
                  <c:v>943318</c:v>
                </c:pt>
                <c:pt idx="7520">
                  <c:v>943299</c:v>
                </c:pt>
                <c:pt idx="7521">
                  <c:v>943187</c:v>
                </c:pt>
                <c:pt idx="7522">
                  <c:v>943176</c:v>
                </c:pt>
                <c:pt idx="7523">
                  <c:v>943172</c:v>
                </c:pt>
                <c:pt idx="7524">
                  <c:v>943157</c:v>
                </c:pt>
                <c:pt idx="7525">
                  <c:v>943015</c:v>
                </c:pt>
                <c:pt idx="7526">
                  <c:v>943008</c:v>
                </c:pt>
                <c:pt idx="7527">
                  <c:v>942899</c:v>
                </c:pt>
                <c:pt idx="7528">
                  <c:v>942881</c:v>
                </c:pt>
                <c:pt idx="7529">
                  <c:v>942867</c:v>
                </c:pt>
                <c:pt idx="7530">
                  <c:v>942840</c:v>
                </c:pt>
                <c:pt idx="7531">
                  <c:v>942680</c:v>
                </c:pt>
                <c:pt idx="7532">
                  <c:v>942663</c:v>
                </c:pt>
                <c:pt idx="7533">
                  <c:v>942653</c:v>
                </c:pt>
                <c:pt idx="7534">
                  <c:v>942533</c:v>
                </c:pt>
                <c:pt idx="7535">
                  <c:v>942503</c:v>
                </c:pt>
                <c:pt idx="7536">
                  <c:v>942461</c:v>
                </c:pt>
                <c:pt idx="7537">
                  <c:v>942447</c:v>
                </c:pt>
                <c:pt idx="7538">
                  <c:v>942429</c:v>
                </c:pt>
                <c:pt idx="7539">
                  <c:v>942388</c:v>
                </c:pt>
                <c:pt idx="7540">
                  <c:v>942384</c:v>
                </c:pt>
                <c:pt idx="7541">
                  <c:v>942246</c:v>
                </c:pt>
                <c:pt idx="7542">
                  <c:v>942221</c:v>
                </c:pt>
                <c:pt idx="7543">
                  <c:v>942106</c:v>
                </c:pt>
                <c:pt idx="7544">
                  <c:v>942053</c:v>
                </c:pt>
                <c:pt idx="7545">
                  <c:v>941982</c:v>
                </c:pt>
                <c:pt idx="7546">
                  <c:v>941901</c:v>
                </c:pt>
                <c:pt idx="7547">
                  <c:v>941870</c:v>
                </c:pt>
                <c:pt idx="7548">
                  <c:v>941820</c:v>
                </c:pt>
                <c:pt idx="7549">
                  <c:v>941812</c:v>
                </c:pt>
                <c:pt idx="7550">
                  <c:v>941772</c:v>
                </c:pt>
                <c:pt idx="7551">
                  <c:v>941725</c:v>
                </c:pt>
                <c:pt idx="7552">
                  <c:v>941721</c:v>
                </c:pt>
                <c:pt idx="7553">
                  <c:v>941706</c:v>
                </c:pt>
                <c:pt idx="7554">
                  <c:v>941637</c:v>
                </c:pt>
                <c:pt idx="7555">
                  <c:v>941594</c:v>
                </c:pt>
                <c:pt idx="7556">
                  <c:v>941585</c:v>
                </c:pt>
                <c:pt idx="7557">
                  <c:v>941437</c:v>
                </c:pt>
                <c:pt idx="7558">
                  <c:v>941421</c:v>
                </c:pt>
                <c:pt idx="7559">
                  <c:v>941350</c:v>
                </c:pt>
                <c:pt idx="7560">
                  <c:v>941323</c:v>
                </c:pt>
                <c:pt idx="7561">
                  <c:v>941238</c:v>
                </c:pt>
                <c:pt idx="7562">
                  <c:v>941158</c:v>
                </c:pt>
                <c:pt idx="7563">
                  <c:v>941112</c:v>
                </c:pt>
                <c:pt idx="7564">
                  <c:v>941106</c:v>
                </c:pt>
                <c:pt idx="7565">
                  <c:v>941008</c:v>
                </c:pt>
                <c:pt idx="7566">
                  <c:v>940982</c:v>
                </c:pt>
                <c:pt idx="7567">
                  <c:v>940881</c:v>
                </c:pt>
                <c:pt idx="7568">
                  <c:v>940870</c:v>
                </c:pt>
                <c:pt idx="7569">
                  <c:v>940738</c:v>
                </c:pt>
                <c:pt idx="7570">
                  <c:v>940706</c:v>
                </c:pt>
                <c:pt idx="7571">
                  <c:v>940656</c:v>
                </c:pt>
                <c:pt idx="7572">
                  <c:v>940588</c:v>
                </c:pt>
                <c:pt idx="7573">
                  <c:v>940586</c:v>
                </c:pt>
                <c:pt idx="7574">
                  <c:v>940552</c:v>
                </c:pt>
                <c:pt idx="7575">
                  <c:v>940542</c:v>
                </c:pt>
                <c:pt idx="7576">
                  <c:v>940530</c:v>
                </c:pt>
                <c:pt idx="7577">
                  <c:v>940474</c:v>
                </c:pt>
                <c:pt idx="7578">
                  <c:v>940411</c:v>
                </c:pt>
                <c:pt idx="7579">
                  <c:v>940361</c:v>
                </c:pt>
                <c:pt idx="7580">
                  <c:v>940298</c:v>
                </c:pt>
                <c:pt idx="7581">
                  <c:v>940276</c:v>
                </c:pt>
                <c:pt idx="7582">
                  <c:v>940261</c:v>
                </c:pt>
                <c:pt idx="7583">
                  <c:v>940236</c:v>
                </c:pt>
                <c:pt idx="7584">
                  <c:v>940233</c:v>
                </c:pt>
                <c:pt idx="7585">
                  <c:v>940194</c:v>
                </c:pt>
                <c:pt idx="7586">
                  <c:v>940043</c:v>
                </c:pt>
                <c:pt idx="7587">
                  <c:v>940029</c:v>
                </c:pt>
                <c:pt idx="7588">
                  <c:v>939914</c:v>
                </c:pt>
                <c:pt idx="7589">
                  <c:v>939832</c:v>
                </c:pt>
                <c:pt idx="7590">
                  <c:v>939753</c:v>
                </c:pt>
                <c:pt idx="7591">
                  <c:v>939660</c:v>
                </c:pt>
                <c:pt idx="7592">
                  <c:v>939594</c:v>
                </c:pt>
                <c:pt idx="7593">
                  <c:v>939585</c:v>
                </c:pt>
                <c:pt idx="7594">
                  <c:v>939564</c:v>
                </c:pt>
                <c:pt idx="7595">
                  <c:v>939524</c:v>
                </c:pt>
                <c:pt idx="7596">
                  <c:v>939518</c:v>
                </c:pt>
                <c:pt idx="7597">
                  <c:v>939478</c:v>
                </c:pt>
                <c:pt idx="7598">
                  <c:v>939467</c:v>
                </c:pt>
                <c:pt idx="7599">
                  <c:v>939454</c:v>
                </c:pt>
                <c:pt idx="7600">
                  <c:v>939441</c:v>
                </c:pt>
                <c:pt idx="7601">
                  <c:v>939320</c:v>
                </c:pt>
                <c:pt idx="7602">
                  <c:v>939303</c:v>
                </c:pt>
                <c:pt idx="7603">
                  <c:v>939282</c:v>
                </c:pt>
                <c:pt idx="7604">
                  <c:v>939275</c:v>
                </c:pt>
                <c:pt idx="7605">
                  <c:v>939184</c:v>
                </c:pt>
                <c:pt idx="7606">
                  <c:v>939139</c:v>
                </c:pt>
                <c:pt idx="7607">
                  <c:v>939090</c:v>
                </c:pt>
                <c:pt idx="7608">
                  <c:v>939056</c:v>
                </c:pt>
                <c:pt idx="7609">
                  <c:v>938993</c:v>
                </c:pt>
                <c:pt idx="7610">
                  <c:v>938924</c:v>
                </c:pt>
                <c:pt idx="7611">
                  <c:v>938627</c:v>
                </c:pt>
                <c:pt idx="7612">
                  <c:v>938587</c:v>
                </c:pt>
                <c:pt idx="7613">
                  <c:v>938576</c:v>
                </c:pt>
                <c:pt idx="7614">
                  <c:v>938560</c:v>
                </c:pt>
                <c:pt idx="7615">
                  <c:v>938354</c:v>
                </c:pt>
                <c:pt idx="7616">
                  <c:v>938313</c:v>
                </c:pt>
                <c:pt idx="7617">
                  <c:v>938240</c:v>
                </c:pt>
                <c:pt idx="7618">
                  <c:v>938149</c:v>
                </c:pt>
                <c:pt idx="7619">
                  <c:v>938002</c:v>
                </c:pt>
                <c:pt idx="7620">
                  <c:v>937832</c:v>
                </c:pt>
                <c:pt idx="7621">
                  <c:v>937767</c:v>
                </c:pt>
                <c:pt idx="7622">
                  <c:v>937666</c:v>
                </c:pt>
                <c:pt idx="7623">
                  <c:v>937594</c:v>
                </c:pt>
                <c:pt idx="7624">
                  <c:v>937544</c:v>
                </c:pt>
                <c:pt idx="7625">
                  <c:v>937423</c:v>
                </c:pt>
                <c:pt idx="7626">
                  <c:v>937374</c:v>
                </c:pt>
                <c:pt idx="7627">
                  <c:v>937264</c:v>
                </c:pt>
                <c:pt idx="7628">
                  <c:v>937221</c:v>
                </c:pt>
                <c:pt idx="7629">
                  <c:v>937192</c:v>
                </c:pt>
                <c:pt idx="7630">
                  <c:v>937158</c:v>
                </c:pt>
                <c:pt idx="7631">
                  <c:v>937117</c:v>
                </c:pt>
                <c:pt idx="7632">
                  <c:v>937039</c:v>
                </c:pt>
                <c:pt idx="7633">
                  <c:v>936920</c:v>
                </c:pt>
                <c:pt idx="7634">
                  <c:v>936868</c:v>
                </c:pt>
                <c:pt idx="7635">
                  <c:v>936779</c:v>
                </c:pt>
                <c:pt idx="7636">
                  <c:v>936770</c:v>
                </c:pt>
                <c:pt idx="7637">
                  <c:v>936754</c:v>
                </c:pt>
                <c:pt idx="7638">
                  <c:v>936709</c:v>
                </c:pt>
                <c:pt idx="7639">
                  <c:v>936594</c:v>
                </c:pt>
                <c:pt idx="7640">
                  <c:v>936592</c:v>
                </c:pt>
                <c:pt idx="7641">
                  <c:v>936549</c:v>
                </c:pt>
                <c:pt idx="7642">
                  <c:v>936502</c:v>
                </c:pt>
                <c:pt idx="7643">
                  <c:v>936136</c:v>
                </c:pt>
                <c:pt idx="7644">
                  <c:v>936110</c:v>
                </c:pt>
                <c:pt idx="7645">
                  <c:v>936106</c:v>
                </c:pt>
                <c:pt idx="7646">
                  <c:v>936028</c:v>
                </c:pt>
                <c:pt idx="7647">
                  <c:v>935957</c:v>
                </c:pt>
                <c:pt idx="7648">
                  <c:v>935856</c:v>
                </c:pt>
                <c:pt idx="7649">
                  <c:v>935849</c:v>
                </c:pt>
                <c:pt idx="7650">
                  <c:v>935653</c:v>
                </c:pt>
                <c:pt idx="7651">
                  <c:v>935622</c:v>
                </c:pt>
                <c:pt idx="7652">
                  <c:v>935620</c:v>
                </c:pt>
                <c:pt idx="7653">
                  <c:v>935512</c:v>
                </c:pt>
                <c:pt idx="7654">
                  <c:v>935334</c:v>
                </c:pt>
                <c:pt idx="7655">
                  <c:v>935311</c:v>
                </c:pt>
                <c:pt idx="7656">
                  <c:v>935253</c:v>
                </c:pt>
                <c:pt idx="7657">
                  <c:v>935216</c:v>
                </c:pt>
                <c:pt idx="7658">
                  <c:v>935203</c:v>
                </c:pt>
                <c:pt idx="7659">
                  <c:v>935140</c:v>
                </c:pt>
                <c:pt idx="7660">
                  <c:v>935118</c:v>
                </c:pt>
                <c:pt idx="7661">
                  <c:v>935117</c:v>
                </c:pt>
                <c:pt idx="7662">
                  <c:v>935070</c:v>
                </c:pt>
                <c:pt idx="7663">
                  <c:v>934949</c:v>
                </c:pt>
                <c:pt idx="7664">
                  <c:v>934863</c:v>
                </c:pt>
                <c:pt idx="7665">
                  <c:v>934842</c:v>
                </c:pt>
                <c:pt idx="7666">
                  <c:v>934839</c:v>
                </c:pt>
                <c:pt idx="7667">
                  <c:v>934801</c:v>
                </c:pt>
                <c:pt idx="7668">
                  <c:v>934790</c:v>
                </c:pt>
                <c:pt idx="7669">
                  <c:v>934757</c:v>
                </c:pt>
                <c:pt idx="7670">
                  <c:v>934716</c:v>
                </c:pt>
                <c:pt idx="7671">
                  <c:v>934688</c:v>
                </c:pt>
                <c:pt idx="7672">
                  <c:v>934619</c:v>
                </c:pt>
                <c:pt idx="7673">
                  <c:v>934576</c:v>
                </c:pt>
                <c:pt idx="7674">
                  <c:v>934479</c:v>
                </c:pt>
                <c:pt idx="7675">
                  <c:v>934464</c:v>
                </c:pt>
                <c:pt idx="7676">
                  <c:v>934421</c:v>
                </c:pt>
                <c:pt idx="7677">
                  <c:v>934366</c:v>
                </c:pt>
                <c:pt idx="7678">
                  <c:v>934276</c:v>
                </c:pt>
                <c:pt idx="7679">
                  <c:v>934237</c:v>
                </c:pt>
                <c:pt idx="7680">
                  <c:v>934122</c:v>
                </c:pt>
                <c:pt idx="7681">
                  <c:v>934104</c:v>
                </c:pt>
                <c:pt idx="7682">
                  <c:v>933985</c:v>
                </c:pt>
                <c:pt idx="7683">
                  <c:v>933976</c:v>
                </c:pt>
                <c:pt idx="7684">
                  <c:v>933922</c:v>
                </c:pt>
                <c:pt idx="7685">
                  <c:v>933756</c:v>
                </c:pt>
                <c:pt idx="7686">
                  <c:v>933705</c:v>
                </c:pt>
                <c:pt idx="7687">
                  <c:v>933670</c:v>
                </c:pt>
                <c:pt idx="7688">
                  <c:v>933661</c:v>
                </c:pt>
                <c:pt idx="7689">
                  <c:v>933640</c:v>
                </c:pt>
                <c:pt idx="7690">
                  <c:v>933604</c:v>
                </c:pt>
                <c:pt idx="7691">
                  <c:v>933551</c:v>
                </c:pt>
                <c:pt idx="7692">
                  <c:v>933361</c:v>
                </c:pt>
                <c:pt idx="7693">
                  <c:v>933358</c:v>
                </c:pt>
                <c:pt idx="7694">
                  <c:v>933328</c:v>
                </c:pt>
                <c:pt idx="7695">
                  <c:v>933327</c:v>
                </c:pt>
                <c:pt idx="7696">
                  <c:v>933301</c:v>
                </c:pt>
                <c:pt idx="7697">
                  <c:v>933287</c:v>
                </c:pt>
                <c:pt idx="7698">
                  <c:v>933272</c:v>
                </c:pt>
                <c:pt idx="7699">
                  <c:v>933235</c:v>
                </c:pt>
                <c:pt idx="7700">
                  <c:v>933226</c:v>
                </c:pt>
                <c:pt idx="7701">
                  <c:v>933207</c:v>
                </c:pt>
                <c:pt idx="7702">
                  <c:v>933193</c:v>
                </c:pt>
                <c:pt idx="7703">
                  <c:v>933099</c:v>
                </c:pt>
                <c:pt idx="7704">
                  <c:v>933095</c:v>
                </c:pt>
                <c:pt idx="7705">
                  <c:v>933029</c:v>
                </c:pt>
                <c:pt idx="7706">
                  <c:v>932985</c:v>
                </c:pt>
                <c:pt idx="7707">
                  <c:v>932940</c:v>
                </c:pt>
                <c:pt idx="7708">
                  <c:v>932938</c:v>
                </c:pt>
                <c:pt idx="7709">
                  <c:v>932891</c:v>
                </c:pt>
                <c:pt idx="7710">
                  <c:v>932883</c:v>
                </c:pt>
                <c:pt idx="7711">
                  <c:v>932847</c:v>
                </c:pt>
                <c:pt idx="7712">
                  <c:v>932840</c:v>
                </c:pt>
                <c:pt idx="7713">
                  <c:v>932817</c:v>
                </c:pt>
                <c:pt idx="7714">
                  <c:v>932770</c:v>
                </c:pt>
                <c:pt idx="7715">
                  <c:v>932753</c:v>
                </c:pt>
                <c:pt idx="7716">
                  <c:v>932747</c:v>
                </c:pt>
                <c:pt idx="7717">
                  <c:v>932732</c:v>
                </c:pt>
                <c:pt idx="7718">
                  <c:v>932619</c:v>
                </c:pt>
                <c:pt idx="7719">
                  <c:v>932462</c:v>
                </c:pt>
                <c:pt idx="7720">
                  <c:v>932434</c:v>
                </c:pt>
                <c:pt idx="7721">
                  <c:v>932133</c:v>
                </c:pt>
                <c:pt idx="7722">
                  <c:v>932117</c:v>
                </c:pt>
                <c:pt idx="7723">
                  <c:v>932019</c:v>
                </c:pt>
                <c:pt idx="7724">
                  <c:v>931926</c:v>
                </c:pt>
                <c:pt idx="7725">
                  <c:v>931890</c:v>
                </c:pt>
                <c:pt idx="7726">
                  <c:v>931889</c:v>
                </c:pt>
                <c:pt idx="7727">
                  <c:v>931851</c:v>
                </c:pt>
                <c:pt idx="7728">
                  <c:v>931764</c:v>
                </c:pt>
                <c:pt idx="7729">
                  <c:v>931763</c:v>
                </c:pt>
                <c:pt idx="7730">
                  <c:v>931691</c:v>
                </c:pt>
                <c:pt idx="7731">
                  <c:v>931638</c:v>
                </c:pt>
                <c:pt idx="7732">
                  <c:v>931564</c:v>
                </c:pt>
                <c:pt idx="7733">
                  <c:v>931483</c:v>
                </c:pt>
                <c:pt idx="7734">
                  <c:v>931400</c:v>
                </c:pt>
                <c:pt idx="7735">
                  <c:v>931341</c:v>
                </c:pt>
                <c:pt idx="7736">
                  <c:v>931303</c:v>
                </c:pt>
                <c:pt idx="7737">
                  <c:v>931234</c:v>
                </c:pt>
                <c:pt idx="7738">
                  <c:v>931211</c:v>
                </c:pt>
                <c:pt idx="7739">
                  <c:v>931106</c:v>
                </c:pt>
                <c:pt idx="7740">
                  <c:v>931065</c:v>
                </c:pt>
                <c:pt idx="7741">
                  <c:v>931026</c:v>
                </c:pt>
                <c:pt idx="7742">
                  <c:v>931000</c:v>
                </c:pt>
                <c:pt idx="7743">
                  <c:v>930829</c:v>
                </c:pt>
                <c:pt idx="7744">
                  <c:v>930795</c:v>
                </c:pt>
                <c:pt idx="7745">
                  <c:v>930733</c:v>
                </c:pt>
                <c:pt idx="7746">
                  <c:v>930635</c:v>
                </c:pt>
                <c:pt idx="7747">
                  <c:v>930601</c:v>
                </c:pt>
                <c:pt idx="7748">
                  <c:v>930540</c:v>
                </c:pt>
                <c:pt idx="7749">
                  <c:v>930540</c:v>
                </c:pt>
                <c:pt idx="7750">
                  <c:v>930483</c:v>
                </c:pt>
                <c:pt idx="7751">
                  <c:v>930182</c:v>
                </c:pt>
                <c:pt idx="7752">
                  <c:v>930119</c:v>
                </c:pt>
                <c:pt idx="7753">
                  <c:v>929977</c:v>
                </c:pt>
                <c:pt idx="7754">
                  <c:v>929973</c:v>
                </c:pt>
                <c:pt idx="7755">
                  <c:v>929957</c:v>
                </c:pt>
                <c:pt idx="7756">
                  <c:v>929768</c:v>
                </c:pt>
                <c:pt idx="7757">
                  <c:v>929740</c:v>
                </c:pt>
                <c:pt idx="7758">
                  <c:v>929645</c:v>
                </c:pt>
                <c:pt idx="7759">
                  <c:v>929550</c:v>
                </c:pt>
                <c:pt idx="7760">
                  <c:v>929481</c:v>
                </c:pt>
                <c:pt idx="7761">
                  <c:v>929282</c:v>
                </c:pt>
                <c:pt idx="7762">
                  <c:v>929271</c:v>
                </c:pt>
                <c:pt idx="7763">
                  <c:v>929262</c:v>
                </c:pt>
                <c:pt idx="7764">
                  <c:v>929188</c:v>
                </c:pt>
                <c:pt idx="7765">
                  <c:v>929124</c:v>
                </c:pt>
                <c:pt idx="7766">
                  <c:v>929092</c:v>
                </c:pt>
                <c:pt idx="7767">
                  <c:v>928948</c:v>
                </c:pt>
                <c:pt idx="7768">
                  <c:v>928822</c:v>
                </c:pt>
                <c:pt idx="7769">
                  <c:v>928805</c:v>
                </c:pt>
                <c:pt idx="7770">
                  <c:v>928539</c:v>
                </c:pt>
                <c:pt idx="7771">
                  <c:v>928478</c:v>
                </c:pt>
                <c:pt idx="7772">
                  <c:v>928401</c:v>
                </c:pt>
                <c:pt idx="7773">
                  <c:v>928387</c:v>
                </c:pt>
                <c:pt idx="7774">
                  <c:v>928326</c:v>
                </c:pt>
                <c:pt idx="7775">
                  <c:v>928320</c:v>
                </c:pt>
                <c:pt idx="7776">
                  <c:v>928269</c:v>
                </c:pt>
                <c:pt idx="7777">
                  <c:v>928237</c:v>
                </c:pt>
                <c:pt idx="7778">
                  <c:v>928182</c:v>
                </c:pt>
                <c:pt idx="7779">
                  <c:v>928137</c:v>
                </c:pt>
                <c:pt idx="7780">
                  <c:v>928063</c:v>
                </c:pt>
                <c:pt idx="7781">
                  <c:v>928029</c:v>
                </c:pt>
                <c:pt idx="7782">
                  <c:v>927976</c:v>
                </c:pt>
                <c:pt idx="7783">
                  <c:v>927846</c:v>
                </c:pt>
                <c:pt idx="7784">
                  <c:v>927801</c:v>
                </c:pt>
                <c:pt idx="7785">
                  <c:v>927708</c:v>
                </c:pt>
                <c:pt idx="7786">
                  <c:v>927705</c:v>
                </c:pt>
                <c:pt idx="7787">
                  <c:v>927672</c:v>
                </c:pt>
                <c:pt idx="7788">
                  <c:v>927606</c:v>
                </c:pt>
                <c:pt idx="7789">
                  <c:v>927577</c:v>
                </c:pt>
                <c:pt idx="7790">
                  <c:v>927506</c:v>
                </c:pt>
                <c:pt idx="7791">
                  <c:v>927407</c:v>
                </c:pt>
                <c:pt idx="7792">
                  <c:v>927396</c:v>
                </c:pt>
                <c:pt idx="7793">
                  <c:v>927225</c:v>
                </c:pt>
                <c:pt idx="7794">
                  <c:v>927199</c:v>
                </c:pt>
                <c:pt idx="7795">
                  <c:v>927179</c:v>
                </c:pt>
                <c:pt idx="7796">
                  <c:v>927104</c:v>
                </c:pt>
                <c:pt idx="7797">
                  <c:v>927046</c:v>
                </c:pt>
                <c:pt idx="7798">
                  <c:v>926998</c:v>
                </c:pt>
                <c:pt idx="7799">
                  <c:v>926965</c:v>
                </c:pt>
                <c:pt idx="7800">
                  <c:v>926964</c:v>
                </c:pt>
                <c:pt idx="7801">
                  <c:v>926947</c:v>
                </c:pt>
                <c:pt idx="7802">
                  <c:v>926892</c:v>
                </c:pt>
                <c:pt idx="7803">
                  <c:v>926888</c:v>
                </c:pt>
                <c:pt idx="7804">
                  <c:v>926850</c:v>
                </c:pt>
                <c:pt idx="7805">
                  <c:v>926848</c:v>
                </c:pt>
                <c:pt idx="7806">
                  <c:v>926770</c:v>
                </c:pt>
                <c:pt idx="7807">
                  <c:v>926648</c:v>
                </c:pt>
                <c:pt idx="7808">
                  <c:v>926529</c:v>
                </c:pt>
                <c:pt idx="7809">
                  <c:v>926464</c:v>
                </c:pt>
                <c:pt idx="7810">
                  <c:v>926342</c:v>
                </c:pt>
                <c:pt idx="7811">
                  <c:v>926287</c:v>
                </c:pt>
                <c:pt idx="7812">
                  <c:v>926240</c:v>
                </c:pt>
                <c:pt idx="7813">
                  <c:v>926238</c:v>
                </c:pt>
                <c:pt idx="7814">
                  <c:v>926201</c:v>
                </c:pt>
                <c:pt idx="7815">
                  <c:v>926173</c:v>
                </c:pt>
                <c:pt idx="7816">
                  <c:v>926171</c:v>
                </c:pt>
                <c:pt idx="7817">
                  <c:v>926158</c:v>
                </c:pt>
                <c:pt idx="7818">
                  <c:v>926073</c:v>
                </c:pt>
                <c:pt idx="7819">
                  <c:v>926069</c:v>
                </c:pt>
                <c:pt idx="7820">
                  <c:v>926003</c:v>
                </c:pt>
                <c:pt idx="7821">
                  <c:v>925998</c:v>
                </c:pt>
                <c:pt idx="7822">
                  <c:v>925986</c:v>
                </c:pt>
                <c:pt idx="7823">
                  <c:v>925953</c:v>
                </c:pt>
                <c:pt idx="7824">
                  <c:v>925942</c:v>
                </c:pt>
                <c:pt idx="7825">
                  <c:v>925926</c:v>
                </c:pt>
                <c:pt idx="7826">
                  <c:v>925915</c:v>
                </c:pt>
                <c:pt idx="7827">
                  <c:v>925862</c:v>
                </c:pt>
                <c:pt idx="7828">
                  <c:v>925819</c:v>
                </c:pt>
                <c:pt idx="7829">
                  <c:v>925801</c:v>
                </c:pt>
                <c:pt idx="7830">
                  <c:v>925718</c:v>
                </c:pt>
                <c:pt idx="7831">
                  <c:v>925676</c:v>
                </c:pt>
                <c:pt idx="7832">
                  <c:v>925633</c:v>
                </c:pt>
                <c:pt idx="7833">
                  <c:v>925572</c:v>
                </c:pt>
                <c:pt idx="7834">
                  <c:v>925548</c:v>
                </c:pt>
                <c:pt idx="7835">
                  <c:v>925487</c:v>
                </c:pt>
                <c:pt idx="7836">
                  <c:v>925481</c:v>
                </c:pt>
                <c:pt idx="7837">
                  <c:v>925405</c:v>
                </c:pt>
                <c:pt idx="7838">
                  <c:v>925358</c:v>
                </c:pt>
                <c:pt idx="7839">
                  <c:v>925338</c:v>
                </c:pt>
                <c:pt idx="7840">
                  <c:v>925326</c:v>
                </c:pt>
                <c:pt idx="7841">
                  <c:v>925199</c:v>
                </c:pt>
                <c:pt idx="7842">
                  <c:v>925188</c:v>
                </c:pt>
                <c:pt idx="7843">
                  <c:v>925074</c:v>
                </c:pt>
                <c:pt idx="7844">
                  <c:v>925051</c:v>
                </c:pt>
                <c:pt idx="7845">
                  <c:v>924958</c:v>
                </c:pt>
                <c:pt idx="7846">
                  <c:v>924924</c:v>
                </c:pt>
                <c:pt idx="7847">
                  <c:v>924864</c:v>
                </c:pt>
                <c:pt idx="7848">
                  <c:v>924839</c:v>
                </c:pt>
                <c:pt idx="7849">
                  <c:v>924823</c:v>
                </c:pt>
                <c:pt idx="7850">
                  <c:v>924748</c:v>
                </c:pt>
                <c:pt idx="7851">
                  <c:v>924746</c:v>
                </c:pt>
                <c:pt idx="7852">
                  <c:v>924701</c:v>
                </c:pt>
                <c:pt idx="7853">
                  <c:v>924671</c:v>
                </c:pt>
                <c:pt idx="7854">
                  <c:v>924653</c:v>
                </c:pt>
                <c:pt idx="7855">
                  <c:v>924635</c:v>
                </c:pt>
                <c:pt idx="7856">
                  <c:v>924501</c:v>
                </c:pt>
                <c:pt idx="7857">
                  <c:v>924492</c:v>
                </c:pt>
                <c:pt idx="7858">
                  <c:v>924462</c:v>
                </c:pt>
                <c:pt idx="7859">
                  <c:v>924445</c:v>
                </c:pt>
                <c:pt idx="7860">
                  <c:v>924417</c:v>
                </c:pt>
                <c:pt idx="7861">
                  <c:v>924366</c:v>
                </c:pt>
                <c:pt idx="7862">
                  <c:v>924333</c:v>
                </c:pt>
                <c:pt idx="7863">
                  <c:v>924246</c:v>
                </c:pt>
                <c:pt idx="7864">
                  <c:v>924182</c:v>
                </c:pt>
                <c:pt idx="7865">
                  <c:v>924174</c:v>
                </c:pt>
                <c:pt idx="7866">
                  <c:v>924166</c:v>
                </c:pt>
                <c:pt idx="7867">
                  <c:v>924098</c:v>
                </c:pt>
                <c:pt idx="7868">
                  <c:v>924087</c:v>
                </c:pt>
                <c:pt idx="7869">
                  <c:v>924044</c:v>
                </c:pt>
                <c:pt idx="7870">
                  <c:v>924025</c:v>
                </c:pt>
                <c:pt idx="7871">
                  <c:v>923911</c:v>
                </c:pt>
                <c:pt idx="7872">
                  <c:v>923894</c:v>
                </c:pt>
                <c:pt idx="7873">
                  <c:v>923869</c:v>
                </c:pt>
                <c:pt idx="7874">
                  <c:v>923673</c:v>
                </c:pt>
                <c:pt idx="7875">
                  <c:v>923637</c:v>
                </c:pt>
                <c:pt idx="7876">
                  <c:v>923602</c:v>
                </c:pt>
                <c:pt idx="7877">
                  <c:v>923584</c:v>
                </c:pt>
                <c:pt idx="7878">
                  <c:v>923547</c:v>
                </c:pt>
                <c:pt idx="7879">
                  <c:v>923501</c:v>
                </c:pt>
                <c:pt idx="7880">
                  <c:v>923453</c:v>
                </c:pt>
                <c:pt idx="7881">
                  <c:v>923436</c:v>
                </c:pt>
                <c:pt idx="7882">
                  <c:v>923378</c:v>
                </c:pt>
                <c:pt idx="7883">
                  <c:v>923255</c:v>
                </c:pt>
                <c:pt idx="7884">
                  <c:v>923216</c:v>
                </c:pt>
                <c:pt idx="7885">
                  <c:v>923190</c:v>
                </c:pt>
                <c:pt idx="7886">
                  <c:v>923169</c:v>
                </c:pt>
                <c:pt idx="7887">
                  <c:v>923096</c:v>
                </c:pt>
                <c:pt idx="7888">
                  <c:v>923039</c:v>
                </c:pt>
                <c:pt idx="7889">
                  <c:v>922919</c:v>
                </c:pt>
                <c:pt idx="7890">
                  <c:v>922871</c:v>
                </c:pt>
                <c:pt idx="7891">
                  <c:v>922839</c:v>
                </c:pt>
                <c:pt idx="7892">
                  <c:v>922820</c:v>
                </c:pt>
                <c:pt idx="7893">
                  <c:v>922759</c:v>
                </c:pt>
                <c:pt idx="7894">
                  <c:v>922715</c:v>
                </c:pt>
                <c:pt idx="7895">
                  <c:v>922702</c:v>
                </c:pt>
                <c:pt idx="7896">
                  <c:v>922644</c:v>
                </c:pt>
                <c:pt idx="7897">
                  <c:v>922602</c:v>
                </c:pt>
                <c:pt idx="7898">
                  <c:v>922539</c:v>
                </c:pt>
                <c:pt idx="7899">
                  <c:v>922483</c:v>
                </c:pt>
                <c:pt idx="7900">
                  <c:v>922481</c:v>
                </c:pt>
                <c:pt idx="7901">
                  <c:v>922401</c:v>
                </c:pt>
                <c:pt idx="7902">
                  <c:v>922398</c:v>
                </c:pt>
                <c:pt idx="7903">
                  <c:v>922171</c:v>
                </c:pt>
                <c:pt idx="7904">
                  <c:v>922094</c:v>
                </c:pt>
                <c:pt idx="7905">
                  <c:v>922003</c:v>
                </c:pt>
                <c:pt idx="7906">
                  <c:v>921993</c:v>
                </c:pt>
                <c:pt idx="7907">
                  <c:v>921963</c:v>
                </c:pt>
                <c:pt idx="7908">
                  <c:v>921926</c:v>
                </c:pt>
                <c:pt idx="7909">
                  <c:v>921919</c:v>
                </c:pt>
                <c:pt idx="7910">
                  <c:v>921729</c:v>
                </c:pt>
                <c:pt idx="7911">
                  <c:v>921722</c:v>
                </c:pt>
                <c:pt idx="7912">
                  <c:v>921664</c:v>
                </c:pt>
                <c:pt idx="7913">
                  <c:v>921636</c:v>
                </c:pt>
                <c:pt idx="7914">
                  <c:v>921483</c:v>
                </c:pt>
                <c:pt idx="7915">
                  <c:v>921357</c:v>
                </c:pt>
                <c:pt idx="7916">
                  <c:v>921229</c:v>
                </c:pt>
                <c:pt idx="7917">
                  <c:v>921201</c:v>
                </c:pt>
                <c:pt idx="7918">
                  <c:v>921153</c:v>
                </c:pt>
                <c:pt idx="7919">
                  <c:v>921149</c:v>
                </c:pt>
                <c:pt idx="7920">
                  <c:v>921137</c:v>
                </c:pt>
                <c:pt idx="7921">
                  <c:v>921078</c:v>
                </c:pt>
                <c:pt idx="7922">
                  <c:v>921053</c:v>
                </c:pt>
                <c:pt idx="7923">
                  <c:v>921043</c:v>
                </c:pt>
                <c:pt idx="7924">
                  <c:v>921040</c:v>
                </c:pt>
                <c:pt idx="7925">
                  <c:v>921033</c:v>
                </c:pt>
                <c:pt idx="7926">
                  <c:v>921014</c:v>
                </c:pt>
                <c:pt idx="7927">
                  <c:v>920841</c:v>
                </c:pt>
                <c:pt idx="7928">
                  <c:v>920654</c:v>
                </c:pt>
                <c:pt idx="7929">
                  <c:v>920502</c:v>
                </c:pt>
                <c:pt idx="7930">
                  <c:v>920446</c:v>
                </c:pt>
                <c:pt idx="7931">
                  <c:v>920421</c:v>
                </c:pt>
                <c:pt idx="7932">
                  <c:v>920292</c:v>
                </c:pt>
                <c:pt idx="7933">
                  <c:v>920153</c:v>
                </c:pt>
                <c:pt idx="7934">
                  <c:v>920136</c:v>
                </c:pt>
                <c:pt idx="7935">
                  <c:v>920074</c:v>
                </c:pt>
                <c:pt idx="7936">
                  <c:v>919972</c:v>
                </c:pt>
                <c:pt idx="7937">
                  <c:v>919932</c:v>
                </c:pt>
                <c:pt idx="7938">
                  <c:v>919884</c:v>
                </c:pt>
                <c:pt idx="7939">
                  <c:v>919850</c:v>
                </c:pt>
                <c:pt idx="7940">
                  <c:v>919714</c:v>
                </c:pt>
                <c:pt idx="7941">
                  <c:v>919701</c:v>
                </c:pt>
                <c:pt idx="7942">
                  <c:v>919685</c:v>
                </c:pt>
                <c:pt idx="7943">
                  <c:v>919518</c:v>
                </c:pt>
                <c:pt idx="7944">
                  <c:v>919514</c:v>
                </c:pt>
                <c:pt idx="7945">
                  <c:v>919422</c:v>
                </c:pt>
                <c:pt idx="7946">
                  <c:v>919406</c:v>
                </c:pt>
                <c:pt idx="7947">
                  <c:v>919379</c:v>
                </c:pt>
                <c:pt idx="7948">
                  <c:v>919349</c:v>
                </c:pt>
                <c:pt idx="7949">
                  <c:v>919295</c:v>
                </c:pt>
                <c:pt idx="7950">
                  <c:v>919197</c:v>
                </c:pt>
                <c:pt idx="7951">
                  <c:v>919178</c:v>
                </c:pt>
                <c:pt idx="7952">
                  <c:v>919176</c:v>
                </c:pt>
                <c:pt idx="7953">
                  <c:v>919127</c:v>
                </c:pt>
                <c:pt idx="7954">
                  <c:v>919124</c:v>
                </c:pt>
                <c:pt idx="7955">
                  <c:v>919094</c:v>
                </c:pt>
                <c:pt idx="7956">
                  <c:v>919027</c:v>
                </c:pt>
                <c:pt idx="7957">
                  <c:v>918912</c:v>
                </c:pt>
                <c:pt idx="7958">
                  <c:v>918812</c:v>
                </c:pt>
                <c:pt idx="7959">
                  <c:v>918792</c:v>
                </c:pt>
                <c:pt idx="7960">
                  <c:v>918719</c:v>
                </c:pt>
                <c:pt idx="7961">
                  <c:v>918671</c:v>
                </c:pt>
                <c:pt idx="7962">
                  <c:v>918647</c:v>
                </c:pt>
                <c:pt idx="7963">
                  <c:v>918638</c:v>
                </c:pt>
                <c:pt idx="7964">
                  <c:v>918525</c:v>
                </c:pt>
                <c:pt idx="7965">
                  <c:v>918484</c:v>
                </c:pt>
                <c:pt idx="7966">
                  <c:v>918427</c:v>
                </c:pt>
                <c:pt idx="7967">
                  <c:v>918413</c:v>
                </c:pt>
                <c:pt idx="7968">
                  <c:v>918355</c:v>
                </c:pt>
                <c:pt idx="7969">
                  <c:v>918316</c:v>
                </c:pt>
                <c:pt idx="7970">
                  <c:v>918311</c:v>
                </c:pt>
                <c:pt idx="7971">
                  <c:v>918086</c:v>
                </c:pt>
                <c:pt idx="7972">
                  <c:v>918082</c:v>
                </c:pt>
                <c:pt idx="7973">
                  <c:v>918073</c:v>
                </c:pt>
                <c:pt idx="7974">
                  <c:v>917965</c:v>
                </c:pt>
                <c:pt idx="7975">
                  <c:v>917897</c:v>
                </c:pt>
                <c:pt idx="7976">
                  <c:v>917874</c:v>
                </c:pt>
                <c:pt idx="7977">
                  <c:v>917870</c:v>
                </c:pt>
                <c:pt idx="7978">
                  <c:v>917843</c:v>
                </c:pt>
                <c:pt idx="7979">
                  <c:v>917815</c:v>
                </c:pt>
                <c:pt idx="7980">
                  <c:v>917739</c:v>
                </c:pt>
                <c:pt idx="7981">
                  <c:v>917695</c:v>
                </c:pt>
                <c:pt idx="7982">
                  <c:v>917639</c:v>
                </c:pt>
                <c:pt idx="7983">
                  <c:v>917634</c:v>
                </c:pt>
                <c:pt idx="7984">
                  <c:v>917554</c:v>
                </c:pt>
                <c:pt idx="7985">
                  <c:v>917477</c:v>
                </c:pt>
                <c:pt idx="7986">
                  <c:v>917473</c:v>
                </c:pt>
                <c:pt idx="7987">
                  <c:v>917384</c:v>
                </c:pt>
                <c:pt idx="7988">
                  <c:v>917326</c:v>
                </c:pt>
                <c:pt idx="7989">
                  <c:v>917312</c:v>
                </c:pt>
                <c:pt idx="7990">
                  <c:v>917286</c:v>
                </c:pt>
                <c:pt idx="7991">
                  <c:v>917253</c:v>
                </c:pt>
                <c:pt idx="7992">
                  <c:v>917189</c:v>
                </c:pt>
                <c:pt idx="7993">
                  <c:v>917143</c:v>
                </c:pt>
                <c:pt idx="7994">
                  <c:v>917115</c:v>
                </c:pt>
                <c:pt idx="7995">
                  <c:v>917083</c:v>
                </c:pt>
                <c:pt idx="7996">
                  <c:v>916982</c:v>
                </c:pt>
                <c:pt idx="7997">
                  <c:v>916888</c:v>
                </c:pt>
                <c:pt idx="7998">
                  <c:v>916672</c:v>
                </c:pt>
                <c:pt idx="7999">
                  <c:v>916614</c:v>
                </c:pt>
                <c:pt idx="8000">
                  <c:v>916593</c:v>
                </c:pt>
                <c:pt idx="8001">
                  <c:v>916571</c:v>
                </c:pt>
                <c:pt idx="8002">
                  <c:v>916571</c:v>
                </c:pt>
                <c:pt idx="8003">
                  <c:v>916538</c:v>
                </c:pt>
                <c:pt idx="8004">
                  <c:v>916538</c:v>
                </c:pt>
                <c:pt idx="8005">
                  <c:v>916530</c:v>
                </c:pt>
                <c:pt idx="8006">
                  <c:v>916518</c:v>
                </c:pt>
                <c:pt idx="8007">
                  <c:v>916497</c:v>
                </c:pt>
                <c:pt idx="8008">
                  <c:v>916458</c:v>
                </c:pt>
                <c:pt idx="8009">
                  <c:v>916446</c:v>
                </c:pt>
                <c:pt idx="8010">
                  <c:v>916347</c:v>
                </c:pt>
                <c:pt idx="8011">
                  <c:v>916332</c:v>
                </c:pt>
                <c:pt idx="8012">
                  <c:v>916139</c:v>
                </c:pt>
                <c:pt idx="8013">
                  <c:v>916135</c:v>
                </c:pt>
                <c:pt idx="8014">
                  <c:v>916071</c:v>
                </c:pt>
                <c:pt idx="8015">
                  <c:v>915991</c:v>
                </c:pt>
                <c:pt idx="8016">
                  <c:v>915767</c:v>
                </c:pt>
                <c:pt idx="8017">
                  <c:v>915472</c:v>
                </c:pt>
                <c:pt idx="8018">
                  <c:v>915412</c:v>
                </c:pt>
                <c:pt idx="8019">
                  <c:v>915166</c:v>
                </c:pt>
                <c:pt idx="8020">
                  <c:v>915143</c:v>
                </c:pt>
                <c:pt idx="8021">
                  <c:v>915104</c:v>
                </c:pt>
                <c:pt idx="8022">
                  <c:v>915083</c:v>
                </c:pt>
                <c:pt idx="8023">
                  <c:v>915081</c:v>
                </c:pt>
                <c:pt idx="8024">
                  <c:v>915077</c:v>
                </c:pt>
                <c:pt idx="8025">
                  <c:v>915072</c:v>
                </c:pt>
                <c:pt idx="8026">
                  <c:v>915052</c:v>
                </c:pt>
                <c:pt idx="8027">
                  <c:v>914872</c:v>
                </c:pt>
                <c:pt idx="8028">
                  <c:v>914865</c:v>
                </c:pt>
                <c:pt idx="8029">
                  <c:v>914742</c:v>
                </c:pt>
                <c:pt idx="8030">
                  <c:v>914688</c:v>
                </c:pt>
                <c:pt idx="8031">
                  <c:v>914658</c:v>
                </c:pt>
                <c:pt idx="8032">
                  <c:v>914610</c:v>
                </c:pt>
                <c:pt idx="8033">
                  <c:v>914516</c:v>
                </c:pt>
                <c:pt idx="8034">
                  <c:v>914441</c:v>
                </c:pt>
                <c:pt idx="8035">
                  <c:v>914412</c:v>
                </c:pt>
                <c:pt idx="8036">
                  <c:v>914368</c:v>
                </c:pt>
                <c:pt idx="8037">
                  <c:v>914331</c:v>
                </c:pt>
                <c:pt idx="8038">
                  <c:v>914215</c:v>
                </c:pt>
                <c:pt idx="8039">
                  <c:v>914185</c:v>
                </c:pt>
                <c:pt idx="8040">
                  <c:v>914161</c:v>
                </c:pt>
                <c:pt idx="8041">
                  <c:v>914020</c:v>
                </c:pt>
                <c:pt idx="8042">
                  <c:v>913757</c:v>
                </c:pt>
                <c:pt idx="8043">
                  <c:v>913740</c:v>
                </c:pt>
                <c:pt idx="8044">
                  <c:v>913681</c:v>
                </c:pt>
                <c:pt idx="8045">
                  <c:v>913652</c:v>
                </c:pt>
                <c:pt idx="8046">
                  <c:v>913615</c:v>
                </c:pt>
                <c:pt idx="8047">
                  <c:v>913550</c:v>
                </c:pt>
                <c:pt idx="8048">
                  <c:v>913536</c:v>
                </c:pt>
                <c:pt idx="8049">
                  <c:v>913519</c:v>
                </c:pt>
                <c:pt idx="8050">
                  <c:v>913368</c:v>
                </c:pt>
                <c:pt idx="8051">
                  <c:v>913298</c:v>
                </c:pt>
                <c:pt idx="8052">
                  <c:v>913239</c:v>
                </c:pt>
                <c:pt idx="8053">
                  <c:v>913223</c:v>
                </c:pt>
                <c:pt idx="8054">
                  <c:v>913199</c:v>
                </c:pt>
                <c:pt idx="8055">
                  <c:v>913165</c:v>
                </c:pt>
                <c:pt idx="8056">
                  <c:v>913063</c:v>
                </c:pt>
                <c:pt idx="8057">
                  <c:v>912959</c:v>
                </c:pt>
                <c:pt idx="8058">
                  <c:v>912899</c:v>
                </c:pt>
                <c:pt idx="8059">
                  <c:v>912880</c:v>
                </c:pt>
                <c:pt idx="8060">
                  <c:v>912695</c:v>
                </c:pt>
                <c:pt idx="8061">
                  <c:v>912559</c:v>
                </c:pt>
                <c:pt idx="8062">
                  <c:v>912541</c:v>
                </c:pt>
                <c:pt idx="8063">
                  <c:v>912506</c:v>
                </c:pt>
                <c:pt idx="8064">
                  <c:v>912501</c:v>
                </c:pt>
                <c:pt idx="8065">
                  <c:v>912498</c:v>
                </c:pt>
                <c:pt idx="8066">
                  <c:v>912494</c:v>
                </c:pt>
                <c:pt idx="8067">
                  <c:v>912398</c:v>
                </c:pt>
                <c:pt idx="8068">
                  <c:v>912385</c:v>
                </c:pt>
                <c:pt idx="8069">
                  <c:v>912378</c:v>
                </c:pt>
                <c:pt idx="8070">
                  <c:v>912378</c:v>
                </c:pt>
                <c:pt idx="8071">
                  <c:v>912377</c:v>
                </c:pt>
                <c:pt idx="8072">
                  <c:v>912364</c:v>
                </c:pt>
                <c:pt idx="8073">
                  <c:v>912335</c:v>
                </c:pt>
                <c:pt idx="8074">
                  <c:v>912198</c:v>
                </c:pt>
                <c:pt idx="8075">
                  <c:v>912109</c:v>
                </c:pt>
                <c:pt idx="8076">
                  <c:v>912043</c:v>
                </c:pt>
                <c:pt idx="8077">
                  <c:v>912036</c:v>
                </c:pt>
                <c:pt idx="8078">
                  <c:v>912003</c:v>
                </c:pt>
                <c:pt idx="8079">
                  <c:v>911985</c:v>
                </c:pt>
                <c:pt idx="8080">
                  <c:v>911958</c:v>
                </c:pt>
                <c:pt idx="8081">
                  <c:v>911862</c:v>
                </c:pt>
                <c:pt idx="8082">
                  <c:v>911824</c:v>
                </c:pt>
                <c:pt idx="8083">
                  <c:v>911701</c:v>
                </c:pt>
                <c:pt idx="8084">
                  <c:v>911627</c:v>
                </c:pt>
                <c:pt idx="8085">
                  <c:v>911491</c:v>
                </c:pt>
                <c:pt idx="8086">
                  <c:v>911489</c:v>
                </c:pt>
                <c:pt idx="8087">
                  <c:v>911337</c:v>
                </c:pt>
                <c:pt idx="8088">
                  <c:v>911326</c:v>
                </c:pt>
                <c:pt idx="8089">
                  <c:v>911317</c:v>
                </c:pt>
                <c:pt idx="8090">
                  <c:v>911241</c:v>
                </c:pt>
                <c:pt idx="8091">
                  <c:v>911179</c:v>
                </c:pt>
                <c:pt idx="8092">
                  <c:v>911139</c:v>
                </c:pt>
                <c:pt idx="8093">
                  <c:v>911123</c:v>
                </c:pt>
                <c:pt idx="8094">
                  <c:v>911067</c:v>
                </c:pt>
                <c:pt idx="8095">
                  <c:v>911034</c:v>
                </c:pt>
                <c:pt idx="8096">
                  <c:v>911007</c:v>
                </c:pt>
                <c:pt idx="8097">
                  <c:v>910991</c:v>
                </c:pt>
                <c:pt idx="8098">
                  <c:v>910962</c:v>
                </c:pt>
                <c:pt idx="8099">
                  <c:v>910851</c:v>
                </c:pt>
                <c:pt idx="8100">
                  <c:v>910612</c:v>
                </c:pt>
                <c:pt idx="8101">
                  <c:v>910590</c:v>
                </c:pt>
                <c:pt idx="8102">
                  <c:v>910544</c:v>
                </c:pt>
                <c:pt idx="8103">
                  <c:v>910521</c:v>
                </c:pt>
                <c:pt idx="8104">
                  <c:v>910494</c:v>
                </c:pt>
                <c:pt idx="8105">
                  <c:v>910223</c:v>
                </c:pt>
                <c:pt idx="8106">
                  <c:v>910213</c:v>
                </c:pt>
                <c:pt idx="8107">
                  <c:v>910180</c:v>
                </c:pt>
                <c:pt idx="8108">
                  <c:v>910162</c:v>
                </c:pt>
                <c:pt idx="8109">
                  <c:v>910126</c:v>
                </c:pt>
                <c:pt idx="8110">
                  <c:v>910087</c:v>
                </c:pt>
                <c:pt idx="8111">
                  <c:v>910070</c:v>
                </c:pt>
                <c:pt idx="8112">
                  <c:v>910052</c:v>
                </c:pt>
                <c:pt idx="8113">
                  <c:v>910046</c:v>
                </c:pt>
                <c:pt idx="8114">
                  <c:v>909984</c:v>
                </c:pt>
                <c:pt idx="8115">
                  <c:v>909854</c:v>
                </c:pt>
                <c:pt idx="8116">
                  <c:v>909803</c:v>
                </c:pt>
                <c:pt idx="8117">
                  <c:v>909800</c:v>
                </c:pt>
                <c:pt idx="8118">
                  <c:v>909787</c:v>
                </c:pt>
                <c:pt idx="8119">
                  <c:v>909772</c:v>
                </c:pt>
                <c:pt idx="8120">
                  <c:v>909763</c:v>
                </c:pt>
                <c:pt idx="8121">
                  <c:v>909748</c:v>
                </c:pt>
                <c:pt idx="8122">
                  <c:v>909724</c:v>
                </c:pt>
                <c:pt idx="8123">
                  <c:v>909717</c:v>
                </c:pt>
                <c:pt idx="8124">
                  <c:v>909637</c:v>
                </c:pt>
                <c:pt idx="8125">
                  <c:v>909613</c:v>
                </c:pt>
                <c:pt idx="8126">
                  <c:v>909563</c:v>
                </c:pt>
                <c:pt idx="8127">
                  <c:v>909179</c:v>
                </c:pt>
                <c:pt idx="8128">
                  <c:v>909147</c:v>
                </c:pt>
                <c:pt idx="8129">
                  <c:v>909133</c:v>
                </c:pt>
                <c:pt idx="8130">
                  <c:v>909123</c:v>
                </c:pt>
                <c:pt idx="8131">
                  <c:v>909061</c:v>
                </c:pt>
                <c:pt idx="8132">
                  <c:v>908996</c:v>
                </c:pt>
                <c:pt idx="8133">
                  <c:v>908924</c:v>
                </c:pt>
                <c:pt idx="8134">
                  <c:v>908864</c:v>
                </c:pt>
                <c:pt idx="8135">
                  <c:v>908831</c:v>
                </c:pt>
                <c:pt idx="8136">
                  <c:v>908776</c:v>
                </c:pt>
                <c:pt idx="8137">
                  <c:v>908635</c:v>
                </c:pt>
                <c:pt idx="8138">
                  <c:v>908469</c:v>
                </c:pt>
                <c:pt idx="8139">
                  <c:v>908442</c:v>
                </c:pt>
                <c:pt idx="8140">
                  <c:v>908388</c:v>
                </c:pt>
                <c:pt idx="8141">
                  <c:v>908241</c:v>
                </c:pt>
                <c:pt idx="8142">
                  <c:v>908175</c:v>
                </c:pt>
                <c:pt idx="8143">
                  <c:v>907981</c:v>
                </c:pt>
                <c:pt idx="8144">
                  <c:v>907913</c:v>
                </c:pt>
                <c:pt idx="8145">
                  <c:v>907867</c:v>
                </c:pt>
                <c:pt idx="8146">
                  <c:v>907723</c:v>
                </c:pt>
                <c:pt idx="8147">
                  <c:v>907671</c:v>
                </c:pt>
                <c:pt idx="8148">
                  <c:v>907670</c:v>
                </c:pt>
                <c:pt idx="8149">
                  <c:v>907558</c:v>
                </c:pt>
                <c:pt idx="8150">
                  <c:v>907491</c:v>
                </c:pt>
                <c:pt idx="8151">
                  <c:v>907427</c:v>
                </c:pt>
                <c:pt idx="8152">
                  <c:v>907415</c:v>
                </c:pt>
                <c:pt idx="8153">
                  <c:v>907385</c:v>
                </c:pt>
                <c:pt idx="8154">
                  <c:v>907271</c:v>
                </c:pt>
                <c:pt idx="8155">
                  <c:v>907232</c:v>
                </c:pt>
                <c:pt idx="8156">
                  <c:v>907203</c:v>
                </c:pt>
                <c:pt idx="8157">
                  <c:v>907162</c:v>
                </c:pt>
                <c:pt idx="8158">
                  <c:v>907112</c:v>
                </c:pt>
                <c:pt idx="8159">
                  <c:v>907087</c:v>
                </c:pt>
                <c:pt idx="8160">
                  <c:v>907074</c:v>
                </c:pt>
                <c:pt idx="8161">
                  <c:v>907027</c:v>
                </c:pt>
                <c:pt idx="8162">
                  <c:v>907022</c:v>
                </c:pt>
                <c:pt idx="8163">
                  <c:v>906990</c:v>
                </c:pt>
                <c:pt idx="8164">
                  <c:v>906892</c:v>
                </c:pt>
                <c:pt idx="8165">
                  <c:v>906868</c:v>
                </c:pt>
                <c:pt idx="8166">
                  <c:v>906842</c:v>
                </c:pt>
                <c:pt idx="8167">
                  <c:v>906815</c:v>
                </c:pt>
                <c:pt idx="8168">
                  <c:v>906812</c:v>
                </c:pt>
                <c:pt idx="8169">
                  <c:v>906784</c:v>
                </c:pt>
                <c:pt idx="8170">
                  <c:v>906066</c:v>
                </c:pt>
                <c:pt idx="8171">
                  <c:v>905861</c:v>
                </c:pt>
                <c:pt idx="8172">
                  <c:v>905714</c:v>
                </c:pt>
                <c:pt idx="8173">
                  <c:v>905711</c:v>
                </c:pt>
                <c:pt idx="8174">
                  <c:v>905623</c:v>
                </c:pt>
                <c:pt idx="8175">
                  <c:v>905532</c:v>
                </c:pt>
                <c:pt idx="8176">
                  <c:v>905448</c:v>
                </c:pt>
                <c:pt idx="8177">
                  <c:v>905416</c:v>
                </c:pt>
                <c:pt idx="8178">
                  <c:v>905250</c:v>
                </c:pt>
                <c:pt idx="8179">
                  <c:v>905233</c:v>
                </c:pt>
                <c:pt idx="8180">
                  <c:v>905144</c:v>
                </c:pt>
                <c:pt idx="8181">
                  <c:v>905049</c:v>
                </c:pt>
                <c:pt idx="8182">
                  <c:v>905035</c:v>
                </c:pt>
                <c:pt idx="8183">
                  <c:v>905016</c:v>
                </c:pt>
                <c:pt idx="8184">
                  <c:v>905008</c:v>
                </c:pt>
                <c:pt idx="8185">
                  <c:v>905003</c:v>
                </c:pt>
                <c:pt idx="8186">
                  <c:v>904907</c:v>
                </c:pt>
                <c:pt idx="8187">
                  <c:v>904827</c:v>
                </c:pt>
                <c:pt idx="8188">
                  <c:v>904799</c:v>
                </c:pt>
                <c:pt idx="8189">
                  <c:v>904701</c:v>
                </c:pt>
                <c:pt idx="8190">
                  <c:v>904680</c:v>
                </c:pt>
                <c:pt idx="8191">
                  <c:v>904643</c:v>
                </c:pt>
                <c:pt idx="8192">
                  <c:v>904612</c:v>
                </c:pt>
                <c:pt idx="8193">
                  <c:v>904603</c:v>
                </c:pt>
                <c:pt idx="8194">
                  <c:v>904533</c:v>
                </c:pt>
                <c:pt idx="8195">
                  <c:v>904314</c:v>
                </c:pt>
                <c:pt idx="8196">
                  <c:v>904313</c:v>
                </c:pt>
                <c:pt idx="8197">
                  <c:v>904241</c:v>
                </c:pt>
                <c:pt idx="8198">
                  <c:v>904206</c:v>
                </c:pt>
                <c:pt idx="8199">
                  <c:v>904155</c:v>
                </c:pt>
                <c:pt idx="8200">
                  <c:v>904146</c:v>
                </c:pt>
                <c:pt idx="8201">
                  <c:v>904027</c:v>
                </c:pt>
                <c:pt idx="8202">
                  <c:v>904024</c:v>
                </c:pt>
                <c:pt idx="8203">
                  <c:v>904010</c:v>
                </c:pt>
                <c:pt idx="8204">
                  <c:v>903949</c:v>
                </c:pt>
                <c:pt idx="8205">
                  <c:v>903935</c:v>
                </c:pt>
                <c:pt idx="8206">
                  <c:v>903761</c:v>
                </c:pt>
                <c:pt idx="8207">
                  <c:v>903667</c:v>
                </c:pt>
                <c:pt idx="8208">
                  <c:v>903546</c:v>
                </c:pt>
                <c:pt idx="8209">
                  <c:v>903542</c:v>
                </c:pt>
                <c:pt idx="8210">
                  <c:v>903478</c:v>
                </c:pt>
                <c:pt idx="8211">
                  <c:v>903407</c:v>
                </c:pt>
                <c:pt idx="8212">
                  <c:v>903378</c:v>
                </c:pt>
                <c:pt idx="8213">
                  <c:v>903244</c:v>
                </c:pt>
                <c:pt idx="8214">
                  <c:v>903117</c:v>
                </c:pt>
                <c:pt idx="8215">
                  <c:v>903040</c:v>
                </c:pt>
                <c:pt idx="8216">
                  <c:v>902803</c:v>
                </c:pt>
                <c:pt idx="8217">
                  <c:v>902779</c:v>
                </c:pt>
                <c:pt idx="8218">
                  <c:v>902677</c:v>
                </c:pt>
                <c:pt idx="8219">
                  <c:v>902674</c:v>
                </c:pt>
                <c:pt idx="8220">
                  <c:v>902640</c:v>
                </c:pt>
                <c:pt idx="8221">
                  <c:v>902633</c:v>
                </c:pt>
                <c:pt idx="8222">
                  <c:v>902631</c:v>
                </c:pt>
                <c:pt idx="8223">
                  <c:v>902557</c:v>
                </c:pt>
                <c:pt idx="8224">
                  <c:v>902422</c:v>
                </c:pt>
                <c:pt idx="8225">
                  <c:v>902327</c:v>
                </c:pt>
                <c:pt idx="8226">
                  <c:v>902327</c:v>
                </c:pt>
                <c:pt idx="8227">
                  <c:v>902323</c:v>
                </c:pt>
                <c:pt idx="8228">
                  <c:v>902312</c:v>
                </c:pt>
                <c:pt idx="8229">
                  <c:v>902241</c:v>
                </c:pt>
                <c:pt idx="8230">
                  <c:v>902240</c:v>
                </c:pt>
                <c:pt idx="8231">
                  <c:v>902240</c:v>
                </c:pt>
                <c:pt idx="8232">
                  <c:v>902233</c:v>
                </c:pt>
                <c:pt idx="8233">
                  <c:v>902214</c:v>
                </c:pt>
                <c:pt idx="8234">
                  <c:v>902142</c:v>
                </c:pt>
                <c:pt idx="8235">
                  <c:v>902012</c:v>
                </c:pt>
                <c:pt idx="8236">
                  <c:v>901973</c:v>
                </c:pt>
                <c:pt idx="8237">
                  <c:v>901971</c:v>
                </c:pt>
                <c:pt idx="8238">
                  <c:v>901964</c:v>
                </c:pt>
                <c:pt idx="8239">
                  <c:v>901963</c:v>
                </c:pt>
                <c:pt idx="8240">
                  <c:v>901911</c:v>
                </c:pt>
                <c:pt idx="8241">
                  <c:v>901720</c:v>
                </c:pt>
                <c:pt idx="8242">
                  <c:v>901497</c:v>
                </c:pt>
                <c:pt idx="8243">
                  <c:v>901366</c:v>
                </c:pt>
                <c:pt idx="8244">
                  <c:v>901228</c:v>
                </c:pt>
                <c:pt idx="8245">
                  <c:v>901184</c:v>
                </c:pt>
                <c:pt idx="8246">
                  <c:v>901091</c:v>
                </c:pt>
                <c:pt idx="8247">
                  <c:v>900985</c:v>
                </c:pt>
                <c:pt idx="8248">
                  <c:v>900958</c:v>
                </c:pt>
                <c:pt idx="8249">
                  <c:v>900952</c:v>
                </c:pt>
                <c:pt idx="8250">
                  <c:v>900893</c:v>
                </c:pt>
                <c:pt idx="8251">
                  <c:v>900838</c:v>
                </c:pt>
                <c:pt idx="8252">
                  <c:v>900704</c:v>
                </c:pt>
                <c:pt idx="8253">
                  <c:v>900672</c:v>
                </c:pt>
                <c:pt idx="8254">
                  <c:v>900533</c:v>
                </c:pt>
                <c:pt idx="8255">
                  <c:v>900532</c:v>
                </c:pt>
                <c:pt idx="8256">
                  <c:v>900462</c:v>
                </c:pt>
                <c:pt idx="8257">
                  <c:v>900299</c:v>
                </c:pt>
                <c:pt idx="8258">
                  <c:v>900193</c:v>
                </c:pt>
                <c:pt idx="8259">
                  <c:v>900169</c:v>
                </c:pt>
                <c:pt idx="8260">
                  <c:v>900089</c:v>
                </c:pt>
                <c:pt idx="8261">
                  <c:v>900058</c:v>
                </c:pt>
                <c:pt idx="8262">
                  <c:v>900020</c:v>
                </c:pt>
                <c:pt idx="8263">
                  <c:v>900009</c:v>
                </c:pt>
                <c:pt idx="8264">
                  <c:v>899995</c:v>
                </c:pt>
                <c:pt idx="8265">
                  <c:v>899905</c:v>
                </c:pt>
                <c:pt idx="8266">
                  <c:v>899847</c:v>
                </c:pt>
                <c:pt idx="8267">
                  <c:v>899825</c:v>
                </c:pt>
                <c:pt idx="8268">
                  <c:v>899709</c:v>
                </c:pt>
                <c:pt idx="8269">
                  <c:v>899673</c:v>
                </c:pt>
                <c:pt idx="8270">
                  <c:v>899666</c:v>
                </c:pt>
                <c:pt idx="8271">
                  <c:v>899643</c:v>
                </c:pt>
                <c:pt idx="8272">
                  <c:v>899638</c:v>
                </c:pt>
                <c:pt idx="8273">
                  <c:v>899622</c:v>
                </c:pt>
                <c:pt idx="8274">
                  <c:v>899609</c:v>
                </c:pt>
                <c:pt idx="8275">
                  <c:v>899504</c:v>
                </c:pt>
                <c:pt idx="8276">
                  <c:v>899325</c:v>
                </c:pt>
                <c:pt idx="8277">
                  <c:v>899278</c:v>
                </c:pt>
                <c:pt idx="8278">
                  <c:v>899191</c:v>
                </c:pt>
                <c:pt idx="8279">
                  <c:v>899136</c:v>
                </c:pt>
                <c:pt idx="8280">
                  <c:v>899106</c:v>
                </c:pt>
                <c:pt idx="8281">
                  <c:v>899094</c:v>
                </c:pt>
                <c:pt idx="8282">
                  <c:v>899076</c:v>
                </c:pt>
                <c:pt idx="8283">
                  <c:v>899065</c:v>
                </c:pt>
                <c:pt idx="8284">
                  <c:v>899048</c:v>
                </c:pt>
                <c:pt idx="8285">
                  <c:v>899021</c:v>
                </c:pt>
                <c:pt idx="8286">
                  <c:v>899015</c:v>
                </c:pt>
                <c:pt idx="8287">
                  <c:v>898945</c:v>
                </c:pt>
                <c:pt idx="8288">
                  <c:v>898928</c:v>
                </c:pt>
                <c:pt idx="8289">
                  <c:v>898902</c:v>
                </c:pt>
                <c:pt idx="8290">
                  <c:v>898886</c:v>
                </c:pt>
                <c:pt idx="8291">
                  <c:v>898825</c:v>
                </c:pt>
                <c:pt idx="8292">
                  <c:v>898824</c:v>
                </c:pt>
                <c:pt idx="8293">
                  <c:v>898720</c:v>
                </c:pt>
                <c:pt idx="8294">
                  <c:v>898713</c:v>
                </c:pt>
                <c:pt idx="8295">
                  <c:v>898681</c:v>
                </c:pt>
                <c:pt idx="8296">
                  <c:v>898530</c:v>
                </c:pt>
                <c:pt idx="8297">
                  <c:v>898436</c:v>
                </c:pt>
                <c:pt idx="8298">
                  <c:v>898392</c:v>
                </c:pt>
                <c:pt idx="8299">
                  <c:v>898386</c:v>
                </c:pt>
                <c:pt idx="8300">
                  <c:v>898381</c:v>
                </c:pt>
                <c:pt idx="8301">
                  <c:v>898351</c:v>
                </c:pt>
                <c:pt idx="8302">
                  <c:v>898333</c:v>
                </c:pt>
                <c:pt idx="8303">
                  <c:v>898291</c:v>
                </c:pt>
                <c:pt idx="8304">
                  <c:v>898195</c:v>
                </c:pt>
                <c:pt idx="8305">
                  <c:v>898184</c:v>
                </c:pt>
                <c:pt idx="8306">
                  <c:v>898109</c:v>
                </c:pt>
                <c:pt idx="8307">
                  <c:v>898100</c:v>
                </c:pt>
                <c:pt idx="8308">
                  <c:v>898099</c:v>
                </c:pt>
                <c:pt idx="8309">
                  <c:v>897875</c:v>
                </c:pt>
                <c:pt idx="8310">
                  <c:v>897867</c:v>
                </c:pt>
                <c:pt idx="8311">
                  <c:v>897681</c:v>
                </c:pt>
                <c:pt idx="8312">
                  <c:v>897646</c:v>
                </c:pt>
                <c:pt idx="8313">
                  <c:v>897603</c:v>
                </c:pt>
                <c:pt idx="8314">
                  <c:v>897563</c:v>
                </c:pt>
                <c:pt idx="8315">
                  <c:v>897447</c:v>
                </c:pt>
                <c:pt idx="8316">
                  <c:v>897447</c:v>
                </c:pt>
                <c:pt idx="8317">
                  <c:v>897432</c:v>
                </c:pt>
                <c:pt idx="8318">
                  <c:v>897369</c:v>
                </c:pt>
                <c:pt idx="8319">
                  <c:v>897321</c:v>
                </c:pt>
                <c:pt idx="8320">
                  <c:v>897287</c:v>
                </c:pt>
                <c:pt idx="8321">
                  <c:v>897274</c:v>
                </c:pt>
                <c:pt idx="8322">
                  <c:v>897195</c:v>
                </c:pt>
                <c:pt idx="8323">
                  <c:v>897014</c:v>
                </c:pt>
                <c:pt idx="8324">
                  <c:v>896870</c:v>
                </c:pt>
                <c:pt idx="8325">
                  <c:v>896862</c:v>
                </c:pt>
                <c:pt idx="8326">
                  <c:v>896849</c:v>
                </c:pt>
                <c:pt idx="8327">
                  <c:v>896768</c:v>
                </c:pt>
                <c:pt idx="8328">
                  <c:v>896724</c:v>
                </c:pt>
                <c:pt idx="8329">
                  <c:v>896602</c:v>
                </c:pt>
                <c:pt idx="8330">
                  <c:v>896555</c:v>
                </c:pt>
                <c:pt idx="8331">
                  <c:v>896508</c:v>
                </c:pt>
                <c:pt idx="8332">
                  <c:v>896487</c:v>
                </c:pt>
                <c:pt idx="8333">
                  <c:v>896440</c:v>
                </c:pt>
                <c:pt idx="8334">
                  <c:v>896429</c:v>
                </c:pt>
                <c:pt idx="8335">
                  <c:v>896407</c:v>
                </c:pt>
                <c:pt idx="8336">
                  <c:v>896379</c:v>
                </c:pt>
                <c:pt idx="8337">
                  <c:v>896360</c:v>
                </c:pt>
                <c:pt idx="8338">
                  <c:v>896334</c:v>
                </c:pt>
                <c:pt idx="8339">
                  <c:v>896286</c:v>
                </c:pt>
                <c:pt idx="8340">
                  <c:v>896285</c:v>
                </c:pt>
                <c:pt idx="8341">
                  <c:v>896246</c:v>
                </c:pt>
                <c:pt idx="8342">
                  <c:v>896243</c:v>
                </c:pt>
                <c:pt idx="8343">
                  <c:v>896166</c:v>
                </c:pt>
                <c:pt idx="8344">
                  <c:v>896099</c:v>
                </c:pt>
                <c:pt idx="8345">
                  <c:v>896085</c:v>
                </c:pt>
                <c:pt idx="8346">
                  <c:v>895991</c:v>
                </c:pt>
                <c:pt idx="8347">
                  <c:v>895954</c:v>
                </c:pt>
                <c:pt idx="8348">
                  <c:v>895950</c:v>
                </c:pt>
                <c:pt idx="8349">
                  <c:v>895936</c:v>
                </c:pt>
                <c:pt idx="8350">
                  <c:v>895814</c:v>
                </c:pt>
                <c:pt idx="8351">
                  <c:v>895811</c:v>
                </c:pt>
                <c:pt idx="8352">
                  <c:v>895800</c:v>
                </c:pt>
                <c:pt idx="8353">
                  <c:v>895772</c:v>
                </c:pt>
                <c:pt idx="8354">
                  <c:v>895673</c:v>
                </c:pt>
                <c:pt idx="8355">
                  <c:v>895642</c:v>
                </c:pt>
                <c:pt idx="8356">
                  <c:v>895571</c:v>
                </c:pt>
                <c:pt idx="8357">
                  <c:v>895535</c:v>
                </c:pt>
                <c:pt idx="8358">
                  <c:v>895534</c:v>
                </c:pt>
                <c:pt idx="8359">
                  <c:v>895494</c:v>
                </c:pt>
                <c:pt idx="8360">
                  <c:v>895493</c:v>
                </c:pt>
                <c:pt idx="8361">
                  <c:v>895488</c:v>
                </c:pt>
                <c:pt idx="8362">
                  <c:v>895449</c:v>
                </c:pt>
                <c:pt idx="8363">
                  <c:v>895446</c:v>
                </c:pt>
                <c:pt idx="8364">
                  <c:v>895427</c:v>
                </c:pt>
                <c:pt idx="8365">
                  <c:v>895303</c:v>
                </c:pt>
                <c:pt idx="8366">
                  <c:v>895239</c:v>
                </c:pt>
                <c:pt idx="8367">
                  <c:v>895206</c:v>
                </c:pt>
                <c:pt idx="8368">
                  <c:v>895189</c:v>
                </c:pt>
                <c:pt idx="8369">
                  <c:v>895153</c:v>
                </c:pt>
                <c:pt idx="8370">
                  <c:v>895134</c:v>
                </c:pt>
                <c:pt idx="8371">
                  <c:v>894959</c:v>
                </c:pt>
                <c:pt idx="8372">
                  <c:v>894834</c:v>
                </c:pt>
                <c:pt idx="8373">
                  <c:v>894745</c:v>
                </c:pt>
                <c:pt idx="8374">
                  <c:v>894732</c:v>
                </c:pt>
                <c:pt idx="8375">
                  <c:v>894671</c:v>
                </c:pt>
                <c:pt idx="8376">
                  <c:v>894557</c:v>
                </c:pt>
                <c:pt idx="8377">
                  <c:v>894492</c:v>
                </c:pt>
                <c:pt idx="8378">
                  <c:v>894487</c:v>
                </c:pt>
                <c:pt idx="8379">
                  <c:v>894459</c:v>
                </c:pt>
                <c:pt idx="8380">
                  <c:v>894447</c:v>
                </c:pt>
                <c:pt idx="8381">
                  <c:v>894441</c:v>
                </c:pt>
                <c:pt idx="8382">
                  <c:v>894416</c:v>
                </c:pt>
                <c:pt idx="8383">
                  <c:v>894368</c:v>
                </c:pt>
                <c:pt idx="8384">
                  <c:v>894355</c:v>
                </c:pt>
                <c:pt idx="8385">
                  <c:v>894331</c:v>
                </c:pt>
                <c:pt idx="8386">
                  <c:v>894278</c:v>
                </c:pt>
                <c:pt idx="8387">
                  <c:v>894174</c:v>
                </c:pt>
                <c:pt idx="8388">
                  <c:v>893843</c:v>
                </c:pt>
                <c:pt idx="8389">
                  <c:v>893689</c:v>
                </c:pt>
                <c:pt idx="8390">
                  <c:v>893687</c:v>
                </c:pt>
                <c:pt idx="8391">
                  <c:v>893679</c:v>
                </c:pt>
                <c:pt idx="8392">
                  <c:v>893514</c:v>
                </c:pt>
                <c:pt idx="8393">
                  <c:v>893510</c:v>
                </c:pt>
                <c:pt idx="8394">
                  <c:v>893441</c:v>
                </c:pt>
                <c:pt idx="8395">
                  <c:v>893433</c:v>
                </c:pt>
                <c:pt idx="8396">
                  <c:v>893261</c:v>
                </c:pt>
                <c:pt idx="8397">
                  <c:v>893219</c:v>
                </c:pt>
                <c:pt idx="8398">
                  <c:v>893144</c:v>
                </c:pt>
                <c:pt idx="8399">
                  <c:v>893058</c:v>
                </c:pt>
                <c:pt idx="8400">
                  <c:v>893053</c:v>
                </c:pt>
                <c:pt idx="8401">
                  <c:v>892988</c:v>
                </c:pt>
                <c:pt idx="8402">
                  <c:v>892926</c:v>
                </c:pt>
                <c:pt idx="8403">
                  <c:v>892834</c:v>
                </c:pt>
                <c:pt idx="8404">
                  <c:v>892809</c:v>
                </c:pt>
                <c:pt idx="8405">
                  <c:v>892749</c:v>
                </c:pt>
                <c:pt idx="8406">
                  <c:v>892542</c:v>
                </c:pt>
                <c:pt idx="8407">
                  <c:v>892502</c:v>
                </c:pt>
                <c:pt idx="8408">
                  <c:v>892319</c:v>
                </c:pt>
                <c:pt idx="8409">
                  <c:v>892273</c:v>
                </c:pt>
                <c:pt idx="8410">
                  <c:v>892222</c:v>
                </c:pt>
                <c:pt idx="8411">
                  <c:v>892220</c:v>
                </c:pt>
                <c:pt idx="8412">
                  <c:v>892216</c:v>
                </c:pt>
                <c:pt idx="8413">
                  <c:v>892091</c:v>
                </c:pt>
                <c:pt idx="8414">
                  <c:v>892071</c:v>
                </c:pt>
                <c:pt idx="8415">
                  <c:v>892049</c:v>
                </c:pt>
                <c:pt idx="8416">
                  <c:v>892047</c:v>
                </c:pt>
                <c:pt idx="8417">
                  <c:v>892037</c:v>
                </c:pt>
                <c:pt idx="8418">
                  <c:v>891992</c:v>
                </c:pt>
                <c:pt idx="8419">
                  <c:v>891958</c:v>
                </c:pt>
                <c:pt idx="8420">
                  <c:v>891950</c:v>
                </c:pt>
                <c:pt idx="8421">
                  <c:v>891924</c:v>
                </c:pt>
                <c:pt idx="8422">
                  <c:v>891911</c:v>
                </c:pt>
                <c:pt idx="8423">
                  <c:v>891885</c:v>
                </c:pt>
                <c:pt idx="8424">
                  <c:v>891766</c:v>
                </c:pt>
                <c:pt idx="8425">
                  <c:v>891760</c:v>
                </c:pt>
                <c:pt idx="8426">
                  <c:v>891746</c:v>
                </c:pt>
                <c:pt idx="8427">
                  <c:v>891663</c:v>
                </c:pt>
                <c:pt idx="8428">
                  <c:v>891611</c:v>
                </c:pt>
                <c:pt idx="8429">
                  <c:v>891609</c:v>
                </c:pt>
                <c:pt idx="8430">
                  <c:v>891592</c:v>
                </c:pt>
                <c:pt idx="8431">
                  <c:v>891547</c:v>
                </c:pt>
                <c:pt idx="8432">
                  <c:v>891534</c:v>
                </c:pt>
                <c:pt idx="8433">
                  <c:v>891471</c:v>
                </c:pt>
                <c:pt idx="8434">
                  <c:v>891431</c:v>
                </c:pt>
                <c:pt idx="8435">
                  <c:v>891379</c:v>
                </c:pt>
                <c:pt idx="8436">
                  <c:v>891369</c:v>
                </c:pt>
                <c:pt idx="8437">
                  <c:v>891318</c:v>
                </c:pt>
                <c:pt idx="8438">
                  <c:v>891235</c:v>
                </c:pt>
                <c:pt idx="8439">
                  <c:v>891233</c:v>
                </c:pt>
                <c:pt idx="8440">
                  <c:v>891212</c:v>
                </c:pt>
                <c:pt idx="8441">
                  <c:v>891181</c:v>
                </c:pt>
                <c:pt idx="8442">
                  <c:v>891101</c:v>
                </c:pt>
                <c:pt idx="8443">
                  <c:v>891100</c:v>
                </c:pt>
                <c:pt idx="8444">
                  <c:v>891062</c:v>
                </c:pt>
                <c:pt idx="8445">
                  <c:v>891028</c:v>
                </c:pt>
                <c:pt idx="8446">
                  <c:v>890941</c:v>
                </c:pt>
                <c:pt idx="8447">
                  <c:v>890910</c:v>
                </c:pt>
                <c:pt idx="8448">
                  <c:v>890833</c:v>
                </c:pt>
                <c:pt idx="8449">
                  <c:v>890814</c:v>
                </c:pt>
                <c:pt idx="8450">
                  <c:v>890730</c:v>
                </c:pt>
                <c:pt idx="8451">
                  <c:v>890619</c:v>
                </c:pt>
                <c:pt idx="8452">
                  <c:v>890574</c:v>
                </c:pt>
                <c:pt idx="8453">
                  <c:v>890539</c:v>
                </c:pt>
                <c:pt idx="8454">
                  <c:v>890461</c:v>
                </c:pt>
                <c:pt idx="8455">
                  <c:v>890456</c:v>
                </c:pt>
                <c:pt idx="8456">
                  <c:v>890329</c:v>
                </c:pt>
                <c:pt idx="8457">
                  <c:v>890311</c:v>
                </c:pt>
                <c:pt idx="8458">
                  <c:v>890307</c:v>
                </c:pt>
                <c:pt idx="8459">
                  <c:v>890281</c:v>
                </c:pt>
                <c:pt idx="8460">
                  <c:v>890250</c:v>
                </c:pt>
                <c:pt idx="8461">
                  <c:v>890181</c:v>
                </c:pt>
                <c:pt idx="8462">
                  <c:v>890159</c:v>
                </c:pt>
                <c:pt idx="8463">
                  <c:v>890157</c:v>
                </c:pt>
                <c:pt idx="8464">
                  <c:v>890151</c:v>
                </c:pt>
                <c:pt idx="8465">
                  <c:v>890132</c:v>
                </c:pt>
                <c:pt idx="8466">
                  <c:v>889970</c:v>
                </c:pt>
                <c:pt idx="8467">
                  <c:v>889960</c:v>
                </c:pt>
                <c:pt idx="8468">
                  <c:v>889947</c:v>
                </c:pt>
                <c:pt idx="8469">
                  <c:v>889852</c:v>
                </c:pt>
                <c:pt idx="8470">
                  <c:v>889668</c:v>
                </c:pt>
                <c:pt idx="8471">
                  <c:v>889648</c:v>
                </c:pt>
                <c:pt idx="8472">
                  <c:v>889642</c:v>
                </c:pt>
                <c:pt idx="8473">
                  <c:v>889641</c:v>
                </c:pt>
                <c:pt idx="8474">
                  <c:v>889584</c:v>
                </c:pt>
                <c:pt idx="8475">
                  <c:v>889504</c:v>
                </c:pt>
                <c:pt idx="8476">
                  <c:v>889468</c:v>
                </c:pt>
                <c:pt idx="8477">
                  <c:v>889457</c:v>
                </c:pt>
                <c:pt idx="8478">
                  <c:v>889271</c:v>
                </c:pt>
                <c:pt idx="8479">
                  <c:v>889252</c:v>
                </c:pt>
                <c:pt idx="8480">
                  <c:v>888864</c:v>
                </c:pt>
                <c:pt idx="8481">
                  <c:v>888858</c:v>
                </c:pt>
                <c:pt idx="8482">
                  <c:v>888786</c:v>
                </c:pt>
                <c:pt idx="8483">
                  <c:v>888702</c:v>
                </c:pt>
                <c:pt idx="8484">
                  <c:v>888603</c:v>
                </c:pt>
                <c:pt idx="8485">
                  <c:v>888594</c:v>
                </c:pt>
                <c:pt idx="8486">
                  <c:v>888559</c:v>
                </c:pt>
                <c:pt idx="8487">
                  <c:v>888505</c:v>
                </c:pt>
                <c:pt idx="8488">
                  <c:v>888404</c:v>
                </c:pt>
                <c:pt idx="8489">
                  <c:v>888285</c:v>
                </c:pt>
                <c:pt idx="8490">
                  <c:v>888247</c:v>
                </c:pt>
                <c:pt idx="8491">
                  <c:v>888197</c:v>
                </c:pt>
                <c:pt idx="8492">
                  <c:v>888110</c:v>
                </c:pt>
                <c:pt idx="8493">
                  <c:v>888009</c:v>
                </c:pt>
                <c:pt idx="8494">
                  <c:v>887994</c:v>
                </c:pt>
                <c:pt idx="8495">
                  <c:v>887955</c:v>
                </c:pt>
                <c:pt idx="8496">
                  <c:v>887944</c:v>
                </c:pt>
                <c:pt idx="8497">
                  <c:v>887893</c:v>
                </c:pt>
                <c:pt idx="8498">
                  <c:v>887879</c:v>
                </c:pt>
                <c:pt idx="8499">
                  <c:v>887875</c:v>
                </c:pt>
                <c:pt idx="8500">
                  <c:v>887870</c:v>
                </c:pt>
                <c:pt idx="8501">
                  <c:v>887852</c:v>
                </c:pt>
                <c:pt idx="8502">
                  <c:v>887799</c:v>
                </c:pt>
                <c:pt idx="8503">
                  <c:v>887777</c:v>
                </c:pt>
                <c:pt idx="8504">
                  <c:v>887627</c:v>
                </c:pt>
                <c:pt idx="8505">
                  <c:v>887608</c:v>
                </c:pt>
                <c:pt idx="8506">
                  <c:v>887577</c:v>
                </c:pt>
                <c:pt idx="8507">
                  <c:v>887455</c:v>
                </c:pt>
                <c:pt idx="8508">
                  <c:v>887430</c:v>
                </c:pt>
                <c:pt idx="8509">
                  <c:v>887247</c:v>
                </c:pt>
                <c:pt idx="8510">
                  <c:v>887228</c:v>
                </c:pt>
                <c:pt idx="8511">
                  <c:v>887167</c:v>
                </c:pt>
                <c:pt idx="8512">
                  <c:v>887100</c:v>
                </c:pt>
                <c:pt idx="8513">
                  <c:v>886883</c:v>
                </c:pt>
                <c:pt idx="8514">
                  <c:v>886879</c:v>
                </c:pt>
                <c:pt idx="8515">
                  <c:v>886850</c:v>
                </c:pt>
                <c:pt idx="8516">
                  <c:v>886850</c:v>
                </c:pt>
                <c:pt idx="8517">
                  <c:v>886833</c:v>
                </c:pt>
                <c:pt idx="8518">
                  <c:v>886802</c:v>
                </c:pt>
                <c:pt idx="8519">
                  <c:v>886792</c:v>
                </c:pt>
                <c:pt idx="8520">
                  <c:v>886758</c:v>
                </c:pt>
                <c:pt idx="8521">
                  <c:v>886728</c:v>
                </c:pt>
                <c:pt idx="8522">
                  <c:v>886674</c:v>
                </c:pt>
                <c:pt idx="8523">
                  <c:v>886651</c:v>
                </c:pt>
                <c:pt idx="8524">
                  <c:v>886586</c:v>
                </c:pt>
                <c:pt idx="8525">
                  <c:v>886553</c:v>
                </c:pt>
                <c:pt idx="8526">
                  <c:v>886507</c:v>
                </c:pt>
                <c:pt idx="8527">
                  <c:v>886494</c:v>
                </c:pt>
                <c:pt idx="8528">
                  <c:v>886479</c:v>
                </c:pt>
                <c:pt idx="8529">
                  <c:v>886463</c:v>
                </c:pt>
                <c:pt idx="8530">
                  <c:v>886440</c:v>
                </c:pt>
                <c:pt idx="8531">
                  <c:v>886393</c:v>
                </c:pt>
                <c:pt idx="8532">
                  <c:v>886385</c:v>
                </c:pt>
                <c:pt idx="8533">
                  <c:v>886263</c:v>
                </c:pt>
                <c:pt idx="8534">
                  <c:v>886137</c:v>
                </c:pt>
                <c:pt idx="8535">
                  <c:v>886130</c:v>
                </c:pt>
                <c:pt idx="8536">
                  <c:v>886066</c:v>
                </c:pt>
                <c:pt idx="8537">
                  <c:v>886063</c:v>
                </c:pt>
                <c:pt idx="8538">
                  <c:v>886049</c:v>
                </c:pt>
                <c:pt idx="8539">
                  <c:v>886046</c:v>
                </c:pt>
                <c:pt idx="8540">
                  <c:v>886032</c:v>
                </c:pt>
                <c:pt idx="8541">
                  <c:v>885967</c:v>
                </c:pt>
                <c:pt idx="8542">
                  <c:v>885967</c:v>
                </c:pt>
                <c:pt idx="8543">
                  <c:v>885932</c:v>
                </c:pt>
                <c:pt idx="8544">
                  <c:v>885825</c:v>
                </c:pt>
                <c:pt idx="8545">
                  <c:v>885824</c:v>
                </c:pt>
                <c:pt idx="8546">
                  <c:v>885824</c:v>
                </c:pt>
                <c:pt idx="8547">
                  <c:v>885813</c:v>
                </c:pt>
                <c:pt idx="8548">
                  <c:v>885675</c:v>
                </c:pt>
                <c:pt idx="8549">
                  <c:v>885647</c:v>
                </c:pt>
                <c:pt idx="8550">
                  <c:v>885575</c:v>
                </c:pt>
                <c:pt idx="8551">
                  <c:v>885506</c:v>
                </c:pt>
                <c:pt idx="8552">
                  <c:v>885454</c:v>
                </c:pt>
                <c:pt idx="8553">
                  <c:v>885446</c:v>
                </c:pt>
                <c:pt idx="8554">
                  <c:v>885383</c:v>
                </c:pt>
                <c:pt idx="8555">
                  <c:v>885361</c:v>
                </c:pt>
                <c:pt idx="8556">
                  <c:v>885301</c:v>
                </c:pt>
                <c:pt idx="8557">
                  <c:v>885296</c:v>
                </c:pt>
                <c:pt idx="8558">
                  <c:v>885255</c:v>
                </c:pt>
                <c:pt idx="8559">
                  <c:v>885249</c:v>
                </c:pt>
                <c:pt idx="8560">
                  <c:v>885211</c:v>
                </c:pt>
                <c:pt idx="8561">
                  <c:v>885202</c:v>
                </c:pt>
                <c:pt idx="8562">
                  <c:v>885136</c:v>
                </c:pt>
                <c:pt idx="8563">
                  <c:v>885129</c:v>
                </c:pt>
                <c:pt idx="8564">
                  <c:v>885085</c:v>
                </c:pt>
                <c:pt idx="8565">
                  <c:v>885071</c:v>
                </c:pt>
                <c:pt idx="8566">
                  <c:v>885067</c:v>
                </c:pt>
                <c:pt idx="8567">
                  <c:v>885064</c:v>
                </c:pt>
                <c:pt idx="8568">
                  <c:v>885003</c:v>
                </c:pt>
                <c:pt idx="8569">
                  <c:v>884951</c:v>
                </c:pt>
                <c:pt idx="8570">
                  <c:v>884948</c:v>
                </c:pt>
                <c:pt idx="8571">
                  <c:v>884947</c:v>
                </c:pt>
                <c:pt idx="8572">
                  <c:v>884758</c:v>
                </c:pt>
                <c:pt idx="8573">
                  <c:v>884724</c:v>
                </c:pt>
                <c:pt idx="8574">
                  <c:v>884698</c:v>
                </c:pt>
                <c:pt idx="8575">
                  <c:v>884675</c:v>
                </c:pt>
                <c:pt idx="8576">
                  <c:v>884521</c:v>
                </c:pt>
                <c:pt idx="8577">
                  <c:v>884493</c:v>
                </c:pt>
                <c:pt idx="8578">
                  <c:v>884486</c:v>
                </c:pt>
                <c:pt idx="8579">
                  <c:v>884453</c:v>
                </c:pt>
                <c:pt idx="8580">
                  <c:v>884319</c:v>
                </c:pt>
                <c:pt idx="8581">
                  <c:v>884266</c:v>
                </c:pt>
                <c:pt idx="8582">
                  <c:v>884220</c:v>
                </c:pt>
                <c:pt idx="8583">
                  <c:v>884014</c:v>
                </c:pt>
                <c:pt idx="8584">
                  <c:v>884012</c:v>
                </c:pt>
                <c:pt idx="8585">
                  <c:v>883864</c:v>
                </c:pt>
                <c:pt idx="8586">
                  <c:v>883852</c:v>
                </c:pt>
                <c:pt idx="8587">
                  <c:v>883764</c:v>
                </c:pt>
                <c:pt idx="8588">
                  <c:v>883718</c:v>
                </c:pt>
                <c:pt idx="8589">
                  <c:v>883660</c:v>
                </c:pt>
                <c:pt idx="8590">
                  <c:v>883563</c:v>
                </c:pt>
                <c:pt idx="8591">
                  <c:v>883540</c:v>
                </c:pt>
                <c:pt idx="8592">
                  <c:v>883539</c:v>
                </c:pt>
                <c:pt idx="8593">
                  <c:v>883520</c:v>
                </c:pt>
                <c:pt idx="8594">
                  <c:v>883349</c:v>
                </c:pt>
                <c:pt idx="8595">
                  <c:v>883241</c:v>
                </c:pt>
                <c:pt idx="8596">
                  <c:v>883225</c:v>
                </c:pt>
                <c:pt idx="8597">
                  <c:v>883147</c:v>
                </c:pt>
                <c:pt idx="8598">
                  <c:v>883038</c:v>
                </c:pt>
                <c:pt idx="8599">
                  <c:v>882962</c:v>
                </c:pt>
                <c:pt idx="8600">
                  <c:v>882953</c:v>
                </c:pt>
                <c:pt idx="8601">
                  <c:v>882934</c:v>
                </c:pt>
                <c:pt idx="8602">
                  <c:v>882796</c:v>
                </c:pt>
                <c:pt idx="8603">
                  <c:v>882765</c:v>
                </c:pt>
                <c:pt idx="8604">
                  <c:v>882666</c:v>
                </c:pt>
                <c:pt idx="8605">
                  <c:v>882567</c:v>
                </c:pt>
                <c:pt idx="8606">
                  <c:v>882561</c:v>
                </c:pt>
                <c:pt idx="8607">
                  <c:v>882491</c:v>
                </c:pt>
                <c:pt idx="8608">
                  <c:v>882485</c:v>
                </c:pt>
                <c:pt idx="8609">
                  <c:v>882479</c:v>
                </c:pt>
                <c:pt idx="8610">
                  <c:v>882370</c:v>
                </c:pt>
                <c:pt idx="8611">
                  <c:v>882311</c:v>
                </c:pt>
                <c:pt idx="8612">
                  <c:v>882213</c:v>
                </c:pt>
                <c:pt idx="8613">
                  <c:v>882186</c:v>
                </c:pt>
                <c:pt idx="8614">
                  <c:v>882054</c:v>
                </c:pt>
                <c:pt idx="8615">
                  <c:v>882010</c:v>
                </c:pt>
                <c:pt idx="8616">
                  <c:v>881943</c:v>
                </c:pt>
                <c:pt idx="8617">
                  <c:v>881903</c:v>
                </c:pt>
                <c:pt idx="8618">
                  <c:v>881857</c:v>
                </c:pt>
                <c:pt idx="8619">
                  <c:v>881829</c:v>
                </c:pt>
                <c:pt idx="8620">
                  <c:v>881770</c:v>
                </c:pt>
                <c:pt idx="8621">
                  <c:v>881753</c:v>
                </c:pt>
                <c:pt idx="8622">
                  <c:v>881674</c:v>
                </c:pt>
                <c:pt idx="8623">
                  <c:v>881665</c:v>
                </c:pt>
                <c:pt idx="8624">
                  <c:v>881585</c:v>
                </c:pt>
                <c:pt idx="8625">
                  <c:v>881537</c:v>
                </c:pt>
                <c:pt idx="8626">
                  <c:v>881480</c:v>
                </c:pt>
                <c:pt idx="8627">
                  <c:v>881385</c:v>
                </c:pt>
                <c:pt idx="8628">
                  <c:v>881352</c:v>
                </c:pt>
                <c:pt idx="8629">
                  <c:v>881349</c:v>
                </c:pt>
                <c:pt idx="8630">
                  <c:v>881349</c:v>
                </c:pt>
                <c:pt idx="8631">
                  <c:v>881301</c:v>
                </c:pt>
                <c:pt idx="8632">
                  <c:v>881287</c:v>
                </c:pt>
                <c:pt idx="8633">
                  <c:v>881146</c:v>
                </c:pt>
                <c:pt idx="8634">
                  <c:v>881099</c:v>
                </c:pt>
                <c:pt idx="8635">
                  <c:v>881099</c:v>
                </c:pt>
                <c:pt idx="8636">
                  <c:v>881073</c:v>
                </c:pt>
                <c:pt idx="8637">
                  <c:v>881049</c:v>
                </c:pt>
                <c:pt idx="8638">
                  <c:v>881012</c:v>
                </c:pt>
                <c:pt idx="8639">
                  <c:v>880901</c:v>
                </c:pt>
                <c:pt idx="8640">
                  <c:v>880900</c:v>
                </c:pt>
                <c:pt idx="8641">
                  <c:v>880783</c:v>
                </c:pt>
                <c:pt idx="8642">
                  <c:v>880750</c:v>
                </c:pt>
                <c:pt idx="8643">
                  <c:v>880703</c:v>
                </c:pt>
                <c:pt idx="8644">
                  <c:v>880621</c:v>
                </c:pt>
                <c:pt idx="8645">
                  <c:v>880610</c:v>
                </c:pt>
                <c:pt idx="8646">
                  <c:v>880563</c:v>
                </c:pt>
                <c:pt idx="8647">
                  <c:v>880503</c:v>
                </c:pt>
                <c:pt idx="8648">
                  <c:v>880467</c:v>
                </c:pt>
                <c:pt idx="8649">
                  <c:v>880449</c:v>
                </c:pt>
                <c:pt idx="8650">
                  <c:v>880427</c:v>
                </c:pt>
                <c:pt idx="8651">
                  <c:v>880420</c:v>
                </c:pt>
                <c:pt idx="8652">
                  <c:v>880408</c:v>
                </c:pt>
                <c:pt idx="8653">
                  <c:v>880368</c:v>
                </c:pt>
                <c:pt idx="8654">
                  <c:v>880344</c:v>
                </c:pt>
                <c:pt idx="8655">
                  <c:v>880135</c:v>
                </c:pt>
                <c:pt idx="8656">
                  <c:v>880119</c:v>
                </c:pt>
                <c:pt idx="8657">
                  <c:v>880089</c:v>
                </c:pt>
                <c:pt idx="8658">
                  <c:v>880037</c:v>
                </c:pt>
                <c:pt idx="8659">
                  <c:v>880028</c:v>
                </c:pt>
                <c:pt idx="8660">
                  <c:v>879684</c:v>
                </c:pt>
                <c:pt idx="8661">
                  <c:v>879655</c:v>
                </c:pt>
                <c:pt idx="8662">
                  <c:v>879600</c:v>
                </c:pt>
                <c:pt idx="8663">
                  <c:v>879583</c:v>
                </c:pt>
                <c:pt idx="8664">
                  <c:v>879574</c:v>
                </c:pt>
                <c:pt idx="8665">
                  <c:v>879453</c:v>
                </c:pt>
                <c:pt idx="8666">
                  <c:v>879447</c:v>
                </c:pt>
                <c:pt idx="8667">
                  <c:v>879391</c:v>
                </c:pt>
                <c:pt idx="8668">
                  <c:v>879365</c:v>
                </c:pt>
                <c:pt idx="8669">
                  <c:v>879350</c:v>
                </c:pt>
                <c:pt idx="8670">
                  <c:v>879186</c:v>
                </c:pt>
                <c:pt idx="8671">
                  <c:v>879030</c:v>
                </c:pt>
                <c:pt idx="8672">
                  <c:v>878897</c:v>
                </c:pt>
                <c:pt idx="8673">
                  <c:v>878841</c:v>
                </c:pt>
                <c:pt idx="8674">
                  <c:v>878825</c:v>
                </c:pt>
                <c:pt idx="8675">
                  <c:v>878806</c:v>
                </c:pt>
                <c:pt idx="8676">
                  <c:v>878692</c:v>
                </c:pt>
                <c:pt idx="8677">
                  <c:v>878636</c:v>
                </c:pt>
                <c:pt idx="8678">
                  <c:v>878588</c:v>
                </c:pt>
                <c:pt idx="8679">
                  <c:v>878480</c:v>
                </c:pt>
                <c:pt idx="8680">
                  <c:v>878411</c:v>
                </c:pt>
                <c:pt idx="8681">
                  <c:v>878349</c:v>
                </c:pt>
                <c:pt idx="8682">
                  <c:v>878261</c:v>
                </c:pt>
                <c:pt idx="8683">
                  <c:v>878236</c:v>
                </c:pt>
                <c:pt idx="8684">
                  <c:v>878134</c:v>
                </c:pt>
                <c:pt idx="8685">
                  <c:v>878123</c:v>
                </c:pt>
                <c:pt idx="8686">
                  <c:v>878084</c:v>
                </c:pt>
                <c:pt idx="8687">
                  <c:v>878079</c:v>
                </c:pt>
                <c:pt idx="8688">
                  <c:v>878063</c:v>
                </c:pt>
                <c:pt idx="8689">
                  <c:v>878058</c:v>
                </c:pt>
                <c:pt idx="8690">
                  <c:v>878058</c:v>
                </c:pt>
                <c:pt idx="8691">
                  <c:v>878042</c:v>
                </c:pt>
                <c:pt idx="8692">
                  <c:v>877935</c:v>
                </c:pt>
                <c:pt idx="8693">
                  <c:v>877889</c:v>
                </c:pt>
                <c:pt idx="8694">
                  <c:v>877822</c:v>
                </c:pt>
                <c:pt idx="8695">
                  <c:v>877696</c:v>
                </c:pt>
                <c:pt idx="8696">
                  <c:v>877681</c:v>
                </c:pt>
                <c:pt idx="8697">
                  <c:v>877670</c:v>
                </c:pt>
                <c:pt idx="8698">
                  <c:v>877638</c:v>
                </c:pt>
                <c:pt idx="8699">
                  <c:v>877629</c:v>
                </c:pt>
                <c:pt idx="8700">
                  <c:v>877577</c:v>
                </c:pt>
                <c:pt idx="8701">
                  <c:v>877477</c:v>
                </c:pt>
                <c:pt idx="8702">
                  <c:v>877469</c:v>
                </c:pt>
                <c:pt idx="8703">
                  <c:v>877386</c:v>
                </c:pt>
                <c:pt idx="8704">
                  <c:v>877312</c:v>
                </c:pt>
                <c:pt idx="8705">
                  <c:v>877241</c:v>
                </c:pt>
                <c:pt idx="8706">
                  <c:v>877193</c:v>
                </c:pt>
                <c:pt idx="8707">
                  <c:v>877135</c:v>
                </c:pt>
                <c:pt idx="8708">
                  <c:v>877126</c:v>
                </c:pt>
                <c:pt idx="8709">
                  <c:v>877107</c:v>
                </c:pt>
                <c:pt idx="8710">
                  <c:v>877054</c:v>
                </c:pt>
                <c:pt idx="8711">
                  <c:v>877016</c:v>
                </c:pt>
                <c:pt idx="8712">
                  <c:v>876960</c:v>
                </c:pt>
                <c:pt idx="8713">
                  <c:v>876849</c:v>
                </c:pt>
                <c:pt idx="8714">
                  <c:v>876775</c:v>
                </c:pt>
                <c:pt idx="8715">
                  <c:v>876708</c:v>
                </c:pt>
                <c:pt idx="8716">
                  <c:v>876668</c:v>
                </c:pt>
                <c:pt idx="8717">
                  <c:v>876628</c:v>
                </c:pt>
                <c:pt idx="8718">
                  <c:v>876609</c:v>
                </c:pt>
                <c:pt idx="8719">
                  <c:v>876494</c:v>
                </c:pt>
                <c:pt idx="8720">
                  <c:v>876430</c:v>
                </c:pt>
                <c:pt idx="8721">
                  <c:v>876405</c:v>
                </c:pt>
                <c:pt idx="8722">
                  <c:v>876403</c:v>
                </c:pt>
                <c:pt idx="8723">
                  <c:v>876366</c:v>
                </c:pt>
                <c:pt idx="8724">
                  <c:v>876321</c:v>
                </c:pt>
                <c:pt idx="8725">
                  <c:v>876252</c:v>
                </c:pt>
                <c:pt idx="8726">
                  <c:v>876237</c:v>
                </c:pt>
                <c:pt idx="8727">
                  <c:v>876209</c:v>
                </c:pt>
                <c:pt idx="8728">
                  <c:v>876154</c:v>
                </c:pt>
                <c:pt idx="8729">
                  <c:v>876112</c:v>
                </c:pt>
                <c:pt idx="8730">
                  <c:v>876055</c:v>
                </c:pt>
                <c:pt idx="8731">
                  <c:v>876018</c:v>
                </c:pt>
                <c:pt idx="8732">
                  <c:v>876015</c:v>
                </c:pt>
                <c:pt idx="8733">
                  <c:v>875949</c:v>
                </c:pt>
                <c:pt idx="8734">
                  <c:v>875723</c:v>
                </c:pt>
                <c:pt idx="8735">
                  <c:v>875723</c:v>
                </c:pt>
                <c:pt idx="8736">
                  <c:v>875596</c:v>
                </c:pt>
                <c:pt idx="8737">
                  <c:v>875541</c:v>
                </c:pt>
                <c:pt idx="8738">
                  <c:v>875518</c:v>
                </c:pt>
                <c:pt idx="8739">
                  <c:v>875487</c:v>
                </c:pt>
                <c:pt idx="8740">
                  <c:v>875382</c:v>
                </c:pt>
                <c:pt idx="8741">
                  <c:v>875207</c:v>
                </c:pt>
                <c:pt idx="8742">
                  <c:v>875154</c:v>
                </c:pt>
                <c:pt idx="8743">
                  <c:v>875105</c:v>
                </c:pt>
                <c:pt idx="8744">
                  <c:v>875059</c:v>
                </c:pt>
                <c:pt idx="8745">
                  <c:v>875054</c:v>
                </c:pt>
                <c:pt idx="8746">
                  <c:v>874978</c:v>
                </c:pt>
                <c:pt idx="8747">
                  <c:v>874978</c:v>
                </c:pt>
                <c:pt idx="8748">
                  <c:v>874974</c:v>
                </c:pt>
                <c:pt idx="8749">
                  <c:v>874913</c:v>
                </c:pt>
                <c:pt idx="8750">
                  <c:v>874901</c:v>
                </c:pt>
                <c:pt idx="8751">
                  <c:v>874851</c:v>
                </c:pt>
                <c:pt idx="8752">
                  <c:v>874824</c:v>
                </c:pt>
                <c:pt idx="8753">
                  <c:v>874811</c:v>
                </c:pt>
                <c:pt idx="8754">
                  <c:v>874693</c:v>
                </c:pt>
                <c:pt idx="8755">
                  <c:v>874558</c:v>
                </c:pt>
                <c:pt idx="8756">
                  <c:v>874480</c:v>
                </c:pt>
                <c:pt idx="8757">
                  <c:v>874457</c:v>
                </c:pt>
                <c:pt idx="8758">
                  <c:v>874417</c:v>
                </c:pt>
                <c:pt idx="8759">
                  <c:v>874410</c:v>
                </c:pt>
                <c:pt idx="8760">
                  <c:v>874300</c:v>
                </c:pt>
                <c:pt idx="8761">
                  <c:v>874235</c:v>
                </c:pt>
                <c:pt idx="8762">
                  <c:v>874194</c:v>
                </c:pt>
                <c:pt idx="8763">
                  <c:v>874185</c:v>
                </c:pt>
                <c:pt idx="8764">
                  <c:v>874162</c:v>
                </c:pt>
                <c:pt idx="8765">
                  <c:v>874160</c:v>
                </c:pt>
                <c:pt idx="8766">
                  <c:v>874156</c:v>
                </c:pt>
                <c:pt idx="8767">
                  <c:v>873968</c:v>
                </c:pt>
                <c:pt idx="8768">
                  <c:v>873943</c:v>
                </c:pt>
                <c:pt idx="8769">
                  <c:v>873925</c:v>
                </c:pt>
                <c:pt idx="8770">
                  <c:v>873907</c:v>
                </c:pt>
                <c:pt idx="8771">
                  <c:v>873897</c:v>
                </c:pt>
                <c:pt idx="8772">
                  <c:v>873890</c:v>
                </c:pt>
                <c:pt idx="8773">
                  <c:v>873870</c:v>
                </c:pt>
                <c:pt idx="8774">
                  <c:v>873797</c:v>
                </c:pt>
                <c:pt idx="8775">
                  <c:v>873757</c:v>
                </c:pt>
                <c:pt idx="8776">
                  <c:v>873735</c:v>
                </c:pt>
                <c:pt idx="8777">
                  <c:v>873650</c:v>
                </c:pt>
                <c:pt idx="8778">
                  <c:v>873542</c:v>
                </c:pt>
                <c:pt idx="8779">
                  <c:v>873434</c:v>
                </c:pt>
                <c:pt idx="8780">
                  <c:v>873411</c:v>
                </c:pt>
                <c:pt idx="8781">
                  <c:v>873395</c:v>
                </c:pt>
                <c:pt idx="8782">
                  <c:v>873379</c:v>
                </c:pt>
                <c:pt idx="8783">
                  <c:v>873363</c:v>
                </c:pt>
                <c:pt idx="8784">
                  <c:v>873241</c:v>
                </c:pt>
                <c:pt idx="8785">
                  <c:v>873111</c:v>
                </c:pt>
                <c:pt idx="8786">
                  <c:v>873083</c:v>
                </c:pt>
                <c:pt idx="8787">
                  <c:v>873008</c:v>
                </c:pt>
                <c:pt idx="8788">
                  <c:v>872971</c:v>
                </c:pt>
                <c:pt idx="8789">
                  <c:v>872957</c:v>
                </c:pt>
                <c:pt idx="8790">
                  <c:v>872955</c:v>
                </c:pt>
                <c:pt idx="8791">
                  <c:v>872876</c:v>
                </c:pt>
                <c:pt idx="8792">
                  <c:v>872803</c:v>
                </c:pt>
                <c:pt idx="8793">
                  <c:v>872803</c:v>
                </c:pt>
                <c:pt idx="8794">
                  <c:v>872759</c:v>
                </c:pt>
                <c:pt idx="8795">
                  <c:v>872666</c:v>
                </c:pt>
                <c:pt idx="8796">
                  <c:v>872607</c:v>
                </c:pt>
                <c:pt idx="8797">
                  <c:v>872469</c:v>
                </c:pt>
                <c:pt idx="8798">
                  <c:v>872350</c:v>
                </c:pt>
                <c:pt idx="8799">
                  <c:v>872280</c:v>
                </c:pt>
                <c:pt idx="8800">
                  <c:v>872277</c:v>
                </c:pt>
                <c:pt idx="8801">
                  <c:v>872191</c:v>
                </c:pt>
                <c:pt idx="8802">
                  <c:v>872190</c:v>
                </c:pt>
                <c:pt idx="8803">
                  <c:v>872146</c:v>
                </c:pt>
                <c:pt idx="8804">
                  <c:v>872129</c:v>
                </c:pt>
                <c:pt idx="8805">
                  <c:v>872113</c:v>
                </c:pt>
                <c:pt idx="8806">
                  <c:v>872066</c:v>
                </c:pt>
                <c:pt idx="8807">
                  <c:v>872058</c:v>
                </c:pt>
                <c:pt idx="8808">
                  <c:v>872041</c:v>
                </c:pt>
                <c:pt idx="8809">
                  <c:v>872002</c:v>
                </c:pt>
                <c:pt idx="8810">
                  <c:v>871964</c:v>
                </c:pt>
                <c:pt idx="8811">
                  <c:v>871935</c:v>
                </c:pt>
                <c:pt idx="8812">
                  <c:v>871801</c:v>
                </c:pt>
                <c:pt idx="8813">
                  <c:v>871742</c:v>
                </c:pt>
                <c:pt idx="8814">
                  <c:v>871724</c:v>
                </c:pt>
                <c:pt idx="8815">
                  <c:v>871664</c:v>
                </c:pt>
                <c:pt idx="8816">
                  <c:v>871663</c:v>
                </c:pt>
                <c:pt idx="8817">
                  <c:v>871653</c:v>
                </c:pt>
                <c:pt idx="8818">
                  <c:v>871610</c:v>
                </c:pt>
                <c:pt idx="8819">
                  <c:v>871598</c:v>
                </c:pt>
                <c:pt idx="8820">
                  <c:v>871588</c:v>
                </c:pt>
                <c:pt idx="8821">
                  <c:v>871567</c:v>
                </c:pt>
                <c:pt idx="8822">
                  <c:v>871550</c:v>
                </c:pt>
                <c:pt idx="8823">
                  <c:v>871538</c:v>
                </c:pt>
                <c:pt idx="8824">
                  <c:v>871523</c:v>
                </c:pt>
                <c:pt idx="8825">
                  <c:v>871503</c:v>
                </c:pt>
                <c:pt idx="8826">
                  <c:v>871467</c:v>
                </c:pt>
                <c:pt idx="8827">
                  <c:v>871453</c:v>
                </c:pt>
                <c:pt idx="8828">
                  <c:v>871415</c:v>
                </c:pt>
                <c:pt idx="8829">
                  <c:v>871384</c:v>
                </c:pt>
                <c:pt idx="8830">
                  <c:v>871331</c:v>
                </c:pt>
                <c:pt idx="8831">
                  <c:v>871297</c:v>
                </c:pt>
                <c:pt idx="8832">
                  <c:v>871263</c:v>
                </c:pt>
                <c:pt idx="8833">
                  <c:v>871243</c:v>
                </c:pt>
                <c:pt idx="8834">
                  <c:v>871174</c:v>
                </c:pt>
                <c:pt idx="8835">
                  <c:v>871160</c:v>
                </c:pt>
                <c:pt idx="8836">
                  <c:v>871151</c:v>
                </c:pt>
                <c:pt idx="8837">
                  <c:v>871132</c:v>
                </c:pt>
                <c:pt idx="8838">
                  <c:v>871130</c:v>
                </c:pt>
                <c:pt idx="8839">
                  <c:v>871015</c:v>
                </c:pt>
                <c:pt idx="8840">
                  <c:v>870963</c:v>
                </c:pt>
                <c:pt idx="8841">
                  <c:v>870920</c:v>
                </c:pt>
                <c:pt idx="8842">
                  <c:v>870918</c:v>
                </c:pt>
                <c:pt idx="8843">
                  <c:v>870889</c:v>
                </c:pt>
                <c:pt idx="8844">
                  <c:v>870793</c:v>
                </c:pt>
                <c:pt idx="8845">
                  <c:v>870762</c:v>
                </c:pt>
                <c:pt idx="8846">
                  <c:v>870749</c:v>
                </c:pt>
                <c:pt idx="8847">
                  <c:v>870708</c:v>
                </c:pt>
                <c:pt idx="8848">
                  <c:v>870629</c:v>
                </c:pt>
                <c:pt idx="8849">
                  <c:v>870509</c:v>
                </c:pt>
                <c:pt idx="8850">
                  <c:v>870464</c:v>
                </c:pt>
                <c:pt idx="8851">
                  <c:v>870409</c:v>
                </c:pt>
                <c:pt idx="8852">
                  <c:v>870408</c:v>
                </c:pt>
                <c:pt idx="8853">
                  <c:v>870315</c:v>
                </c:pt>
                <c:pt idx="8854">
                  <c:v>870289</c:v>
                </c:pt>
                <c:pt idx="8855">
                  <c:v>870156</c:v>
                </c:pt>
                <c:pt idx="8856">
                  <c:v>870147</c:v>
                </c:pt>
                <c:pt idx="8857">
                  <c:v>870126</c:v>
                </c:pt>
                <c:pt idx="8858">
                  <c:v>870108</c:v>
                </c:pt>
                <c:pt idx="8859">
                  <c:v>870006</c:v>
                </c:pt>
                <c:pt idx="8860">
                  <c:v>869983</c:v>
                </c:pt>
                <c:pt idx="8861">
                  <c:v>869971</c:v>
                </c:pt>
                <c:pt idx="8862">
                  <c:v>869924</c:v>
                </c:pt>
                <c:pt idx="8863">
                  <c:v>869898</c:v>
                </c:pt>
                <c:pt idx="8864">
                  <c:v>869895</c:v>
                </c:pt>
                <c:pt idx="8865">
                  <c:v>869814</c:v>
                </c:pt>
                <c:pt idx="8866">
                  <c:v>869803</c:v>
                </c:pt>
                <c:pt idx="8867">
                  <c:v>869782</c:v>
                </c:pt>
                <c:pt idx="8868">
                  <c:v>869755</c:v>
                </c:pt>
                <c:pt idx="8869">
                  <c:v>869642</c:v>
                </c:pt>
                <c:pt idx="8870">
                  <c:v>869641</c:v>
                </c:pt>
                <c:pt idx="8871">
                  <c:v>869542</c:v>
                </c:pt>
                <c:pt idx="8872">
                  <c:v>869457</c:v>
                </c:pt>
                <c:pt idx="8873">
                  <c:v>869380</c:v>
                </c:pt>
                <c:pt idx="8874">
                  <c:v>869123</c:v>
                </c:pt>
                <c:pt idx="8875">
                  <c:v>869123</c:v>
                </c:pt>
                <c:pt idx="8876">
                  <c:v>869019</c:v>
                </c:pt>
                <c:pt idx="8877">
                  <c:v>868976</c:v>
                </c:pt>
                <c:pt idx="8878">
                  <c:v>868973</c:v>
                </c:pt>
                <c:pt idx="8879">
                  <c:v>868956</c:v>
                </c:pt>
                <c:pt idx="8880">
                  <c:v>868764</c:v>
                </c:pt>
                <c:pt idx="8881">
                  <c:v>868754</c:v>
                </c:pt>
                <c:pt idx="8882">
                  <c:v>868701</c:v>
                </c:pt>
                <c:pt idx="8883">
                  <c:v>868680</c:v>
                </c:pt>
                <c:pt idx="8884">
                  <c:v>868654</c:v>
                </c:pt>
                <c:pt idx="8885">
                  <c:v>868506</c:v>
                </c:pt>
                <c:pt idx="8886">
                  <c:v>868456</c:v>
                </c:pt>
                <c:pt idx="8887">
                  <c:v>868452</c:v>
                </c:pt>
                <c:pt idx="8888">
                  <c:v>868360</c:v>
                </c:pt>
                <c:pt idx="8889">
                  <c:v>868271</c:v>
                </c:pt>
                <c:pt idx="8890">
                  <c:v>868270</c:v>
                </c:pt>
                <c:pt idx="8891">
                  <c:v>868260</c:v>
                </c:pt>
                <c:pt idx="8892">
                  <c:v>868247</c:v>
                </c:pt>
                <c:pt idx="8893">
                  <c:v>868210</c:v>
                </c:pt>
                <c:pt idx="8894">
                  <c:v>868153</c:v>
                </c:pt>
                <c:pt idx="8895">
                  <c:v>868151</c:v>
                </c:pt>
                <c:pt idx="8896">
                  <c:v>868140</c:v>
                </c:pt>
                <c:pt idx="8897">
                  <c:v>868130</c:v>
                </c:pt>
                <c:pt idx="8898">
                  <c:v>868074</c:v>
                </c:pt>
                <c:pt idx="8899">
                  <c:v>868003</c:v>
                </c:pt>
                <c:pt idx="8900">
                  <c:v>867879</c:v>
                </c:pt>
                <c:pt idx="8901">
                  <c:v>867856</c:v>
                </c:pt>
                <c:pt idx="8902">
                  <c:v>867856</c:v>
                </c:pt>
                <c:pt idx="8903">
                  <c:v>867739</c:v>
                </c:pt>
                <c:pt idx="8904">
                  <c:v>867733</c:v>
                </c:pt>
                <c:pt idx="8905">
                  <c:v>867727</c:v>
                </c:pt>
                <c:pt idx="8906">
                  <c:v>867640</c:v>
                </c:pt>
                <c:pt idx="8907">
                  <c:v>867586</c:v>
                </c:pt>
                <c:pt idx="8908">
                  <c:v>867563</c:v>
                </c:pt>
                <c:pt idx="8909">
                  <c:v>867446</c:v>
                </c:pt>
                <c:pt idx="8910">
                  <c:v>867417</c:v>
                </c:pt>
                <c:pt idx="8911">
                  <c:v>867351</c:v>
                </c:pt>
                <c:pt idx="8912">
                  <c:v>867336</c:v>
                </c:pt>
                <c:pt idx="8913">
                  <c:v>867246</c:v>
                </c:pt>
                <c:pt idx="8914">
                  <c:v>867225</c:v>
                </c:pt>
                <c:pt idx="8915">
                  <c:v>867159</c:v>
                </c:pt>
                <c:pt idx="8916">
                  <c:v>867114</c:v>
                </c:pt>
                <c:pt idx="8917">
                  <c:v>867036</c:v>
                </c:pt>
                <c:pt idx="8918">
                  <c:v>866966</c:v>
                </c:pt>
                <c:pt idx="8919">
                  <c:v>866933</c:v>
                </c:pt>
                <c:pt idx="8920">
                  <c:v>866851</c:v>
                </c:pt>
                <c:pt idx="8921">
                  <c:v>866849</c:v>
                </c:pt>
                <c:pt idx="8922">
                  <c:v>866802</c:v>
                </c:pt>
                <c:pt idx="8923">
                  <c:v>866780</c:v>
                </c:pt>
                <c:pt idx="8924">
                  <c:v>866758</c:v>
                </c:pt>
                <c:pt idx="8925">
                  <c:v>866753</c:v>
                </c:pt>
                <c:pt idx="8926">
                  <c:v>866695</c:v>
                </c:pt>
                <c:pt idx="8927">
                  <c:v>866670</c:v>
                </c:pt>
                <c:pt idx="8928">
                  <c:v>866642</c:v>
                </c:pt>
                <c:pt idx="8929">
                  <c:v>866611</c:v>
                </c:pt>
                <c:pt idx="8930">
                  <c:v>866578</c:v>
                </c:pt>
                <c:pt idx="8931">
                  <c:v>866560</c:v>
                </c:pt>
                <c:pt idx="8932">
                  <c:v>866472</c:v>
                </c:pt>
                <c:pt idx="8933">
                  <c:v>866381</c:v>
                </c:pt>
                <c:pt idx="8934">
                  <c:v>866340</c:v>
                </c:pt>
                <c:pt idx="8935">
                  <c:v>866315</c:v>
                </c:pt>
                <c:pt idx="8936">
                  <c:v>866280</c:v>
                </c:pt>
                <c:pt idx="8937">
                  <c:v>866180</c:v>
                </c:pt>
                <c:pt idx="8938">
                  <c:v>866134</c:v>
                </c:pt>
                <c:pt idx="8939">
                  <c:v>866122</c:v>
                </c:pt>
                <c:pt idx="8940">
                  <c:v>866052</c:v>
                </c:pt>
                <c:pt idx="8941">
                  <c:v>866035</c:v>
                </c:pt>
                <c:pt idx="8942">
                  <c:v>865956</c:v>
                </c:pt>
                <c:pt idx="8943">
                  <c:v>865945</c:v>
                </c:pt>
                <c:pt idx="8944">
                  <c:v>865915</c:v>
                </c:pt>
                <c:pt idx="8945">
                  <c:v>865834</c:v>
                </c:pt>
                <c:pt idx="8946">
                  <c:v>865815</c:v>
                </c:pt>
                <c:pt idx="8947">
                  <c:v>865805</c:v>
                </c:pt>
                <c:pt idx="8948">
                  <c:v>865795</c:v>
                </c:pt>
                <c:pt idx="8949">
                  <c:v>865728</c:v>
                </c:pt>
                <c:pt idx="8950">
                  <c:v>865662</c:v>
                </c:pt>
                <c:pt idx="8951">
                  <c:v>865660</c:v>
                </c:pt>
                <c:pt idx="8952">
                  <c:v>865529</c:v>
                </c:pt>
                <c:pt idx="8953">
                  <c:v>865505</c:v>
                </c:pt>
                <c:pt idx="8954">
                  <c:v>865491</c:v>
                </c:pt>
                <c:pt idx="8955">
                  <c:v>865431</c:v>
                </c:pt>
                <c:pt idx="8956">
                  <c:v>865389</c:v>
                </c:pt>
                <c:pt idx="8957">
                  <c:v>865382</c:v>
                </c:pt>
                <c:pt idx="8958">
                  <c:v>865293</c:v>
                </c:pt>
                <c:pt idx="8959">
                  <c:v>865225</c:v>
                </c:pt>
                <c:pt idx="8960">
                  <c:v>865225</c:v>
                </c:pt>
                <c:pt idx="8961">
                  <c:v>865216</c:v>
                </c:pt>
                <c:pt idx="8962">
                  <c:v>865139</c:v>
                </c:pt>
                <c:pt idx="8963">
                  <c:v>865028</c:v>
                </c:pt>
                <c:pt idx="8964">
                  <c:v>865022</c:v>
                </c:pt>
                <c:pt idx="8965">
                  <c:v>864974</c:v>
                </c:pt>
                <c:pt idx="8966">
                  <c:v>864954</c:v>
                </c:pt>
                <c:pt idx="8967">
                  <c:v>864920</c:v>
                </c:pt>
                <c:pt idx="8968">
                  <c:v>864897</c:v>
                </c:pt>
                <c:pt idx="8969">
                  <c:v>864882</c:v>
                </c:pt>
                <c:pt idx="8970">
                  <c:v>864872</c:v>
                </c:pt>
                <c:pt idx="8971">
                  <c:v>864832</c:v>
                </c:pt>
                <c:pt idx="8972">
                  <c:v>864753</c:v>
                </c:pt>
                <c:pt idx="8973">
                  <c:v>864665</c:v>
                </c:pt>
                <c:pt idx="8974">
                  <c:v>864630</c:v>
                </c:pt>
                <c:pt idx="8975">
                  <c:v>864597</c:v>
                </c:pt>
                <c:pt idx="8976">
                  <c:v>864561</c:v>
                </c:pt>
                <c:pt idx="8977">
                  <c:v>864478</c:v>
                </c:pt>
                <c:pt idx="8978">
                  <c:v>864423</c:v>
                </c:pt>
                <c:pt idx="8979">
                  <c:v>864299</c:v>
                </c:pt>
                <c:pt idx="8980">
                  <c:v>864163</c:v>
                </c:pt>
                <c:pt idx="8981">
                  <c:v>864114</c:v>
                </c:pt>
                <c:pt idx="8982">
                  <c:v>864016</c:v>
                </c:pt>
                <c:pt idx="8983">
                  <c:v>863980</c:v>
                </c:pt>
                <c:pt idx="8984">
                  <c:v>863938</c:v>
                </c:pt>
                <c:pt idx="8985">
                  <c:v>863875</c:v>
                </c:pt>
                <c:pt idx="8986">
                  <c:v>863826</c:v>
                </c:pt>
                <c:pt idx="8987">
                  <c:v>863807</c:v>
                </c:pt>
                <c:pt idx="8988">
                  <c:v>863756</c:v>
                </c:pt>
                <c:pt idx="8989">
                  <c:v>863746</c:v>
                </c:pt>
                <c:pt idx="8990">
                  <c:v>863701</c:v>
                </c:pt>
                <c:pt idx="8991">
                  <c:v>863610</c:v>
                </c:pt>
                <c:pt idx="8992">
                  <c:v>863508</c:v>
                </c:pt>
                <c:pt idx="8993">
                  <c:v>863501</c:v>
                </c:pt>
                <c:pt idx="8994">
                  <c:v>863301</c:v>
                </c:pt>
                <c:pt idx="8995">
                  <c:v>863217</c:v>
                </c:pt>
                <c:pt idx="8996">
                  <c:v>863201</c:v>
                </c:pt>
                <c:pt idx="8997">
                  <c:v>863087</c:v>
                </c:pt>
                <c:pt idx="8998">
                  <c:v>863044</c:v>
                </c:pt>
                <c:pt idx="8999">
                  <c:v>862746</c:v>
                </c:pt>
                <c:pt idx="9000">
                  <c:v>862718</c:v>
                </c:pt>
                <c:pt idx="9001">
                  <c:v>862685</c:v>
                </c:pt>
                <c:pt idx="9002">
                  <c:v>862667</c:v>
                </c:pt>
                <c:pt idx="9003">
                  <c:v>862646</c:v>
                </c:pt>
                <c:pt idx="9004">
                  <c:v>862617</c:v>
                </c:pt>
                <c:pt idx="9005">
                  <c:v>862613</c:v>
                </c:pt>
                <c:pt idx="9006">
                  <c:v>862593</c:v>
                </c:pt>
                <c:pt idx="9007">
                  <c:v>862471</c:v>
                </c:pt>
                <c:pt idx="9008">
                  <c:v>862449</c:v>
                </c:pt>
                <c:pt idx="9009">
                  <c:v>862359</c:v>
                </c:pt>
                <c:pt idx="9010">
                  <c:v>862352</c:v>
                </c:pt>
                <c:pt idx="9011">
                  <c:v>862338</c:v>
                </c:pt>
                <c:pt idx="9012">
                  <c:v>862277</c:v>
                </c:pt>
                <c:pt idx="9013">
                  <c:v>862173</c:v>
                </c:pt>
                <c:pt idx="9014">
                  <c:v>862168</c:v>
                </c:pt>
                <c:pt idx="9015">
                  <c:v>862149</c:v>
                </c:pt>
                <c:pt idx="9016">
                  <c:v>862104</c:v>
                </c:pt>
                <c:pt idx="9017">
                  <c:v>862082</c:v>
                </c:pt>
                <c:pt idx="9018">
                  <c:v>862052</c:v>
                </c:pt>
                <c:pt idx="9019">
                  <c:v>862041</c:v>
                </c:pt>
                <c:pt idx="9020">
                  <c:v>862009</c:v>
                </c:pt>
                <c:pt idx="9021">
                  <c:v>861902</c:v>
                </c:pt>
                <c:pt idx="9022">
                  <c:v>861744</c:v>
                </c:pt>
                <c:pt idx="9023">
                  <c:v>861590</c:v>
                </c:pt>
                <c:pt idx="9024">
                  <c:v>861537</c:v>
                </c:pt>
                <c:pt idx="9025">
                  <c:v>861531</c:v>
                </c:pt>
                <c:pt idx="9026">
                  <c:v>861454</c:v>
                </c:pt>
                <c:pt idx="9027">
                  <c:v>861315</c:v>
                </c:pt>
                <c:pt idx="9028">
                  <c:v>861272</c:v>
                </c:pt>
                <c:pt idx="9029">
                  <c:v>861221</c:v>
                </c:pt>
                <c:pt idx="9030">
                  <c:v>861217</c:v>
                </c:pt>
                <c:pt idx="9031">
                  <c:v>861104</c:v>
                </c:pt>
                <c:pt idx="9032">
                  <c:v>861098</c:v>
                </c:pt>
                <c:pt idx="9033">
                  <c:v>861038</c:v>
                </c:pt>
                <c:pt idx="9034">
                  <c:v>860952</c:v>
                </c:pt>
                <c:pt idx="9035">
                  <c:v>860950</c:v>
                </c:pt>
                <c:pt idx="9036">
                  <c:v>860692</c:v>
                </c:pt>
                <c:pt idx="9037">
                  <c:v>860689</c:v>
                </c:pt>
                <c:pt idx="9038">
                  <c:v>860684</c:v>
                </c:pt>
                <c:pt idx="9039">
                  <c:v>860564</c:v>
                </c:pt>
                <c:pt idx="9040">
                  <c:v>860538</c:v>
                </c:pt>
                <c:pt idx="9041">
                  <c:v>860429</c:v>
                </c:pt>
                <c:pt idx="9042">
                  <c:v>860421</c:v>
                </c:pt>
                <c:pt idx="9043">
                  <c:v>860263</c:v>
                </c:pt>
                <c:pt idx="9044">
                  <c:v>860215</c:v>
                </c:pt>
                <c:pt idx="9045">
                  <c:v>860208</c:v>
                </c:pt>
                <c:pt idx="9046">
                  <c:v>860177</c:v>
                </c:pt>
                <c:pt idx="9047">
                  <c:v>860161</c:v>
                </c:pt>
                <c:pt idx="9048">
                  <c:v>860020</c:v>
                </c:pt>
                <c:pt idx="9049">
                  <c:v>859894</c:v>
                </c:pt>
                <c:pt idx="9050">
                  <c:v>859875</c:v>
                </c:pt>
                <c:pt idx="9051">
                  <c:v>859846</c:v>
                </c:pt>
                <c:pt idx="9052">
                  <c:v>859842</c:v>
                </c:pt>
                <c:pt idx="9053">
                  <c:v>859815</c:v>
                </c:pt>
                <c:pt idx="9054">
                  <c:v>859740</c:v>
                </c:pt>
                <c:pt idx="9055">
                  <c:v>859726</c:v>
                </c:pt>
                <c:pt idx="9056">
                  <c:v>859675</c:v>
                </c:pt>
                <c:pt idx="9057">
                  <c:v>859659</c:v>
                </c:pt>
                <c:pt idx="9058">
                  <c:v>859636</c:v>
                </c:pt>
                <c:pt idx="9059">
                  <c:v>859550</c:v>
                </c:pt>
                <c:pt idx="9060">
                  <c:v>859319</c:v>
                </c:pt>
                <c:pt idx="9061">
                  <c:v>859319</c:v>
                </c:pt>
                <c:pt idx="9062">
                  <c:v>859216</c:v>
                </c:pt>
                <c:pt idx="9063">
                  <c:v>859203</c:v>
                </c:pt>
                <c:pt idx="9064">
                  <c:v>859194</c:v>
                </c:pt>
                <c:pt idx="9065">
                  <c:v>859193</c:v>
                </c:pt>
                <c:pt idx="9066">
                  <c:v>859146</c:v>
                </c:pt>
                <c:pt idx="9067">
                  <c:v>859118</c:v>
                </c:pt>
                <c:pt idx="9068">
                  <c:v>859073</c:v>
                </c:pt>
                <c:pt idx="9069">
                  <c:v>859035</c:v>
                </c:pt>
                <c:pt idx="9070">
                  <c:v>859025</c:v>
                </c:pt>
                <c:pt idx="9071">
                  <c:v>858902</c:v>
                </c:pt>
                <c:pt idx="9072">
                  <c:v>858902</c:v>
                </c:pt>
                <c:pt idx="9073">
                  <c:v>858757</c:v>
                </c:pt>
                <c:pt idx="9074">
                  <c:v>858756</c:v>
                </c:pt>
                <c:pt idx="9075">
                  <c:v>858745</c:v>
                </c:pt>
                <c:pt idx="9076">
                  <c:v>858738</c:v>
                </c:pt>
                <c:pt idx="9077">
                  <c:v>858727</c:v>
                </c:pt>
                <c:pt idx="9078">
                  <c:v>858675</c:v>
                </c:pt>
                <c:pt idx="9079">
                  <c:v>858609</c:v>
                </c:pt>
                <c:pt idx="9080">
                  <c:v>858601</c:v>
                </c:pt>
                <c:pt idx="9081">
                  <c:v>858600</c:v>
                </c:pt>
                <c:pt idx="9082">
                  <c:v>858560</c:v>
                </c:pt>
                <c:pt idx="9083">
                  <c:v>858485</c:v>
                </c:pt>
                <c:pt idx="9084">
                  <c:v>858479</c:v>
                </c:pt>
                <c:pt idx="9085">
                  <c:v>858375</c:v>
                </c:pt>
                <c:pt idx="9086">
                  <c:v>858330</c:v>
                </c:pt>
                <c:pt idx="9087">
                  <c:v>858243</c:v>
                </c:pt>
                <c:pt idx="9088">
                  <c:v>858175</c:v>
                </c:pt>
                <c:pt idx="9089">
                  <c:v>858124</c:v>
                </c:pt>
                <c:pt idx="9090">
                  <c:v>857890</c:v>
                </c:pt>
                <c:pt idx="9091">
                  <c:v>857840</c:v>
                </c:pt>
                <c:pt idx="9092">
                  <c:v>857805</c:v>
                </c:pt>
                <c:pt idx="9093">
                  <c:v>857615</c:v>
                </c:pt>
                <c:pt idx="9094">
                  <c:v>857561</c:v>
                </c:pt>
                <c:pt idx="9095">
                  <c:v>857527</c:v>
                </c:pt>
                <c:pt idx="9096">
                  <c:v>857468</c:v>
                </c:pt>
                <c:pt idx="9097">
                  <c:v>857455</c:v>
                </c:pt>
                <c:pt idx="9098">
                  <c:v>857354</c:v>
                </c:pt>
                <c:pt idx="9099">
                  <c:v>857347</c:v>
                </c:pt>
                <c:pt idx="9100">
                  <c:v>857244</c:v>
                </c:pt>
                <c:pt idx="9101">
                  <c:v>857233</c:v>
                </c:pt>
                <c:pt idx="9102">
                  <c:v>857227</c:v>
                </c:pt>
                <c:pt idx="9103">
                  <c:v>857127</c:v>
                </c:pt>
                <c:pt idx="9104">
                  <c:v>857027</c:v>
                </c:pt>
                <c:pt idx="9105">
                  <c:v>857016</c:v>
                </c:pt>
                <c:pt idx="9106">
                  <c:v>857011</c:v>
                </c:pt>
                <c:pt idx="9107">
                  <c:v>856998</c:v>
                </c:pt>
                <c:pt idx="9108">
                  <c:v>856991</c:v>
                </c:pt>
                <c:pt idx="9109">
                  <c:v>856925</c:v>
                </c:pt>
                <c:pt idx="9110">
                  <c:v>856905</c:v>
                </c:pt>
                <c:pt idx="9111">
                  <c:v>856855</c:v>
                </c:pt>
                <c:pt idx="9112">
                  <c:v>856837</c:v>
                </c:pt>
                <c:pt idx="9113">
                  <c:v>856789</c:v>
                </c:pt>
                <c:pt idx="9114">
                  <c:v>856726</c:v>
                </c:pt>
                <c:pt idx="9115">
                  <c:v>856701</c:v>
                </c:pt>
                <c:pt idx="9116">
                  <c:v>856656</c:v>
                </c:pt>
                <c:pt idx="9117">
                  <c:v>856502</c:v>
                </c:pt>
                <c:pt idx="9118">
                  <c:v>856473</c:v>
                </c:pt>
                <c:pt idx="9119">
                  <c:v>856245</c:v>
                </c:pt>
                <c:pt idx="9120">
                  <c:v>856225</c:v>
                </c:pt>
                <c:pt idx="9121">
                  <c:v>856038</c:v>
                </c:pt>
                <c:pt idx="9122">
                  <c:v>855974</c:v>
                </c:pt>
                <c:pt idx="9123">
                  <c:v>855937</c:v>
                </c:pt>
                <c:pt idx="9124">
                  <c:v>855915</c:v>
                </c:pt>
                <c:pt idx="9125">
                  <c:v>855897</c:v>
                </c:pt>
                <c:pt idx="9126">
                  <c:v>855878</c:v>
                </c:pt>
                <c:pt idx="9127">
                  <c:v>855852</c:v>
                </c:pt>
                <c:pt idx="9128">
                  <c:v>855851</c:v>
                </c:pt>
                <c:pt idx="9129">
                  <c:v>855848</c:v>
                </c:pt>
                <c:pt idx="9130">
                  <c:v>855815</c:v>
                </c:pt>
                <c:pt idx="9131">
                  <c:v>855653</c:v>
                </c:pt>
                <c:pt idx="9132">
                  <c:v>855574</c:v>
                </c:pt>
                <c:pt idx="9133">
                  <c:v>855319</c:v>
                </c:pt>
                <c:pt idx="9134">
                  <c:v>855275</c:v>
                </c:pt>
                <c:pt idx="9135">
                  <c:v>855240</c:v>
                </c:pt>
                <c:pt idx="9136">
                  <c:v>855233</c:v>
                </c:pt>
                <c:pt idx="9137">
                  <c:v>855176</c:v>
                </c:pt>
                <c:pt idx="9138">
                  <c:v>855134</c:v>
                </c:pt>
                <c:pt idx="9139">
                  <c:v>855108</c:v>
                </c:pt>
                <c:pt idx="9140">
                  <c:v>855047</c:v>
                </c:pt>
                <c:pt idx="9141">
                  <c:v>854937</c:v>
                </c:pt>
                <c:pt idx="9142">
                  <c:v>854917</c:v>
                </c:pt>
                <c:pt idx="9143">
                  <c:v>854896</c:v>
                </c:pt>
                <c:pt idx="9144">
                  <c:v>854862</c:v>
                </c:pt>
                <c:pt idx="9145">
                  <c:v>854727</c:v>
                </c:pt>
                <c:pt idx="9146">
                  <c:v>854628</c:v>
                </c:pt>
                <c:pt idx="9147">
                  <c:v>854625</c:v>
                </c:pt>
                <c:pt idx="9148">
                  <c:v>854557</c:v>
                </c:pt>
                <c:pt idx="9149">
                  <c:v>854502</c:v>
                </c:pt>
                <c:pt idx="9150">
                  <c:v>854467</c:v>
                </c:pt>
                <c:pt idx="9151">
                  <c:v>854462</c:v>
                </c:pt>
                <c:pt idx="9152">
                  <c:v>854453</c:v>
                </c:pt>
                <c:pt idx="9153">
                  <c:v>854373</c:v>
                </c:pt>
                <c:pt idx="9154">
                  <c:v>854371</c:v>
                </c:pt>
                <c:pt idx="9155">
                  <c:v>854360</c:v>
                </c:pt>
                <c:pt idx="9156">
                  <c:v>854346</c:v>
                </c:pt>
                <c:pt idx="9157">
                  <c:v>854286</c:v>
                </c:pt>
                <c:pt idx="9158">
                  <c:v>854285</c:v>
                </c:pt>
                <c:pt idx="9159">
                  <c:v>854251</c:v>
                </c:pt>
                <c:pt idx="9160">
                  <c:v>854204</c:v>
                </c:pt>
                <c:pt idx="9161">
                  <c:v>854052</c:v>
                </c:pt>
                <c:pt idx="9162">
                  <c:v>853893</c:v>
                </c:pt>
                <c:pt idx="9163">
                  <c:v>853804</c:v>
                </c:pt>
                <c:pt idx="9164">
                  <c:v>853679</c:v>
                </c:pt>
                <c:pt idx="9165">
                  <c:v>853663</c:v>
                </c:pt>
                <c:pt idx="9166">
                  <c:v>853625</c:v>
                </c:pt>
                <c:pt idx="9167">
                  <c:v>853591</c:v>
                </c:pt>
                <c:pt idx="9168">
                  <c:v>853517</c:v>
                </c:pt>
                <c:pt idx="9169">
                  <c:v>853462</c:v>
                </c:pt>
                <c:pt idx="9170">
                  <c:v>853298</c:v>
                </c:pt>
                <c:pt idx="9171">
                  <c:v>853291</c:v>
                </c:pt>
                <c:pt idx="9172">
                  <c:v>853272</c:v>
                </c:pt>
                <c:pt idx="9173">
                  <c:v>853253</c:v>
                </c:pt>
                <c:pt idx="9174">
                  <c:v>853136</c:v>
                </c:pt>
                <c:pt idx="9175">
                  <c:v>853088</c:v>
                </c:pt>
                <c:pt idx="9176">
                  <c:v>852979</c:v>
                </c:pt>
                <c:pt idx="9177">
                  <c:v>852977</c:v>
                </c:pt>
                <c:pt idx="9178">
                  <c:v>852905</c:v>
                </c:pt>
                <c:pt idx="9179">
                  <c:v>852847</c:v>
                </c:pt>
                <c:pt idx="9180">
                  <c:v>852761</c:v>
                </c:pt>
                <c:pt idx="9181">
                  <c:v>852756</c:v>
                </c:pt>
                <c:pt idx="9182">
                  <c:v>852743</c:v>
                </c:pt>
                <c:pt idx="9183">
                  <c:v>852715</c:v>
                </c:pt>
                <c:pt idx="9184">
                  <c:v>852626</c:v>
                </c:pt>
                <c:pt idx="9185">
                  <c:v>852564</c:v>
                </c:pt>
                <c:pt idx="9186">
                  <c:v>852558</c:v>
                </c:pt>
                <c:pt idx="9187">
                  <c:v>852510</c:v>
                </c:pt>
                <c:pt idx="9188">
                  <c:v>852435</c:v>
                </c:pt>
                <c:pt idx="9189">
                  <c:v>852428</c:v>
                </c:pt>
                <c:pt idx="9190">
                  <c:v>852404</c:v>
                </c:pt>
                <c:pt idx="9191">
                  <c:v>852259</c:v>
                </c:pt>
                <c:pt idx="9192">
                  <c:v>852256</c:v>
                </c:pt>
                <c:pt idx="9193">
                  <c:v>852229</c:v>
                </c:pt>
                <c:pt idx="9194">
                  <c:v>852161</c:v>
                </c:pt>
                <c:pt idx="9195">
                  <c:v>852120</c:v>
                </c:pt>
                <c:pt idx="9196">
                  <c:v>851989</c:v>
                </c:pt>
                <c:pt idx="9197">
                  <c:v>851887</c:v>
                </c:pt>
                <c:pt idx="9198">
                  <c:v>851814</c:v>
                </c:pt>
                <c:pt idx="9199">
                  <c:v>851764</c:v>
                </c:pt>
                <c:pt idx="9200">
                  <c:v>851754</c:v>
                </c:pt>
                <c:pt idx="9201">
                  <c:v>851742</c:v>
                </c:pt>
                <c:pt idx="9202">
                  <c:v>851732</c:v>
                </c:pt>
                <c:pt idx="9203">
                  <c:v>851709</c:v>
                </c:pt>
                <c:pt idx="9204">
                  <c:v>851637</c:v>
                </c:pt>
                <c:pt idx="9205">
                  <c:v>851635</c:v>
                </c:pt>
                <c:pt idx="9206">
                  <c:v>851562</c:v>
                </c:pt>
                <c:pt idx="9207">
                  <c:v>851537</c:v>
                </c:pt>
                <c:pt idx="9208">
                  <c:v>851530</c:v>
                </c:pt>
                <c:pt idx="9209">
                  <c:v>851401</c:v>
                </c:pt>
                <c:pt idx="9210">
                  <c:v>851097</c:v>
                </c:pt>
                <c:pt idx="9211">
                  <c:v>851093</c:v>
                </c:pt>
                <c:pt idx="9212">
                  <c:v>850951</c:v>
                </c:pt>
                <c:pt idx="9213">
                  <c:v>850914</c:v>
                </c:pt>
                <c:pt idx="9214">
                  <c:v>850909</c:v>
                </c:pt>
                <c:pt idx="9215">
                  <c:v>850885</c:v>
                </c:pt>
                <c:pt idx="9216">
                  <c:v>850860</c:v>
                </c:pt>
                <c:pt idx="9217">
                  <c:v>850810</c:v>
                </c:pt>
                <c:pt idx="9218">
                  <c:v>850730</c:v>
                </c:pt>
                <c:pt idx="9219">
                  <c:v>850654</c:v>
                </c:pt>
                <c:pt idx="9220">
                  <c:v>850604</c:v>
                </c:pt>
                <c:pt idx="9221">
                  <c:v>850590</c:v>
                </c:pt>
                <c:pt idx="9222">
                  <c:v>850494</c:v>
                </c:pt>
                <c:pt idx="9223">
                  <c:v>850494</c:v>
                </c:pt>
                <c:pt idx="9224">
                  <c:v>850427</c:v>
                </c:pt>
                <c:pt idx="9225">
                  <c:v>850172</c:v>
                </c:pt>
                <c:pt idx="9226">
                  <c:v>850141</c:v>
                </c:pt>
                <c:pt idx="9227">
                  <c:v>850099</c:v>
                </c:pt>
                <c:pt idx="9228">
                  <c:v>850059</c:v>
                </c:pt>
                <c:pt idx="9229">
                  <c:v>849993</c:v>
                </c:pt>
                <c:pt idx="9230">
                  <c:v>849870</c:v>
                </c:pt>
                <c:pt idx="9231">
                  <c:v>849856</c:v>
                </c:pt>
                <c:pt idx="9232">
                  <c:v>849793</c:v>
                </c:pt>
                <c:pt idx="9233">
                  <c:v>849625</c:v>
                </c:pt>
                <c:pt idx="9234">
                  <c:v>849574</c:v>
                </c:pt>
                <c:pt idx="9235">
                  <c:v>849473</c:v>
                </c:pt>
                <c:pt idx="9236">
                  <c:v>849421</c:v>
                </c:pt>
                <c:pt idx="9237">
                  <c:v>849387</c:v>
                </c:pt>
                <c:pt idx="9238">
                  <c:v>849372</c:v>
                </c:pt>
                <c:pt idx="9239">
                  <c:v>849339</c:v>
                </c:pt>
                <c:pt idx="9240">
                  <c:v>849328</c:v>
                </c:pt>
                <c:pt idx="9241">
                  <c:v>849075</c:v>
                </c:pt>
                <c:pt idx="9242">
                  <c:v>849064</c:v>
                </c:pt>
                <c:pt idx="9243">
                  <c:v>849016</c:v>
                </c:pt>
                <c:pt idx="9244">
                  <c:v>848980</c:v>
                </c:pt>
                <c:pt idx="9245">
                  <c:v>848890</c:v>
                </c:pt>
                <c:pt idx="9246">
                  <c:v>848876</c:v>
                </c:pt>
                <c:pt idx="9247">
                  <c:v>848857</c:v>
                </c:pt>
                <c:pt idx="9248">
                  <c:v>848773</c:v>
                </c:pt>
                <c:pt idx="9249">
                  <c:v>848772</c:v>
                </c:pt>
                <c:pt idx="9250">
                  <c:v>848740</c:v>
                </c:pt>
                <c:pt idx="9251">
                  <c:v>848736</c:v>
                </c:pt>
                <c:pt idx="9252">
                  <c:v>848730</c:v>
                </c:pt>
                <c:pt idx="9253">
                  <c:v>848730</c:v>
                </c:pt>
                <c:pt idx="9254">
                  <c:v>848710</c:v>
                </c:pt>
                <c:pt idx="9255">
                  <c:v>848709</c:v>
                </c:pt>
                <c:pt idx="9256">
                  <c:v>848676</c:v>
                </c:pt>
                <c:pt idx="9257">
                  <c:v>848669</c:v>
                </c:pt>
                <c:pt idx="9258">
                  <c:v>848621</c:v>
                </c:pt>
                <c:pt idx="9259">
                  <c:v>848541</c:v>
                </c:pt>
                <c:pt idx="9260">
                  <c:v>848465</c:v>
                </c:pt>
                <c:pt idx="9261">
                  <c:v>848434</c:v>
                </c:pt>
                <c:pt idx="9262">
                  <c:v>848336</c:v>
                </c:pt>
                <c:pt idx="9263">
                  <c:v>848180</c:v>
                </c:pt>
                <c:pt idx="9264">
                  <c:v>848102</c:v>
                </c:pt>
                <c:pt idx="9265">
                  <c:v>848087</c:v>
                </c:pt>
                <c:pt idx="9266">
                  <c:v>848069</c:v>
                </c:pt>
                <c:pt idx="9267">
                  <c:v>848001</c:v>
                </c:pt>
                <c:pt idx="9268">
                  <c:v>847879</c:v>
                </c:pt>
                <c:pt idx="9269">
                  <c:v>847748</c:v>
                </c:pt>
                <c:pt idx="9270">
                  <c:v>847728</c:v>
                </c:pt>
                <c:pt idx="9271">
                  <c:v>847715</c:v>
                </c:pt>
                <c:pt idx="9272">
                  <c:v>847525</c:v>
                </c:pt>
                <c:pt idx="9273">
                  <c:v>847489</c:v>
                </c:pt>
                <c:pt idx="9274">
                  <c:v>847483</c:v>
                </c:pt>
                <c:pt idx="9275">
                  <c:v>847342</c:v>
                </c:pt>
                <c:pt idx="9276">
                  <c:v>847320</c:v>
                </c:pt>
                <c:pt idx="9277">
                  <c:v>847218</c:v>
                </c:pt>
                <c:pt idx="9278">
                  <c:v>847115</c:v>
                </c:pt>
                <c:pt idx="9279">
                  <c:v>847089</c:v>
                </c:pt>
                <c:pt idx="9280">
                  <c:v>847046</c:v>
                </c:pt>
                <c:pt idx="9281">
                  <c:v>847030</c:v>
                </c:pt>
                <c:pt idx="9282">
                  <c:v>847020</c:v>
                </c:pt>
                <c:pt idx="9283">
                  <c:v>846996</c:v>
                </c:pt>
                <c:pt idx="9284">
                  <c:v>846927</c:v>
                </c:pt>
                <c:pt idx="9285">
                  <c:v>846884</c:v>
                </c:pt>
                <c:pt idx="9286">
                  <c:v>846784</c:v>
                </c:pt>
                <c:pt idx="9287">
                  <c:v>846767</c:v>
                </c:pt>
                <c:pt idx="9288">
                  <c:v>846669</c:v>
                </c:pt>
                <c:pt idx="9289">
                  <c:v>846572</c:v>
                </c:pt>
                <c:pt idx="9290">
                  <c:v>846538</c:v>
                </c:pt>
                <c:pt idx="9291">
                  <c:v>846313</c:v>
                </c:pt>
                <c:pt idx="9292">
                  <c:v>846290</c:v>
                </c:pt>
                <c:pt idx="9293">
                  <c:v>846258</c:v>
                </c:pt>
                <c:pt idx="9294">
                  <c:v>846224</c:v>
                </c:pt>
                <c:pt idx="9295">
                  <c:v>846194</c:v>
                </c:pt>
                <c:pt idx="9296">
                  <c:v>846171</c:v>
                </c:pt>
                <c:pt idx="9297">
                  <c:v>846140</c:v>
                </c:pt>
                <c:pt idx="9298">
                  <c:v>846138</c:v>
                </c:pt>
                <c:pt idx="9299">
                  <c:v>846119</c:v>
                </c:pt>
                <c:pt idx="9300">
                  <c:v>846072</c:v>
                </c:pt>
                <c:pt idx="9301">
                  <c:v>846062</c:v>
                </c:pt>
                <c:pt idx="9302">
                  <c:v>846039</c:v>
                </c:pt>
                <c:pt idx="9303">
                  <c:v>845997</c:v>
                </c:pt>
                <c:pt idx="9304">
                  <c:v>845940</c:v>
                </c:pt>
                <c:pt idx="9305">
                  <c:v>845910</c:v>
                </c:pt>
                <c:pt idx="9306">
                  <c:v>845905</c:v>
                </c:pt>
                <c:pt idx="9307">
                  <c:v>845859</c:v>
                </c:pt>
                <c:pt idx="9308">
                  <c:v>845845</c:v>
                </c:pt>
                <c:pt idx="9309">
                  <c:v>845803</c:v>
                </c:pt>
                <c:pt idx="9310">
                  <c:v>845630</c:v>
                </c:pt>
                <c:pt idx="9311">
                  <c:v>845490</c:v>
                </c:pt>
                <c:pt idx="9312">
                  <c:v>845486</c:v>
                </c:pt>
                <c:pt idx="9313">
                  <c:v>845380</c:v>
                </c:pt>
                <c:pt idx="9314">
                  <c:v>845281</c:v>
                </c:pt>
                <c:pt idx="9315">
                  <c:v>845140</c:v>
                </c:pt>
                <c:pt idx="9316">
                  <c:v>845132</c:v>
                </c:pt>
                <c:pt idx="9317">
                  <c:v>845110</c:v>
                </c:pt>
                <c:pt idx="9318">
                  <c:v>845081</c:v>
                </c:pt>
                <c:pt idx="9319">
                  <c:v>845027</c:v>
                </c:pt>
                <c:pt idx="9320">
                  <c:v>844893</c:v>
                </c:pt>
                <c:pt idx="9321">
                  <c:v>844723</c:v>
                </c:pt>
                <c:pt idx="9322">
                  <c:v>844637</c:v>
                </c:pt>
                <c:pt idx="9323">
                  <c:v>844627</c:v>
                </c:pt>
                <c:pt idx="9324">
                  <c:v>844591</c:v>
                </c:pt>
                <c:pt idx="9325">
                  <c:v>844480</c:v>
                </c:pt>
                <c:pt idx="9326">
                  <c:v>844435</c:v>
                </c:pt>
                <c:pt idx="9327">
                  <c:v>844387</c:v>
                </c:pt>
                <c:pt idx="9328">
                  <c:v>844378</c:v>
                </c:pt>
                <c:pt idx="9329">
                  <c:v>844334</c:v>
                </c:pt>
                <c:pt idx="9330">
                  <c:v>844324</c:v>
                </c:pt>
                <c:pt idx="9331">
                  <c:v>844239</c:v>
                </c:pt>
                <c:pt idx="9332">
                  <c:v>844169</c:v>
                </c:pt>
                <c:pt idx="9333">
                  <c:v>844098</c:v>
                </c:pt>
                <c:pt idx="9334">
                  <c:v>843901</c:v>
                </c:pt>
                <c:pt idx="9335">
                  <c:v>843895</c:v>
                </c:pt>
                <c:pt idx="9336">
                  <c:v>843821</c:v>
                </c:pt>
                <c:pt idx="9337">
                  <c:v>843802</c:v>
                </c:pt>
                <c:pt idx="9338">
                  <c:v>843660</c:v>
                </c:pt>
                <c:pt idx="9339">
                  <c:v>843627</c:v>
                </c:pt>
                <c:pt idx="9340">
                  <c:v>843553</c:v>
                </c:pt>
                <c:pt idx="9341">
                  <c:v>843550</c:v>
                </c:pt>
                <c:pt idx="9342">
                  <c:v>843547</c:v>
                </c:pt>
                <c:pt idx="9343">
                  <c:v>843489</c:v>
                </c:pt>
                <c:pt idx="9344">
                  <c:v>843471</c:v>
                </c:pt>
                <c:pt idx="9345">
                  <c:v>843405</c:v>
                </c:pt>
                <c:pt idx="9346">
                  <c:v>843307</c:v>
                </c:pt>
                <c:pt idx="9347">
                  <c:v>843254</c:v>
                </c:pt>
                <c:pt idx="9348">
                  <c:v>843205</c:v>
                </c:pt>
                <c:pt idx="9349">
                  <c:v>843079</c:v>
                </c:pt>
                <c:pt idx="9350">
                  <c:v>843036</c:v>
                </c:pt>
                <c:pt idx="9351">
                  <c:v>842930</c:v>
                </c:pt>
                <c:pt idx="9352">
                  <c:v>842749</c:v>
                </c:pt>
                <c:pt idx="9353">
                  <c:v>842661</c:v>
                </c:pt>
                <c:pt idx="9354">
                  <c:v>842659</c:v>
                </c:pt>
                <c:pt idx="9355">
                  <c:v>842575</c:v>
                </c:pt>
                <c:pt idx="9356">
                  <c:v>842531</c:v>
                </c:pt>
                <c:pt idx="9357">
                  <c:v>842527</c:v>
                </c:pt>
                <c:pt idx="9358">
                  <c:v>842500</c:v>
                </c:pt>
                <c:pt idx="9359">
                  <c:v>842475</c:v>
                </c:pt>
                <c:pt idx="9360">
                  <c:v>842445</c:v>
                </c:pt>
                <c:pt idx="9361">
                  <c:v>842394</c:v>
                </c:pt>
                <c:pt idx="9362">
                  <c:v>842299</c:v>
                </c:pt>
                <c:pt idx="9363">
                  <c:v>842185</c:v>
                </c:pt>
                <c:pt idx="9364">
                  <c:v>842126</c:v>
                </c:pt>
                <c:pt idx="9365">
                  <c:v>842081</c:v>
                </c:pt>
                <c:pt idx="9366">
                  <c:v>842017</c:v>
                </c:pt>
                <c:pt idx="9367">
                  <c:v>842001</c:v>
                </c:pt>
                <c:pt idx="9368">
                  <c:v>841939</c:v>
                </c:pt>
                <c:pt idx="9369">
                  <c:v>841847</c:v>
                </c:pt>
                <c:pt idx="9370">
                  <c:v>841833</c:v>
                </c:pt>
                <c:pt idx="9371">
                  <c:v>841780</c:v>
                </c:pt>
                <c:pt idx="9372">
                  <c:v>841729</c:v>
                </c:pt>
                <c:pt idx="9373">
                  <c:v>841590</c:v>
                </c:pt>
                <c:pt idx="9374">
                  <c:v>841540</c:v>
                </c:pt>
                <c:pt idx="9375">
                  <c:v>841505</c:v>
                </c:pt>
                <c:pt idx="9376">
                  <c:v>841500</c:v>
                </c:pt>
                <c:pt idx="9377">
                  <c:v>841498</c:v>
                </c:pt>
                <c:pt idx="9378">
                  <c:v>841490</c:v>
                </c:pt>
                <c:pt idx="9379">
                  <c:v>841359</c:v>
                </c:pt>
                <c:pt idx="9380">
                  <c:v>841246</c:v>
                </c:pt>
                <c:pt idx="9381">
                  <c:v>841086</c:v>
                </c:pt>
                <c:pt idx="9382">
                  <c:v>841027</c:v>
                </c:pt>
                <c:pt idx="9383">
                  <c:v>841017</c:v>
                </c:pt>
                <c:pt idx="9384">
                  <c:v>840965</c:v>
                </c:pt>
                <c:pt idx="9385">
                  <c:v>840886</c:v>
                </c:pt>
                <c:pt idx="9386">
                  <c:v>840845</c:v>
                </c:pt>
                <c:pt idx="9387">
                  <c:v>840799</c:v>
                </c:pt>
                <c:pt idx="9388">
                  <c:v>840771</c:v>
                </c:pt>
                <c:pt idx="9389">
                  <c:v>840765</c:v>
                </c:pt>
                <c:pt idx="9390">
                  <c:v>840628</c:v>
                </c:pt>
                <c:pt idx="9391">
                  <c:v>840550</c:v>
                </c:pt>
                <c:pt idx="9392">
                  <c:v>840529</c:v>
                </c:pt>
                <c:pt idx="9393">
                  <c:v>840495</c:v>
                </c:pt>
                <c:pt idx="9394">
                  <c:v>840474</c:v>
                </c:pt>
                <c:pt idx="9395">
                  <c:v>840461</c:v>
                </c:pt>
                <c:pt idx="9396">
                  <c:v>840440</c:v>
                </c:pt>
                <c:pt idx="9397">
                  <c:v>840409</c:v>
                </c:pt>
                <c:pt idx="9398">
                  <c:v>840342</c:v>
                </c:pt>
                <c:pt idx="9399">
                  <c:v>840321</c:v>
                </c:pt>
                <c:pt idx="9400">
                  <c:v>840278</c:v>
                </c:pt>
                <c:pt idx="9401">
                  <c:v>840220</c:v>
                </c:pt>
                <c:pt idx="9402">
                  <c:v>840212</c:v>
                </c:pt>
                <c:pt idx="9403">
                  <c:v>840183</c:v>
                </c:pt>
                <c:pt idx="9404">
                  <c:v>840122</c:v>
                </c:pt>
                <c:pt idx="9405">
                  <c:v>840043</c:v>
                </c:pt>
                <c:pt idx="9406">
                  <c:v>839935</c:v>
                </c:pt>
                <c:pt idx="9407">
                  <c:v>839934</c:v>
                </c:pt>
                <c:pt idx="9408">
                  <c:v>839910</c:v>
                </c:pt>
                <c:pt idx="9409">
                  <c:v>839906</c:v>
                </c:pt>
                <c:pt idx="9410">
                  <c:v>839790</c:v>
                </c:pt>
                <c:pt idx="9411">
                  <c:v>839785</c:v>
                </c:pt>
                <c:pt idx="9412">
                  <c:v>839738</c:v>
                </c:pt>
                <c:pt idx="9413">
                  <c:v>839674</c:v>
                </c:pt>
                <c:pt idx="9414">
                  <c:v>839463</c:v>
                </c:pt>
                <c:pt idx="9415">
                  <c:v>839403</c:v>
                </c:pt>
                <c:pt idx="9416">
                  <c:v>839346</c:v>
                </c:pt>
                <c:pt idx="9417">
                  <c:v>839264</c:v>
                </c:pt>
                <c:pt idx="9418">
                  <c:v>839222</c:v>
                </c:pt>
                <c:pt idx="9419">
                  <c:v>839216</c:v>
                </c:pt>
                <c:pt idx="9420">
                  <c:v>839192</c:v>
                </c:pt>
                <c:pt idx="9421">
                  <c:v>839136</c:v>
                </c:pt>
                <c:pt idx="9422">
                  <c:v>839109</c:v>
                </c:pt>
                <c:pt idx="9423">
                  <c:v>839054</c:v>
                </c:pt>
                <c:pt idx="9424">
                  <c:v>838873</c:v>
                </c:pt>
                <c:pt idx="9425">
                  <c:v>838823</c:v>
                </c:pt>
                <c:pt idx="9426">
                  <c:v>838778</c:v>
                </c:pt>
                <c:pt idx="9427">
                  <c:v>838728</c:v>
                </c:pt>
                <c:pt idx="9428">
                  <c:v>838670</c:v>
                </c:pt>
                <c:pt idx="9429">
                  <c:v>838584</c:v>
                </c:pt>
                <c:pt idx="9430">
                  <c:v>838486</c:v>
                </c:pt>
                <c:pt idx="9431">
                  <c:v>838485</c:v>
                </c:pt>
                <c:pt idx="9432">
                  <c:v>838468</c:v>
                </c:pt>
                <c:pt idx="9433">
                  <c:v>838165</c:v>
                </c:pt>
                <c:pt idx="9434">
                  <c:v>838120</c:v>
                </c:pt>
                <c:pt idx="9435">
                  <c:v>838093</c:v>
                </c:pt>
                <c:pt idx="9436">
                  <c:v>838088</c:v>
                </c:pt>
                <c:pt idx="9437">
                  <c:v>838085</c:v>
                </c:pt>
                <c:pt idx="9438">
                  <c:v>837988</c:v>
                </c:pt>
                <c:pt idx="9439">
                  <c:v>837944</c:v>
                </c:pt>
                <c:pt idx="9440">
                  <c:v>837934</c:v>
                </c:pt>
                <c:pt idx="9441">
                  <c:v>837919</c:v>
                </c:pt>
                <c:pt idx="9442">
                  <c:v>837818</c:v>
                </c:pt>
                <c:pt idx="9443">
                  <c:v>837785</c:v>
                </c:pt>
                <c:pt idx="9444">
                  <c:v>837684</c:v>
                </c:pt>
                <c:pt idx="9445">
                  <c:v>837520</c:v>
                </c:pt>
                <c:pt idx="9446">
                  <c:v>837449</c:v>
                </c:pt>
                <c:pt idx="9447">
                  <c:v>837443</c:v>
                </c:pt>
                <c:pt idx="9448">
                  <c:v>837441</c:v>
                </c:pt>
                <c:pt idx="9449">
                  <c:v>837291</c:v>
                </c:pt>
                <c:pt idx="9450">
                  <c:v>837176</c:v>
                </c:pt>
                <c:pt idx="9451">
                  <c:v>837166</c:v>
                </c:pt>
                <c:pt idx="9452">
                  <c:v>837130</c:v>
                </c:pt>
                <c:pt idx="9453">
                  <c:v>837019</c:v>
                </c:pt>
                <c:pt idx="9454">
                  <c:v>837017</c:v>
                </c:pt>
                <c:pt idx="9455">
                  <c:v>836962</c:v>
                </c:pt>
                <c:pt idx="9456">
                  <c:v>836943</c:v>
                </c:pt>
                <c:pt idx="9457">
                  <c:v>836933</c:v>
                </c:pt>
                <c:pt idx="9458">
                  <c:v>836931</c:v>
                </c:pt>
                <c:pt idx="9459">
                  <c:v>836924</c:v>
                </c:pt>
                <c:pt idx="9460">
                  <c:v>836899</c:v>
                </c:pt>
                <c:pt idx="9461">
                  <c:v>836889</c:v>
                </c:pt>
                <c:pt idx="9462">
                  <c:v>836885</c:v>
                </c:pt>
                <c:pt idx="9463">
                  <c:v>836840</c:v>
                </c:pt>
                <c:pt idx="9464">
                  <c:v>836830</c:v>
                </c:pt>
                <c:pt idx="9465">
                  <c:v>836692</c:v>
                </c:pt>
                <c:pt idx="9466">
                  <c:v>836684</c:v>
                </c:pt>
                <c:pt idx="9467">
                  <c:v>836548</c:v>
                </c:pt>
                <c:pt idx="9468">
                  <c:v>836359</c:v>
                </c:pt>
                <c:pt idx="9469">
                  <c:v>836260</c:v>
                </c:pt>
                <c:pt idx="9470">
                  <c:v>836210</c:v>
                </c:pt>
                <c:pt idx="9471">
                  <c:v>836054</c:v>
                </c:pt>
                <c:pt idx="9472">
                  <c:v>836035</c:v>
                </c:pt>
                <c:pt idx="9473">
                  <c:v>836010</c:v>
                </c:pt>
                <c:pt idx="9474">
                  <c:v>835970</c:v>
                </c:pt>
                <c:pt idx="9475">
                  <c:v>835967</c:v>
                </c:pt>
                <c:pt idx="9476">
                  <c:v>835922</c:v>
                </c:pt>
                <c:pt idx="9477">
                  <c:v>835910</c:v>
                </c:pt>
                <c:pt idx="9478">
                  <c:v>835864</c:v>
                </c:pt>
                <c:pt idx="9479">
                  <c:v>835856</c:v>
                </c:pt>
                <c:pt idx="9480">
                  <c:v>835845</c:v>
                </c:pt>
                <c:pt idx="9481">
                  <c:v>835843</c:v>
                </c:pt>
                <c:pt idx="9482">
                  <c:v>835815</c:v>
                </c:pt>
                <c:pt idx="9483">
                  <c:v>835735</c:v>
                </c:pt>
                <c:pt idx="9484">
                  <c:v>835713</c:v>
                </c:pt>
                <c:pt idx="9485">
                  <c:v>835711</c:v>
                </c:pt>
                <c:pt idx="9486">
                  <c:v>835630</c:v>
                </c:pt>
                <c:pt idx="9487">
                  <c:v>835349</c:v>
                </c:pt>
                <c:pt idx="9488">
                  <c:v>835303</c:v>
                </c:pt>
                <c:pt idx="9489">
                  <c:v>835167</c:v>
                </c:pt>
                <c:pt idx="9490">
                  <c:v>835131</c:v>
                </c:pt>
                <c:pt idx="9491">
                  <c:v>835050</c:v>
                </c:pt>
                <c:pt idx="9492">
                  <c:v>835043</c:v>
                </c:pt>
                <c:pt idx="9493">
                  <c:v>835000</c:v>
                </c:pt>
                <c:pt idx="9494">
                  <c:v>834985</c:v>
                </c:pt>
                <c:pt idx="9495">
                  <c:v>834941</c:v>
                </c:pt>
                <c:pt idx="9496">
                  <c:v>834872</c:v>
                </c:pt>
                <c:pt idx="9497">
                  <c:v>834850</c:v>
                </c:pt>
                <c:pt idx="9498">
                  <c:v>834767</c:v>
                </c:pt>
                <c:pt idx="9499">
                  <c:v>834668</c:v>
                </c:pt>
                <c:pt idx="9500">
                  <c:v>834661</c:v>
                </c:pt>
                <c:pt idx="9501">
                  <c:v>834633</c:v>
                </c:pt>
                <c:pt idx="9502">
                  <c:v>834617</c:v>
                </c:pt>
                <c:pt idx="9503">
                  <c:v>834572</c:v>
                </c:pt>
                <c:pt idx="9504">
                  <c:v>834508</c:v>
                </c:pt>
                <c:pt idx="9505">
                  <c:v>834503</c:v>
                </c:pt>
                <c:pt idx="9506">
                  <c:v>834420</c:v>
                </c:pt>
                <c:pt idx="9507">
                  <c:v>834378</c:v>
                </c:pt>
                <c:pt idx="9508">
                  <c:v>834318</c:v>
                </c:pt>
                <c:pt idx="9509">
                  <c:v>834271</c:v>
                </c:pt>
                <c:pt idx="9510">
                  <c:v>834169</c:v>
                </c:pt>
                <c:pt idx="9511">
                  <c:v>833878</c:v>
                </c:pt>
                <c:pt idx="9512">
                  <c:v>833677</c:v>
                </c:pt>
                <c:pt idx="9513">
                  <c:v>833653</c:v>
                </c:pt>
                <c:pt idx="9514">
                  <c:v>833510</c:v>
                </c:pt>
                <c:pt idx="9515">
                  <c:v>833467</c:v>
                </c:pt>
                <c:pt idx="9516">
                  <c:v>833353</c:v>
                </c:pt>
                <c:pt idx="9517">
                  <c:v>833311</c:v>
                </c:pt>
                <c:pt idx="9518">
                  <c:v>833303</c:v>
                </c:pt>
                <c:pt idx="9519">
                  <c:v>833245</c:v>
                </c:pt>
                <c:pt idx="9520">
                  <c:v>833196</c:v>
                </c:pt>
                <c:pt idx="9521">
                  <c:v>833187</c:v>
                </c:pt>
                <c:pt idx="9522">
                  <c:v>833149</c:v>
                </c:pt>
                <c:pt idx="9523">
                  <c:v>833104</c:v>
                </c:pt>
                <c:pt idx="9524">
                  <c:v>833054</c:v>
                </c:pt>
                <c:pt idx="9525">
                  <c:v>832993</c:v>
                </c:pt>
                <c:pt idx="9526">
                  <c:v>832987</c:v>
                </c:pt>
                <c:pt idx="9527">
                  <c:v>832976</c:v>
                </c:pt>
                <c:pt idx="9528">
                  <c:v>832929</c:v>
                </c:pt>
                <c:pt idx="9529">
                  <c:v>832884</c:v>
                </c:pt>
                <c:pt idx="9530">
                  <c:v>832865</c:v>
                </c:pt>
                <c:pt idx="9531">
                  <c:v>832694</c:v>
                </c:pt>
                <c:pt idx="9532">
                  <c:v>832684</c:v>
                </c:pt>
                <c:pt idx="9533">
                  <c:v>832617</c:v>
                </c:pt>
                <c:pt idx="9534">
                  <c:v>832560</c:v>
                </c:pt>
                <c:pt idx="9535">
                  <c:v>832517</c:v>
                </c:pt>
                <c:pt idx="9536">
                  <c:v>832463</c:v>
                </c:pt>
                <c:pt idx="9537">
                  <c:v>832446</c:v>
                </c:pt>
                <c:pt idx="9538">
                  <c:v>832406</c:v>
                </c:pt>
                <c:pt idx="9539">
                  <c:v>832334</c:v>
                </c:pt>
                <c:pt idx="9540">
                  <c:v>832266</c:v>
                </c:pt>
                <c:pt idx="9541">
                  <c:v>832241</c:v>
                </c:pt>
                <c:pt idx="9542">
                  <c:v>832198</c:v>
                </c:pt>
                <c:pt idx="9543">
                  <c:v>832126</c:v>
                </c:pt>
                <c:pt idx="9544">
                  <c:v>832072</c:v>
                </c:pt>
                <c:pt idx="9545">
                  <c:v>832031</c:v>
                </c:pt>
                <c:pt idx="9546">
                  <c:v>832007</c:v>
                </c:pt>
                <c:pt idx="9547">
                  <c:v>831963</c:v>
                </c:pt>
                <c:pt idx="9548">
                  <c:v>831941</c:v>
                </c:pt>
                <c:pt idx="9549">
                  <c:v>831927</c:v>
                </c:pt>
                <c:pt idx="9550">
                  <c:v>831888</c:v>
                </c:pt>
                <c:pt idx="9551">
                  <c:v>831815</c:v>
                </c:pt>
                <c:pt idx="9552">
                  <c:v>831808</c:v>
                </c:pt>
                <c:pt idx="9553">
                  <c:v>831777</c:v>
                </c:pt>
                <c:pt idx="9554">
                  <c:v>831650</c:v>
                </c:pt>
                <c:pt idx="9555">
                  <c:v>831581</c:v>
                </c:pt>
                <c:pt idx="9556">
                  <c:v>831335</c:v>
                </c:pt>
                <c:pt idx="9557">
                  <c:v>831165</c:v>
                </c:pt>
                <c:pt idx="9558">
                  <c:v>830575</c:v>
                </c:pt>
                <c:pt idx="9559">
                  <c:v>830567</c:v>
                </c:pt>
                <c:pt idx="9560">
                  <c:v>830555</c:v>
                </c:pt>
                <c:pt idx="9561">
                  <c:v>830439</c:v>
                </c:pt>
                <c:pt idx="9562">
                  <c:v>830439</c:v>
                </c:pt>
                <c:pt idx="9563">
                  <c:v>830332</c:v>
                </c:pt>
                <c:pt idx="9564">
                  <c:v>830310</c:v>
                </c:pt>
                <c:pt idx="9565">
                  <c:v>830241</c:v>
                </c:pt>
                <c:pt idx="9566">
                  <c:v>830203</c:v>
                </c:pt>
                <c:pt idx="9567">
                  <c:v>830155</c:v>
                </c:pt>
                <c:pt idx="9568">
                  <c:v>830150</c:v>
                </c:pt>
                <c:pt idx="9569">
                  <c:v>830146</c:v>
                </c:pt>
                <c:pt idx="9570">
                  <c:v>830040</c:v>
                </c:pt>
                <c:pt idx="9571">
                  <c:v>829973</c:v>
                </c:pt>
                <c:pt idx="9572">
                  <c:v>829906</c:v>
                </c:pt>
                <c:pt idx="9573">
                  <c:v>829900</c:v>
                </c:pt>
                <c:pt idx="9574">
                  <c:v>829662</c:v>
                </c:pt>
                <c:pt idx="9575">
                  <c:v>829565</c:v>
                </c:pt>
                <c:pt idx="9576">
                  <c:v>829535</c:v>
                </c:pt>
                <c:pt idx="9577">
                  <c:v>829497</c:v>
                </c:pt>
                <c:pt idx="9578">
                  <c:v>829445</c:v>
                </c:pt>
                <c:pt idx="9579">
                  <c:v>829393</c:v>
                </c:pt>
                <c:pt idx="9580">
                  <c:v>829360</c:v>
                </c:pt>
                <c:pt idx="9581">
                  <c:v>829286</c:v>
                </c:pt>
                <c:pt idx="9582">
                  <c:v>829285</c:v>
                </c:pt>
                <c:pt idx="9583">
                  <c:v>829270</c:v>
                </c:pt>
                <c:pt idx="9584">
                  <c:v>829208</c:v>
                </c:pt>
                <c:pt idx="9585">
                  <c:v>829172</c:v>
                </c:pt>
                <c:pt idx="9586">
                  <c:v>828925</c:v>
                </c:pt>
                <c:pt idx="9587">
                  <c:v>828845</c:v>
                </c:pt>
                <c:pt idx="9588">
                  <c:v>828842</c:v>
                </c:pt>
                <c:pt idx="9589">
                  <c:v>828838</c:v>
                </c:pt>
                <c:pt idx="9590">
                  <c:v>828831</c:v>
                </c:pt>
                <c:pt idx="9591">
                  <c:v>828811</c:v>
                </c:pt>
                <c:pt idx="9592">
                  <c:v>828630</c:v>
                </c:pt>
                <c:pt idx="9593">
                  <c:v>828476</c:v>
                </c:pt>
                <c:pt idx="9594">
                  <c:v>828424</c:v>
                </c:pt>
                <c:pt idx="9595">
                  <c:v>828412</c:v>
                </c:pt>
                <c:pt idx="9596">
                  <c:v>828394</c:v>
                </c:pt>
                <c:pt idx="9597">
                  <c:v>828372</c:v>
                </c:pt>
                <c:pt idx="9598">
                  <c:v>828361</c:v>
                </c:pt>
                <c:pt idx="9599">
                  <c:v>828309</c:v>
                </c:pt>
                <c:pt idx="9600">
                  <c:v>828173</c:v>
                </c:pt>
                <c:pt idx="9601">
                  <c:v>828127</c:v>
                </c:pt>
                <c:pt idx="9602">
                  <c:v>828114</c:v>
                </c:pt>
                <c:pt idx="9603">
                  <c:v>828055</c:v>
                </c:pt>
                <c:pt idx="9604">
                  <c:v>828053</c:v>
                </c:pt>
                <c:pt idx="9605">
                  <c:v>827996</c:v>
                </c:pt>
                <c:pt idx="9606">
                  <c:v>827986</c:v>
                </c:pt>
                <c:pt idx="9607">
                  <c:v>827855</c:v>
                </c:pt>
                <c:pt idx="9608">
                  <c:v>827835</c:v>
                </c:pt>
                <c:pt idx="9609">
                  <c:v>827783</c:v>
                </c:pt>
                <c:pt idx="9610">
                  <c:v>827738</c:v>
                </c:pt>
                <c:pt idx="9611">
                  <c:v>827669</c:v>
                </c:pt>
                <c:pt idx="9612">
                  <c:v>827501</c:v>
                </c:pt>
                <c:pt idx="9613">
                  <c:v>827445</c:v>
                </c:pt>
                <c:pt idx="9614">
                  <c:v>827389</c:v>
                </c:pt>
                <c:pt idx="9615">
                  <c:v>827340</c:v>
                </c:pt>
                <c:pt idx="9616">
                  <c:v>827218</c:v>
                </c:pt>
                <c:pt idx="9617">
                  <c:v>827213</c:v>
                </c:pt>
                <c:pt idx="9618">
                  <c:v>826936</c:v>
                </c:pt>
                <c:pt idx="9619">
                  <c:v>826814</c:v>
                </c:pt>
                <c:pt idx="9620">
                  <c:v>826801</c:v>
                </c:pt>
                <c:pt idx="9621">
                  <c:v>826673</c:v>
                </c:pt>
                <c:pt idx="9622">
                  <c:v>826592</c:v>
                </c:pt>
                <c:pt idx="9623">
                  <c:v>826506</c:v>
                </c:pt>
                <c:pt idx="9624">
                  <c:v>826476</c:v>
                </c:pt>
                <c:pt idx="9625">
                  <c:v>826445</c:v>
                </c:pt>
                <c:pt idx="9626">
                  <c:v>826376</c:v>
                </c:pt>
                <c:pt idx="9627">
                  <c:v>826335</c:v>
                </c:pt>
                <c:pt idx="9628">
                  <c:v>826306</c:v>
                </c:pt>
                <c:pt idx="9629">
                  <c:v>826258</c:v>
                </c:pt>
                <c:pt idx="9630">
                  <c:v>826133</c:v>
                </c:pt>
                <c:pt idx="9631">
                  <c:v>826114</c:v>
                </c:pt>
                <c:pt idx="9632">
                  <c:v>826111</c:v>
                </c:pt>
                <c:pt idx="9633">
                  <c:v>826050</c:v>
                </c:pt>
                <c:pt idx="9634">
                  <c:v>825956</c:v>
                </c:pt>
                <c:pt idx="9635">
                  <c:v>825906</c:v>
                </c:pt>
                <c:pt idx="9636">
                  <c:v>825882</c:v>
                </c:pt>
                <c:pt idx="9637">
                  <c:v>825864</c:v>
                </c:pt>
                <c:pt idx="9638">
                  <c:v>825828</c:v>
                </c:pt>
                <c:pt idx="9639">
                  <c:v>825820</c:v>
                </c:pt>
                <c:pt idx="9640">
                  <c:v>825801</c:v>
                </c:pt>
                <c:pt idx="9641">
                  <c:v>825669</c:v>
                </c:pt>
                <c:pt idx="9642">
                  <c:v>825664</c:v>
                </c:pt>
                <c:pt idx="9643">
                  <c:v>825587</c:v>
                </c:pt>
                <c:pt idx="9644">
                  <c:v>825557</c:v>
                </c:pt>
                <c:pt idx="9645">
                  <c:v>825550</c:v>
                </c:pt>
                <c:pt idx="9646">
                  <c:v>825525</c:v>
                </c:pt>
                <c:pt idx="9647">
                  <c:v>825501</c:v>
                </c:pt>
                <c:pt idx="9648">
                  <c:v>825414</c:v>
                </c:pt>
                <c:pt idx="9649">
                  <c:v>825138</c:v>
                </c:pt>
                <c:pt idx="9650">
                  <c:v>825121</c:v>
                </c:pt>
                <c:pt idx="9651">
                  <c:v>825091</c:v>
                </c:pt>
                <c:pt idx="9652">
                  <c:v>824959</c:v>
                </c:pt>
                <c:pt idx="9653">
                  <c:v>824909</c:v>
                </c:pt>
                <c:pt idx="9654">
                  <c:v>824571</c:v>
                </c:pt>
                <c:pt idx="9655">
                  <c:v>824558</c:v>
                </c:pt>
                <c:pt idx="9656">
                  <c:v>824480</c:v>
                </c:pt>
                <c:pt idx="9657">
                  <c:v>824469</c:v>
                </c:pt>
                <c:pt idx="9658">
                  <c:v>824429</c:v>
                </c:pt>
                <c:pt idx="9659">
                  <c:v>824411</c:v>
                </c:pt>
                <c:pt idx="9660">
                  <c:v>824287</c:v>
                </c:pt>
                <c:pt idx="9661">
                  <c:v>824264</c:v>
                </c:pt>
                <c:pt idx="9662">
                  <c:v>824236</c:v>
                </c:pt>
                <c:pt idx="9663">
                  <c:v>824164</c:v>
                </c:pt>
                <c:pt idx="9664">
                  <c:v>824162</c:v>
                </c:pt>
                <c:pt idx="9665">
                  <c:v>824133</c:v>
                </c:pt>
                <c:pt idx="9666">
                  <c:v>824072</c:v>
                </c:pt>
                <c:pt idx="9667">
                  <c:v>823982</c:v>
                </c:pt>
                <c:pt idx="9668">
                  <c:v>823974</c:v>
                </c:pt>
                <c:pt idx="9669">
                  <c:v>823932</c:v>
                </c:pt>
                <c:pt idx="9670">
                  <c:v>823851</c:v>
                </c:pt>
                <c:pt idx="9671">
                  <c:v>823818</c:v>
                </c:pt>
                <c:pt idx="9672">
                  <c:v>823760</c:v>
                </c:pt>
                <c:pt idx="9673">
                  <c:v>823694</c:v>
                </c:pt>
                <c:pt idx="9674">
                  <c:v>823596</c:v>
                </c:pt>
                <c:pt idx="9675">
                  <c:v>823356</c:v>
                </c:pt>
                <c:pt idx="9676">
                  <c:v>823147</c:v>
                </c:pt>
                <c:pt idx="9677">
                  <c:v>823024</c:v>
                </c:pt>
                <c:pt idx="9678">
                  <c:v>822988</c:v>
                </c:pt>
                <c:pt idx="9679">
                  <c:v>822987</c:v>
                </c:pt>
                <c:pt idx="9680">
                  <c:v>822947</c:v>
                </c:pt>
                <c:pt idx="9681">
                  <c:v>822823</c:v>
                </c:pt>
                <c:pt idx="9682">
                  <c:v>822813</c:v>
                </c:pt>
                <c:pt idx="9683">
                  <c:v>822700</c:v>
                </c:pt>
                <c:pt idx="9684">
                  <c:v>822676</c:v>
                </c:pt>
                <c:pt idx="9685">
                  <c:v>822574</c:v>
                </c:pt>
                <c:pt idx="9686">
                  <c:v>822522</c:v>
                </c:pt>
                <c:pt idx="9687">
                  <c:v>822469</c:v>
                </c:pt>
                <c:pt idx="9688">
                  <c:v>822380</c:v>
                </c:pt>
                <c:pt idx="9689">
                  <c:v>822287</c:v>
                </c:pt>
                <c:pt idx="9690">
                  <c:v>822226</c:v>
                </c:pt>
                <c:pt idx="9691">
                  <c:v>822217</c:v>
                </c:pt>
                <c:pt idx="9692">
                  <c:v>822151</c:v>
                </c:pt>
                <c:pt idx="9693">
                  <c:v>822138</c:v>
                </c:pt>
                <c:pt idx="9694">
                  <c:v>822033</c:v>
                </c:pt>
                <c:pt idx="9695">
                  <c:v>822001</c:v>
                </c:pt>
                <c:pt idx="9696">
                  <c:v>821885</c:v>
                </c:pt>
                <c:pt idx="9697">
                  <c:v>821874</c:v>
                </c:pt>
                <c:pt idx="9698">
                  <c:v>821774</c:v>
                </c:pt>
                <c:pt idx="9699">
                  <c:v>821754</c:v>
                </c:pt>
                <c:pt idx="9700">
                  <c:v>821745</c:v>
                </c:pt>
                <c:pt idx="9701">
                  <c:v>821531</c:v>
                </c:pt>
                <c:pt idx="9702">
                  <c:v>821497</c:v>
                </c:pt>
                <c:pt idx="9703">
                  <c:v>821455</c:v>
                </c:pt>
                <c:pt idx="9704">
                  <c:v>821449</c:v>
                </c:pt>
                <c:pt idx="9705">
                  <c:v>821369</c:v>
                </c:pt>
                <c:pt idx="9706">
                  <c:v>821243</c:v>
                </c:pt>
                <c:pt idx="9707">
                  <c:v>821187</c:v>
                </c:pt>
                <c:pt idx="9708">
                  <c:v>821095</c:v>
                </c:pt>
                <c:pt idx="9709">
                  <c:v>821071</c:v>
                </c:pt>
                <c:pt idx="9710">
                  <c:v>820996</c:v>
                </c:pt>
                <c:pt idx="9711">
                  <c:v>820712</c:v>
                </c:pt>
                <c:pt idx="9712">
                  <c:v>820613</c:v>
                </c:pt>
                <c:pt idx="9713">
                  <c:v>820419</c:v>
                </c:pt>
                <c:pt idx="9714">
                  <c:v>820363</c:v>
                </c:pt>
                <c:pt idx="9715">
                  <c:v>820350</c:v>
                </c:pt>
                <c:pt idx="9716">
                  <c:v>820336</c:v>
                </c:pt>
                <c:pt idx="9717">
                  <c:v>820222</c:v>
                </c:pt>
                <c:pt idx="9718">
                  <c:v>820214</c:v>
                </c:pt>
                <c:pt idx="9719">
                  <c:v>820182</c:v>
                </c:pt>
                <c:pt idx="9720">
                  <c:v>820074</c:v>
                </c:pt>
                <c:pt idx="9721">
                  <c:v>819813</c:v>
                </c:pt>
                <c:pt idx="9722">
                  <c:v>819788</c:v>
                </c:pt>
                <c:pt idx="9723">
                  <c:v>819706</c:v>
                </c:pt>
                <c:pt idx="9724">
                  <c:v>819690</c:v>
                </c:pt>
                <c:pt idx="9725">
                  <c:v>819605</c:v>
                </c:pt>
                <c:pt idx="9726">
                  <c:v>819572</c:v>
                </c:pt>
                <c:pt idx="9727">
                  <c:v>819516</c:v>
                </c:pt>
                <c:pt idx="9728">
                  <c:v>819485</c:v>
                </c:pt>
                <c:pt idx="9729">
                  <c:v>819467</c:v>
                </c:pt>
                <c:pt idx="9730">
                  <c:v>819405</c:v>
                </c:pt>
                <c:pt idx="9731">
                  <c:v>819391</c:v>
                </c:pt>
                <c:pt idx="9732">
                  <c:v>819378</c:v>
                </c:pt>
                <c:pt idx="9733">
                  <c:v>819343</c:v>
                </c:pt>
                <c:pt idx="9734">
                  <c:v>819337</c:v>
                </c:pt>
                <c:pt idx="9735">
                  <c:v>819299</c:v>
                </c:pt>
                <c:pt idx="9736">
                  <c:v>819225</c:v>
                </c:pt>
                <c:pt idx="9737">
                  <c:v>819199</c:v>
                </c:pt>
                <c:pt idx="9738">
                  <c:v>819067</c:v>
                </c:pt>
                <c:pt idx="9739">
                  <c:v>818984</c:v>
                </c:pt>
                <c:pt idx="9740">
                  <c:v>818975</c:v>
                </c:pt>
                <c:pt idx="9741">
                  <c:v>818964</c:v>
                </c:pt>
                <c:pt idx="9742">
                  <c:v>818940</c:v>
                </c:pt>
                <c:pt idx="9743">
                  <c:v>818935</c:v>
                </c:pt>
                <c:pt idx="9744">
                  <c:v>818749</c:v>
                </c:pt>
                <c:pt idx="9745">
                  <c:v>818602</c:v>
                </c:pt>
                <c:pt idx="9746">
                  <c:v>818490</c:v>
                </c:pt>
                <c:pt idx="9747">
                  <c:v>818323</c:v>
                </c:pt>
                <c:pt idx="9748">
                  <c:v>818312</c:v>
                </c:pt>
                <c:pt idx="9749">
                  <c:v>818301</c:v>
                </c:pt>
                <c:pt idx="9750">
                  <c:v>818264</c:v>
                </c:pt>
                <c:pt idx="9751">
                  <c:v>818178</c:v>
                </c:pt>
                <c:pt idx="9752">
                  <c:v>818028</c:v>
                </c:pt>
                <c:pt idx="9753">
                  <c:v>818015</c:v>
                </c:pt>
                <c:pt idx="9754">
                  <c:v>817935</c:v>
                </c:pt>
                <c:pt idx="9755">
                  <c:v>817912</c:v>
                </c:pt>
                <c:pt idx="9756">
                  <c:v>817822</c:v>
                </c:pt>
                <c:pt idx="9757">
                  <c:v>817817</c:v>
                </c:pt>
                <c:pt idx="9758">
                  <c:v>817813</c:v>
                </c:pt>
                <c:pt idx="9759">
                  <c:v>817610</c:v>
                </c:pt>
                <c:pt idx="9760">
                  <c:v>817602</c:v>
                </c:pt>
                <c:pt idx="9761">
                  <c:v>817353</c:v>
                </c:pt>
                <c:pt idx="9762">
                  <c:v>817237</c:v>
                </c:pt>
                <c:pt idx="9763">
                  <c:v>817212</c:v>
                </c:pt>
                <c:pt idx="9764">
                  <c:v>817086</c:v>
                </c:pt>
                <c:pt idx="9765">
                  <c:v>817008</c:v>
                </c:pt>
                <c:pt idx="9766">
                  <c:v>816945</c:v>
                </c:pt>
                <c:pt idx="9767">
                  <c:v>816939</c:v>
                </c:pt>
                <c:pt idx="9768">
                  <c:v>816886</c:v>
                </c:pt>
                <c:pt idx="9769">
                  <c:v>816833</c:v>
                </c:pt>
                <c:pt idx="9770">
                  <c:v>816820</c:v>
                </c:pt>
                <c:pt idx="9771">
                  <c:v>816781</c:v>
                </c:pt>
                <c:pt idx="9772">
                  <c:v>816780</c:v>
                </c:pt>
                <c:pt idx="9773">
                  <c:v>816750</c:v>
                </c:pt>
                <c:pt idx="9774">
                  <c:v>816647</c:v>
                </c:pt>
                <c:pt idx="9775">
                  <c:v>816567</c:v>
                </c:pt>
                <c:pt idx="9776">
                  <c:v>816552</c:v>
                </c:pt>
                <c:pt idx="9777">
                  <c:v>816534</c:v>
                </c:pt>
                <c:pt idx="9778">
                  <c:v>816533</c:v>
                </c:pt>
                <c:pt idx="9779">
                  <c:v>816532</c:v>
                </c:pt>
                <c:pt idx="9780">
                  <c:v>816453</c:v>
                </c:pt>
                <c:pt idx="9781">
                  <c:v>816451</c:v>
                </c:pt>
                <c:pt idx="9782">
                  <c:v>816447</c:v>
                </c:pt>
                <c:pt idx="9783">
                  <c:v>816439</c:v>
                </c:pt>
                <c:pt idx="9784">
                  <c:v>816428</c:v>
                </c:pt>
                <c:pt idx="9785">
                  <c:v>816414</c:v>
                </c:pt>
                <c:pt idx="9786">
                  <c:v>816287</c:v>
                </c:pt>
                <c:pt idx="9787">
                  <c:v>816206</c:v>
                </c:pt>
                <c:pt idx="9788">
                  <c:v>816107</c:v>
                </c:pt>
                <c:pt idx="9789">
                  <c:v>816017</c:v>
                </c:pt>
                <c:pt idx="9790">
                  <c:v>815964</c:v>
                </c:pt>
                <c:pt idx="9791">
                  <c:v>815843</c:v>
                </c:pt>
                <c:pt idx="9792">
                  <c:v>815803</c:v>
                </c:pt>
                <c:pt idx="9793">
                  <c:v>815701</c:v>
                </c:pt>
                <c:pt idx="9794">
                  <c:v>815398</c:v>
                </c:pt>
                <c:pt idx="9795">
                  <c:v>815383</c:v>
                </c:pt>
                <c:pt idx="9796">
                  <c:v>815324</c:v>
                </c:pt>
                <c:pt idx="9797">
                  <c:v>815307</c:v>
                </c:pt>
                <c:pt idx="9798">
                  <c:v>815281</c:v>
                </c:pt>
                <c:pt idx="9799">
                  <c:v>815256</c:v>
                </c:pt>
                <c:pt idx="9800">
                  <c:v>815123</c:v>
                </c:pt>
                <c:pt idx="9801">
                  <c:v>815053</c:v>
                </c:pt>
                <c:pt idx="9802">
                  <c:v>815036</c:v>
                </c:pt>
                <c:pt idx="9803">
                  <c:v>814930</c:v>
                </c:pt>
                <c:pt idx="9804">
                  <c:v>814716</c:v>
                </c:pt>
                <c:pt idx="9805">
                  <c:v>814470</c:v>
                </c:pt>
                <c:pt idx="9806">
                  <c:v>814462</c:v>
                </c:pt>
                <c:pt idx="9807">
                  <c:v>814459</c:v>
                </c:pt>
                <c:pt idx="9808">
                  <c:v>814287</c:v>
                </c:pt>
                <c:pt idx="9809">
                  <c:v>814279</c:v>
                </c:pt>
                <c:pt idx="9810">
                  <c:v>814214</c:v>
                </c:pt>
                <c:pt idx="9811">
                  <c:v>814085</c:v>
                </c:pt>
                <c:pt idx="9812">
                  <c:v>814067</c:v>
                </c:pt>
                <c:pt idx="9813">
                  <c:v>813957</c:v>
                </c:pt>
                <c:pt idx="9814">
                  <c:v>813846</c:v>
                </c:pt>
                <c:pt idx="9815">
                  <c:v>813658</c:v>
                </c:pt>
                <c:pt idx="9816">
                  <c:v>813598</c:v>
                </c:pt>
                <c:pt idx="9817">
                  <c:v>813521</c:v>
                </c:pt>
                <c:pt idx="9818">
                  <c:v>813519</c:v>
                </c:pt>
                <c:pt idx="9819">
                  <c:v>813399</c:v>
                </c:pt>
                <c:pt idx="9820">
                  <c:v>813396</c:v>
                </c:pt>
                <c:pt idx="9821">
                  <c:v>813364</c:v>
                </c:pt>
                <c:pt idx="9822">
                  <c:v>813328</c:v>
                </c:pt>
                <c:pt idx="9823">
                  <c:v>813279</c:v>
                </c:pt>
                <c:pt idx="9824">
                  <c:v>813180</c:v>
                </c:pt>
                <c:pt idx="9825">
                  <c:v>813093</c:v>
                </c:pt>
                <c:pt idx="9826">
                  <c:v>812959</c:v>
                </c:pt>
                <c:pt idx="9827">
                  <c:v>812830</c:v>
                </c:pt>
                <c:pt idx="9828">
                  <c:v>812695</c:v>
                </c:pt>
                <c:pt idx="9829">
                  <c:v>812645</c:v>
                </c:pt>
                <c:pt idx="9830">
                  <c:v>812547</c:v>
                </c:pt>
                <c:pt idx="9831">
                  <c:v>812453</c:v>
                </c:pt>
                <c:pt idx="9832">
                  <c:v>812413</c:v>
                </c:pt>
                <c:pt idx="9833">
                  <c:v>812388</c:v>
                </c:pt>
                <c:pt idx="9834">
                  <c:v>812303</c:v>
                </c:pt>
                <c:pt idx="9835">
                  <c:v>812186</c:v>
                </c:pt>
                <c:pt idx="9836">
                  <c:v>812098</c:v>
                </c:pt>
                <c:pt idx="9837">
                  <c:v>812098</c:v>
                </c:pt>
                <c:pt idx="9838">
                  <c:v>811790</c:v>
                </c:pt>
                <c:pt idx="9839">
                  <c:v>811710</c:v>
                </c:pt>
                <c:pt idx="9840">
                  <c:v>811693</c:v>
                </c:pt>
                <c:pt idx="9841">
                  <c:v>811677</c:v>
                </c:pt>
                <c:pt idx="9842">
                  <c:v>811639</c:v>
                </c:pt>
                <c:pt idx="9843">
                  <c:v>811586</c:v>
                </c:pt>
                <c:pt idx="9844">
                  <c:v>811584</c:v>
                </c:pt>
                <c:pt idx="9845">
                  <c:v>811543</c:v>
                </c:pt>
                <c:pt idx="9846">
                  <c:v>811508</c:v>
                </c:pt>
                <c:pt idx="9847">
                  <c:v>811376</c:v>
                </c:pt>
                <c:pt idx="9848">
                  <c:v>811362</c:v>
                </c:pt>
                <c:pt idx="9849">
                  <c:v>811359</c:v>
                </c:pt>
                <c:pt idx="9850">
                  <c:v>811310</c:v>
                </c:pt>
                <c:pt idx="9851">
                  <c:v>811304</c:v>
                </c:pt>
                <c:pt idx="9852">
                  <c:v>811295</c:v>
                </c:pt>
                <c:pt idx="9853">
                  <c:v>811235</c:v>
                </c:pt>
                <c:pt idx="9854">
                  <c:v>811180</c:v>
                </c:pt>
                <c:pt idx="9855">
                  <c:v>811011</c:v>
                </c:pt>
                <c:pt idx="9856">
                  <c:v>811002</c:v>
                </c:pt>
                <c:pt idx="9857">
                  <c:v>810916</c:v>
                </c:pt>
                <c:pt idx="9858">
                  <c:v>810870</c:v>
                </c:pt>
                <c:pt idx="9859">
                  <c:v>810856</c:v>
                </c:pt>
                <c:pt idx="9860">
                  <c:v>810749</c:v>
                </c:pt>
                <c:pt idx="9861">
                  <c:v>810713</c:v>
                </c:pt>
                <c:pt idx="9862">
                  <c:v>810704</c:v>
                </c:pt>
                <c:pt idx="9863">
                  <c:v>810599</c:v>
                </c:pt>
                <c:pt idx="9864">
                  <c:v>810583</c:v>
                </c:pt>
                <c:pt idx="9865">
                  <c:v>810582</c:v>
                </c:pt>
                <c:pt idx="9866">
                  <c:v>810561</c:v>
                </c:pt>
                <c:pt idx="9867">
                  <c:v>810549</c:v>
                </c:pt>
                <c:pt idx="9868">
                  <c:v>810493</c:v>
                </c:pt>
                <c:pt idx="9869">
                  <c:v>810488</c:v>
                </c:pt>
                <c:pt idx="9870">
                  <c:v>810360</c:v>
                </c:pt>
                <c:pt idx="9871">
                  <c:v>810168</c:v>
                </c:pt>
                <c:pt idx="9872">
                  <c:v>810089</c:v>
                </c:pt>
                <c:pt idx="9873">
                  <c:v>809834</c:v>
                </c:pt>
                <c:pt idx="9874">
                  <c:v>809747</c:v>
                </c:pt>
                <c:pt idx="9875">
                  <c:v>809718</c:v>
                </c:pt>
                <c:pt idx="9876">
                  <c:v>809595</c:v>
                </c:pt>
                <c:pt idx="9877">
                  <c:v>809520</c:v>
                </c:pt>
                <c:pt idx="9878">
                  <c:v>809459</c:v>
                </c:pt>
                <c:pt idx="9879">
                  <c:v>809393</c:v>
                </c:pt>
                <c:pt idx="9880">
                  <c:v>809340</c:v>
                </c:pt>
                <c:pt idx="9881">
                  <c:v>809337</c:v>
                </c:pt>
                <c:pt idx="9882">
                  <c:v>809262</c:v>
                </c:pt>
                <c:pt idx="9883">
                  <c:v>809250</c:v>
                </c:pt>
                <c:pt idx="9884">
                  <c:v>809204</c:v>
                </c:pt>
                <c:pt idx="9885">
                  <c:v>809167</c:v>
                </c:pt>
                <c:pt idx="9886">
                  <c:v>809158</c:v>
                </c:pt>
                <c:pt idx="9887">
                  <c:v>809139</c:v>
                </c:pt>
                <c:pt idx="9888">
                  <c:v>808990</c:v>
                </c:pt>
                <c:pt idx="9889">
                  <c:v>808878</c:v>
                </c:pt>
                <c:pt idx="9890">
                  <c:v>808826</c:v>
                </c:pt>
                <c:pt idx="9891">
                  <c:v>808710</c:v>
                </c:pt>
                <c:pt idx="9892">
                  <c:v>808688</c:v>
                </c:pt>
                <c:pt idx="9893">
                  <c:v>808629</c:v>
                </c:pt>
                <c:pt idx="9894">
                  <c:v>808561</c:v>
                </c:pt>
                <c:pt idx="9895">
                  <c:v>808558</c:v>
                </c:pt>
                <c:pt idx="9896">
                  <c:v>808433</c:v>
                </c:pt>
                <c:pt idx="9897">
                  <c:v>808408</c:v>
                </c:pt>
                <c:pt idx="9898">
                  <c:v>808382</c:v>
                </c:pt>
                <c:pt idx="9899">
                  <c:v>808369</c:v>
                </c:pt>
                <c:pt idx="9900">
                  <c:v>808336</c:v>
                </c:pt>
                <c:pt idx="9901">
                  <c:v>808121</c:v>
                </c:pt>
                <c:pt idx="9902">
                  <c:v>808101</c:v>
                </c:pt>
                <c:pt idx="9903">
                  <c:v>807947</c:v>
                </c:pt>
                <c:pt idx="9904">
                  <c:v>807935</c:v>
                </c:pt>
                <c:pt idx="9905">
                  <c:v>807836</c:v>
                </c:pt>
                <c:pt idx="9906">
                  <c:v>807819</c:v>
                </c:pt>
                <c:pt idx="9907">
                  <c:v>807760</c:v>
                </c:pt>
                <c:pt idx="9908">
                  <c:v>807647</c:v>
                </c:pt>
                <c:pt idx="9909">
                  <c:v>807557</c:v>
                </c:pt>
                <c:pt idx="9910">
                  <c:v>807368</c:v>
                </c:pt>
                <c:pt idx="9911">
                  <c:v>807361</c:v>
                </c:pt>
                <c:pt idx="9912">
                  <c:v>807341</c:v>
                </c:pt>
                <c:pt idx="9913">
                  <c:v>807240</c:v>
                </c:pt>
                <c:pt idx="9914">
                  <c:v>807200</c:v>
                </c:pt>
                <c:pt idx="9915">
                  <c:v>807017</c:v>
                </c:pt>
                <c:pt idx="9916">
                  <c:v>807017</c:v>
                </c:pt>
                <c:pt idx="9917">
                  <c:v>806926</c:v>
                </c:pt>
                <c:pt idx="9918">
                  <c:v>806791</c:v>
                </c:pt>
                <c:pt idx="9919">
                  <c:v>806754</c:v>
                </c:pt>
                <c:pt idx="9920">
                  <c:v>806587</c:v>
                </c:pt>
                <c:pt idx="9921">
                  <c:v>806464</c:v>
                </c:pt>
                <c:pt idx="9922">
                  <c:v>806349</c:v>
                </c:pt>
                <c:pt idx="9923">
                  <c:v>806323</c:v>
                </c:pt>
                <c:pt idx="9924">
                  <c:v>806253</c:v>
                </c:pt>
                <c:pt idx="9925">
                  <c:v>806210</c:v>
                </c:pt>
                <c:pt idx="9926">
                  <c:v>806178</c:v>
                </c:pt>
                <c:pt idx="9927">
                  <c:v>806072</c:v>
                </c:pt>
                <c:pt idx="9928">
                  <c:v>805895</c:v>
                </c:pt>
                <c:pt idx="9929">
                  <c:v>805891</c:v>
                </c:pt>
                <c:pt idx="9930">
                  <c:v>805843</c:v>
                </c:pt>
                <c:pt idx="9931">
                  <c:v>805464</c:v>
                </c:pt>
                <c:pt idx="9932">
                  <c:v>805336</c:v>
                </c:pt>
                <c:pt idx="9933">
                  <c:v>805251</c:v>
                </c:pt>
                <c:pt idx="9934">
                  <c:v>805159</c:v>
                </c:pt>
                <c:pt idx="9935">
                  <c:v>805055</c:v>
                </c:pt>
                <c:pt idx="9936">
                  <c:v>804967</c:v>
                </c:pt>
                <c:pt idx="9937">
                  <c:v>804739</c:v>
                </c:pt>
                <c:pt idx="9938">
                  <c:v>804635</c:v>
                </c:pt>
                <c:pt idx="9939">
                  <c:v>804588</c:v>
                </c:pt>
                <c:pt idx="9940">
                  <c:v>804548</c:v>
                </c:pt>
                <c:pt idx="9941">
                  <c:v>804527</c:v>
                </c:pt>
                <c:pt idx="9942">
                  <c:v>804314</c:v>
                </c:pt>
                <c:pt idx="9943">
                  <c:v>804309</c:v>
                </c:pt>
                <c:pt idx="9944">
                  <c:v>804266</c:v>
                </c:pt>
                <c:pt idx="9945">
                  <c:v>804264</c:v>
                </c:pt>
                <c:pt idx="9946">
                  <c:v>804213</c:v>
                </c:pt>
                <c:pt idx="9947">
                  <c:v>804096</c:v>
                </c:pt>
                <c:pt idx="9948">
                  <c:v>804041</c:v>
                </c:pt>
                <c:pt idx="9949">
                  <c:v>804009</c:v>
                </c:pt>
                <c:pt idx="9950">
                  <c:v>803865</c:v>
                </c:pt>
                <c:pt idx="9951">
                  <c:v>803848</c:v>
                </c:pt>
                <c:pt idx="9952">
                  <c:v>803619</c:v>
                </c:pt>
                <c:pt idx="9953">
                  <c:v>803612</c:v>
                </c:pt>
                <c:pt idx="9954">
                  <c:v>803527</c:v>
                </c:pt>
                <c:pt idx="9955">
                  <c:v>803522</c:v>
                </c:pt>
                <c:pt idx="9956">
                  <c:v>803413</c:v>
                </c:pt>
                <c:pt idx="9957">
                  <c:v>803298</c:v>
                </c:pt>
                <c:pt idx="9958">
                  <c:v>803290</c:v>
                </c:pt>
                <c:pt idx="9959">
                  <c:v>803197</c:v>
                </c:pt>
                <c:pt idx="9960">
                  <c:v>803188</c:v>
                </c:pt>
                <c:pt idx="9961">
                  <c:v>803117</c:v>
                </c:pt>
                <c:pt idx="9962">
                  <c:v>803073</c:v>
                </c:pt>
                <c:pt idx="9963">
                  <c:v>802983</c:v>
                </c:pt>
                <c:pt idx="9964">
                  <c:v>802925</c:v>
                </c:pt>
                <c:pt idx="9965">
                  <c:v>802905</c:v>
                </c:pt>
                <c:pt idx="9966">
                  <c:v>802864</c:v>
                </c:pt>
                <c:pt idx="9967">
                  <c:v>802863</c:v>
                </c:pt>
                <c:pt idx="9968">
                  <c:v>802778</c:v>
                </c:pt>
                <c:pt idx="9969">
                  <c:v>802735</c:v>
                </c:pt>
                <c:pt idx="9970">
                  <c:v>802556</c:v>
                </c:pt>
                <c:pt idx="9971">
                  <c:v>802524</c:v>
                </c:pt>
                <c:pt idx="9972">
                  <c:v>802453</c:v>
                </c:pt>
                <c:pt idx="9973">
                  <c:v>802389</c:v>
                </c:pt>
                <c:pt idx="9974">
                  <c:v>802322</c:v>
                </c:pt>
                <c:pt idx="9975">
                  <c:v>801926</c:v>
                </c:pt>
                <c:pt idx="9976">
                  <c:v>801851</c:v>
                </c:pt>
                <c:pt idx="9977">
                  <c:v>801726</c:v>
                </c:pt>
                <c:pt idx="9978">
                  <c:v>801716</c:v>
                </c:pt>
                <c:pt idx="9979">
                  <c:v>801648</c:v>
                </c:pt>
                <c:pt idx="9980">
                  <c:v>801647</c:v>
                </c:pt>
                <c:pt idx="9981">
                  <c:v>801532</c:v>
                </c:pt>
                <c:pt idx="9982">
                  <c:v>801462</c:v>
                </c:pt>
                <c:pt idx="9983">
                  <c:v>801284</c:v>
                </c:pt>
                <c:pt idx="9984">
                  <c:v>801275</c:v>
                </c:pt>
                <c:pt idx="9985">
                  <c:v>801261</c:v>
                </c:pt>
                <c:pt idx="9986">
                  <c:v>801206</c:v>
                </c:pt>
                <c:pt idx="9987">
                  <c:v>801132</c:v>
                </c:pt>
                <c:pt idx="9988">
                  <c:v>801030</c:v>
                </c:pt>
                <c:pt idx="9989">
                  <c:v>801004</c:v>
                </c:pt>
                <c:pt idx="9990">
                  <c:v>800956</c:v>
                </c:pt>
                <c:pt idx="9991">
                  <c:v>800953</c:v>
                </c:pt>
                <c:pt idx="9992">
                  <c:v>800939</c:v>
                </c:pt>
                <c:pt idx="9993">
                  <c:v>800905</c:v>
                </c:pt>
                <c:pt idx="9994">
                  <c:v>800892</c:v>
                </c:pt>
                <c:pt idx="9995">
                  <c:v>800889</c:v>
                </c:pt>
                <c:pt idx="9996">
                  <c:v>800796</c:v>
                </c:pt>
                <c:pt idx="9997">
                  <c:v>800775</c:v>
                </c:pt>
                <c:pt idx="9998">
                  <c:v>800761</c:v>
                </c:pt>
                <c:pt idx="9999">
                  <c:v>800742</c:v>
                </c:pt>
                <c:pt idx="10000">
                  <c:v>800720</c:v>
                </c:pt>
                <c:pt idx="10001">
                  <c:v>800684</c:v>
                </c:pt>
                <c:pt idx="10002">
                  <c:v>800602</c:v>
                </c:pt>
                <c:pt idx="10003">
                  <c:v>800468</c:v>
                </c:pt>
                <c:pt idx="10004">
                  <c:v>800467</c:v>
                </c:pt>
                <c:pt idx="10005">
                  <c:v>800357</c:v>
                </c:pt>
                <c:pt idx="10006">
                  <c:v>800357</c:v>
                </c:pt>
                <c:pt idx="10007">
                  <c:v>800172</c:v>
                </c:pt>
                <c:pt idx="10008">
                  <c:v>800160</c:v>
                </c:pt>
                <c:pt idx="10009">
                  <c:v>800156</c:v>
                </c:pt>
                <c:pt idx="10010">
                  <c:v>800098</c:v>
                </c:pt>
                <c:pt idx="10011">
                  <c:v>800045</c:v>
                </c:pt>
                <c:pt idx="10012">
                  <c:v>799999</c:v>
                </c:pt>
                <c:pt idx="10013">
                  <c:v>799960</c:v>
                </c:pt>
                <c:pt idx="10014">
                  <c:v>799865</c:v>
                </c:pt>
                <c:pt idx="10015">
                  <c:v>799857</c:v>
                </c:pt>
                <c:pt idx="10016">
                  <c:v>799856</c:v>
                </c:pt>
                <c:pt idx="10017">
                  <c:v>799839</c:v>
                </c:pt>
                <c:pt idx="10018">
                  <c:v>799739</c:v>
                </c:pt>
                <c:pt idx="10019">
                  <c:v>799496</c:v>
                </c:pt>
                <c:pt idx="10020">
                  <c:v>799472</c:v>
                </c:pt>
                <c:pt idx="10021">
                  <c:v>799421</c:v>
                </c:pt>
                <c:pt idx="10022">
                  <c:v>799168</c:v>
                </c:pt>
                <c:pt idx="10023">
                  <c:v>799125</c:v>
                </c:pt>
                <c:pt idx="10024">
                  <c:v>799095</c:v>
                </c:pt>
                <c:pt idx="10025">
                  <c:v>798933</c:v>
                </c:pt>
                <c:pt idx="10026">
                  <c:v>798502</c:v>
                </c:pt>
                <c:pt idx="10027">
                  <c:v>798428</c:v>
                </c:pt>
                <c:pt idx="10028">
                  <c:v>798426</c:v>
                </c:pt>
                <c:pt idx="10029">
                  <c:v>798298</c:v>
                </c:pt>
                <c:pt idx="10030">
                  <c:v>798220</c:v>
                </c:pt>
                <c:pt idx="10031">
                  <c:v>798150</c:v>
                </c:pt>
                <c:pt idx="10032">
                  <c:v>798125</c:v>
                </c:pt>
                <c:pt idx="10033">
                  <c:v>798052</c:v>
                </c:pt>
                <c:pt idx="10034">
                  <c:v>798002</c:v>
                </c:pt>
                <c:pt idx="10035">
                  <c:v>797879</c:v>
                </c:pt>
                <c:pt idx="10036">
                  <c:v>797857</c:v>
                </c:pt>
                <c:pt idx="10037">
                  <c:v>797851</c:v>
                </c:pt>
                <c:pt idx="10038">
                  <c:v>797817</c:v>
                </c:pt>
                <c:pt idx="10039">
                  <c:v>797673</c:v>
                </c:pt>
                <c:pt idx="10040">
                  <c:v>797446</c:v>
                </c:pt>
                <c:pt idx="10041">
                  <c:v>797444</c:v>
                </c:pt>
                <c:pt idx="10042">
                  <c:v>797435</c:v>
                </c:pt>
                <c:pt idx="10043">
                  <c:v>797266</c:v>
                </c:pt>
                <c:pt idx="10044">
                  <c:v>797245</c:v>
                </c:pt>
                <c:pt idx="10045">
                  <c:v>797133</c:v>
                </c:pt>
                <c:pt idx="10046">
                  <c:v>797102</c:v>
                </c:pt>
                <c:pt idx="10047">
                  <c:v>797058</c:v>
                </c:pt>
                <c:pt idx="10048">
                  <c:v>797058</c:v>
                </c:pt>
                <c:pt idx="10049">
                  <c:v>797054</c:v>
                </c:pt>
                <c:pt idx="10050">
                  <c:v>796957</c:v>
                </c:pt>
                <c:pt idx="10051">
                  <c:v>796908</c:v>
                </c:pt>
                <c:pt idx="10052">
                  <c:v>796907</c:v>
                </c:pt>
                <c:pt idx="10053">
                  <c:v>796902</c:v>
                </c:pt>
                <c:pt idx="10054">
                  <c:v>796635</c:v>
                </c:pt>
                <c:pt idx="10055">
                  <c:v>796466</c:v>
                </c:pt>
                <c:pt idx="10056">
                  <c:v>796383</c:v>
                </c:pt>
                <c:pt idx="10057">
                  <c:v>796355</c:v>
                </c:pt>
                <c:pt idx="10058">
                  <c:v>796302</c:v>
                </c:pt>
                <c:pt idx="10059">
                  <c:v>796130</c:v>
                </c:pt>
                <c:pt idx="10060">
                  <c:v>795999</c:v>
                </c:pt>
                <c:pt idx="10061">
                  <c:v>795891</c:v>
                </c:pt>
                <c:pt idx="10062">
                  <c:v>795766</c:v>
                </c:pt>
                <c:pt idx="10063">
                  <c:v>795710</c:v>
                </c:pt>
                <c:pt idx="10064">
                  <c:v>795388</c:v>
                </c:pt>
                <c:pt idx="10065">
                  <c:v>795316</c:v>
                </c:pt>
                <c:pt idx="10066">
                  <c:v>795304</c:v>
                </c:pt>
                <c:pt idx="10067">
                  <c:v>795190</c:v>
                </c:pt>
                <c:pt idx="10068">
                  <c:v>795115</c:v>
                </c:pt>
                <c:pt idx="10069">
                  <c:v>795073</c:v>
                </c:pt>
                <c:pt idx="10070">
                  <c:v>794933</c:v>
                </c:pt>
                <c:pt idx="10071">
                  <c:v>794899</c:v>
                </c:pt>
                <c:pt idx="10072">
                  <c:v>794839</c:v>
                </c:pt>
                <c:pt idx="10073">
                  <c:v>794738</c:v>
                </c:pt>
                <c:pt idx="10074">
                  <c:v>794573</c:v>
                </c:pt>
                <c:pt idx="10075">
                  <c:v>794571</c:v>
                </c:pt>
                <c:pt idx="10076">
                  <c:v>794465</c:v>
                </c:pt>
                <c:pt idx="10077">
                  <c:v>794402</c:v>
                </c:pt>
                <c:pt idx="10078">
                  <c:v>794323</c:v>
                </c:pt>
                <c:pt idx="10079">
                  <c:v>794233</c:v>
                </c:pt>
                <c:pt idx="10080">
                  <c:v>794211</c:v>
                </c:pt>
                <c:pt idx="10081">
                  <c:v>794177</c:v>
                </c:pt>
                <c:pt idx="10082">
                  <c:v>794088</c:v>
                </c:pt>
                <c:pt idx="10083">
                  <c:v>794085</c:v>
                </c:pt>
                <c:pt idx="10084">
                  <c:v>793939</c:v>
                </c:pt>
                <c:pt idx="10085">
                  <c:v>793921</c:v>
                </c:pt>
                <c:pt idx="10086">
                  <c:v>793825</c:v>
                </c:pt>
                <c:pt idx="10087">
                  <c:v>793654</c:v>
                </c:pt>
                <c:pt idx="10088">
                  <c:v>793426</c:v>
                </c:pt>
                <c:pt idx="10089">
                  <c:v>793217</c:v>
                </c:pt>
                <c:pt idx="10090">
                  <c:v>793191</c:v>
                </c:pt>
                <c:pt idx="10091">
                  <c:v>793118</c:v>
                </c:pt>
                <c:pt idx="10092">
                  <c:v>793089</c:v>
                </c:pt>
                <c:pt idx="10093">
                  <c:v>793060</c:v>
                </c:pt>
                <c:pt idx="10094">
                  <c:v>792989</c:v>
                </c:pt>
                <c:pt idx="10095">
                  <c:v>792920</c:v>
                </c:pt>
                <c:pt idx="10096">
                  <c:v>792799</c:v>
                </c:pt>
                <c:pt idx="10097">
                  <c:v>792757</c:v>
                </c:pt>
                <c:pt idx="10098">
                  <c:v>792536</c:v>
                </c:pt>
                <c:pt idx="10099">
                  <c:v>792459</c:v>
                </c:pt>
                <c:pt idx="10100">
                  <c:v>792449</c:v>
                </c:pt>
                <c:pt idx="10101">
                  <c:v>792228</c:v>
                </c:pt>
                <c:pt idx="10102">
                  <c:v>792175</c:v>
                </c:pt>
                <c:pt idx="10103">
                  <c:v>792140</c:v>
                </c:pt>
                <c:pt idx="10104">
                  <c:v>791948</c:v>
                </c:pt>
                <c:pt idx="10105">
                  <c:v>791934</c:v>
                </c:pt>
                <c:pt idx="10106">
                  <c:v>791889</c:v>
                </c:pt>
                <c:pt idx="10107">
                  <c:v>791888</c:v>
                </c:pt>
                <c:pt idx="10108">
                  <c:v>791837</c:v>
                </c:pt>
                <c:pt idx="10109">
                  <c:v>791793</c:v>
                </c:pt>
                <c:pt idx="10110">
                  <c:v>791669</c:v>
                </c:pt>
                <c:pt idx="10111">
                  <c:v>791560</c:v>
                </c:pt>
                <c:pt idx="10112">
                  <c:v>791371</c:v>
                </c:pt>
                <c:pt idx="10113">
                  <c:v>791320</c:v>
                </c:pt>
                <c:pt idx="10114">
                  <c:v>791230</c:v>
                </c:pt>
                <c:pt idx="10115">
                  <c:v>791063</c:v>
                </c:pt>
                <c:pt idx="10116">
                  <c:v>790922</c:v>
                </c:pt>
                <c:pt idx="10117">
                  <c:v>790910</c:v>
                </c:pt>
                <c:pt idx="10118">
                  <c:v>790620</c:v>
                </c:pt>
                <c:pt idx="10119">
                  <c:v>790562</c:v>
                </c:pt>
                <c:pt idx="10120">
                  <c:v>790554</c:v>
                </c:pt>
                <c:pt idx="10121">
                  <c:v>790488</c:v>
                </c:pt>
                <c:pt idx="10122">
                  <c:v>790456</c:v>
                </c:pt>
                <c:pt idx="10123">
                  <c:v>790410</c:v>
                </c:pt>
                <c:pt idx="10124">
                  <c:v>790351</c:v>
                </c:pt>
                <c:pt idx="10125">
                  <c:v>790338</c:v>
                </c:pt>
                <c:pt idx="10126">
                  <c:v>790207</c:v>
                </c:pt>
                <c:pt idx="10127">
                  <c:v>790003</c:v>
                </c:pt>
                <c:pt idx="10128">
                  <c:v>789992</c:v>
                </c:pt>
                <c:pt idx="10129">
                  <c:v>789980</c:v>
                </c:pt>
                <c:pt idx="10130">
                  <c:v>789949</c:v>
                </c:pt>
                <c:pt idx="10131">
                  <c:v>789941</c:v>
                </c:pt>
                <c:pt idx="10132">
                  <c:v>789928</c:v>
                </c:pt>
                <c:pt idx="10133">
                  <c:v>789854</c:v>
                </c:pt>
                <c:pt idx="10134">
                  <c:v>789825</c:v>
                </c:pt>
                <c:pt idx="10135">
                  <c:v>789806</c:v>
                </c:pt>
                <c:pt idx="10136">
                  <c:v>789648</c:v>
                </c:pt>
                <c:pt idx="10137">
                  <c:v>789638</c:v>
                </c:pt>
                <c:pt idx="10138">
                  <c:v>789572</c:v>
                </c:pt>
                <c:pt idx="10139">
                  <c:v>789553</c:v>
                </c:pt>
                <c:pt idx="10140">
                  <c:v>789447</c:v>
                </c:pt>
                <c:pt idx="10141">
                  <c:v>789441</c:v>
                </c:pt>
                <c:pt idx="10142">
                  <c:v>789433</c:v>
                </c:pt>
                <c:pt idx="10143">
                  <c:v>789298</c:v>
                </c:pt>
                <c:pt idx="10144">
                  <c:v>789266</c:v>
                </c:pt>
                <c:pt idx="10145">
                  <c:v>789242</c:v>
                </c:pt>
                <c:pt idx="10146">
                  <c:v>789148</c:v>
                </c:pt>
                <c:pt idx="10147">
                  <c:v>789098</c:v>
                </c:pt>
                <c:pt idx="10148">
                  <c:v>788974</c:v>
                </c:pt>
                <c:pt idx="10149">
                  <c:v>788919</c:v>
                </c:pt>
                <c:pt idx="10150">
                  <c:v>788577</c:v>
                </c:pt>
                <c:pt idx="10151">
                  <c:v>788572</c:v>
                </c:pt>
                <c:pt idx="10152">
                  <c:v>788525</c:v>
                </c:pt>
                <c:pt idx="10153">
                  <c:v>788428</c:v>
                </c:pt>
                <c:pt idx="10154">
                  <c:v>788307</c:v>
                </c:pt>
                <c:pt idx="10155">
                  <c:v>788293</c:v>
                </c:pt>
                <c:pt idx="10156">
                  <c:v>788275</c:v>
                </c:pt>
                <c:pt idx="10157">
                  <c:v>788200</c:v>
                </c:pt>
                <c:pt idx="10158">
                  <c:v>788112</c:v>
                </c:pt>
                <c:pt idx="10159">
                  <c:v>788032</c:v>
                </c:pt>
                <c:pt idx="10160">
                  <c:v>787980</c:v>
                </c:pt>
                <c:pt idx="10161">
                  <c:v>787973</c:v>
                </c:pt>
                <c:pt idx="10162">
                  <c:v>787955</c:v>
                </c:pt>
                <c:pt idx="10163">
                  <c:v>787870</c:v>
                </c:pt>
                <c:pt idx="10164">
                  <c:v>787844</c:v>
                </c:pt>
                <c:pt idx="10165">
                  <c:v>787833</c:v>
                </c:pt>
                <c:pt idx="10166">
                  <c:v>787826</c:v>
                </c:pt>
                <c:pt idx="10167">
                  <c:v>787812</c:v>
                </c:pt>
                <c:pt idx="10168">
                  <c:v>787614</c:v>
                </c:pt>
                <c:pt idx="10169">
                  <c:v>787562</c:v>
                </c:pt>
                <c:pt idx="10170">
                  <c:v>787299</c:v>
                </c:pt>
                <c:pt idx="10171">
                  <c:v>787223</c:v>
                </c:pt>
                <c:pt idx="10172">
                  <c:v>787046</c:v>
                </c:pt>
                <c:pt idx="10173">
                  <c:v>786957</c:v>
                </c:pt>
                <c:pt idx="10174">
                  <c:v>786861</c:v>
                </c:pt>
                <c:pt idx="10175">
                  <c:v>786763</c:v>
                </c:pt>
                <c:pt idx="10176">
                  <c:v>786583</c:v>
                </c:pt>
                <c:pt idx="10177">
                  <c:v>786343</c:v>
                </c:pt>
                <c:pt idx="10178">
                  <c:v>786309</c:v>
                </c:pt>
                <c:pt idx="10179">
                  <c:v>786275</c:v>
                </c:pt>
                <c:pt idx="10180">
                  <c:v>786079</c:v>
                </c:pt>
                <c:pt idx="10181">
                  <c:v>786034</c:v>
                </c:pt>
                <c:pt idx="10182">
                  <c:v>785972</c:v>
                </c:pt>
                <c:pt idx="10183">
                  <c:v>785873</c:v>
                </c:pt>
                <c:pt idx="10184">
                  <c:v>785862</c:v>
                </c:pt>
                <c:pt idx="10185">
                  <c:v>785858</c:v>
                </c:pt>
                <c:pt idx="10186">
                  <c:v>785833</c:v>
                </c:pt>
                <c:pt idx="10187">
                  <c:v>785641</c:v>
                </c:pt>
                <c:pt idx="10188">
                  <c:v>785616</c:v>
                </c:pt>
                <c:pt idx="10189">
                  <c:v>785354</c:v>
                </c:pt>
                <c:pt idx="10190">
                  <c:v>785232</c:v>
                </c:pt>
                <c:pt idx="10191">
                  <c:v>785181</c:v>
                </c:pt>
                <c:pt idx="10192">
                  <c:v>784899</c:v>
                </c:pt>
                <c:pt idx="10193">
                  <c:v>784771</c:v>
                </c:pt>
                <c:pt idx="10194">
                  <c:v>784353</c:v>
                </c:pt>
                <c:pt idx="10195">
                  <c:v>784047</c:v>
                </c:pt>
                <c:pt idx="10196">
                  <c:v>783956</c:v>
                </c:pt>
                <c:pt idx="10197">
                  <c:v>783953</c:v>
                </c:pt>
                <c:pt idx="10198">
                  <c:v>783883</c:v>
                </c:pt>
                <c:pt idx="10199">
                  <c:v>783824</c:v>
                </c:pt>
                <c:pt idx="10200">
                  <c:v>783558</c:v>
                </c:pt>
                <c:pt idx="10201">
                  <c:v>783501</c:v>
                </c:pt>
                <c:pt idx="10202">
                  <c:v>783403</c:v>
                </c:pt>
                <c:pt idx="10203">
                  <c:v>783345</c:v>
                </c:pt>
                <c:pt idx="10204">
                  <c:v>783345</c:v>
                </c:pt>
                <c:pt idx="10205">
                  <c:v>783133</c:v>
                </c:pt>
                <c:pt idx="10206">
                  <c:v>783110</c:v>
                </c:pt>
                <c:pt idx="10207">
                  <c:v>783029</c:v>
                </c:pt>
                <c:pt idx="10208">
                  <c:v>782921</c:v>
                </c:pt>
                <c:pt idx="10209">
                  <c:v>782875</c:v>
                </c:pt>
                <c:pt idx="10210">
                  <c:v>782729</c:v>
                </c:pt>
                <c:pt idx="10211">
                  <c:v>782664</c:v>
                </c:pt>
                <c:pt idx="10212">
                  <c:v>782616</c:v>
                </c:pt>
                <c:pt idx="10213">
                  <c:v>782603</c:v>
                </c:pt>
                <c:pt idx="10214">
                  <c:v>782305</c:v>
                </c:pt>
                <c:pt idx="10215">
                  <c:v>782111</c:v>
                </c:pt>
                <c:pt idx="10216">
                  <c:v>781981</c:v>
                </c:pt>
                <c:pt idx="10217">
                  <c:v>781970</c:v>
                </c:pt>
                <c:pt idx="10218">
                  <c:v>781834</c:v>
                </c:pt>
                <c:pt idx="10219">
                  <c:v>781792</c:v>
                </c:pt>
                <c:pt idx="10220">
                  <c:v>781789</c:v>
                </c:pt>
                <c:pt idx="10221">
                  <c:v>781739</c:v>
                </c:pt>
                <c:pt idx="10222">
                  <c:v>781679</c:v>
                </c:pt>
                <c:pt idx="10223">
                  <c:v>781224</c:v>
                </c:pt>
                <c:pt idx="10224">
                  <c:v>781202</c:v>
                </c:pt>
                <c:pt idx="10225">
                  <c:v>781178</c:v>
                </c:pt>
                <c:pt idx="10226">
                  <c:v>781155</c:v>
                </c:pt>
                <c:pt idx="10227">
                  <c:v>781109</c:v>
                </c:pt>
                <c:pt idx="10228">
                  <c:v>781106</c:v>
                </c:pt>
                <c:pt idx="10229">
                  <c:v>781051</c:v>
                </c:pt>
                <c:pt idx="10230">
                  <c:v>780853</c:v>
                </c:pt>
                <c:pt idx="10231">
                  <c:v>780814</c:v>
                </c:pt>
                <c:pt idx="10232">
                  <c:v>780630</c:v>
                </c:pt>
                <c:pt idx="10233">
                  <c:v>780366</c:v>
                </c:pt>
                <c:pt idx="10234">
                  <c:v>780344</c:v>
                </c:pt>
                <c:pt idx="10235">
                  <c:v>780323</c:v>
                </c:pt>
                <c:pt idx="10236">
                  <c:v>780322</c:v>
                </c:pt>
                <c:pt idx="10237">
                  <c:v>780290</c:v>
                </c:pt>
                <c:pt idx="10238">
                  <c:v>780165</c:v>
                </c:pt>
                <c:pt idx="10239">
                  <c:v>780094</c:v>
                </c:pt>
                <c:pt idx="10240">
                  <c:v>780033</c:v>
                </c:pt>
                <c:pt idx="10241">
                  <c:v>779963</c:v>
                </c:pt>
                <c:pt idx="10242">
                  <c:v>779875</c:v>
                </c:pt>
                <c:pt idx="10243">
                  <c:v>779652</c:v>
                </c:pt>
                <c:pt idx="10244">
                  <c:v>779389</c:v>
                </c:pt>
                <c:pt idx="10245">
                  <c:v>779288</c:v>
                </c:pt>
                <c:pt idx="10246">
                  <c:v>779156</c:v>
                </c:pt>
                <c:pt idx="10247">
                  <c:v>779099</c:v>
                </c:pt>
                <c:pt idx="10248">
                  <c:v>779096</c:v>
                </c:pt>
                <c:pt idx="10249">
                  <c:v>779072</c:v>
                </c:pt>
                <c:pt idx="10250">
                  <c:v>779066</c:v>
                </c:pt>
                <c:pt idx="10251">
                  <c:v>778783</c:v>
                </c:pt>
                <c:pt idx="10252">
                  <c:v>778764</c:v>
                </c:pt>
                <c:pt idx="10253">
                  <c:v>778754</c:v>
                </c:pt>
                <c:pt idx="10254">
                  <c:v>778431</c:v>
                </c:pt>
                <c:pt idx="10255">
                  <c:v>778419</c:v>
                </c:pt>
                <c:pt idx="10256">
                  <c:v>778357</c:v>
                </c:pt>
                <c:pt idx="10257">
                  <c:v>778353</c:v>
                </c:pt>
                <c:pt idx="10258">
                  <c:v>778311</c:v>
                </c:pt>
                <c:pt idx="10259">
                  <c:v>778057</c:v>
                </c:pt>
                <c:pt idx="10260">
                  <c:v>777959</c:v>
                </c:pt>
                <c:pt idx="10261">
                  <c:v>777918</c:v>
                </c:pt>
                <c:pt idx="10262">
                  <c:v>777491</c:v>
                </c:pt>
                <c:pt idx="10263">
                  <c:v>777438</c:v>
                </c:pt>
                <c:pt idx="10264">
                  <c:v>777284</c:v>
                </c:pt>
                <c:pt idx="10265">
                  <c:v>777197</c:v>
                </c:pt>
                <c:pt idx="10266">
                  <c:v>777108</c:v>
                </c:pt>
                <c:pt idx="10267">
                  <c:v>776900</c:v>
                </c:pt>
                <c:pt idx="10268">
                  <c:v>776889</c:v>
                </c:pt>
                <c:pt idx="10269">
                  <c:v>776798</c:v>
                </c:pt>
                <c:pt idx="10270">
                  <c:v>776498</c:v>
                </c:pt>
                <c:pt idx="10271">
                  <c:v>776295</c:v>
                </c:pt>
                <c:pt idx="10272">
                  <c:v>776240</c:v>
                </c:pt>
                <c:pt idx="10273">
                  <c:v>776091</c:v>
                </c:pt>
                <c:pt idx="10274">
                  <c:v>776024</c:v>
                </c:pt>
                <c:pt idx="10275">
                  <c:v>776011</c:v>
                </c:pt>
                <c:pt idx="10276">
                  <c:v>775979</c:v>
                </c:pt>
                <c:pt idx="10277">
                  <c:v>775936</c:v>
                </c:pt>
                <c:pt idx="10278">
                  <c:v>775734</c:v>
                </c:pt>
                <c:pt idx="10279">
                  <c:v>775621</c:v>
                </c:pt>
                <c:pt idx="10280">
                  <c:v>775322</c:v>
                </c:pt>
                <c:pt idx="10281">
                  <c:v>775151</c:v>
                </c:pt>
                <c:pt idx="10282">
                  <c:v>775052</c:v>
                </c:pt>
                <c:pt idx="10283">
                  <c:v>774784</c:v>
                </c:pt>
                <c:pt idx="10284">
                  <c:v>774732</c:v>
                </c:pt>
                <c:pt idx="10285">
                  <c:v>774675</c:v>
                </c:pt>
                <c:pt idx="10286">
                  <c:v>774538</c:v>
                </c:pt>
                <c:pt idx="10287">
                  <c:v>774435</c:v>
                </c:pt>
                <c:pt idx="10288">
                  <c:v>774392</c:v>
                </c:pt>
                <c:pt idx="10289">
                  <c:v>774327</c:v>
                </c:pt>
                <c:pt idx="10290">
                  <c:v>774317</c:v>
                </c:pt>
                <c:pt idx="10291">
                  <c:v>774274</c:v>
                </c:pt>
                <c:pt idx="10292">
                  <c:v>774016</c:v>
                </c:pt>
                <c:pt idx="10293">
                  <c:v>773908</c:v>
                </c:pt>
                <c:pt idx="10294">
                  <c:v>773883</c:v>
                </c:pt>
                <c:pt idx="10295">
                  <c:v>773877</c:v>
                </c:pt>
                <c:pt idx="10296">
                  <c:v>773870</c:v>
                </c:pt>
                <c:pt idx="10297">
                  <c:v>773752</c:v>
                </c:pt>
                <c:pt idx="10298">
                  <c:v>773735</c:v>
                </c:pt>
                <c:pt idx="10299">
                  <c:v>773614</c:v>
                </c:pt>
                <c:pt idx="10300">
                  <c:v>773612</c:v>
                </c:pt>
                <c:pt idx="10301">
                  <c:v>773491</c:v>
                </c:pt>
                <c:pt idx="10302">
                  <c:v>773233</c:v>
                </c:pt>
                <c:pt idx="10303">
                  <c:v>773168</c:v>
                </c:pt>
                <c:pt idx="10304">
                  <c:v>773129</c:v>
                </c:pt>
                <c:pt idx="10305">
                  <c:v>773118</c:v>
                </c:pt>
                <c:pt idx="10306">
                  <c:v>773054</c:v>
                </c:pt>
                <c:pt idx="10307">
                  <c:v>773014</c:v>
                </c:pt>
                <c:pt idx="10308">
                  <c:v>772992</c:v>
                </c:pt>
                <c:pt idx="10309">
                  <c:v>772939</c:v>
                </c:pt>
                <c:pt idx="10310">
                  <c:v>772916</c:v>
                </c:pt>
                <c:pt idx="10311">
                  <c:v>772898</c:v>
                </c:pt>
                <c:pt idx="10312">
                  <c:v>772896</c:v>
                </c:pt>
                <c:pt idx="10313">
                  <c:v>772842</c:v>
                </c:pt>
                <c:pt idx="10314">
                  <c:v>772800</c:v>
                </c:pt>
                <c:pt idx="10315">
                  <c:v>772570</c:v>
                </c:pt>
                <c:pt idx="10316">
                  <c:v>772462</c:v>
                </c:pt>
                <c:pt idx="10317">
                  <c:v>772453</c:v>
                </c:pt>
                <c:pt idx="10318">
                  <c:v>772331</c:v>
                </c:pt>
                <c:pt idx="10319">
                  <c:v>772303</c:v>
                </c:pt>
                <c:pt idx="10320">
                  <c:v>772253</c:v>
                </c:pt>
                <c:pt idx="10321">
                  <c:v>772034</c:v>
                </c:pt>
                <c:pt idx="10322">
                  <c:v>771978</c:v>
                </c:pt>
                <c:pt idx="10323">
                  <c:v>771964</c:v>
                </c:pt>
                <c:pt idx="10324">
                  <c:v>771789</c:v>
                </c:pt>
                <c:pt idx="10325">
                  <c:v>771782</c:v>
                </c:pt>
                <c:pt idx="10326">
                  <c:v>771690</c:v>
                </c:pt>
                <c:pt idx="10327">
                  <c:v>771611</c:v>
                </c:pt>
                <c:pt idx="10328">
                  <c:v>771575</c:v>
                </c:pt>
                <c:pt idx="10329">
                  <c:v>771522</c:v>
                </c:pt>
                <c:pt idx="10330">
                  <c:v>771409</c:v>
                </c:pt>
                <c:pt idx="10331">
                  <c:v>771308</c:v>
                </c:pt>
                <c:pt idx="10332">
                  <c:v>771294</c:v>
                </c:pt>
                <c:pt idx="10333">
                  <c:v>771126</c:v>
                </c:pt>
                <c:pt idx="10334">
                  <c:v>771081</c:v>
                </c:pt>
                <c:pt idx="10335">
                  <c:v>770864</c:v>
                </c:pt>
                <c:pt idx="10336">
                  <c:v>770770</c:v>
                </c:pt>
                <c:pt idx="10337">
                  <c:v>770647</c:v>
                </c:pt>
                <c:pt idx="10338">
                  <c:v>770637</c:v>
                </c:pt>
                <c:pt idx="10339">
                  <c:v>770611</c:v>
                </c:pt>
                <c:pt idx="10340">
                  <c:v>770474</c:v>
                </c:pt>
                <c:pt idx="10341">
                  <c:v>770191</c:v>
                </c:pt>
                <c:pt idx="10342">
                  <c:v>770000</c:v>
                </c:pt>
                <c:pt idx="10343">
                  <c:v>769972</c:v>
                </c:pt>
                <c:pt idx="10344">
                  <c:v>769776</c:v>
                </c:pt>
                <c:pt idx="10345">
                  <c:v>769391</c:v>
                </c:pt>
                <c:pt idx="10346">
                  <c:v>769360</c:v>
                </c:pt>
                <c:pt idx="10347">
                  <c:v>769351</c:v>
                </c:pt>
                <c:pt idx="10348">
                  <c:v>769195</c:v>
                </c:pt>
                <c:pt idx="10349">
                  <c:v>769140</c:v>
                </c:pt>
                <c:pt idx="10350">
                  <c:v>769109</c:v>
                </c:pt>
                <c:pt idx="10351">
                  <c:v>769075</c:v>
                </c:pt>
                <c:pt idx="10352">
                  <c:v>768644</c:v>
                </c:pt>
                <c:pt idx="10353">
                  <c:v>768457</c:v>
                </c:pt>
                <c:pt idx="10354">
                  <c:v>768457</c:v>
                </c:pt>
                <c:pt idx="10355">
                  <c:v>768382</c:v>
                </c:pt>
                <c:pt idx="10356">
                  <c:v>768309</c:v>
                </c:pt>
                <c:pt idx="10357">
                  <c:v>768220</c:v>
                </c:pt>
                <c:pt idx="10358">
                  <c:v>768116</c:v>
                </c:pt>
                <c:pt idx="10359">
                  <c:v>768073</c:v>
                </c:pt>
                <c:pt idx="10360">
                  <c:v>768025</c:v>
                </c:pt>
                <c:pt idx="10361">
                  <c:v>767981</c:v>
                </c:pt>
                <c:pt idx="10362">
                  <c:v>767895</c:v>
                </c:pt>
                <c:pt idx="10363">
                  <c:v>767772</c:v>
                </c:pt>
                <c:pt idx="10364">
                  <c:v>767600</c:v>
                </c:pt>
                <c:pt idx="10365">
                  <c:v>767531</c:v>
                </c:pt>
                <c:pt idx="10366">
                  <c:v>767281</c:v>
                </c:pt>
                <c:pt idx="10367">
                  <c:v>767280</c:v>
                </c:pt>
                <c:pt idx="10368">
                  <c:v>767220</c:v>
                </c:pt>
                <c:pt idx="10369">
                  <c:v>767206</c:v>
                </c:pt>
                <c:pt idx="10370">
                  <c:v>766946</c:v>
                </c:pt>
                <c:pt idx="10371">
                  <c:v>766891</c:v>
                </c:pt>
                <c:pt idx="10372">
                  <c:v>766774</c:v>
                </c:pt>
                <c:pt idx="10373">
                  <c:v>766613</c:v>
                </c:pt>
                <c:pt idx="10374">
                  <c:v>766543</c:v>
                </c:pt>
                <c:pt idx="10375">
                  <c:v>766530</c:v>
                </c:pt>
                <c:pt idx="10376">
                  <c:v>766484</c:v>
                </c:pt>
                <c:pt idx="10377">
                  <c:v>766424</c:v>
                </c:pt>
                <c:pt idx="10378">
                  <c:v>766407</c:v>
                </c:pt>
                <c:pt idx="10379">
                  <c:v>766339</c:v>
                </c:pt>
                <c:pt idx="10380">
                  <c:v>766120</c:v>
                </c:pt>
                <c:pt idx="10381">
                  <c:v>765981</c:v>
                </c:pt>
                <c:pt idx="10382">
                  <c:v>765617</c:v>
                </c:pt>
                <c:pt idx="10383">
                  <c:v>765587</c:v>
                </c:pt>
                <c:pt idx="10384">
                  <c:v>765573</c:v>
                </c:pt>
                <c:pt idx="10385">
                  <c:v>765508</c:v>
                </c:pt>
                <c:pt idx="10386">
                  <c:v>765503</c:v>
                </c:pt>
                <c:pt idx="10387">
                  <c:v>765118</c:v>
                </c:pt>
                <c:pt idx="10388">
                  <c:v>764476</c:v>
                </c:pt>
                <c:pt idx="10389">
                  <c:v>764388</c:v>
                </c:pt>
                <c:pt idx="10390">
                  <c:v>764332</c:v>
                </c:pt>
                <c:pt idx="10391">
                  <c:v>764330</c:v>
                </c:pt>
                <c:pt idx="10392">
                  <c:v>764310</c:v>
                </c:pt>
                <c:pt idx="10393">
                  <c:v>764271</c:v>
                </c:pt>
                <c:pt idx="10394">
                  <c:v>764168</c:v>
                </c:pt>
                <c:pt idx="10395">
                  <c:v>764077</c:v>
                </c:pt>
                <c:pt idx="10396">
                  <c:v>764052</c:v>
                </c:pt>
                <c:pt idx="10397">
                  <c:v>763891</c:v>
                </c:pt>
                <c:pt idx="10398">
                  <c:v>763539</c:v>
                </c:pt>
                <c:pt idx="10399">
                  <c:v>763348</c:v>
                </c:pt>
                <c:pt idx="10400">
                  <c:v>763267</c:v>
                </c:pt>
                <c:pt idx="10401">
                  <c:v>763215</c:v>
                </c:pt>
                <c:pt idx="10402">
                  <c:v>763030</c:v>
                </c:pt>
                <c:pt idx="10403">
                  <c:v>762884</c:v>
                </c:pt>
                <c:pt idx="10404">
                  <c:v>762771</c:v>
                </c:pt>
                <c:pt idx="10405">
                  <c:v>762650</c:v>
                </c:pt>
                <c:pt idx="10406">
                  <c:v>762593</c:v>
                </c:pt>
                <c:pt idx="10407">
                  <c:v>762406</c:v>
                </c:pt>
                <c:pt idx="10408">
                  <c:v>762245</c:v>
                </c:pt>
                <c:pt idx="10409">
                  <c:v>762229</c:v>
                </c:pt>
                <c:pt idx="10410">
                  <c:v>762153</c:v>
                </c:pt>
                <c:pt idx="10411">
                  <c:v>761937</c:v>
                </c:pt>
                <c:pt idx="10412">
                  <c:v>761814</c:v>
                </c:pt>
                <c:pt idx="10413">
                  <c:v>761809</c:v>
                </c:pt>
                <c:pt idx="10414">
                  <c:v>761751</c:v>
                </c:pt>
                <c:pt idx="10415">
                  <c:v>761671</c:v>
                </c:pt>
                <c:pt idx="10416">
                  <c:v>761640</c:v>
                </c:pt>
                <c:pt idx="10417">
                  <c:v>761180</c:v>
                </c:pt>
                <c:pt idx="10418">
                  <c:v>761022</c:v>
                </c:pt>
                <c:pt idx="10419">
                  <c:v>760958</c:v>
                </c:pt>
                <c:pt idx="10420">
                  <c:v>760685</c:v>
                </c:pt>
                <c:pt idx="10421">
                  <c:v>760489</c:v>
                </c:pt>
                <c:pt idx="10422">
                  <c:v>760105</c:v>
                </c:pt>
                <c:pt idx="10423">
                  <c:v>759996</c:v>
                </c:pt>
                <c:pt idx="10424">
                  <c:v>759936</c:v>
                </c:pt>
                <c:pt idx="10425">
                  <c:v>759933</c:v>
                </c:pt>
                <c:pt idx="10426">
                  <c:v>759819</c:v>
                </c:pt>
                <c:pt idx="10427">
                  <c:v>759515</c:v>
                </c:pt>
                <c:pt idx="10428">
                  <c:v>759409</c:v>
                </c:pt>
                <c:pt idx="10429">
                  <c:v>759365</c:v>
                </c:pt>
                <c:pt idx="10430">
                  <c:v>759135</c:v>
                </c:pt>
                <c:pt idx="10431">
                  <c:v>759072</c:v>
                </c:pt>
                <c:pt idx="10432">
                  <c:v>758984</c:v>
                </c:pt>
                <c:pt idx="10433">
                  <c:v>758980</c:v>
                </c:pt>
                <c:pt idx="10434">
                  <c:v>758712</c:v>
                </c:pt>
                <c:pt idx="10435">
                  <c:v>757981</c:v>
                </c:pt>
                <c:pt idx="10436">
                  <c:v>757907</c:v>
                </c:pt>
                <c:pt idx="10437">
                  <c:v>757703</c:v>
                </c:pt>
                <c:pt idx="10438">
                  <c:v>757636</c:v>
                </c:pt>
                <c:pt idx="10439">
                  <c:v>757577</c:v>
                </c:pt>
                <c:pt idx="10440">
                  <c:v>757551</c:v>
                </c:pt>
                <c:pt idx="10441">
                  <c:v>757202</c:v>
                </c:pt>
                <c:pt idx="10442">
                  <c:v>756951</c:v>
                </c:pt>
                <c:pt idx="10443">
                  <c:v>756876</c:v>
                </c:pt>
                <c:pt idx="10444">
                  <c:v>756839</c:v>
                </c:pt>
                <c:pt idx="10445">
                  <c:v>756825</c:v>
                </c:pt>
                <c:pt idx="10446">
                  <c:v>756460</c:v>
                </c:pt>
                <c:pt idx="10447">
                  <c:v>756089</c:v>
                </c:pt>
                <c:pt idx="10448">
                  <c:v>755808</c:v>
                </c:pt>
                <c:pt idx="10449">
                  <c:v>755714</c:v>
                </c:pt>
                <c:pt idx="10450">
                  <c:v>755382</c:v>
                </c:pt>
                <c:pt idx="10451">
                  <c:v>755083</c:v>
                </c:pt>
                <c:pt idx="10452">
                  <c:v>755027</c:v>
                </c:pt>
                <c:pt idx="10453">
                  <c:v>754978</c:v>
                </c:pt>
                <c:pt idx="10454">
                  <c:v>754860</c:v>
                </c:pt>
                <c:pt idx="10455">
                  <c:v>754786</c:v>
                </c:pt>
                <c:pt idx="10456">
                  <c:v>754754</c:v>
                </c:pt>
                <c:pt idx="10457">
                  <c:v>754739</c:v>
                </c:pt>
                <c:pt idx="10458">
                  <c:v>754619</c:v>
                </c:pt>
                <c:pt idx="10459">
                  <c:v>754414</c:v>
                </c:pt>
                <c:pt idx="10460">
                  <c:v>754379</c:v>
                </c:pt>
                <c:pt idx="10461">
                  <c:v>754128</c:v>
                </c:pt>
                <c:pt idx="10462">
                  <c:v>753984</c:v>
                </c:pt>
                <c:pt idx="10463">
                  <c:v>753759</c:v>
                </c:pt>
                <c:pt idx="10464">
                  <c:v>753647</c:v>
                </c:pt>
                <c:pt idx="10465">
                  <c:v>753349</c:v>
                </c:pt>
                <c:pt idx="10466">
                  <c:v>753004</c:v>
                </c:pt>
                <c:pt idx="10467">
                  <c:v>752888</c:v>
                </c:pt>
                <c:pt idx="10468">
                  <c:v>752883</c:v>
                </c:pt>
                <c:pt idx="10469">
                  <c:v>752874</c:v>
                </c:pt>
                <c:pt idx="10470">
                  <c:v>752645</c:v>
                </c:pt>
                <c:pt idx="10471">
                  <c:v>752480</c:v>
                </c:pt>
                <c:pt idx="10472">
                  <c:v>752439</c:v>
                </c:pt>
                <c:pt idx="10473">
                  <c:v>751874</c:v>
                </c:pt>
                <c:pt idx="10474">
                  <c:v>751792</c:v>
                </c:pt>
                <c:pt idx="10475">
                  <c:v>751343</c:v>
                </c:pt>
                <c:pt idx="10476">
                  <c:v>751019</c:v>
                </c:pt>
                <c:pt idx="10477">
                  <c:v>750898</c:v>
                </c:pt>
                <c:pt idx="10478">
                  <c:v>750756</c:v>
                </c:pt>
                <c:pt idx="10479">
                  <c:v>750147</c:v>
                </c:pt>
                <c:pt idx="10480">
                  <c:v>749575</c:v>
                </c:pt>
                <c:pt idx="10481">
                  <c:v>749551</c:v>
                </c:pt>
                <c:pt idx="10482">
                  <c:v>749358</c:v>
                </c:pt>
                <c:pt idx="10483">
                  <c:v>749291</c:v>
                </c:pt>
                <c:pt idx="10484">
                  <c:v>749262</c:v>
                </c:pt>
                <c:pt idx="10485">
                  <c:v>749045</c:v>
                </c:pt>
                <c:pt idx="10486">
                  <c:v>748974</c:v>
                </c:pt>
                <c:pt idx="10487">
                  <c:v>748794</c:v>
                </c:pt>
                <c:pt idx="10488">
                  <c:v>748553</c:v>
                </c:pt>
                <c:pt idx="10489">
                  <c:v>748522</c:v>
                </c:pt>
                <c:pt idx="10490">
                  <c:v>748502</c:v>
                </c:pt>
                <c:pt idx="10491">
                  <c:v>748430</c:v>
                </c:pt>
                <c:pt idx="10492">
                  <c:v>748415</c:v>
                </c:pt>
                <c:pt idx="10493">
                  <c:v>747862</c:v>
                </c:pt>
                <c:pt idx="10494">
                  <c:v>747790</c:v>
                </c:pt>
                <c:pt idx="10495">
                  <c:v>747770</c:v>
                </c:pt>
                <c:pt idx="10496">
                  <c:v>747708</c:v>
                </c:pt>
                <c:pt idx="10497">
                  <c:v>747528</c:v>
                </c:pt>
                <c:pt idx="10498">
                  <c:v>747469</c:v>
                </c:pt>
                <c:pt idx="10499">
                  <c:v>747416</c:v>
                </c:pt>
                <c:pt idx="10500">
                  <c:v>747239</c:v>
                </c:pt>
                <c:pt idx="10501">
                  <c:v>747050</c:v>
                </c:pt>
                <c:pt idx="10502">
                  <c:v>746950</c:v>
                </c:pt>
                <c:pt idx="10503">
                  <c:v>746707</c:v>
                </c:pt>
                <c:pt idx="10504">
                  <c:v>746697</c:v>
                </c:pt>
                <c:pt idx="10505">
                  <c:v>746583</c:v>
                </c:pt>
                <c:pt idx="10506">
                  <c:v>746409</c:v>
                </c:pt>
                <c:pt idx="10507">
                  <c:v>746233</c:v>
                </c:pt>
                <c:pt idx="10508">
                  <c:v>746026</c:v>
                </c:pt>
                <c:pt idx="10509">
                  <c:v>746011</c:v>
                </c:pt>
                <c:pt idx="10510">
                  <c:v>745966</c:v>
                </c:pt>
                <c:pt idx="10511">
                  <c:v>745855</c:v>
                </c:pt>
                <c:pt idx="10512">
                  <c:v>745449</c:v>
                </c:pt>
                <c:pt idx="10513">
                  <c:v>745347</c:v>
                </c:pt>
                <c:pt idx="10514">
                  <c:v>745213</c:v>
                </c:pt>
                <c:pt idx="10515">
                  <c:v>745004</c:v>
                </c:pt>
                <c:pt idx="10516">
                  <c:v>744843</c:v>
                </c:pt>
                <c:pt idx="10517">
                  <c:v>744040</c:v>
                </c:pt>
                <c:pt idx="10518">
                  <c:v>743811</c:v>
                </c:pt>
                <c:pt idx="10519">
                  <c:v>743755</c:v>
                </c:pt>
                <c:pt idx="10520">
                  <c:v>743710</c:v>
                </c:pt>
                <c:pt idx="10521">
                  <c:v>743637</c:v>
                </c:pt>
                <c:pt idx="10522">
                  <c:v>743624</c:v>
                </c:pt>
                <c:pt idx="10523">
                  <c:v>743334</c:v>
                </c:pt>
                <c:pt idx="10524">
                  <c:v>742672</c:v>
                </c:pt>
                <c:pt idx="10525">
                  <c:v>742428</c:v>
                </c:pt>
                <c:pt idx="10526">
                  <c:v>742319</c:v>
                </c:pt>
                <c:pt idx="10527">
                  <c:v>742162</c:v>
                </c:pt>
                <c:pt idx="10528">
                  <c:v>741821</c:v>
                </c:pt>
                <c:pt idx="10529">
                  <c:v>741684</c:v>
                </c:pt>
                <c:pt idx="10530">
                  <c:v>741633</c:v>
                </c:pt>
                <c:pt idx="10531">
                  <c:v>741604</c:v>
                </c:pt>
                <c:pt idx="10532">
                  <c:v>741421</c:v>
                </c:pt>
                <c:pt idx="10533">
                  <c:v>741141</c:v>
                </c:pt>
                <c:pt idx="10534">
                  <c:v>740968</c:v>
                </c:pt>
                <c:pt idx="10535">
                  <c:v>740837</c:v>
                </c:pt>
                <c:pt idx="10536">
                  <c:v>740765</c:v>
                </c:pt>
                <c:pt idx="10537">
                  <c:v>740595</c:v>
                </c:pt>
                <c:pt idx="10538">
                  <c:v>740558</c:v>
                </c:pt>
                <c:pt idx="10539">
                  <c:v>740196</c:v>
                </c:pt>
                <c:pt idx="10540">
                  <c:v>740109</c:v>
                </c:pt>
                <c:pt idx="10541">
                  <c:v>740035</c:v>
                </c:pt>
                <c:pt idx="10542">
                  <c:v>739372</c:v>
                </c:pt>
                <c:pt idx="10543">
                  <c:v>739003</c:v>
                </c:pt>
                <c:pt idx="10544">
                  <c:v>738699</c:v>
                </c:pt>
                <c:pt idx="10545">
                  <c:v>738634</c:v>
                </c:pt>
                <c:pt idx="10546">
                  <c:v>738530</c:v>
                </c:pt>
                <c:pt idx="10547">
                  <c:v>738279</c:v>
                </c:pt>
                <c:pt idx="10548">
                  <c:v>738228</c:v>
                </c:pt>
                <c:pt idx="10549">
                  <c:v>738138</c:v>
                </c:pt>
                <c:pt idx="10550">
                  <c:v>738088</c:v>
                </c:pt>
                <c:pt idx="10551">
                  <c:v>737828</c:v>
                </c:pt>
                <c:pt idx="10552">
                  <c:v>737594</c:v>
                </c:pt>
                <c:pt idx="10553">
                  <c:v>737535</c:v>
                </c:pt>
                <c:pt idx="10554">
                  <c:v>737418</c:v>
                </c:pt>
                <c:pt idx="10555">
                  <c:v>737276</c:v>
                </c:pt>
                <c:pt idx="10556">
                  <c:v>736482</c:v>
                </c:pt>
                <c:pt idx="10557">
                  <c:v>736366</c:v>
                </c:pt>
                <c:pt idx="10558">
                  <c:v>736254</c:v>
                </c:pt>
                <c:pt idx="10559">
                  <c:v>736213</c:v>
                </c:pt>
                <c:pt idx="10560">
                  <c:v>736189</c:v>
                </c:pt>
                <c:pt idx="10561">
                  <c:v>736136</c:v>
                </c:pt>
                <c:pt idx="10562">
                  <c:v>735943</c:v>
                </c:pt>
                <c:pt idx="10563">
                  <c:v>735540</c:v>
                </c:pt>
                <c:pt idx="10564">
                  <c:v>735241</c:v>
                </c:pt>
                <c:pt idx="10565">
                  <c:v>734135</c:v>
                </c:pt>
                <c:pt idx="10566">
                  <c:v>733510</c:v>
                </c:pt>
                <c:pt idx="10567">
                  <c:v>733337</c:v>
                </c:pt>
                <c:pt idx="10568">
                  <c:v>733288</c:v>
                </c:pt>
                <c:pt idx="10569">
                  <c:v>733187</c:v>
                </c:pt>
                <c:pt idx="10570">
                  <c:v>733061</c:v>
                </c:pt>
                <c:pt idx="10571">
                  <c:v>733003</c:v>
                </c:pt>
                <c:pt idx="10572">
                  <c:v>732879</c:v>
                </c:pt>
                <c:pt idx="10573">
                  <c:v>732059</c:v>
                </c:pt>
                <c:pt idx="10574">
                  <c:v>731991</c:v>
                </c:pt>
                <c:pt idx="10575">
                  <c:v>731925</c:v>
                </c:pt>
                <c:pt idx="10576">
                  <c:v>731754</c:v>
                </c:pt>
                <c:pt idx="10577">
                  <c:v>731726</c:v>
                </c:pt>
                <c:pt idx="10578">
                  <c:v>731549</c:v>
                </c:pt>
                <c:pt idx="10579">
                  <c:v>731485</c:v>
                </c:pt>
                <c:pt idx="10580">
                  <c:v>731201</c:v>
                </c:pt>
                <c:pt idx="10581">
                  <c:v>731173</c:v>
                </c:pt>
                <c:pt idx="10582">
                  <c:v>731062</c:v>
                </c:pt>
                <c:pt idx="10583">
                  <c:v>730786</c:v>
                </c:pt>
                <c:pt idx="10584">
                  <c:v>730508</c:v>
                </c:pt>
                <c:pt idx="10585">
                  <c:v>730360</c:v>
                </c:pt>
                <c:pt idx="10586">
                  <c:v>730261</c:v>
                </c:pt>
                <c:pt idx="10587">
                  <c:v>730161</c:v>
                </c:pt>
                <c:pt idx="10588">
                  <c:v>730002</c:v>
                </c:pt>
                <c:pt idx="10589">
                  <c:v>729961</c:v>
                </c:pt>
                <c:pt idx="10590">
                  <c:v>729741</c:v>
                </c:pt>
                <c:pt idx="10591">
                  <c:v>729282</c:v>
                </c:pt>
                <c:pt idx="10592">
                  <c:v>728802</c:v>
                </c:pt>
                <c:pt idx="10593">
                  <c:v>728561</c:v>
                </c:pt>
                <c:pt idx="10594">
                  <c:v>728412</c:v>
                </c:pt>
                <c:pt idx="10595">
                  <c:v>728244</c:v>
                </c:pt>
                <c:pt idx="10596">
                  <c:v>728219</c:v>
                </c:pt>
                <c:pt idx="10597">
                  <c:v>728048</c:v>
                </c:pt>
                <c:pt idx="10598">
                  <c:v>727978</c:v>
                </c:pt>
                <c:pt idx="10599">
                  <c:v>727964</c:v>
                </c:pt>
                <c:pt idx="10600">
                  <c:v>727776</c:v>
                </c:pt>
                <c:pt idx="10601">
                  <c:v>727611</c:v>
                </c:pt>
                <c:pt idx="10602">
                  <c:v>727488</c:v>
                </c:pt>
                <c:pt idx="10603">
                  <c:v>727121</c:v>
                </c:pt>
                <c:pt idx="10604">
                  <c:v>726549</c:v>
                </c:pt>
                <c:pt idx="10605">
                  <c:v>726461</c:v>
                </c:pt>
                <c:pt idx="10606">
                  <c:v>725842</c:v>
                </c:pt>
                <c:pt idx="10607">
                  <c:v>725841</c:v>
                </c:pt>
                <c:pt idx="10608">
                  <c:v>725686</c:v>
                </c:pt>
                <c:pt idx="10609">
                  <c:v>725419</c:v>
                </c:pt>
                <c:pt idx="10610">
                  <c:v>725047</c:v>
                </c:pt>
                <c:pt idx="10611">
                  <c:v>724933</c:v>
                </c:pt>
                <c:pt idx="10612">
                  <c:v>724704</c:v>
                </c:pt>
                <c:pt idx="10613">
                  <c:v>724501</c:v>
                </c:pt>
                <c:pt idx="10614">
                  <c:v>724419</c:v>
                </c:pt>
                <c:pt idx="10615">
                  <c:v>724383</c:v>
                </c:pt>
                <c:pt idx="10616">
                  <c:v>724150</c:v>
                </c:pt>
                <c:pt idx="10617">
                  <c:v>724015</c:v>
                </c:pt>
                <c:pt idx="10618">
                  <c:v>723958</c:v>
                </c:pt>
                <c:pt idx="10619">
                  <c:v>722604</c:v>
                </c:pt>
                <c:pt idx="10620">
                  <c:v>721502</c:v>
                </c:pt>
                <c:pt idx="10621">
                  <c:v>721501</c:v>
                </c:pt>
                <c:pt idx="10622">
                  <c:v>721426</c:v>
                </c:pt>
                <c:pt idx="10623">
                  <c:v>721274</c:v>
                </c:pt>
                <c:pt idx="10624">
                  <c:v>720329</c:v>
                </c:pt>
                <c:pt idx="10625">
                  <c:v>719719</c:v>
                </c:pt>
                <c:pt idx="10626">
                  <c:v>719635</c:v>
                </c:pt>
                <c:pt idx="10627">
                  <c:v>719631</c:v>
                </c:pt>
                <c:pt idx="10628">
                  <c:v>719514</c:v>
                </c:pt>
                <c:pt idx="10629">
                  <c:v>719326</c:v>
                </c:pt>
                <c:pt idx="10630">
                  <c:v>718754</c:v>
                </c:pt>
                <c:pt idx="10631">
                  <c:v>718346</c:v>
                </c:pt>
                <c:pt idx="10632">
                  <c:v>718304</c:v>
                </c:pt>
                <c:pt idx="10633">
                  <c:v>718254</c:v>
                </c:pt>
                <c:pt idx="10634">
                  <c:v>718197</c:v>
                </c:pt>
                <c:pt idx="10635">
                  <c:v>718118</c:v>
                </c:pt>
                <c:pt idx="10636">
                  <c:v>717971</c:v>
                </c:pt>
                <c:pt idx="10637">
                  <c:v>715590</c:v>
                </c:pt>
                <c:pt idx="10638">
                  <c:v>715351</c:v>
                </c:pt>
                <c:pt idx="10639">
                  <c:v>714868</c:v>
                </c:pt>
                <c:pt idx="10640">
                  <c:v>714621</c:v>
                </c:pt>
                <c:pt idx="10641">
                  <c:v>714578</c:v>
                </c:pt>
                <c:pt idx="10642">
                  <c:v>713414</c:v>
                </c:pt>
                <c:pt idx="10643">
                  <c:v>712711</c:v>
                </c:pt>
                <c:pt idx="10644">
                  <c:v>712645</c:v>
                </c:pt>
                <c:pt idx="10645">
                  <c:v>712577</c:v>
                </c:pt>
                <c:pt idx="10646">
                  <c:v>711198</c:v>
                </c:pt>
                <c:pt idx="10647">
                  <c:v>711182</c:v>
                </c:pt>
                <c:pt idx="10648">
                  <c:v>710958</c:v>
                </c:pt>
                <c:pt idx="10649">
                  <c:v>710949</c:v>
                </c:pt>
                <c:pt idx="10650">
                  <c:v>710794</c:v>
                </c:pt>
                <c:pt idx="10651">
                  <c:v>710717</c:v>
                </c:pt>
                <c:pt idx="10652">
                  <c:v>710680</c:v>
                </c:pt>
                <c:pt idx="10653">
                  <c:v>710678</c:v>
                </c:pt>
                <c:pt idx="10654">
                  <c:v>710228</c:v>
                </c:pt>
                <c:pt idx="10655">
                  <c:v>709762</c:v>
                </c:pt>
                <c:pt idx="10656">
                  <c:v>708751</c:v>
                </c:pt>
                <c:pt idx="10657">
                  <c:v>708596</c:v>
                </c:pt>
                <c:pt idx="10658">
                  <c:v>707361</c:v>
                </c:pt>
                <c:pt idx="10659">
                  <c:v>707263</c:v>
                </c:pt>
                <c:pt idx="10660">
                  <c:v>707201</c:v>
                </c:pt>
                <c:pt idx="10661">
                  <c:v>706169</c:v>
                </c:pt>
                <c:pt idx="10662">
                  <c:v>706117</c:v>
                </c:pt>
                <c:pt idx="10663">
                  <c:v>705967</c:v>
                </c:pt>
                <c:pt idx="10664">
                  <c:v>705185</c:v>
                </c:pt>
                <c:pt idx="10665">
                  <c:v>704998</c:v>
                </c:pt>
                <c:pt idx="10666">
                  <c:v>704992</c:v>
                </c:pt>
                <c:pt idx="10667">
                  <c:v>704938</c:v>
                </c:pt>
                <c:pt idx="10668">
                  <c:v>704818</c:v>
                </c:pt>
                <c:pt idx="10669">
                  <c:v>704455</c:v>
                </c:pt>
                <c:pt idx="10670">
                  <c:v>703428</c:v>
                </c:pt>
                <c:pt idx="10671">
                  <c:v>702956</c:v>
                </c:pt>
                <c:pt idx="10672">
                  <c:v>702699</c:v>
                </c:pt>
                <c:pt idx="10673">
                  <c:v>702181</c:v>
                </c:pt>
                <c:pt idx="10674">
                  <c:v>702008</c:v>
                </c:pt>
                <c:pt idx="10675">
                  <c:v>701751</c:v>
                </c:pt>
                <c:pt idx="10676">
                  <c:v>701507</c:v>
                </c:pt>
                <c:pt idx="10677">
                  <c:v>699526</c:v>
                </c:pt>
                <c:pt idx="10678">
                  <c:v>698974</c:v>
                </c:pt>
                <c:pt idx="10679">
                  <c:v>696233</c:v>
                </c:pt>
                <c:pt idx="10680">
                  <c:v>695788</c:v>
                </c:pt>
                <c:pt idx="10681">
                  <c:v>694699</c:v>
                </c:pt>
                <c:pt idx="10682">
                  <c:v>693814</c:v>
                </c:pt>
                <c:pt idx="10683">
                  <c:v>691299</c:v>
                </c:pt>
                <c:pt idx="10684">
                  <c:v>688733</c:v>
                </c:pt>
                <c:pt idx="10685">
                  <c:v>688191</c:v>
                </c:pt>
                <c:pt idx="10686">
                  <c:v>686108</c:v>
                </c:pt>
                <c:pt idx="10687">
                  <c:v>682365</c:v>
                </c:pt>
                <c:pt idx="10688">
                  <c:v>680698</c:v>
                </c:pt>
                <c:pt idx="10689">
                  <c:v>678594</c:v>
                </c:pt>
                <c:pt idx="10690">
                  <c:v>674295</c:v>
                </c:pt>
                <c:pt idx="10691">
                  <c:v>674161</c:v>
                </c:pt>
                <c:pt idx="10692">
                  <c:v>673858</c:v>
                </c:pt>
                <c:pt idx="10693">
                  <c:v>673790</c:v>
                </c:pt>
                <c:pt idx="10694">
                  <c:v>671532</c:v>
                </c:pt>
                <c:pt idx="10695">
                  <c:v>670214</c:v>
                </c:pt>
                <c:pt idx="10696">
                  <c:v>660017</c:v>
                </c:pt>
                <c:pt idx="10697">
                  <c:v>657746</c:v>
                </c:pt>
                <c:pt idx="10698">
                  <c:v>657490</c:v>
                </c:pt>
                <c:pt idx="10699">
                  <c:v>654208</c:v>
                </c:pt>
                <c:pt idx="10700">
                  <c:v>653671</c:v>
                </c:pt>
                <c:pt idx="10701">
                  <c:v>652504</c:v>
                </c:pt>
                <c:pt idx="10702">
                  <c:v>652201</c:v>
                </c:pt>
                <c:pt idx="10703">
                  <c:v>645451</c:v>
                </c:pt>
                <c:pt idx="10704">
                  <c:v>642203</c:v>
                </c:pt>
                <c:pt idx="10705">
                  <c:v>641902</c:v>
                </c:pt>
              </c:numCache>
            </c:numRef>
          </c:val>
          <c:extLst xmlns:c16r2="http://schemas.microsoft.com/office/drawing/2015/06/chart">
            <c:ext xmlns:c16="http://schemas.microsoft.com/office/drawing/2014/chart" uri="{C3380CC4-5D6E-409C-BE32-E72D297353CC}">
              <c16:uniqueId val="{00000000-3DE4-4BA3-B9E9-8F5D53FB7FEB}"/>
            </c:ext>
          </c:extLst>
        </c:ser>
        <c:dLbls>
          <c:showLegendKey val="0"/>
          <c:showVal val="0"/>
          <c:showCatName val="0"/>
          <c:showSerName val="0"/>
          <c:showPercent val="0"/>
          <c:showBubbleSize val="0"/>
        </c:dLbls>
        <c:gapWidth val="219"/>
        <c:overlap val="-27"/>
        <c:axId val="-1379879936"/>
        <c:axId val="-1379878848"/>
      </c:barChart>
      <c:catAx>
        <c:axId val="-1379879936"/>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8848"/>
        <c:crosses val="autoZero"/>
        <c:auto val="1"/>
        <c:lblAlgn val="ctr"/>
        <c:lblOffset val="100"/>
        <c:noMultiLvlLbl val="0"/>
      </c:catAx>
      <c:valAx>
        <c:axId val="-13798788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137987993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hdr" sz="quarter"/>
          </p:nvPr>
        </p:nvSpPr>
        <p:spPr bwMode="auto">
          <a:xfrm>
            <a:off x="0" y="0"/>
            <a:ext cx="3098389" cy="55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666" tIns="47334" rIns="94666" bIns="47334" numCol="1" anchor="t" anchorCtr="0" compatLnSpc="1">
            <a:prstTxWarp prst="textNoShape">
              <a:avLst/>
            </a:prstTxWarp>
          </a:bodyPr>
          <a:lstStyle>
            <a:lvl1pPr algn="l">
              <a:lnSpc>
                <a:spcPct val="100000"/>
              </a:lnSpc>
              <a:spcBef>
                <a:spcPct val="0"/>
              </a:spcBef>
              <a:defRPr/>
            </a:lvl1pPr>
          </a:lstStyle>
          <a:p>
            <a:pPr>
              <a:defRPr/>
            </a:pPr>
            <a:endParaRPr lang="en-US" altLang="ja-JP"/>
          </a:p>
        </p:txBody>
      </p:sp>
      <p:sp>
        <p:nvSpPr>
          <p:cNvPr id="32771" name="Rectangle 3"/>
          <p:cNvSpPr>
            <a:spLocks noGrp="1" noChangeArrowheads="1"/>
          </p:cNvSpPr>
          <p:nvPr>
            <p:ph type="dt" sz="quarter" idx="1"/>
          </p:nvPr>
        </p:nvSpPr>
        <p:spPr bwMode="auto">
          <a:xfrm>
            <a:off x="4000912" y="0"/>
            <a:ext cx="3098389" cy="55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666" tIns="47334" rIns="94666" bIns="47334" numCol="1" anchor="t" anchorCtr="0" compatLnSpc="1">
            <a:prstTxWarp prst="textNoShape">
              <a:avLst/>
            </a:prstTxWarp>
          </a:bodyPr>
          <a:lstStyle>
            <a:lvl1pPr algn="r">
              <a:lnSpc>
                <a:spcPct val="100000"/>
              </a:lnSpc>
              <a:spcBef>
                <a:spcPct val="0"/>
              </a:spcBef>
              <a:defRPr/>
            </a:lvl1pPr>
          </a:lstStyle>
          <a:p>
            <a:pPr>
              <a:defRPr/>
            </a:pPr>
            <a:endParaRPr lang="en-US" altLang="ja-JP"/>
          </a:p>
        </p:txBody>
      </p:sp>
      <p:sp>
        <p:nvSpPr>
          <p:cNvPr id="32772" name="Rectangle 4"/>
          <p:cNvSpPr>
            <a:spLocks noGrp="1" noChangeArrowheads="1"/>
          </p:cNvSpPr>
          <p:nvPr>
            <p:ph type="ftr" sz="quarter" idx="2"/>
          </p:nvPr>
        </p:nvSpPr>
        <p:spPr bwMode="auto">
          <a:xfrm>
            <a:off x="0" y="9724599"/>
            <a:ext cx="3098389" cy="470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666" tIns="47334" rIns="94666" bIns="47334" numCol="1" anchor="b" anchorCtr="0" compatLnSpc="1">
            <a:prstTxWarp prst="textNoShape">
              <a:avLst/>
            </a:prstTxWarp>
          </a:bodyPr>
          <a:lstStyle>
            <a:lvl1pPr algn="l">
              <a:lnSpc>
                <a:spcPct val="100000"/>
              </a:lnSpc>
              <a:spcBef>
                <a:spcPct val="0"/>
              </a:spcBef>
              <a:defRPr/>
            </a:lvl1pPr>
          </a:lstStyle>
          <a:p>
            <a:pPr>
              <a:defRPr/>
            </a:pPr>
            <a:endParaRPr lang="en-US" altLang="ja-JP"/>
          </a:p>
        </p:txBody>
      </p:sp>
      <p:sp>
        <p:nvSpPr>
          <p:cNvPr id="32773" name="Rectangle 5"/>
          <p:cNvSpPr>
            <a:spLocks noGrp="1" noChangeArrowheads="1"/>
          </p:cNvSpPr>
          <p:nvPr>
            <p:ph type="sldNum" sz="quarter" idx="3"/>
          </p:nvPr>
        </p:nvSpPr>
        <p:spPr bwMode="auto">
          <a:xfrm>
            <a:off x="4000912" y="9724599"/>
            <a:ext cx="3098389" cy="470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666" tIns="47334" rIns="94666" bIns="47334" numCol="1" anchor="b" anchorCtr="0" compatLnSpc="1">
            <a:prstTxWarp prst="textNoShape">
              <a:avLst/>
            </a:prstTxWarp>
          </a:bodyPr>
          <a:lstStyle>
            <a:lvl1pPr algn="r">
              <a:lnSpc>
                <a:spcPct val="100000"/>
              </a:lnSpc>
              <a:spcBef>
                <a:spcPct val="0"/>
              </a:spcBef>
              <a:defRPr/>
            </a:lvl1pPr>
          </a:lstStyle>
          <a:p>
            <a:pPr>
              <a:defRPr/>
            </a:pPr>
            <a:fld id="{26F3E2A1-B9AD-4D0B-A20A-247C02AF75AD}" type="slidenum">
              <a:rPr lang="en-US" altLang="ja-JP"/>
              <a:pPr>
                <a:defRPr/>
              </a:pPr>
              <a:t>‹#›</a:t>
            </a:fld>
            <a:endParaRPr lang="en-US" altLang="ja-JP"/>
          </a:p>
        </p:txBody>
      </p:sp>
    </p:spTree>
    <p:extLst>
      <p:ext uri="{BB962C8B-B14F-4D97-AF65-F5344CB8AC3E}">
        <p14:creationId xmlns:p14="http://schemas.microsoft.com/office/powerpoint/2010/main" val="9219752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3098389" cy="550881"/>
          </a:xfrm>
          <a:prstGeom prst="rect">
            <a:avLst/>
          </a:prstGeom>
          <a:noFill/>
          <a:ln>
            <a:noFill/>
          </a:ln>
          <a:effectLst/>
          <a:extLst>
            <a:ext uri="{909E8E84-426E-40DD-AFC4-6F175D3DCCD1}">
              <a14:hiddenFill xmlns:a14="http://schemas.microsoft.com/office/drawing/2010/main">
                <a:gradFill rotWithShape="0">
                  <a:gsLst>
                    <a:gs pos="0">
                      <a:srgbClr val="3366FF"/>
                    </a:gs>
                    <a:gs pos="100000">
                      <a:schemeClr val="bg1"/>
                    </a:gs>
                  </a:gsLst>
                  <a:lin ang="0" scaled="1"/>
                </a:gra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4666" tIns="47334" rIns="94666" bIns="47334" numCol="1" anchor="ctr" anchorCtr="0" compatLnSpc="1">
            <a:prstTxWarp prst="textNoShape">
              <a:avLst/>
            </a:prstTxWarp>
          </a:bodyPr>
          <a:lstStyle>
            <a:lvl1pPr algn="l">
              <a:lnSpc>
                <a:spcPct val="100000"/>
              </a:lnSpc>
              <a:spcBef>
                <a:spcPct val="0"/>
              </a:spcBef>
              <a:defRPr/>
            </a:lvl1pPr>
          </a:lstStyle>
          <a:p>
            <a:pPr>
              <a:defRPr/>
            </a:pPr>
            <a:endParaRPr lang="en-US" altLang="ja-JP"/>
          </a:p>
        </p:txBody>
      </p:sp>
      <p:sp>
        <p:nvSpPr>
          <p:cNvPr id="23555" name="Rectangle 3"/>
          <p:cNvSpPr>
            <a:spLocks noGrp="1" noChangeArrowheads="1"/>
          </p:cNvSpPr>
          <p:nvPr>
            <p:ph type="dt" idx="1"/>
          </p:nvPr>
        </p:nvSpPr>
        <p:spPr bwMode="auto">
          <a:xfrm>
            <a:off x="4000912" y="0"/>
            <a:ext cx="3098389" cy="550881"/>
          </a:xfrm>
          <a:prstGeom prst="rect">
            <a:avLst/>
          </a:prstGeom>
          <a:noFill/>
          <a:ln>
            <a:noFill/>
          </a:ln>
          <a:effectLst/>
          <a:extLst>
            <a:ext uri="{909E8E84-426E-40DD-AFC4-6F175D3DCCD1}">
              <a14:hiddenFill xmlns:a14="http://schemas.microsoft.com/office/drawing/2010/main">
                <a:gradFill rotWithShape="0">
                  <a:gsLst>
                    <a:gs pos="0">
                      <a:srgbClr val="3366FF"/>
                    </a:gs>
                    <a:gs pos="100000">
                      <a:schemeClr val="bg1"/>
                    </a:gs>
                  </a:gsLst>
                  <a:lin ang="0" scaled="1"/>
                </a:gra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4666" tIns="47334" rIns="94666" bIns="47334" numCol="1" anchor="ctr" anchorCtr="0" compatLnSpc="1">
            <a:prstTxWarp prst="textNoShape">
              <a:avLst/>
            </a:prstTxWarp>
          </a:bodyPr>
          <a:lstStyle>
            <a:lvl1pPr algn="r">
              <a:lnSpc>
                <a:spcPct val="100000"/>
              </a:lnSpc>
              <a:spcBef>
                <a:spcPct val="0"/>
              </a:spcBef>
              <a:defRPr/>
            </a:lvl1pPr>
          </a:lstStyle>
          <a:p>
            <a:pPr>
              <a:defRPr/>
            </a:pPr>
            <a:endParaRPr lang="en-US" altLang="ja-JP"/>
          </a:p>
        </p:txBody>
      </p:sp>
      <p:sp>
        <p:nvSpPr>
          <p:cNvPr id="11268" name="Rectangle 4"/>
          <p:cNvSpPr>
            <a:spLocks noGrp="1" noRot="1" noChangeAspect="1" noChangeArrowheads="1" noTextEdit="1"/>
          </p:cNvSpPr>
          <p:nvPr>
            <p:ph type="sldImg" idx="2"/>
          </p:nvPr>
        </p:nvSpPr>
        <p:spPr bwMode="auto">
          <a:xfrm>
            <a:off x="1028700" y="784225"/>
            <a:ext cx="5124450" cy="38433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3557" name="Rectangle 5"/>
          <p:cNvSpPr>
            <a:spLocks noGrp="1" noChangeArrowheads="1"/>
          </p:cNvSpPr>
          <p:nvPr>
            <p:ph type="body" sz="quarter" idx="3"/>
          </p:nvPr>
        </p:nvSpPr>
        <p:spPr bwMode="auto">
          <a:xfrm>
            <a:off x="978701" y="4863117"/>
            <a:ext cx="5141899" cy="4626091"/>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4666" tIns="47334" rIns="94666" bIns="47334" numCol="1" anchor="t" anchorCtr="0" compatLnSpc="1">
            <a:prstTxWarp prst="textNoShape">
              <a:avLst/>
            </a:prstTxWarp>
          </a:body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23558" name="Rectangle 6"/>
          <p:cNvSpPr>
            <a:spLocks noGrp="1" noChangeArrowheads="1"/>
          </p:cNvSpPr>
          <p:nvPr>
            <p:ph type="ftr" sz="quarter" idx="4"/>
          </p:nvPr>
        </p:nvSpPr>
        <p:spPr bwMode="auto">
          <a:xfrm>
            <a:off x="0" y="9724599"/>
            <a:ext cx="3098389" cy="470782"/>
          </a:xfrm>
          <a:prstGeom prst="rect">
            <a:avLst/>
          </a:prstGeom>
          <a:noFill/>
          <a:ln>
            <a:noFill/>
          </a:ln>
          <a:effectLst/>
          <a:extLst>
            <a:ext uri="{909E8E84-426E-40DD-AFC4-6F175D3DCCD1}">
              <a14:hiddenFill xmlns:a14="http://schemas.microsoft.com/office/drawing/2010/main">
                <a:gradFill rotWithShape="0">
                  <a:gsLst>
                    <a:gs pos="0">
                      <a:srgbClr val="3366FF"/>
                    </a:gs>
                    <a:gs pos="100000">
                      <a:schemeClr val="bg1"/>
                    </a:gs>
                  </a:gsLst>
                  <a:lin ang="0" scaled="1"/>
                </a:gra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4666" tIns="47334" rIns="94666" bIns="47334" numCol="1" anchor="b" anchorCtr="0" compatLnSpc="1">
            <a:prstTxWarp prst="textNoShape">
              <a:avLst/>
            </a:prstTxWarp>
          </a:bodyPr>
          <a:lstStyle>
            <a:lvl1pPr algn="l">
              <a:lnSpc>
                <a:spcPct val="100000"/>
              </a:lnSpc>
              <a:spcBef>
                <a:spcPct val="0"/>
              </a:spcBef>
              <a:defRPr/>
            </a:lvl1pPr>
          </a:lstStyle>
          <a:p>
            <a:pPr>
              <a:defRPr/>
            </a:pPr>
            <a:endParaRPr lang="en-US" altLang="ja-JP"/>
          </a:p>
        </p:txBody>
      </p:sp>
      <p:sp>
        <p:nvSpPr>
          <p:cNvPr id="23559" name="Rectangle 7"/>
          <p:cNvSpPr>
            <a:spLocks noGrp="1" noChangeArrowheads="1"/>
          </p:cNvSpPr>
          <p:nvPr>
            <p:ph type="sldNum" sz="quarter" idx="5"/>
          </p:nvPr>
        </p:nvSpPr>
        <p:spPr bwMode="auto">
          <a:xfrm>
            <a:off x="4000912" y="9724599"/>
            <a:ext cx="3098389" cy="470782"/>
          </a:xfrm>
          <a:prstGeom prst="rect">
            <a:avLst/>
          </a:prstGeom>
          <a:noFill/>
          <a:ln>
            <a:noFill/>
          </a:ln>
          <a:effectLst/>
          <a:extLst>
            <a:ext uri="{909E8E84-426E-40DD-AFC4-6F175D3DCCD1}">
              <a14:hiddenFill xmlns:a14="http://schemas.microsoft.com/office/drawing/2010/main">
                <a:gradFill rotWithShape="0">
                  <a:gsLst>
                    <a:gs pos="0">
                      <a:srgbClr val="3366FF"/>
                    </a:gs>
                    <a:gs pos="100000">
                      <a:schemeClr val="bg1"/>
                    </a:gs>
                  </a:gsLst>
                  <a:lin ang="0" scaled="1"/>
                </a:gra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4666" tIns="47334" rIns="94666" bIns="47334" numCol="1" anchor="b" anchorCtr="0" compatLnSpc="1">
            <a:prstTxWarp prst="textNoShape">
              <a:avLst/>
            </a:prstTxWarp>
          </a:bodyPr>
          <a:lstStyle>
            <a:lvl1pPr algn="r">
              <a:lnSpc>
                <a:spcPct val="100000"/>
              </a:lnSpc>
              <a:spcBef>
                <a:spcPct val="0"/>
              </a:spcBef>
              <a:defRPr/>
            </a:lvl1pPr>
          </a:lstStyle>
          <a:p>
            <a:pPr>
              <a:defRPr/>
            </a:pPr>
            <a:fld id="{DF722957-ADD2-4714-A93D-F422FE8AACE2}" type="slidenum">
              <a:rPr lang="en-US" altLang="ja-JP"/>
              <a:pPr>
                <a:defRPr/>
              </a:pPr>
              <a:t>‹#›</a:t>
            </a:fld>
            <a:endParaRPr lang="en-US" altLang="ja-JP"/>
          </a:p>
        </p:txBody>
      </p:sp>
    </p:spTree>
    <p:extLst>
      <p:ext uri="{BB962C8B-B14F-4D97-AF65-F5344CB8AC3E}">
        <p14:creationId xmlns:p14="http://schemas.microsoft.com/office/powerpoint/2010/main" val="377988272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ＭＳ Ｐゴシック" charset="-128"/>
        <a:ea typeface="ＭＳ Ｐゴシック" charset="-128"/>
        <a:cs typeface="+mn-cs"/>
      </a:defRPr>
    </a:lvl1pPr>
    <a:lvl2pPr marL="456368" algn="l" rtl="0" eaLnBrk="0" fontAlgn="base" hangingPunct="0">
      <a:spcBef>
        <a:spcPct val="30000"/>
      </a:spcBef>
      <a:spcAft>
        <a:spcPct val="0"/>
      </a:spcAft>
      <a:defRPr kumimoji="1" sz="1200" kern="1200">
        <a:solidFill>
          <a:schemeClr val="tx1"/>
        </a:solidFill>
        <a:latin typeface="ＭＳ Ｐゴシック" charset="-128"/>
        <a:ea typeface="ＭＳ Ｐゴシック" charset="-128"/>
        <a:cs typeface="+mn-cs"/>
      </a:defRPr>
    </a:lvl2pPr>
    <a:lvl3pPr marL="912732" algn="l" rtl="0" eaLnBrk="0" fontAlgn="base" hangingPunct="0">
      <a:spcBef>
        <a:spcPct val="30000"/>
      </a:spcBef>
      <a:spcAft>
        <a:spcPct val="0"/>
      </a:spcAft>
      <a:defRPr kumimoji="1" sz="1200" kern="1200">
        <a:solidFill>
          <a:schemeClr val="tx1"/>
        </a:solidFill>
        <a:latin typeface="ＭＳ Ｐゴシック" charset="-128"/>
        <a:ea typeface="ＭＳ Ｐゴシック" charset="-128"/>
        <a:cs typeface="+mn-cs"/>
      </a:defRPr>
    </a:lvl3pPr>
    <a:lvl4pPr marL="1369104" algn="l" rtl="0" eaLnBrk="0" fontAlgn="base" hangingPunct="0">
      <a:spcBef>
        <a:spcPct val="30000"/>
      </a:spcBef>
      <a:spcAft>
        <a:spcPct val="0"/>
      </a:spcAft>
      <a:defRPr kumimoji="1" sz="1200" kern="1200">
        <a:solidFill>
          <a:schemeClr val="tx1"/>
        </a:solidFill>
        <a:latin typeface="ＭＳ Ｐゴシック" charset="-128"/>
        <a:ea typeface="ＭＳ Ｐゴシック" charset="-128"/>
        <a:cs typeface="+mn-cs"/>
      </a:defRPr>
    </a:lvl4pPr>
    <a:lvl5pPr marL="1825470" algn="l" rtl="0" eaLnBrk="0" fontAlgn="base" hangingPunct="0">
      <a:spcBef>
        <a:spcPct val="30000"/>
      </a:spcBef>
      <a:spcAft>
        <a:spcPct val="0"/>
      </a:spcAft>
      <a:defRPr kumimoji="1" sz="1200" kern="1200">
        <a:solidFill>
          <a:schemeClr val="tx1"/>
        </a:solidFill>
        <a:latin typeface="ＭＳ Ｐゴシック" charset="-128"/>
        <a:ea typeface="ＭＳ Ｐゴシック" charset="-128"/>
        <a:cs typeface="+mn-cs"/>
      </a:defRPr>
    </a:lvl5pPr>
    <a:lvl6pPr marL="2281834" algn="l" defTabSz="912732" rtl="0" eaLnBrk="1" latinLnBrk="0" hangingPunct="1">
      <a:defRPr kumimoji="1" sz="1200" kern="1200">
        <a:solidFill>
          <a:schemeClr val="tx1"/>
        </a:solidFill>
        <a:latin typeface="+mn-lt"/>
        <a:ea typeface="+mn-ea"/>
        <a:cs typeface="+mn-cs"/>
      </a:defRPr>
    </a:lvl6pPr>
    <a:lvl7pPr marL="2738199" algn="l" defTabSz="912732" rtl="0" eaLnBrk="1" latinLnBrk="0" hangingPunct="1">
      <a:defRPr kumimoji="1" sz="1200" kern="1200">
        <a:solidFill>
          <a:schemeClr val="tx1"/>
        </a:solidFill>
        <a:latin typeface="+mn-lt"/>
        <a:ea typeface="+mn-ea"/>
        <a:cs typeface="+mn-cs"/>
      </a:defRPr>
    </a:lvl7pPr>
    <a:lvl8pPr marL="3194563" algn="l" defTabSz="912732" rtl="0" eaLnBrk="1" latinLnBrk="0" hangingPunct="1">
      <a:defRPr kumimoji="1" sz="1200" kern="1200">
        <a:solidFill>
          <a:schemeClr val="tx1"/>
        </a:solidFill>
        <a:latin typeface="+mn-lt"/>
        <a:ea typeface="+mn-ea"/>
        <a:cs typeface="+mn-cs"/>
      </a:defRPr>
    </a:lvl8pPr>
    <a:lvl9pPr marL="3650928" algn="l" defTabSz="912732"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9" name="テキスト プレースホルダー 4"/>
          <p:cNvSpPr>
            <a:spLocks noGrp="1"/>
          </p:cNvSpPr>
          <p:nvPr>
            <p:ph idx="1"/>
          </p:nvPr>
        </p:nvSpPr>
        <p:spPr>
          <a:xfrm>
            <a:off x="264582" y="834350"/>
            <a:ext cx="9406159" cy="761708"/>
          </a:xfrm>
          <a:prstGeom prst="rect">
            <a:avLst/>
          </a:prstGeom>
        </p:spPr>
        <p:txBody>
          <a:bodyPr vert="horz" lIns="91440" tIns="45720" rIns="91440" bIns="45720" rtlCol="0">
            <a:normAutofit/>
          </a:bodyPr>
          <a:lstStyle>
            <a:lvl1pPr defTabSz="450850">
              <a:defRPr sz="1600">
                <a:latin typeface="BIZ UDPゴシック" panose="020B0400000000000000" pitchFamily="50" charset="-128"/>
                <a:ea typeface="BIZ UDPゴシック" panose="020B0400000000000000" pitchFamily="50" charset="-128"/>
              </a:defRPr>
            </a:lvl1pPr>
            <a:lvl2pPr defTabSz="450850">
              <a:defRPr>
                <a:latin typeface="BIZ UDPゴシック" panose="020B0400000000000000" pitchFamily="50" charset="-128"/>
                <a:ea typeface="BIZ UDPゴシック" panose="020B0400000000000000" pitchFamily="50" charset="-128"/>
              </a:defRPr>
            </a:lvl2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p:txBody>
      </p:sp>
      <p:sp>
        <p:nvSpPr>
          <p:cNvPr id="6" name="テキスト ボックス 5"/>
          <p:cNvSpPr txBox="1"/>
          <p:nvPr userDrawn="1"/>
        </p:nvSpPr>
        <p:spPr>
          <a:xfrm>
            <a:off x="9317447" y="7099220"/>
            <a:ext cx="706582" cy="236027"/>
          </a:xfrm>
          <a:prstGeom prst="rect">
            <a:avLst/>
          </a:prstGeom>
          <a:noFill/>
        </p:spPr>
        <p:txBody>
          <a:bodyPr wrap="square" rtlCol="0">
            <a:spAutoFit/>
          </a:bodyPr>
          <a:lstStyle/>
          <a:p>
            <a:fld id="{2F101A5D-C534-455B-A1B7-FEFA57DB3C14}" type="slidenum">
              <a:rPr kumimoji="1" lang="ja-JP" altLang="en-US" sz="969" b="1" smtClean="0">
                <a:solidFill>
                  <a:schemeClr val="tx1">
                    <a:lumMod val="65000"/>
                    <a:lumOff val="35000"/>
                  </a:schemeClr>
                </a:solidFill>
                <a:latin typeface="BIZ UDPゴシック" panose="020B0400000000000000" pitchFamily="50" charset="-128"/>
                <a:ea typeface="BIZ UDPゴシック" panose="020B0400000000000000" pitchFamily="50" charset="-128"/>
              </a:rPr>
              <a:t>‹#›</a:t>
            </a:fld>
            <a:endParaRPr kumimoji="1" lang="ja-JP" altLang="en-US" sz="969" b="1" dirty="0">
              <a:solidFill>
                <a:schemeClr val="tx1">
                  <a:lumMod val="65000"/>
                  <a:lumOff val="35000"/>
                </a:schemeClr>
              </a:solidFill>
              <a:latin typeface="BIZ UDPゴシック" panose="020B0400000000000000" pitchFamily="50" charset="-128"/>
              <a:ea typeface="BIZ UDPゴシック" panose="020B0400000000000000" pitchFamily="50" charset="-128"/>
            </a:endParaRPr>
          </a:p>
        </p:txBody>
      </p:sp>
      <p:pic>
        <p:nvPicPr>
          <p:cNvPr id="7" name="図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995" y="140722"/>
            <a:ext cx="2197005" cy="392268"/>
          </a:xfrm>
          <a:prstGeom prst="rect">
            <a:avLst/>
          </a:prstGeom>
        </p:spPr>
      </p:pic>
      <p:sp>
        <p:nvSpPr>
          <p:cNvPr id="8" name="タイトル 1"/>
          <p:cNvSpPr>
            <a:spLocks noGrp="1"/>
          </p:cNvSpPr>
          <p:nvPr>
            <p:ph type="title"/>
          </p:nvPr>
        </p:nvSpPr>
        <p:spPr>
          <a:xfrm>
            <a:off x="58738" y="55394"/>
            <a:ext cx="9611526" cy="562925"/>
          </a:xfrm>
          <a:prstGeom prst="rect">
            <a:avLst/>
          </a:prstGeom>
        </p:spPr>
        <p:txBody>
          <a:bodyPr anchor="ctr"/>
          <a:lstStyle>
            <a:lvl1pPr>
              <a:defRPr sz="2000" b="1">
                <a:latin typeface="BIZ UDPゴシック" panose="020B0400000000000000" pitchFamily="50" charset="-128"/>
                <a:ea typeface="BIZ UDPゴシック" panose="020B0400000000000000" pitchFamily="50" charset="-128"/>
              </a:defRPr>
            </a:lvl1pPr>
          </a:lstStyle>
          <a:p>
            <a:r>
              <a:rPr kumimoji="1" lang="ja-JP" altLang="en-US" dirty="0" smtClean="0"/>
              <a:t>マスター タイトルの書式設定</a:t>
            </a:r>
            <a:endParaRPr kumimoji="1" lang="ja-JP" altLang="en-US" dirty="0"/>
          </a:p>
        </p:txBody>
      </p:sp>
      <p:sp>
        <p:nvSpPr>
          <p:cNvPr id="10" name="テキスト ボックス 9"/>
          <p:cNvSpPr txBox="1"/>
          <p:nvPr userDrawn="1"/>
        </p:nvSpPr>
        <p:spPr>
          <a:xfrm>
            <a:off x="5385060" y="7115447"/>
            <a:ext cx="4121889" cy="203573"/>
          </a:xfrm>
          <a:prstGeom prst="rect">
            <a:avLst/>
          </a:prstGeom>
          <a:noFill/>
        </p:spPr>
        <p:txBody>
          <a:bodyPr wrap="none" lIns="36000" tIns="36000" rIns="36000" bIns="36000" rtlCol="0">
            <a:spAutoFit/>
          </a:bodyPr>
          <a:lstStyle/>
          <a:p>
            <a:pPr algn="r"/>
            <a:r>
              <a:rPr kumimoji="1" lang="en-US" altLang="ja-JP" sz="900" dirty="0" smtClean="0">
                <a:solidFill>
                  <a:schemeClr val="tx1">
                    <a:lumMod val="50000"/>
                    <a:lumOff val="50000"/>
                  </a:schemeClr>
                </a:solidFill>
                <a:latin typeface="BIZ UDPゴシック" panose="020B0400000000000000" pitchFamily="50" charset="-128"/>
                <a:ea typeface="BIZ UDPゴシック" panose="020B0400000000000000" pitchFamily="50" charset="-128"/>
              </a:rPr>
              <a:t>Copyright</a:t>
            </a:r>
            <a:r>
              <a:rPr kumimoji="1" lang="en-US" altLang="ja-JP" sz="900" baseline="0" dirty="0" smtClean="0">
                <a:solidFill>
                  <a:schemeClr val="tx1">
                    <a:lumMod val="50000"/>
                    <a:lumOff val="50000"/>
                  </a:schemeClr>
                </a:solidFill>
                <a:latin typeface="BIZ UDPゴシック" panose="020B0400000000000000" pitchFamily="50" charset="-128"/>
                <a:ea typeface="BIZ UDPゴシック" panose="020B0400000000000000" pitchFamily="50" charset="-128"/>
              </a:rPr>
              <a:t> 2020 </a:t>
            </a:r>
            <a:r>
              <a:rPr kumimoji="1" lang="en-US" altLang="ja-JP" sz="900" baseline="0" dirty="0" err="1" smtClean="0">
                <a:solidFill>
                  <a:schemeClr val="tx1">
                    <a:lumMod val="50000"/>
                    <a:lumOff val="50000"/>
                  </a:schemeClr>
                </a:solidFill>
                <a:latin typeface="BIZ UDPゴシック" panose="020B0400000000000000" pitchFamily="50" charset="-128"/>
                <a:ea typeface="BIZ UDPゴシック" panose="020B0400000000000000" pitchFamily="50" charset="-128"/>
              </a:rPr>
              <a:t>NTTComware</a:t>
            </a:r>
            <a:r>
              <a:rPr kumimoji="1" lang="en-US" altLang="ja-JP" sz="900" baseline="0" dirty="0" smtClean="0">
                <a:solidFill>
                  <a:schemeClr val="tx1">
                    <a:lumMod val="50000"/>
                    <a:lumOff val="50000"/>
                  </a:schemeClr>
                </a:solidFill>
                <a:latin typeface="BIZ UDPゴシック" panose="020B0400000000000000" pitchFamily="50" charset="-128"/>
                <a:ea typeface="BIZ UDPゴシック" panose="020B0400000000000000" pitchFamily="50" charset="-128"/>
              </a:rPr>
              <a:t> Corporation All Rights Reserved. </a:t>
            </a:r>
            <a:endParaRPr kumimoji="1" lang="ja-JP" altLang="en-US" sz="900" dirty="0" smtClean="0">
              <a:solidFill>
                <a:schemeClr val="tx1">
                  <a:lumMod val="50000"/>
                  <a:lumOff val="50000"/>
                </a:schemeClr>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115457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白紙">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xmlns="" id="{E3B8A46B-8C69-4966-BBFF-A0EBCF58FA42}"/>
              </a:ext>
            </a:extLst>
          </p:cNvPr>
          <p:cNvSpPr>
            <a:spLocks noGrp="1"/>
          </p:cNvSpPr>
          <p:nvPr>
            <p:ph type="title"/>
          </p:nvPr>
        </p:nvSpPr>
        <p:spPr>
          <a:xfrm>
            <a:off x="681039" y="126351"/>
            <a:ext cx="8543925" cy="390000"/>
          </a:xfrm>
          <a:prstGeom prst="rect">
            <a:avLst/>
          </a:prstGeom>
        </p:spPr>
        <p:txBody>
          <a:bodyPr vert="horz" lIns="91440" tIns="45720" rIns="91440" bIns="45720" rtlCol="0" anchor="ctr">
            <a:noAutofit/>
          </a:bodyPr>
          <a:lstStyle>
            <a:lvl1pPr>
              <a:defRPr sz="2000"/>
            </a:lvl1pPr>
          </a:lstStyle>
          <a:p>
            <a:r>
              <a:rPr lang="ja-JP" altLang="en-US" dirty="0"/>
              <a:t>マスター タイトルの書式設定</a:t>
            </a:r>
            <a:endParaRPr lang="en-US" dirty="0"/>
          </a:p>
        </p:txBody>
      </p:sp>
    </p:spTree>
    <p:extLst>
      <p:ext uri="{BB962C8B-B14F-4D97-AF65-F5344CB8AC3E}">
        <p14:creationId xmlns:p14="http://schemas.microsoft.com/office/powerpoint/2010/main" val="407770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1598225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27033068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本編スライド">
    <p:spTree>
      <p:nvGrpSpPr>
        <p:cNvPr id="1" name=""/>
        <p:cNvGrpSpPr/>
        <p:nvPr/>
      </p:nvGrpSpPr>
      <p:grpSpPr>
        <a:xfrm>
          <a:off x="0" y="0"/>
          <a:ext cx="0" cy="0"/>
          <a:chOff x="0" y="0"/>
          <a:chExt cx="0" cy="0"/>
        </a:xfrm>
      </p:grpSpPr>
      <p:sp>
        <p:nvSpPr>
          <p:cNvPr id="5" name="タイトル プレースホルダー 11"/>
          <p:cNvSpPr>
            <a:spLocks noGrp="1"/>
          </p:cNvSpPr>
          <p:nvPr>
            <p:ph type="title"/>
          </p:nvPr>
        </p:nvSpPr>
        <p:spPr>
          <a:xfrm>
            <a:off x="124272" y="63498"/>
            <a:ext cx="8915400" cy="530905"/>
          </a:xfrm>
          <a:prstGeom prst="rect">
            <a:avLst/>
          </a:prstGeom>
        </p:spPr>
        <p:txBody>
          <a:bodyPr vert="horz" lIns="91440" tIns="45720" rIns="91440" bIns="45720" rtlCol="0" anchor="ctr">
            <a:noAutofit/>
          </a:bodyPr>
          <a:lstStyle>
            <a:lvl1pPr algn="l">
              <a:defRPr sz="2400" b="1"/>
            </a:lvl1pPr>
          </a:lstStyle>
          <a:p>
            <a:r>
              <a:rPr kumimoji="1" lang="ja-JP" altLang="en-US" smtClean="0"/>
              <a:t>マスター タイトルの書式設定</a:t>
            </a:r>
            <a:endParaRPr kumimoji="1" lang="ja-JP" altLang="en-US" dirty="0"/>
          </a:p>
        </p:txBody>
      </p:sp>
      <p:sp>
        <p:nvSpPr>
          <p:cNvPr id="6" name="テキスト ボックス 5"/>
          <p:cNvSpPr txBox="1"/>
          <p:nvPr userDrawn="1"/>
        </p:nvSpPr>
        <p:spPr>
          <a:xfrm>
            <a:off x="4592960" y="7111505"/>
            <a:ext cx="936104" cy="278538"/>
          </a:xfrm>
          <a:prstGeom prst="rect">
            <a:avLst/>
          </a:prstGeom>
          <a:noFill/>
        </p:spPr>
        <p:txBody>
          <a:bodyPr wrap="square" rtlCol="0">
            <a:spAutoFit/>
          </a:bodyPr>
          <a:lstStyle/>
          <a:p>
            <a:fld id="{9C629933-4F32-4F95-BE3E-20C169E6BC12}" type="slidenum">
              <a:rPr kumimoji="1" lang="ja-JP" altLang="en-US" sz="1100" b="0" i="0" u="none" strike="noStrike" kern="1200" cap="none" spc="0" normalizeH="0" baseline="0" noProof="0" smtClean="0">
                <a:ln>
                  <a:noFill/>
                </a:ln>
                <a:solidFill>
                  <a:srgbClr val="898989"/>
                </a:solidFill>
                <a:effectLst/>
                <a:uLnTx/>
                <a:uFillTx/>
                <a:latin typeface="Meiryo UI" panose="020B0604030504040204" pitchFamily="50" charset="-128"/>
                <a:ea typeface="Meiryo UI" panose="020B0604030504040204" pitchFamily="50" charset="-128"/>
                <a:cs typeface="Meiryo UI" panose="020B0604030504040204" pitchFamily="50" charset="-128"/>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1" lang="ja-JP" altLang="en-US" sz="1100" dirty="0">
              <a:solidFill>
                <a:srgbClr val="898989"/>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08009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2481369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_標準">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4AF9A41-EC60-49EF-88AD-E0369E7392F9}"/>
              </a:ext>
            </a:extLst>
          </p:cNvPr>
          <p:cNvGraphicFramePr>
            <a:graphicFrameLocks noChangeAspect="1"/>
          </p:cNvGraphicFramePr>
          <p:nvPr>
            <p:custDataLst>
              <p:tags r:id="rId2"/>
            </p:custDataLst>
            <p:extLst/>
          </p:nvPr>
        </p:nvGraphicFramePr>
        <p:xfrm>
          <a:off x="1590" y="1723"/>
          <a:ext cx="1587" cy="1719"/>
        </p:xfrm>
        <a:graphic>
          <a:graphicData uri="http://schemas.openxmlformats.org/presentationml/2006/ole">
            <mc:AlternateContent xmlns:mc="http://schemas.openxmlformats.org/markup-compatibility/2006">
              <mc:Choice xmlns:v="urn:schemas-microsoft-com:vml" Requires="v">
                <p:oleObj spid="_x0000_s1114" name="think-cell Slide" r:id="rId4" imgW="493" imgH="493" progId="TCLayout.ActiveDocument.1">
                  <p:embed/>
                </p:oleObj>
              </mc:Choice>
              <mc:Fallback>
                <p:oleObj name="think-cell Slide" r:id="rId4" imgW="493" imgH="493" progId="TCLayout.ActiveDocument.1">
                  <p:embed/>
                  <p:pic>
                    <p:nvPicPr>
                      <p:cNvPr id="3" name="Object 2" hidden="1">
                        <a:extLst>
                          <a:ext uri="{FF2B5EF4-FFF2-40B4-BE49-F238E27FC236}">
                            <a16:creationId xmlns:a16="http://schemas.microsoft.com/office/drawing/2014/main" xmlns="" id="{74AF9A41-EC60-49EF-88AD-E0369E7392F9}"/>
                          </a:ext>
                        </a:extLst>
                      </p:cNvPr>
                      <p:cNvPicPr/>
                      <p:nvPr/>
                    </p:nvPicPr>
                    <p:blipFill>
                      <a:blip r:embed="rId5"/>
                      <a:stretch>
                        <a:fillRect/>
                      </a:stretch>
                    </p:blipFill>
                    <p:spPr>
                      <a:xfrm>
                        <a:off x="1590" y="1723"/>
                        <a:ext cx="1587" cy="1719"/>
                      </a:xfrm>
                      <a:prstGeom prst="rect">
                        <a:avLst/>
                      </a:prstGeom>
                    </p:spPr>
                  </p:pic>
                </p:oleObj>
              </mc:Fallback>
            </mc:AlternateContent>
          </a:graphicData>
        </a:graphic>
      </p:graphicFrame>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en-US" altLang="ja-JP"/>
              <a:t>Click to edit Master title style</a:t>
            </a:r>
            <a:endParaRPr kumimoji="1" lang="ja-JP" altLang="en-US" dirty="0"/>
          </a:p>
        </p:txBody>
      </p:sp>
      <p:sp>
        <p:nvSpPr>
          <p:cNvPr id="9" name="Text Placeholder 7">
            <a:extLst>
              <a:ext uri="{FF2B5EF4-FFF2-40B4-BE49-F238E27FC236}">
                <a16:creationId xmlns:a16="http://schemas.microsoft.com/office/drawing/2014/main" xmlns="" id="{76A40AEC-7AEC-4B24-B3C2-57DBE2207219}"/>
              </a:ext>
            </a:extLst>
          </p:cNvPr>
          <p:cNvSpPr>
            <a:spLocks noGrp="1"/>
          </p:cNvSpPr>
          <p:nvPr>
            <p:ph type="body" sz="quarter" idx="11" hasCustomPrompt="1"/>
          </p:nvPr>
        </p:nvSpPr>
        <p:spPr>
          <a:xfrm>
            <a:off x="272481" y="672415"/>
            <a:ext cx="9397785" cy="1092094"/>
          </a:xfrm>
          <a:prstGeom prst="rect">
            <a:avLst/>
          </a:prstGeom>
          <a:solidFill>
            <a:schemeClr val="accent1">
              <a:lumMod val="20000"/>
              <a:lumOff val="80000"/>
            </a:schemeClr>
          </a:solidFill>
        </p:spPr>
        <p:txBody>
          <a:bodyPr/>
          <a:lstStyle>
            <a:lvl1pPr marL="173038" indent="-173038">
              <a:defRPr>
                <a:latin typeface="+mj-ea"/>
                <a:ea typeface="+mj-ea"/>
              </a:defRPr>
            </a:lvl1pPr>
            <a:lvl2pPr marL="625475" indent="-168275">
              <a:defRPr>
                <a:latin typeface="+mj-ea"/>
                <a:ea typeface="+mj-ea"/>
              </a:defRPr>
            </a:lvl2pPr>
            <a:lvl3pPr marL="1076325" indent="-161925">
              <a:defRPr>
                <a:latin typeface="+mj-ea"/>
                <a:ea typeface="+mj-ea"/>
              </a:defRPr>
            </a:lvl3pPr>
            <a:lvl4pPr marL="1527175" indent="-155575">
              <a:defRPr>
                <a:latin typeface="+mj-ea"/>
                <a:ea typeface="+mj-ea"/>
              </a:defRPr>
            </a:lvl4pPr>
            <a:lvl5pPr marL="1966913" indent="-138113">
              <a:defRPr>
                <a:latin typeface="+mj-ea"/>
                <a:ea typeface="+mj-ea"/>
              </a:defRPr>
            </a:lvl5pPr>
          </a:lstStyle>
          <a:p>
            <a:pPr lvl="0"/>
            <a:r>
              <a:rPr kumimoji="1" lang="ja-JP" altLang="en-US" dirty="0"/>
              <a:t>スライドのメインメッセージ</a:t>
            </a:r>
            <a:endParaRPr kumimoji="1" lang="en-US" altLang="ja-JP" dirty="0"/>
          </a:p>
          <a:p>
            <a:pPr lvl="1"/>
            <a:r>
              <a:rPr kumimoji="1" lang="en-US" altLang="ja-JP" dirty="0"/>
              <a:t>Second level</a:t>
            </a:r>
          </a:p>
          <a:p>
            <a:pPr lvl="2"/>
            <a:r>
              <a:rPr kumimoji="1" lang="en-US" altLang="ja-JP" dirty="0"/>
              <a:t>Third level</a:t>
            </a:r>
          </a:p>
          <a:p>
            <a:pPr lvl="3"/>
            <a:r>
              <a:rPr kumimoji="1" lang="en-US" altLang="ja-JP" dirty="0"/>
              <a:t>Fourth level</a:t>
            </a:r>
          </a:p>
          <a:p>
            <a:pPr lvl="4"/>
            <a:r>
              <a:rPr kumimoji="1" lang="en-US" altLang="ja-JP" dirty="0"/>
              <a:t>Fifth level</a:t>
            </a:r>
            <a:endParaRPr kumimoji="1" lang="ja-JP" altLang="en-US" dirty="0"/>
          </a:p>
        </p:txBody>
      </p:sp>
      <p:sp>
        <p:nvSpPr>
          <p:cNvPr id="11" name="Text Placeholder 10">
            <a:extLst>
              <a:ext uri="{FF2B5EF4-FFF2-40B4-BE49-F238E27FC236}">
                <a16:creationId xmlns:a16="http://schemas.microsoft.com/office/drawing/2014/main" xmlns="" id="{577BBDF5-A54B-4813-8424-1DD0C4608396}"/>
              </a:ext>
            </a:extLst>
          </p:cNvPr>
          <p:cNvSpPr>
            <a:spLocks noGrp="1"/>
          </p:cNvSpPr>
          <p:nvPr>
            <p:ph type="body" sz="quarter" idx="12" hasCustomPrompt="1"/>
          </p:nvPr>
        </p:nvSpPr>
        <p:spPr>
          <a:xfrm>
            <a:off x="245110" y="6898979"/>
            <a:ext cx="6400800" cy="398992"/>
          </a:xfrm>
          <a:prstGeom prst="rect">
            <a:avLst/>
          </a:prstGeom>
          <a:noFill/>
          <a:ln w="6350">
            <a:noFill/>
          </a:ln>
          <a:extLst>
            <a:ext uri="{909E8E84-426E-40DD-AFC4-6F175D3DCCD1}">
              <a14:hiddenFill xmlns:a14="http://schemas.microsoft.com/office/drawing/2010/main">
                <a:solidFill>
                  <a:scrgbClr r="0" g="0" b="0"/>
                </a:solidFill>
              </a14:hiddenFill>
            </a:ext>
            <a:ext uri="{91240B29-F687-4F45-9708-019B960494DF}">
              <a14:hiddenLine xmlns:a14="http://schemas.microsoft.com/office/drawing/2010/main" w="6350">
                <a:solidFill>
                  <a:srgbClr val="ADABA1"/>
                </a:solidFill>
              </a14:hiddenLine>
            </a:ext>
          </a:extLst>
        </p:spPr>
        <p:txBody>
          <a:bodyPr wrap="square" lIns="0" tIns="0" rIns="0" bIns="0" anchor="b" anchorCtr="0">
            <a:noAutofit/>
          </a:bodyPr>
          <a:lstStyle>
            <a:lvl1pPr marL="0" indent="0" algn="l" defTabSz="914400" rtl="0" eaLnBrk="1" latinLnBrk="0" hangingPunct="1">
              <a:lnSpc>
                <a:spcPct val="90000"/>
              </a:lnSpc>
              <a:spcBef>
                <a:spcPts val="0"/>
              </a:spcBef>
              <a:spcAft>
                <a:spcPts val="0"/>
              </a:spcAft>
              <a:buClrTx/>
              <a:buFontTx/>
              <a:buNone/>
              <a:defRPr sz="800" b="0" i="0" u="none">
                <a:solidFill>
                  <a:schemeClr val="tx1"/>
                </a:solidFill>
                <a:latin typeface="Arial" panose="020B0604020202020204" pitchFamily="34" charset="0"/>
              </a:defRPr>
            </a:lvl1pPr>
            <a:lvl2pPr marL="742950" indent="-285750" algn="l" defTabSz="914400" rtl="0" eaLnBrk="1" latinLnBrk="0" hangingPunct="1">
              <a:lnSpc>
                <a:spcPct val="90000"/>
              </a:lnSpc>
              <a:spcBef>
                <a:spcPts val="0"/>
              </a:spcBef>
              <a:spcAft>
                <a:spcPts val="0"/>
              </a:spcAft>
              <a:buClrTx/>
              <a:buFontTx/>
              <a:buAutoNum type="arabicPeriod"/>
              <a:defRPr sz="800" b="0" i="0" u="none">
                <a:solidFill>
                  <a:schemeClr val="tx1"/>
                </a:solidFill>
                <a:latin typeface="Arial" panose="020B0604020202020204" pitchFamily="34" charset="0"/>
              </a:defRPr>
            </a:lvl2pPr>
            <a:lvl3pPr marL="1143000" indent="-228600" algn="l" defTabSz="914400" rtl="0" eaLnBrk="1" latinLnBrk="0" hangingPunct="1">
              <a:lnSpc>
                <a:spcPct val="90000"/>
              </a:lnSpc>
              <a:spcBef>
                <a:spcPts val="0"/>
              </a:spcBef>
              <a:spcAft>
                <a:spcPts val="0"/>
              </a:spcAft>
              <a:buClrTx/>
              <a:buFontTx/>
              <a:buAutoNum type="arabicPeriod"/>
              <a:defRPr sz="800" b="0" i="0" u="none">
                <a:solidFill>
                  <a:schemeClr val="tx1"/>
                </a:solidFill>
                <a:latin typeface="Arial" panose="020B0604020202020204" pitchFamily="34" charset="0"/>
              </a:defRPr>
            </a:lvl3pPr>
            <a:lvl4pPr marL="1600200" indent="-228600" algn="l" defTabSz="914400" rtl="0" eaLnBrk="1" latinLnBrk="0" hangingPunct="1">
              <a:lnSpc>
                <a:spcPct val="90000"/>
              </a:lnSpc>
              <a:spcBef>
                <a:spcPts val="0"/>
              </a:spcBef>
              <a:spcAft>
                <a:spcPts val="0"/>
              </a:spcAft>
              <a:buClrTx/>
              <a:buFontTx/>
              <a:buAutoNum type="arabicPeriod"/>
              <a:defRPr sz="800" b="0" i="0" u="none">
                <a:solidFill>
                  <a:schemeClr val="tx1"/>
                </a:solidFill>
                <a:latin typeface="Arial" panose="020B0604020202020204" pitchFamily="34" charset="0"/>
              </a:defRPr>
            </a:lvl4pPr>
            <a:lvl5pPr marL="2057400" indent="-228600" algn="l" defTabSz="914400" rtl="0" eaLnBrk="1" latinLnBrk="0" hangingPunct="1">
              <a:lnSpc>
                <a:spcPct val="90000"/>
              </a:lnSpc>
              <a:spcBef>
                <a:spcPts val="0"/>
              </a:spcBef>
              <a:spcAft>
                <a:spcPts val="0"/>
              </a:spcAft>
              <a:buClrTx/>
              <a:buFontTx/>
              <a:buAutoNum type="arabicPeriod"/>
              <a:defRPr sz="800" b="0" i="0" u="none">
                <a:solidFill>
                  <a:schemeClr val="tx1"/>
                </a:solidFill>
                <a:latin typeface="Arial" panose="020B0604020202020204" pitchFamily="34" charset="0"/>
              </a:defRPr>
            </a:lvl5pPr>
          </a:lstStyle>
          <a:p>
            <a:pPr lvl="0"/>
            <a:r>
              <a:rPr kumimoji="1" lang="ja-JP" altLang="en-US" dirty="0"/>
              <a:t>出所</a:t>
            </a:r>
            <a:r>
              <a:rPr kumimoji="1" lang="en-US" altLang="ja-JP" dirty="0"/>
              <a:t>: XXXX</a:t>
            </a:r>
          </a:p>
        </p:txBody>
      </p:sp>
    </p:spTree>
    <p:extLst>
      <p:ext uri="{BB962C8B-B14F-4D97-AF65-F5344CB8AC3E}">
        <p14:creationId xmlns:p14="http://schemas.microsoft.com/office/powerpoint/2010/main" val="3980308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10089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229293644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215893"/>
            <a:ext cx="8420100" cy="2586567"/>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238250" y="3902208"/>
            <a:ext cx="7429500" cy="179374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fld id="{F2C547E3-B35A-46CD-9D8D-6DF55FE0D38B}" type="datetimeFigureOut">
              <a:rPr kumimoji="1" lang="ja-JP" altLang="en-US" smtClean="0"/>
              <a:t>2022/2/1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B49319E-8759-4B13-AF7C-08EEC8BC9A2B}" type="slidenum">
              <a:rPr kumimoji="1" lang="ja-JP" altLang="en-US" smtClean="0"/>
              <a:t>‹#›</a:t>
            </a:fld>
            <a:endParaRPr kumimoji="1" lang="ja-JP" altLang="en-US"/>
          </a:p>
        </p:txBody>
      </p:sp>
    </p:spTree>
    <p:extLst>
      <p:ext uri="{BB962C8B-B14F-4D97-AF65-F5344CB8AC3E}">
        <p14:creationId xmlns:p14="http://schemas.microsoft.com/office/powerpoint/2010/main" val="37987317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TK TitleOnly 2016/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0E53389-3B48-4EAD-91BF-29FB57C8830E}"/>
              </a:ext>
            </a:extLst>
          </p:cNvPr>
          <p:cNvGraphicFramePr>
            <a:graphicFrameLocks noChangeAspect="1"/>
          </p:cNvGraphicFramePr>
          <p:nvPr userDrawn="1">
            <p:custDataLst>
              <p:tags r:id="rId2"/>
            </p:custDataLst>
            <p:extLst/>
          </p:nvPr>
        </p:nvGraphicFramePr>
        <p:xfrm>
          <a:off x="1724" y="1726"/>
          <a:ext cx="1719" cy="1719"/>
        </p:xfrm>
        <a:graphic>
          <a:graphicData uri="http://schemas.openxmlformats.org/presentationml/2006/ole">
            <mc:AlternateContent xmlns:mc="http://schemas.openxmlformats.org/markup-compatibility/2006">
              <mc:Choice xmlns:v="urn:schemas-microsoft-com:vml" Requires="v">
                <p:oleObj spid="_x0000_s2138"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xmlns="" id="{60E53389-3B48-4EAD-91BF-29FB57C8830E}"/>
                          </a:ext>
                        </a:extLst>
                      </p:cNvPr>
                      <p:cNvPicPr/>
                      <p:nvPr/>
                    </p:nvPicPr>
                    <p:blipFill>
                      <a:blip r:embed="rId5"/>
                      <a:stretch>
                        <a:fillRect/>
                      </a:stretch>
                    </p:blipFill>
                    <p:spPr>
                      <a:xfrm>
                        <a:off x="1724" y="1726"/>
                        <a:ext cx="1719" cy="1719"/>
                      </a:xfrm>
                      <a:prstGeom prst="rect">
                        <a:avLst/>
                      </a:prstGeom>
                    </p:spPr>
                  </p:pic>
                </p:oleObj>
              </mc:Fallback>
            </mc:AlternateContent>
          </a:graphicData>
        </a:graphic>
      </p:graphicFrame>
      <p:sp>
        <p:nvSpPr>
          <p:cNvPr id="4" name="タイトル 1"/>
          <p:cNvSpPr txBox="1">
            <a:spLocks/>
          </p:cNvSpPr>
          <p:nvPr userDrawn="1"/>
        </p:nvSpPr>
        <p:spPr>
          <a:xfrm>
            <a:off x="58738" y="55395"/>
            <a:ext cx="9611526" cy="374888"/>
          </a:xfrm>
          <a:prstGeom prst="rect">
            <a:avLst/>
          </a:prstGeom>
        </p:spPr>
        <p:txBody>
          <a:bodyPr vert="horz" lIns="36000" tIns="36000" rIns="36000" bIns="36000" rtlCol="0" anchor="ctr">
            <a:noAutofit/>
          </a:bodyPr>
          <a:lstStyle>
            <a:lvl1pPr>
              <a:spcBef>
                <a:spcPct val="0"/>
              </a:spcBef>
              <a:buNone/>
              <a:defRPr sz="2800" b="1">
                <a:ea typeface="Meiryo UI" panose="020B0604030504040204" pitchFamily="50" charset="-128"/>
                <a:cs typeface="Meiryo UI" panose="020B0604030504040204" pitchFamily="50" charset="-128"/>
              </a:defRPr>
            </a:lvl1pPr>
          </a:lstStyle>
          <a:p>
            <a:pPr lvl="0"/>
            <a:endParaRPr lang="ja-JP" altLang="en-US" sz="2800" dirty="0"/>
          </a:p>
        </p:txBody>
      </p:sp>
      <p:sp>
        <p:nvSpPr>
          <p:cNvPr id="3" name="タイトル 2"/>
          <p:cNvSpPr>
            <a:spLocks noGrp="1"/>
          </p:cNvSpPr>
          <p:nvPr>
            <p:ph type="title"/>
          </p:nvPr>
        </p:nvSpPr>
        <p:spPr/>
        <p:txBody>
          <a:bodyPr/>
          <a:lstStyle/>
          <a:p>
            <a:r>
              <a:rPr kumimoji="1" lang="ja-JP" altLang="en-US" smtClean="0"/>
              <a:t>マスター タイトルの書式設定</a:t>
            </a:r>
            <a:endParaRPr kumimoji="1" lang="ja-JP" altLang="en-US"/>
          </a:p>
        </p:txBody>
      </p:sp>
    </p:spTree>
    <p:extLst>
      <p:ext uri="{BB962C8B-B14F-4D97-AF65-F5344CB8AC3E}">
        <p14:creationId xmlns:p14="http://schemas.microsoft.com/office/powerpoint/2010/main" val="875027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6267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atin typeface="+mn-lt"/>
              </a:defRPr>
            </a:lvl1pPr>
          </a:lstStyle>
          <a:p>
            <a:r>
              <a:rPr kumimoji="1" lang="ja-JP" altLang="en-US" dirty="0" smtClean="0"/>
              <a:t>マスター タイトルの書式設定</a:t>
            </a:r>
            <a:endParaRPr kumimoji="1" lang="ja-JP" altLang="en-US" dirty="0"/>
          </a:p>
        </p:txBody>
      </p:sp>
    </p:spTree>
    <p:extLst>
      <p:ext uri="{BB962C8B-B14F-4D97-AF65-F5344CB8AC3E}">
        <p14:creationId xmlns:p14="http://schemas.microsoft.com/office/powerpoint/2010/main" val="1742230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本編スライド">
    <p:spTree>
      <p:nvGrpSpPr>
        <p:cNvPr id="1" name=""/>
        <p:cNvGrpSpPr/>
        <p:nvPr/>
      </p:nvGrpSpPr>
      <p:grpSpPr>
        <a:xfrm>
          <a:off x="0" y="0"/>
          <a:ext cx="0" cy="0"/>
          <a:chOff x="0" y="0"/>
          <a:chExt cx="0" cy="0"/>
        </a:xfrm>
      </p:grpSpPr>
      <p:sp>
        <p:nvSpPr>
          <p:cNvPr id="5" name="タイトル プレースホルダー 11"/>
          <p:cNvSpPr>
            <a:spLocks noGrp="1"/>
          </p:cNvSpPr>
          <p:nvPr>
            <p:ph type="title"/>
          </p:nvPr>
        </p:nvSpPr>
        <p:spPr>
          <a:xfrm>
            <a:off x="124272" y="63498"/>
            <a:ext cx="8915400" cy="530905"/>
          </a:xfrm>
          <a:prstGeom prst="rect">
            <a:avLst/>
          </a:prstGeom>
        </p:spPr>
        <p:txBody>
          <a:bodyPr vert="horz" lIns="91440" tIns="45720" rIns="91440" bIns="45720" rtlCol="0" anchor="ctr">
            <a:noAutofit/>
          </a:bodyPr>
          <a:lstStyle>
            <a:lvl1pPr algn="l">
              <a:defRPr sz="2400" b="1"/>
            </a:lvl1pPr>
          </a:lstStyle>
          <a:p>
            <a:r>
              <a:rPr kumimoji="1" lang="ja-JP" altLang="en-US" smtClean="0"/>
              <a:t>マスター タイトルの書式設定</a:t>
            </a:r>
            <a:endParaRPr kumimoji="1" lang="ja-JP" altLang="en-US" dirty="0"/>
          </a:p>
        </p:txBody>
      </p:sp>
      <p:sp>
        <p:nvSpPr>
          <p:cNvPr id="6" name="テキスト ボックス 5"/>
          <p:cNvSpPr txBox="1"/>
          <p:nvPr userDrawn="1"/>
        </p:nvSpPr>
        <p:spPr>
          <a:xfrm>
            <a:off x="4592960" y="7111505"/>
            <a:ext cx="936104" cy="278538"/>
          </a:xfrm>
          <a:prstGeom prst="rect">
            <a:avLst/>
          </a:prstGeom>
          <a:noFill/>
        </p:spPr>
        <p:txBody>
          <a:bodyPr wrap="square" rtlCol="0">
            <a:spAutoFit/>
          </a:bodyPr>
          <a:lstStyle/>
          <a:p>
            <a:fld id="{9C629933-4F32-4F95-BE3E-20C169E6BC12}" type="slidenum">
              <a:rPr kumimoji="1" lang="ja-JP" altLang="en-US" sz="1100" b="0" i="0" u="none" strike="noStrike" kern="1200" cap="none" spc="0" normalizeH="0" baseline="0" noProof="0" smtClean="0">
                <a:ln>
                  <a:noFill/>
                </a:ln>
                <a:solidFill>
                  <a:srgbClr val="898989"/>
                </a:solidFill>
                <a:effectLst/>
                <a:uLnTx/>
                <a:uFillTx/>
                <a:latin typeface="Meiryo UI" panose="020B0604030504040204" pitchFamily="50" charset="-128"/>
                <a:ea typeface="Meiryo UI" panose="020B0604030504040204" pitchFamily="50" charset="-128"/>
                <a:cs typeface="Meiryo UI" panose="020B0604030504040204" pitchFamily="50" charset="-128"/>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1" lang="ja-JP" altLang="en-US" sz="1100" dirty="0">
              <a:solidFill>
                <a:srgbClr val="898989"/>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2608881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xAndChart">
  <p:cSld name="タイトル、テキスト、グラフ">
    <p:spTree>
      <p:nvGrpSpPr>
        <p:cNvPr id="1" name=""/>
        <p:cNvGrpSpPr/>
        <p:nvPr/>
      </p:nvGrpSpPr>
      <p:grpSpPr>
        <a:xfrm>
          <a:off x="0" y="0"/>
          <a:ext cx="0" cy="0"/>
          <a:chOff x="0" y="0"/>
          <a:chExt cx="0" cy="0"/>
        </a:xfrm>
      </p:grpSpPr>
      <p:sp>
        <p:nvSpPr>
          <p:cNvPr id="2" name="タイトル 1"/>
          <p:cNvSpPr>
            <a:spLocks noGrp="1"/>
          </p:cNvSpPr>
          <p:nvPr>
            <p:ph type="title"/>
          </p:nvPr>
        </p:nvSpPr>
        <p:spPr>
          <a:xfrm>
            <a:off x="200079" y="73124"/>
            <a:ext cx="9705974" cy="503237"/>
          </a:xfrm>
        </p:spPr>
        <p:txBody>
          <a:bodyPr/>
          <a:lstStyle/>
          <a:p>
            <a:r>
              <a:rPr lang="ja-JP" altLang="en-US" smtClean="0"/>
              <a:t>マスター タイトルの書式設定</a:t>
            </a:r>
            <a:endParaRPr lang="ja-JP" altLang="en-US"/>
          </a:p>
        </p:txBody>
      </p:sp>
      <p:sp>
        <p:nvSpPr>
          <p:cNvPr id="3" name="テキスト プレースホルダー 2"/>
          <p:cNvSpPr>
            <a:spLocks noGrp="1"/>
          </p:cNvSpPr>
          <p:nvPr>
            <p:ph type="body" sz="half" idx="1"/>
          </p:nvPr>
        </p:nvSpPr>
        <p:spPr>
          <a:xfrm>
            <a:off x="193675" y="619127"/>
            <a:ext cx="4679950" cy="1511300"/>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グラフ プレースホルダー 3"/>
          <p:cNvSpPr>
            <a:spLocks noGrp="1"/>
          </p:cNvSpPr>
          <p:nvPr>
            <p:ph type="chart" sz="half" idx="2"/>
          </p:nvPr>
        </p:nvSpPr>
        <p:spPr>
          <a:xfrm>
            <a:off x="5026026" y="619127"/>
            <a:ext cx="4679950" cy="1511300"/>
          </a:xfrm>
        </p:spPr>
        <p:txBody>
          <a:bodyPr/>
          <a:lstStyle/>
          <a:p>
            <a:pPr lvl="0"/>
            <a:endParaRPr lang="ja-JP" altLang="en-US" noProof="0" smtClean="0"/>
          </a:p>
        </p:txBody>
      </p:sp>
      <p:sp>
        <p:nvSpPr>
          <p:cNvPr id="5" name="Rectangle 7"/>
          <p:cNvSpPr>
            <a:spLocks noGrp="1" noChangeArrowheads="1"/>
          </p:cNvSpPr>
          <p:nvPr>
            <p:ph type="sldNum" sz="quarter" idx="10"/>
          </p:nvPr>
        </p:nvSpPr>
        <p:spPr>
          <a:xfrm>
            <a:off x="9277354" y="7151693"/>
            <a:ext cx="573087" cy="309563"/>
          </a:xfrm>
          <a:prstGeom prst="rect">
            <a:avLst/>
          </a:prstGeom>
          <a:ln/>
        </p:spPr>
        <p:txBody>
          <a:bodyPr lIns="90438" tIns="45219" rIns="90438" bIns="45219"/>
          <a:lstStyle>
            <a:lvl1pPr>
              <a:defRPr/>
            </a:lvl1pPr>
          </a:lstStyle>
          <a:p>
            <a:pPr fontAlgn="base">
              <a:spcBef>
                <a:spcPct val="0"/>
              </a:spcBef>
              <a:spcAft>
                <a:spcPct val="0"/>
              </a:spcAft>
              <a:defRPr/>
            </a:pPr>
            <a:fld id="{57E8F8A3-1BA4-478F-AD26-CBC46F55E8BD}" type="slidenum">
              <a:rPr kumimoji="0" lang="en-US" altLang="ja-JP">
                <a:solidFill>
                  <a:srgbClr val="000000"/>
                </a:solidFill>
                <a:latin typeface="Arial" charset="0"/>
                <a:cs typeface="Arial" charset="0"/>
              </a:rPr>
              <a:pPr fontAlgn="base">
                <a:spcBef>
                  <a:spcPct val="0"/>
                </a:spcBef>
                <a:spcAft>
                  <a:spcPct val="0"/>
                </a:spcAft>
                <a:defRPr/>
              </a:pPr>
              <a:t>‹#›</a:t>
            </a:fld>
            <a:endParaRPr kumimoji="0" lang="en-US" altLang="ja-JP">
              <a:solidFill>
                <a:srgbClr val="000000"/>
              </a:solidFill>
              <a:latin typeface="Arial" charset="0"/>
              <a:cs typeface="Arial" charset="0"/>
            </a:endParaRPr>
          </a:p>
        </p:txBody>
      </p:sp>
    </p:spTree>
    <p:extLst>
      <p:ext uri="{BB962C8B-B14F-4D97-AF65-F5344CB8AC3E}">
        <p14:creationId xmlns:p14="http://schemas.microsoft.com/office/powerpoint/2010/main" val="13125441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本編スライド">
    <p:spTree>
      <p:nvGrpSpPr>
        <p:cNvPr id="1" name=""/>
        <p:cNvGrpSpPr/>
        <p:nvPr/>
      </p:nvGrpSpPr>
      <p:grpSpPr>
        <a:xfrm>
          <a:off x="0" y="0"/>
          <a:ext cx="0" cy="0"/>
          <a:chOff x="0" y="0"/>
          <a:chExt cx="0" cy="0"/>
        </a:xfrm>
      </p:grpSpPr>
      <p:sp>
        <p:nvSpPr>
          <p:cNvPr id="5" name="タイトル プレースホルダー 11"/>
          <p:cNvSpPr>
            <a:spLocks noGrp="1"/>
          </p:cNvSpPr>
          <p:nvPr>
            <p:ph type="title"/>
          </p:nvPr>
        </p:nvSpPr>
        <p:spPr>
          <a:xfrm>
            <a:off x="128464" y="63498"/>
            <a:ext cx="8915400" cy="530905"/>
          </a:xfrm>
          <a:prstGeom prst="rect">
            <a:avLst/>
          </a:prstGeom>
        </p:spPr>
        <p:txBody>
          <a:bodyPr vert="horz" lIns="91440" tIns="45720" rIns="91440" bIns="45720" rtlCol="0" anchor="ctr">
            <a:noAutofit/>
          </a:bodyPr>
          <a:lstStyle>
            <a:lvl1pPr algn="l">
              <a:defRPr sz="1846" b="1"/>
            </a:lvl1pPr>
          </a:lstStyle>
          <a:p>
            <a:r>
              <a:rPr kumimoji="1" lang="ja-JP" altLang="en-US" dirty="0" smtClean="0"/>
              <a:t>マスター タイトルの書式設定</a:t>
            </a:r>
            <a:endParaRPr kumimoji="1" lang="ja-JP" altLang="en-US" dirty="0"/>
          </a:p>
        </p:txBody>
      </p:sp>
      <p:sp>
        <p:nvSpPr>
          <p:cNvPr id="12" name="コンテンツ プレースホルダー 11"/>
          <p:cNvSpPr>
            <a:spLocks noGrp="1"/>
          </p:cNvSpPr>
          <p:nvPr>
            <p:ph sz="quarter" idx="10"/>
          </p:nvPr>
        </p:nvSpPr>
        <p:spPr>
          <a:xfrm>
            <a:off x="128464" y="672412"/>
            <a:ext cx="9619200" cy="1014000"/>
          </a:xfrm>
          <a:prstGeom prst="roundRect">
            <a:avLst>
              <a:gd name="adj" fmla="val 9980"/>
            </a:avLst>
          </a:prstGeom>
          <a:solidFill>
            <a:srgbClr val="FFFFCC"/>
          </a:solidFill>
          <a:ln>
            <a:solidFill>
              <a:schemeClr val="accent1">
                <a:shade val="50000"/>
              </a:schemeClr>
            </a:solidFill>
          </a:ln>
        </p:spPr>
        <p:txBody>
          <a:bodyPr/>
          <a:lstStyle>
            <a:lvl1pPr marL="316531" indent="-316531">
              <a:buFont typeface="Wingdings" panose="05000000000000000000" pitchFamily="2" charset="2"/>
              <a:buChar char="n"/>
              <a:defRPr sz="1477"/>
            </a:lvl1pPr>
            <a:lvl2pPr marL="422041" indent="0">
              <a:buFont typeface="Wingdings" panose="05000000000000000000" pitchFamily="2" charset="2"/>
              <a:buNone/>
              <a:defRPr/>
            </a:lvl2pPr>
            <a:lvl3pPr marL="844083" indent="0">
              <a:buFont typeface="Wingdings" panose="05000000000000000000" pitchFamily="2" charset="2"/>
              <a:buNone/>
              <a:defRPr/>
            </a:lvl3pPr>
            <a:lvl4pPr marL="1266124" indent="0">
              <a:buFont typeface="Wingdings" panose="05000000000000000000" pitchFamily="2" charset="2"/>
              <a:buNone/>
              <a:defRPr/>
            </a:lvl4pPr>
            <a:lvl5pPr marL="1688165" indent="0">
              <a:buFont typeface="Wingdings" panose="05000000000000000000" pitchFamily="2" charset="2"/>
              <a:buNone/>
              <a:defRPr/>
            </a:lvl5pPr>
          </a:lstStyle>
          <a:p>
            <a:pPr lvl="0"/>
            <a:r>
              <a:rPr kumimoji="1" lang="ja-JP" altLang="en-US" smtClean="0"/>
              <a:t>マスター テキストの書式設定</a:t>
            </a:r>
          </a:p>
        </p:txBody>
      </p:sp>
      <p:sp>
        <p:nvSpPr>
          <p:cNvPr id="6" name="テキスト ボックス 5"/>
          <p:cNvSpPr txBox="1"/>
          <p:nvPr userDrawn="1"/>
        </p:nvSpPr>
        <p:spPr>
          <a:xfrm>
            <a:off x="4592960" y="7111505"/>
            <a:ext cx="936104" cy="264175"/>
          </a:xfrm>
          <a:prstGeom prst="rect">
            <a:avLst/>
          </a:prstGeom>
          <a:noFill/>
        </p:spPr>
        <p:txBody>
          <a:bodyPr wrap="square" rtlCol="0">
            <a:spAutoFit/>
          </a:bodyPr>
          <a:lstStyle/>
          <a:p>
            <a:fld id="{9C629933-4F32-4F95-BE3E-20C169E6BC12}" type="slidenum">
              <a:rPr kumimoji="1" lang="ja-JP" altLang="en-US" sz="1015" b="0" i="0" u="none" strike="noStrike" kern="1200" cap="none" spc="0" normalizeH="0" baseline="0" noProof="0" smtClean="0">
                <a:ln>
                  <a:noFill/>
                </a:ln>
                <a:solidFill>
                  <a:srgbClr val="898989"/>
                </a:solidFill>
                <a:effectLst/>
                <a:uLnTx/>
                <a:uFillTx/>
                <a:latin typeface="Meiryo UI" panose="020B0604030504040204" pitchFamily="50" charset="-128"/>
                <a:ea typeface="Meiryo UI" panose="020B0604030504040204" pitchFamily="50" charset="-128"/>
                <a:cs typeface="Meiryo UI" panose="020B0604030504040204" pitchFamily="50" charset="-128"/>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1" lang="ja-JP" altLang="en-US" sz="1015" dirty="0">
              <a:solidFill>
                <a:srgbClr val="898989"/>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9067320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1686529"/>
            <a:ext cx="8420100" cy="548690"/>
          </a:xfrm>
          <a:prstGeom prst="rect">
            <a:avLst/>
          </a:prstGeom>
        </p:spPr>
        <p:txBody>
          <a:bodyPr/>
          <a:lstStyle>
            <a:lvl1pPr>
              <a:defRPr sz="2800" b="1"/>
            </a:lvl1pPr>
          </a:lstStyle>
          <a:p>
            <a:r>
              <a:rPr kumimoji="1" lang="ja-JP" altLang="en-US" smtClean="0"/>
              <a:t>マスター タイトルの書式設定</a:t>
            </a:r>
            <a:endParaRPr kumimoji="1" lang="ja-JP" altLang="en-US" dirty="0"/>
          </a:p>
        </p:txBody>
      </p:sp>
      <p:sp>
        <p:nvSpPr>
          <p:cNvPr id="7" name="コンテンツ プレースホルダー 6"/>
          <p:cNvSpPr>
            <a:spLocks noGrp="1"/>
          </p:cNvSpPr>
          <p:nvPr>
            <p:ph sz="quarter" idx="10"/>
          </p:nvPr>
        </p:nvSpPr>
        <p:spPr>
          <a:xfrm>
            <a:off x="287912" y="2466611"/>
            <a:ext cx="9273600" cy="2375100"/>
          </a:xfrm>
          <a:prstGeom prst="roundRect">
            <a:avLst>
              <a:gd name="adj" fmla="val 3775"/>
            </a:avLst>
          </a:prstGeom>
          <a:ln>
            <a:solidFill>
              <a:schemeClr val="tx1"/>
            </a:solidFill>
          </a:ln>
        </p:spPr>
        <p:txBody>
          <a:bodyPr/>
          <a:lstStyle>
            <a:lvl1pPr marL="0" indent="0">
              <a:buNone/>
              <a:defRPr sz="1400"/>
            </a:lvl1pPr>
            <a:lvl2pPr>
              <a:defRPr sz="1400"/>
            </a:lvl2pPr>
            <a:lvl3pPr>
              <a:defRPr sz="1400"/>
            </a:lvl3pPr>
            <a:lvl4pPr marL="1371600" indent="0">
              <a:buFontTx/>
              <a:buNone/>
              <a:defRPr sz="1400"/>
            </a:lvl4pPr>
            <a:lvl5pPr>
              <a:defRPr sz="1400"/>
            </a:lvl5pPr>
          </a:lstStyle>
          <a:p>
            <a:pPr lvl="0"/>
            <a:r>
              <a:rPr kumimoji="1" lang="ja-JP" altLang="en-US" smtClean="0"/>
              <a:t>マスター テキストの書式設定</a:t>
            </a:r>
          </a:p>
        </p:txBody>
      </p:sp>
    </p:spTree>
    <p:extLst>
      <p:ext uri="{BB962C8B-B14F-4D97-AF65-F5344CB8AC3E}">
        <p14:creationId xmlns:p14="http://schemas.microsoft.com/office/powerpoint/2010/main" val="32990910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編スライド">
    <p:spTree>
      <p:nvGrpSpPr>
        <p:cNvPr id="1" name=""/>
        <p:cNvGrpSpPr/>
        <p:nvPr/>
      </p:nvGrpSpPr>
      <p:grpSpPr>
        <a:xfrm>
          <a:off x="0" y="0"/>
          <a:ext cx="0" cy="0"/>
          <a:chOff x="0" y="0"/>
          <a:chExt cx="0" cy="0"/>
        </a:xfrm>
      </p:grpSpPr>
      <p:cxnSp>
        <p:nvCxnSpPr>
          <p:cNvPr id="4" name="直線コネクタ 3"/>
          <p:cNvCxnSpPr/>
          <p:nvPr userDrawn="1"/>
        </p:nvCxnSpPr>
        <p:spPr>
          <a:xfrm>
            <a:off x="126169" y="594403"/>
            <a:ext cx="961790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タイトル プレースホルダー 11"/>
          <p:cNvSpPr>
            <a:spLocks noGrp="1"/>
          </p:cNvSpPr>
          <p:nvPr>
            <p:ph type="title"/>
          </p:nvPr>
        </p:nvSpPr>
        <p:spPr>
          <a:xfrm>
            <a:off x="124272" y="63498"/>
            <a:ext cx="8915400" cy="530905"/>
          </a:xfrm>
          <a:prstGeom prst="rect">
            <a:avLst/>
          </a:prstGeom>
        </p:spPr>
        <p:txBody>
          <a:bodyPr vert="horz" lIns="91440" tIns="45720" rIns="91440" bIns="45720" rtlCol="0" anchor="ctr">
            <a:noAutofit/>
          </a:bodyPr>
          <a:lstStyle>
            <a:lvl1pPr algn="l">
              <a:defRPr sz="2400" b="1"/>
            </a:lvl1pPr>
          </a:lstStyle>
          <a:p>
            <a:r>
              <a:rPr kumimoji="1" lang="ja-JP" altLang="en-US" smtClean="0"/>
              <a:t>マスター タイトルの書式設定</a:t>
            </a:r>
            <a:endParaRPr kumimoji="1" lang="ja-JP" altLang="en-US" dirty="0"/>
          </a:p>
        </p:txBody>
      </p:sp>
      <p:sp>
        <p:nvSpPr>
          <p:cNvPr id="6" name="テキスト ボックス 5"/>
          <p:cNvSpPr txBox="1"/>
          <p:nvPr userDrawn="1"/>
        </p:nvSpPr>
        <p:spPr>
          <a:xfrm>
            <a:off x="4592960" y="7111505"/>
            <a:ext cx="936104" cy="278538"/>
          </a:xfrm>
          <a:prstGeom prst="rect">
            <a:avLst/>
          </a:prstGeom>
          <a:noFill/>
        </p:spPr>
        <p:txBody>
          <a:bodyPr wrap="square" rtlCol="0">
            <a:spAutoFit/>
          </a:bodyPr>
          <a:lstStyle/>
          <a:p>
            <a:fld id="{9C629933-4F32-4F95-BE3E-20C169E6BC12}" type="slidenum">
              <a:rPr lang="ja-JP" altLang="en-US" sz="1100">
                <a:solidFill>
                  <a:srgbClr val="898989"/>
                </a:solidFill>
                <a:latin typeface="Meiryo UI" panose="020B0604030504040204" pitchFamily="50" charset="-128"/>
                <a:ea typeface="Meiryo UI" panose="020B0604030504040204" pitchFamily="50" charset="-128"/>
                <a:cs typeface="Meiryo UI" panose="020B0604030504040204" pitchFamily="50" charset="-128"/>
              </a:rPr>
              <a:pPr/>
              <a:t>‹#›</a:t>
            </a:fld>
            <a:endParaRPr lang="ja-JP" altLang="en-US" sz="1100" dirty="0">
              <a:solidFill>
                <a:srgbClr val="898989"/>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233421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本編スライド">
    <p:spTree>
      <p:nvGrpSpPr>
        <p:cNvPr id="1" name=""/>
        <p:cNvGrpSpPr/>
        <p:nvPr/>
      </p:nvGrpSpPr>
      <p:grpSpPr>
        <a:xfrm>
          <a:off x="0" y="0"/>
          <a:ext cx="0" cy="0"/>
          <a:chOff x="0" y="0"/>
          <a:chExt cx="0" cy="0"/>
        </a:xfrm>
      </p:grpSpPr>
      <p:cxnSp>
        <p:nvCxnSpPr>
          <p:cNvPr id="4" name="直線コネクタ 3"/>
          <p:cNvCxnSpPr/>
          <p:nvPr userDrawn="1"/>
        </p:nvCxnSpPr>
        <p:spPr>
          <a:xfrm>
            <a:off x="126169" y="594403"/>
            <a:ext cx="9617907"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タイトル プレースホルダー 11"/>
          <p:cNvSpPr>
            <a:spLocks noGrp="1"/>
          </p:cNvSpPr>
          <p:nvPr>
            <p:ph type="title"/>
          </p:nvPr>
        </p:nvSpPr>
        <p:spPr>
          <a:xfrm>
            <a:off x="128464" y="63498"/>
            <a:ext cx="8915400" cy="530905"/>
          </a:xfrm>
          <a:prstGeom prst="rect">
            <a:avLst/>
          </a:prstGeom>
        </p:spPr>
        <p:txBody>
          <a:bodyPr vert="horz" lIns="91440" tIns="45720" rIns="91440" bIns="45720" rtlCol="0" anchor="ctr">
            <a:noAutofit/>
          </a:bodyPr>
          <a:lstStyle>
            <a:lvl1pPr algn="l">
              <a:defRPr sz="2400" b="1"/>
            </a:lvl1pPr>
          </a:lstStyle>
          <a:p>
            <a:r>
              <a:rPr kumimoji="1" lang="ja-JP" altLang="en-US" smtClean="0"/>
              <a:t>マスター タイトルの書式設定</a:t>
            </a:r>
            <a:endParaRPr kumimoji="1" lang="ja-JP" altLang="en-US" dirty="0"/>
          </a:p>
        </p:txBody>
      </p:sp>
      <p:sp>
        <p:nvSpPr>
          <p:cNvPr id="12" name="コンテンツ プレースホルダー 11"/>
          <p:cNvSpPr>
            <a:spLocks noGrp="1"/>
          </p:cNvSpPr>
          <p:nvPr>
            <p:ph sz="quarter" idx="10"/>
          </p:nvPr>
        </p:nvSpPr>
        <p:spPr>
          <a:xfrm>
            <a:off x="128466" y="672412"/>
            <a:ext cx="9619201" cy="1014000"/>
          </a:xfrm>
          <a:prstGeom prst="roundRect">
            <a:avLst>
              <a:gd name="adj" fmla="val 9980"/>
            </a:avLst>
          </a:prstGeom>
          <a:solidFill>
            <a:srgbClr val="FFFFCC"/>
          </a:solidFill>
          <a:ln>
            <a:solidFill>
              <a:schemeClr val="accent1">
                <a:shade val="50000"/>
              </a:schemeClr>
            </a:solidFill>
          </a:ln>
        </p:spPr>
        <p:txBody>
          <a:bodyPr/>
          <a:lstStyle>
            <a:lvl1pPr marL="342900" indent="-342900">
              <a:buFont typeface="Wingdings" panose="05000000000000000000" pitchFamily="2" charset="2"/>
              <a:buChar char="n"/>
              <a:defRPr sz="1600"/>
            </a:lvl1pPr>
            <a:lvl2pPr marL="457200" indent="0">
              <a:buFont typeface="Wingdings" panose="05000000000000000000" pitchFamily="2" charset="2"/>
              <a:buNone/>
              <a:defRPr/>
            </a:lvl2pPr>
            <a:lvl3pPr marL="914400" indent="0">
              <a:buFont typeface="Wingdings" panose="05000000000000000000" pitchFamily="2" charset="2"/>
              <a:buNone/>
              <a:defRPr/>
            </a:lvl3pPr>
            <a:lvl4pPr marL="1371600" indent="0">
              <a:buFont typeface="Wingdings" panose="05000000000000000000" pitchFamily="2" charset="2"/>
              <a:buNone/>
              <a:defRPr/>
            </a:lvl4pPr>
            <a:lvl5pPr marL="1828800" indent="0">
              <a:buFont typeface="Wingdings" panose="05000000000000000000" pitchFamily="2" charset="2"/>
              <a:buNone/>
              <a:defRPr/>
            </a:lvl5pPr>
          </a:lstStyle>
          <a:p>
            <a:pPr lvl="0"/>
            <a:r>
              <a:rPr kumimoji="1" lang="ja-JP" altLang="en-US" smtClean="0"/>
              <a:t>マスター テキストの書式設定</a:t>
            </a:r>
          </a:p>
        </p:txBody>
      </p:sp>
      <p:sp>
        <p:nvSpPr>
          <p:cNvPr id="6" name="テキスト ボックス 5"/>
          <p:cNvSpPr txBox="1"/>
          <p:nvPr userDrawn="1"/>
        </p:nvSpPr>
        <p:spPr>
          <a:xfrm>
            <a:off x="4592960" y="7111505"/>
            <a:ext cx="936104" cy="278538"/>
          </a:xfrm>
          <a:prstGeom prst="rect">
            <a:avLst/>
          </a:prstGeom>
          <a:noFill/>
        </p:spPr>
        <p:txBody>
          <a:bodyPr wrap="square" rtlCol="0">
            <a:spAutoFit/>
          </a:bodyPr>
          <a:lstStyle/>
          <a:p>
            <a:fld id="{9C629933-4F32-4F95-BE3E-20C169E6BC12}" type="slidenum">
              <a:rPr lang="ja-JP" altLang="en-US" sz="1100">
                <a:solidFill>
                  <a:srgbClr val="898989"/>
                </a:solidFill>
                <a:latin typeface="Meiryo UI" panose="020B0604030504040204" pitchFamily="50" charset="-128"/>
                <a:ea typeface="Meiryo UI" panose="020B0604030504040204" pitchFamily="50" charset="-128"/>
                <a:cs typeface="Meiryo UI" panose="020B0604030504040204" pitchFamily="50" charset="-128"/>
              </a:rPr>
              <a:pPr/>
              <a:t>‹#›</a:t>
            </a:fld>
            <a:endParaRPr lang="ja-JP" altLang="en-US" sz="1100" dirty="0">
              <a:solidFill>
                <a:srgbClr val="898989"/>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30018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596155" y="1157263"/>
            <a:ext cx="8713693" cy="1592527"/>
          </a:xfrm>
        </p:spPr>
        <p:txBody>
          <a:bodyPr/>
          <a:lstStyle>
            <a:lvl1pPr algn="ctr">
              <a:defRPr sz="3200">
                <a:solidFill>
                  <a:schemeClr val="tx1"/>
                </a:solidFill>
                <a:latin typeface="+mn-lt"/>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1485900" y="3059350"/>
            <a:ext cx="6934200" cy="976032"/>
          </a:xfrm>
          <a:prstGeom prst="rect">
            <a:avLst/>
          </a:prstGeom>
        </p:spPr>
        <p:txBody>
          <a:bodyPr/>
          <a:lstStyle>
            <a:lvl1pPr marL="0" indent="0" algn="ctr">
              <a:buNone/>
              <a:defRPr sz="2000">
                <a:solidFill>
                  <a:schemeClr val="tx1"/>
                </a:solidFill>
                <a:latin typeface="+mn-lt"/>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3" indent="0" algn="ctr">
              <a:buNone/>
              <a:defRPr>
                <a:solidFill>
                  <a:schemeClr val="tx1">
                    <a:tint val="75000"/>
                  </a:schemeClr>
                </a:solidFill>
              </a:defRPr>
            </a:lvl4pPr>
            <a:lvl5pPr marL="1828591" indent="0" algn="ctr">
              <a:buNone/>
              <a:defRPr>
                <a:solidFill>
                  <a:schemeClr val="tx1">
                    <a:tint val="75000"/>
                  </a:schemeClr>
                </a:solidFill>
              </a:defRPr>
            </a:lvl5pPr>
            <a:lvl6pPr marL="2285739" indent="0" algn="ctr">
              <a:buNone/>
              <a:defRPr>
                <a:solidFill>
                  <a:schemeClr val="tx1">
                    <a:tint val="75000"/>
                  </a:schemeClr>
                </a:solidFill>
              </a:defRPr>
            </a:lvl6pPr>
            <a:lvl7pPr marL="2742887" indent="0" algn="ctr">
              <a:buNone/>
              <a:defRPr>
                <a:solidFill>
                  <a:schemeClr val="tx1">
                    <a:tint val="75000"/>
                  </a:schemeClr>
                </a:solidFill>
              </a:defRPr>
            </a:lvl7pPr>
            <a:lvl8pPr marL="3200035" indent="0" algn="ctr">
              <a:buNone/>
              <a:defRPr>
                <a:solidFill>
                  <a:schemeClr val="tx1">
                    <a:tint val="75000"/>
                  </a:schemeClr>
                </a:solidFill>
              </a:defRPr>
            </a:lvl8pPr>
            <a:lvl9pPr marL="3657183" indent="0" algn="ctr">
              <a:buNone/>
              <a:defRPr>
                <a:solidFill>
                  <a:schemeClr val="tx1">
                    <a:tint val="75000"/>
                  </a:schemeClr>
                </a:solidFill>
              </a:defRPr>
            </a:lvl9pPr>
          </a:lstStyle>
          <a:p>
            <a:r>
              <a:rPr kumimoji="1" lang="ja-JP" altLang="en-US" dirty="0"/>
              <a:t>マスター サブタイトルの書式設定</a:t>
            </a:r>
          </a:p>
        </p:txBody>
      </p:sp>
    </p:spTree>
    <p:extLst>
      <p:ext uri="{BB962C8B-B14F-4D97-AF65-F5344CB8AC3E}">
        <p14:creationId xmlns:p14="http://schemas.microsoft.com/office/powerpoint/2010/main" val="3727187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1785661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タイトル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596155" y="1157263"/>
            <a:ext cx="8713693" cy="1592527"/>
          </a:xfrm>
        </p:spPr>
        <p:txBody>
          <a:bodyPr/>
          <a:lstStyle>
            <a:lvl1pPr algn="ctr">
              <a:defRPr sz="3200">
                <a:solidFill>
                  <a:schemeClr val="tx1"/>
                </a:solidFill>
                <a:latin typeface="+mn-lt"/>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1485900" y="3059350"/>
            <a:ext cx="6934200" cy="976032"/>
          </a:xfrm>
          <a:prstGeom prst="rect">
            <a:avLst/>
          </a:prstGeom>
        </p:spPr>
        <p:txBody>
          <a:bodyPr/>
          <a:lstStyle>
            <a:lvl1pPr marL="0" indent="0" algn="ctr">
              <a:buNone/>
              <a:defRPr sz="2000">
                <a:solidFill>
                  <a:schemeClr val="tx1"/>
                </a:solidFill>
                <a:latin typeface="+mn-lt"/>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3" indent="0" algn="ctr">
              <a:buNone/>
              <a:defRPr>
                <a:solidFill>
                  <a:schemeClr val="tx1">
                    <a:tint val="75000"/>
                  </a:schemeClr>
                </a:solidFill>
              </a:defRPr>
            </a:lvl4pPr>
            <a:lvl5pPr marL="1828591" indent="0" algn="ctr">
              <a:buNone/>
              <a:defRPr>
                <a:solidFill>
                  <a:schemeClr val="tx1">
                    <a:tint val="75000"/>
                  </a:schemeClr>
                </a:solidFill>
              </a:defRPr>
            </a:lvl5pPr>
            <a:lvl6pPr marL="2285739" indent="0" algn="ctr">
              <a:buNone/>
              <a:defRPr>
                <a:solidFill>
                  <a:schemeClr val="tx1">
                    <a:tint val="75000"/>
                  </a:schemeClr>
                </a:solidFill>
              </a:defRPr>
            </a:lvl6pPr>
            <a:lvl7pPr marL="2742887" indent="0" algn="ctr">
              <a:buNone/>
              <a:defRPr>
                <a:solidFill>
                  <a:schemeClr val="tx1">
                    <a:tint val="75000"/>
                  </a:schemeClr>
                </a:solidFill>
              </a:defRPr>
            </a:lvl7pPr>
            <a:lvl8pPr marL="3200035" indent="0" algn="ctr">
              <a:buNone/>
              <a:defRPr>
                <a:solidFill>
                  <a:schemeClr val="tx1">
                    <a:tint val="75000"/>
                  </a:schemeClr>
                </a:solidFill>
              </a:defRPr>
            </a:lvl8pPr>
            <a:lvl9pPr marL="3657183" indent="0" algn="ctr">
              <a:buNone/>
              <a:defRPr>
                <a:solidFill>
                  <a:schemeClr val="tx1">
                    <a:tint val="75000"/>
                  </a:schemeClr>
                </a:solidFill>
              </a:defRPr>
            </a:lvl9pPr>
          </a:lstStyle>
          <a:p>
            <a:r>
              <a:rPr kumimoji="1" lang="ja-JP" altLang="en-US" dirty="0"/>
              <a:t>マスター サブタイトルの書式設定</a:t>
            </a:r>
          </a:p>
        </p:txBody>
      </p:sp>
    </p:spTree>
    <p:extLst>
      <p:ext uri="{BB962C8B-B14F-4D97-AF65-F5344CB8AC3E}">
        <p14:creationId xmlns:p14="http://schemas.microsoft.com/office/powerpoint/2010/main" val="2059160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37613107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596155" y="1157263"/>
            <a:ext cx="8713693" cy="1592527"/>
          </a:xfrm>
        </p:spPr>
        <p:txBody>
          <a:bodyPr/>
          <a:lstStyle>
            <a:lvl1pPr algn="ctr">
              <a:defRPr sz="3200">
                <a:solidFill>
                  <a:schemeClr val="tx1"/>
                </a:solidFill>
                <a:latin typeface="+mn-lt"/>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1485900" y="3059350"/>
            <a:ext cx="6934200" cy="976032"/>
          </a:xfrm>
          <a:prstGeom prst="rect">
            <a:avLst/>
          </a:prstGeom>
        </p:spPr>
        <p:txBody>
          <a:bodyPr/>
          <a:lstStyle>
            <a:lvl1pPr marL="0" indent="0" algn="ctr">
              <a:buNone/>
              <a:defRPr sz="2000">
                <a:solidFill>
                  <a:schemeClr val="tx1"/>
                </a:solidFill>
                <a:latin typeface="+mn-lt"/>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3" indent="0" algn="ctr">
              <a:buNone/>
              <a:defRPr>
                <a:solidFill>
                  <a:schemeClr val="tx1">
                    <a:tint val="75000"/>
                  </a:schemeClr>
                </a:solidFill>
              </a:defRPr>
            </a:lvl4pPr>
            <a:lvl5pPr marL="1828591" indent="0" algn="ctr">
              <a:buNone/>
              <a:defRPr>
                <a:solidFill>
                  <a:schemeClr val="tx1">
                    <a:tint val="75000"/>
                  </a:schemeClr>
                </a:solidFill>
              </a:defRPr>
            </a:lvl5pPr>
            <a:lvl6pPr marL="2285739" indent="0" algn="ctr">
              <a:buNone/>
              <a:defRPr>
                <a:solidFill>
                  <a:schemeClr val="tx1">
                    <a:tint val="75000"/>
                  </a:schemeClr>
                </a:solidFill>
              </a:defRPr>
            </a:lvl6pPr>
            <a:lvl7pPr marL="2742887" indent="0" algn="ctr">
              <a:buNone/>
              <a:defRPr>
                <a:solidFill>
                  <a:schemeClr val="tx1">
                    <a:tint val="75000"/>
                  </a:schemeClr>
                </a:solidFill>
              </a:defRPr>
            </a:lvl7pPr>
            <a:lvl8pPr marL="3200035" indent="0" algn="ctr">
              <a:buNone/>
              <a:defRPr>
                <a:solidFill>
                  <a:schemeClr val="tx1">
                    <a:tint val="75000"/>
                  </a:schemeClr>
                </a:solidFill>
              </a:defRPr>
            </a:lvl8pPr>
            <a:lvl9pPr marL="3657183" indent="0" algn="ctr">
              <a:buNone/>
              <a:defRPr>
                <a:solidFill>
                  <a:schemeClr val="tx1">
                    <a:tint val="75000"/>
                  </a:schemeClr>
                </a:solidFill>
              </a:defRPr>
            </a:lvl9pPr>
          </a:lstStyle>
          <a:p>
            <a:r>
              <a:rPr kumimoji="1" lang="ja-JP" altLang="en-US" dirty="0"/>
              <a:t>マスター サブタイトルの書式設定</a:t>
            </a:r>
          </a:p>
        </p:txBody>
      </p:sp>
    </p:spTree>
    <p:extLst>
      <p:ext uri="{BB962C8B-B14F-4D97-AF65-F5344CB8AC3E}">
        <p14:creationId xmlns:p14="http://schemas.microsoft.com/office/powerpoint/2010/main" val="4049327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8738" y="55395"/>
            <a:ext cx="9611526" cy="374888"/>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3300888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情報共有会中扉">
    <p:spTree>
      <p:nvGrpSpPr>
        <p:cNvPr id="1" name=""/>
        <p:cNvGrpSpPr/>
        <p:nvPr/>
      </p:nvGrpSpPr>
      <p:grpSpPr>
        <a:xfrm>
          <a:off x="0" y="0"/>
          <a:ext cx="0" cy="0"/>
          <a:chOff x="0" y="0"/>
          <a:chExt cx="0" cy="0"/>
        </a:xfrm>
      </p:grpSpPr>
      <p:sp>
        <p:nvSpPr>
          <p:cNvPr id="2" name="タイトル 1"/>
          <p:cNvSpPr>
            <a:spLocks noGrp="1"/>
          </p:cNvSpPr>
          <p:nvPr>
            <p:ph type="ctrTitle"/>
          </p:nvPr>
        </p:nvSpPr>
        <p:spPr>
          <a:xfrm>
            <a:off x="596155" y="2307963"/>
            <a:ext cx="8713693" cy="1592527"/>
          </a:xfrm>
        </p:spPr>
        <p:txBody>
          <a:bodyPr/>
          <a:lstStyle>
            <a:lvl1pPr algn="ctr">
              <a:defRPr sz="3200">
                <a:solidFill>
                  <a:schemeClr val="tx1"/>
                </a:solidFill>
                <a:latin typeface="+mn-lt"/>
              </a:defRPr>
            </a:lvl1pPr>
          </a:lstStyle>
          <a:p>
            <a:r>
              <a:rPr kumimoji="1" lang="ja-JP" altLang="en-US" smtClean="0"/>
              <a:t>マスター タイトルの書式設定</a:t>
            </a:r>
            <a:endParaRPr kumimoji="1" lang="ja-JP" altLang="en-US" dirty="0"/>
          </a:p>
        </p:txBody>
      </p:sp>
    </p:spTree>
    <p:extLst>
      <p:ext uri="{BB962C8B-B14F-4D97-AF65-F5344CB8AC3E}">
        <p14:creationId xmlns:p14="http://schemas.microsoft.com/office/powerpoint/2010/main" val="42909237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theme" Target="../theme/theme4.xml"/><Relationship Id="rId4"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3.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423940"/>
      </p:ext>
    </p:extLst>
  </p:cSld>
  <p:clrMap bg1="lt1" tx1="dk1" bg2="lt2" tx2="dk2" accent1="accent1" accent2="accent2" accent3="accent3" accent4="accent4" accent5="accent5" accent6="accent6" hlink="hlink" folHlink="folHlink"/>
  <p:sldLayoutIdLst>
    <p:sldLayoutId id="2147484073" r:id="rId1"/>
    <p:sldLayoutId id="2147484093" r:id="rId2"/>
  </p:sldLayoutIdLst>
  <p:timing>
    <p:tnLst>
      <p:par>
        <p:cTn id="1" dur="indefinite" restart="never" nodeType="tmRoot"/>
      </p:par>
    </p:tnLst>
  </p:timing>
  <p:hf hdr="0" ftr="0" dt="0"/>
  <p:txStyles>
    <p:titleStyle>
      <a:lvl1pPr algn="l" defTabSz="844083" rtl="0" eaLnBrk="1" latinLnBrk="0" hangingPunct="1">
        <a:spcBef>
          <a:spcPct val="0"/>
        </a:spcBef>
        <a:buNone/>
        <a:defRPr kumimoji="1" sz="1846" kern="1200">
          <a:solidFill>
            <a:schemeClr val="tx1"/>
          </a:solidFill>
          <a:latin typeface="Meiryo UI" panose="020B0604030504040204" pitchFamily="50" charset="-128"/>
          <a:ea typeface="Meiryo UI" panose="020B0604030504040204" pitchFamily="50" charset="-128"/>
          <a:cs typeface="+mj-cs"/>
        </a:defRPr>
      </a:lvl1pPr>
    </p:titleStyle>
    <p:bodyStyle>
      <a:lvl1pPr marL="263776" indent="-263776" algn="l" defTabSz="844083" rtl="0" eaLnBrk="1" latinLnBrk="0" hangingPunct="1">
        <a:spcBef>
          <a:spcPct val="20000"/>
        </a:spcBef>
        <a:buFont typeface="Wingdings" panose="05000000000000000000" pitchFamily="2" charset="2"/>
        <a:buChar char="n"/>
        <a:defRPr kumimoji="1" sz="1292" kern="1200">
          <a:solidFill>
            <a:schemeClr val="tx1"/>
          </a:solidFill>
          <a:latin typeface="Meiryo UI" panose="020B0604030504040204" pitchFamily="50" charset="-128"/>
          <a:ea typeface="Meiryo UI" panose="020B0604030504040204" pitchFamily="50" charset="-128"/>
          <a:cs typeface="+mn-cs"/>
        </a:defRPr>
      </a:lvl1pPr>
      <a:lvl2pPr marL="515828" indent="-263776" algn="l" defTabSz="844083" rtl="0" eaLnBrk="1" latinLnBrk="0" hangingPunct="1">
        <a:spcBef>
          <a:spcPct val="20000"/>
        </a:spcBef>
        <a:buFont typeface="Wingdings" panose="05000000000000000000" pitchFamily="2" charset="2"/>
        <a:buChar char="ü"/>
        <a:defRPr kumimoji="1" sz="1292" kern="1200">
          <a:solidFill>
            <a:schemeClr val="tx1"/>
          </a:solidFill>
          <a:latin typeface="Meiryo UI" panose="020B0604030504040204" pitchFamily="50" charset="-128"/>
          <a:ea typeface="Meiryo UI" panose="020B0604030504040204" pitchFamily="50" charset="-128"/>
          <a:cs typeface="+mn-cs"/>
        </a:defRPr>
      </a:lvl2pPr>
      <a:lvl3pPr marL="757623" indent="-263776" algn="l" defTabSz="844083" rtl="0" eaLnBrk="1" latinLnBrk="0" hangingPunct="1">
        <a:spcBef>
          <a:spcPct val="20000"/>
        </a:spcBef>
        <a:buFont typeface="Wingdings" panose="05000000000000000000" pitchFamily="2" charset="2"/>
        <a:buChar char="ü"/>
        <a:defRPr kumimoji="1" sz="1292" kern="1200">
          <a:solidFill>
            <a:schemeClr val="tx1"/>
          </a:solidFill>
          <a:latin typeface="Meiryo UI" panose="020B0604030504040204" pitchFamily="50" charset="-128"/>
          <a:ea typeface="Meiryo UI" panose="020B0604030504040204" pitchFamily="50" charset="-128"/>
          <a:cs typeface="+mn-cs"/>
        </a:defRPr>
      </a:lvl3pPr>
      <a:lvl4pPr marL="907096" indent="-161196" algn="l" defTabSz="844083" rtl="0" eaLnBrk="1" latinLnBrk="0" hangingPunct="1">
        <a:spcBef>
          <a:spcPct val="20000"/>
        </a:spcBef>
        <a:buFont typeface="Wingdings" panose="05000000000000000000" pitchFamily="2" charset="2"/>
        <a:buChar char="ü"/>
        <a:defRPr kumimoji="1" sz="1292" kern="1200">
          <a:solidFill>
            <a:schemeClr val="tx1"/>
          </a:solidFill>
          <a:latin typeface="Meiryo UI" panose="020B0604030504040204" pitchFamily="50" charset="-128"/>
          <a:ea typeface="Meiryo UI" panose="020B0604030504040204" pitchFamily="50" charset="-128"/>
          <a:cs typeface="+mn-cs"/>
        </a:defRPr>
      </a:lvl4pPr>
      <a:lvl5pPr marL="996486" indent="-89391" algn="l" defTabSz="844083" rtl="0" eaLnBrk="1" latinLnBrk="0" hangingPunct="1">
        <a:spcBef>
          <a:spcPct val="20000"/>
        </a:spcBef>
        <a:buFont typeface="Wingdings" panose="05000000000000000000" pitchFamily="2" charset="2"/>
        <a:buChar char="ü"/>
        <a:defRPr kumimoji="1" sz="1292" kern="1200">
          <a:solidFill>
            <a:schemeClr val="tx1"/>
          </a:solidFill>
          <a:latin typeface="Meiryo UI" panose="020B0604030504040204" pitchFamily="50" charset="-128"/>
          <a:ea typeface="Meiryo UI" panose="020B0604030504040204" pitchFamily="50" charset="-128"/>
          <a:cs typeface="+mn-cs"/>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userDrawn="1"/>
        </p:nvSpPr>
        <p:spPr>
          <a:xfrm>
            <a:off x="4599709" y="7202433"/>
            <a:ext cx="706582" cy="270074"/>
          </a:xfrm>
          <a:prstGeom prst="rect">
            <a:avLst/>
          </a:prstGeom>
          <a:noFill/>
        </p:spPr>
        <p:txBody>
          <a:bodyPr wrap="square" rtlCol="0">
            <a:spAutoFit/>
          </a:bodyPr>
          <a:lstStyle/>
          <a:p>
            <a:pPr algn="ctr"/>
            <a:fld id="{2F101A5D-C534-455B-A1B7-FEFA57DB3C14}" type="slidenum">
              <a:rPr kumimoji="1" lang="ja-JP" altLang="en-US" sz="1050" smtClean="0">
                <a:latin typeface="+mn-lt"/>
              </a:rPr>
              <a:pPr algn="ctr"/>
              <a:t>‹#›</a:t>
            </a:fld>
            <a:endParaRPr kumimoji="1" lang="ja-JP" altLang="en-US" sz="1050" dirty="0">
              <a:latin typeface="+mn-lt"/>
            </a:endParaRPr>
          </a:p>
        </p:txBody>
      </p:sp>
    </p:spTree>
    <p:extLst>
      <p:ext uri="{BB962C8B-B14F-4D97-AF65-F5344CB8AC3E}">
        <p14:creationId xmlns:p14="http://schemas.microsoft.com/office/powerpoint/2010/main" val="394846236"/>
      </p:ext>
    </p:extLst>
  </p:cSld>
  <p:clrMap bg1="lt1" tx1="dk1" bg2="lt2" tx2="dk2" accent1="accent1" accent2="accent2" accent3="accent3" accent4="accent4" accent5="accent5" accent6="accent6" hlink="hlink" folHlink="folHlink"/>
  <p:sldLayoutIdLst>
    <p:sldLayoutId id="2147484096" r:id="rId1"/>
    <p:sldLayoutId id="2147484097" r:id="rId2"/>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userDrawn="1"/>
        </p:nvSpPr>
        <p:spPr>
          <a:xfrm>
            <a:off x="4599709" y="7202433"/>
            <a:ext cx="706582" cy="270074"/>
          </a:xfrm>
          <a:prstGeom prst="rect">
            <a:avLst/>
          </a:prstGeom>
          <a:noFill/>
        </p:spPr>
        <p:txBody>
          <a:bodyPr wrap="square" rtlCol="0">
            <a:spAutoFit/>
          </a:bodyPr>
          <a:lstStyle/>
          <a:p>
            <a:pPr algn="ctr"/>
            <a:fld id="{2F101A5D-C534-455B-A1B7-FEFA57DB3C14}" type="slidenum">
              <a:rPr kumimoji="1" lang="ja-JP" altLang="en-US" sz="1050" smtClean="0">
                <a:latin typeface="+mn-lt"/>
              </a:rPr>
              <a:pPr algn="ctr"/>
              <a:t>‹#›</a:t>
            </a:fld>
            <a:endParaRPr kumimoji="1" lang="ja-JP" altLang="en-US" sz="1050" dirty="0">
              <a:latin typeface="+mn-lt"/>
            </a:endParaRPr>
          </a:p>
        </p:txBody>
      </p:sp>
    </p:spTree>
    <p:extLst>
      <p:ext uri="{BB962C8B-B14F-4D97-AF65-F5344CB8AC3E}">
        <p14:creationId xmlns:p14="http://schemas.microsoft.com/office/powerpoint/2010/main" val="2924082946"/>
      </p:ext>
    </p:extLst>
  </p:cSld>
  <p:clrMap bg1="lt1" tx1="dk1" bg2="lt2" tx2="dk2" accent1="accent1" accent2="accent2" accent3="accent3" accent4="accent4" accent5="accent5" accent6="accent6" hlink="hlink" folHlink="folHlink"/>
  <p:sldLayoutIdLst>
    <p:sldLayoutId id="2147484102" r:id="rId1"/>
    <p:sldLayoutId id="2147484103" r:id="rId2"/>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400">
              <a:solidFill>
                <a:prstClr val="black"/>
              </a:solidFill>
            </a:endParaRPr>
          </a:p>
        </p:txBody>
      </p:sp>
      <p:sp>
        <p:nvSpPr>
          <p:cNvPr id="4" name="テキスト ボックス 3"/>
          <p:cNvSpPr txBox="1"/>
          <p:nvPr userDrawn="1"/>
        </p:nvSpPr>
        <p:spPr>
          <a:xfrm>
            <a:off x="4599709" y="7202433"/>
            <a:ext cx="706582" cy="270074"/>
          </a:xfrm>
          <a:prstGeom prst="rect">
            <a:avLst/>
          </a:prstGeom>
          <a:noFill/>
        </p:spPr>
        <p:txBody>
          <a:bodyPr wrap="square" rtlCol="0">
            <a:spAutoFit/>
          </a:bodyPr>
          <a:lstStyle/>
          <a:p>
            <a:pPr algn="ctr"/>
            <a:fld id="{2F101A5D-C534-455B-A1B7-FEFA57DB3C14}" type="slidenum">
              <a:rPr kumimoji="1" lang="ja-JP" altLang="en-US" sz="1050" smtClean="0">
                <a:latin typeface="+mn-lt"/>
              </a:rPr>
              <a:pPr algn="ctr"/>
              <a:t>‹#›</a:t>
            </a:fld>
            <a:endParaRPr kumimoji="1" lang="ja-JP" altLang="en-US" sz="1050" dirty="0">
              <a:latin typeface="+mn-lt"/>
            </a:endParaRPr>
          </a:p>
        </p:txBody>
      </p:sp>
    </p:spTree>
    <p:extLst>
      <p:ext uri="{BB962C8B-B14F-4D97-AF65-F5344CB8AC3E}">
        <p14:creationId xmlns:p14="http://schemas.microsoft.com/office/powerpoint/2010/main" val="1931436072"/>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userDrawn="1"/>
        </p:nvSpPr>
        <p:spPr>
          <a:xfrm>
            <a:off x="9543016" y="7202433"/>
            <a:ext cx="706582" cy="270074"/>
          </a:xfrm>
          <a:prstGeom prst="rect">
            <a:avLst/>
          </a:prstGeom>
          <a:noFill/>
        </p:spPr>
        <p:txBody>
          <a:bodyPr wrap="square" rtlCol="0">
            <a:spAutoFit/>
          </a:bodyPr>
          <a:lstStyle/>
          <a:p>
            <a:fld id="{2F101A5D-C534-455B-A1B7-FEFA57DB3C14}" type="slidenum">
              <a:rPr kumimoji="1" lang="ja-JP" altLang="en-US" sz="1050" smtClean="0">
                <a:latin typeface="+mn-lt"/>
              </a:rPr>
              <a:t>‹#›</a:t>
            </a:fld>
            <a:endParaRPr kumimoji="1" lang="ja-JP" altLang="en-US" sz="1050" dirty="0">
              <a:latin typeface="+mn-lt"/>
            </a:endParaRPr>
          </a:p>
        </p:txBody>
      </p:sp>
    </p:spTree>
    <p:extLst>
      <p:ext uri="{BB962C8B-B14F-4D97-AF65-F5344CB8AC3E}">
        <p14:creationId xmlns:p14="http://schemas.microsoft.com/office/powerpoint/2010/main" val="545224654"/>
      </p:ext>
    </p:extLst>
  </p:cSld>
  <p:clrMap bg1="lt1" tx1="dk1" bg2="lt2" tx2="dk2" accent1="accent1" accent2="accent2" accent3="accent3" accent4="accent4" accent5="accent5" accent6="accent6" hlink="hlink" folHlink="folHlink"/>
  <p:sldLayoutIdLst>
    <p:sldLayoutId id="2147484111" r:id="rId1"/>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p:nvSpPr>
        <p:spPr>
          <a:xfrm>
            <a:off x="9543016" y="7202433"/>
            <a:ext cx="706582" cy="270074"/>
          </a:xfrm>
          <a:prstGeom prst="rect">
            <a:avLst/>
          </a:prstGeom>
          <a:noFill/>
        </p:spPr>
        <p:txBody>
          <a:bodyPr wrap="square" rtlCol="0">
            <a:spAutoFit/>
          </a:bodyPr>
          <a:lstStyle/>
          <a:p>
            <a:fld id="{2F101A5D-C534-455B-A1B7-FEFA57DB3C14}" type="slidenum">
              <a:rPr lang="ja-JP" altLang="en-US" sz="1050" smtClean="0">
                <a:solidFill>
                  <a:prstClr val="black"/>
                </a:solidFill>
              </a:rPr>
              <a:pPr/>
              <a:t>‹#›</a:t>
            </a:fld>
            <a:endParaRPr lang="ja-JP" altLang="en-US" sz="1050" dirty="0">
              <a:solidFill>
                <a:prstClr val="black"/>
              </a:solidFill>
            </a:endParaRPr>
          </a:p>
        </p:txBody>
      </p:sp>
      <p:sp>
        <p:nvSpPr>
          <p:cNvPr id="6" name="テキスト ボックス 5"/>
          <p:cNvSpPr txBox="1"/>
          <p:nvPr userDrawn="1"/>
        </p:nvSpPr>
        <p:spPr>
          <a:xfrm>
            <a:off x="128464" y="7106082"/>
            <a:ext cx="5040000" cy="270074"/>
          </a:xfrm>
          <a:prstGeom prst="rect">
            <a:avLst/>
          </a:prstGeom>
          <a:noFill/>
        </p:spPr>
        <p:txBody>
          <a:bodyPr wrap="square" rtlCol="0">
            <a:spAutoFit/>
          </a:bodyPr>
          <a:lstStyle/>
          <a:p>
            <a:r>
              <a:rPr lang="en-US" altLang="ja-JP" sz="1050" dirty="0" smtClean="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rPr>
              <a:t>Copyright©2020 Nippon Telegraph and Telephone Corporation</a:t>
            </a:r>
            <a:endParaRPr lang="ja-JP" altLang="en-US" sz="1050" dirty="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36233877"/>
      </p:ext>
    </p:extLst>
  </p:cSld>
  <p:clrMap bg1="lt1" tx1="dk1" bg2="lt2" tx2="dk2" accent1="accent1" accent2="accent2" accent3="accent3" accent4="accent4" accent5="accent5" accent6="accent6" hlink="hlink" folHlink="folHlink"/>
  <p:sldLayoutIdLst>
    <p:sldLayoutId id="2147484113" r:id="rId1"/>
    <p:sldLayoutId id="2147484114" r:id="rId2"/>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8"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0"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p:nvSpPr>
        <p:spPr>
          <a:xfrm>
            <a:off x="9543016" y="7202433"/>
            <a:ext cx="706582" cy="270074"/>
          </a:xfrm>
          <a:prstGeom prst="rect">
            <a:avLst/>
          </a:prstGeom>
          <a:noFill/>
        </p:spPr>
        <p:txBody>
          <a:bodyPr wrap="square" rtlCol="0">
            <a:spAutoFit/>
          </a:bodyPr>
          <a:lstStyle/>
          <a:p>
            <a:fld id="{2F101A5D-C534-455B-A1B7-FEFA57DB3C14}" type="slidenum">
              <a:rPr lang="ja-JP" altLang="en-US" sz="1050" smtClean="0">
                <a:solidFill>
                  <a:prstClr val="black"/>
                </a:solidFill>
              </a:rPr>
              <a:pPr/>
              <a:t>‹#›</a:t>
            </a:fld>
            <a:endParaRPr lang="ja-JP" altLang="en-US" sz="1050" dirty="0">
              <a:solidFill>
                <a:prstClr val="black"/>
              </a:solidFill>
            </a:endParaRPr>
          </a:p>
        </p:txBody>
      </p:sp>
    </p:spTree>
    <p:extLst>
      <p:ext uri="{BB962C8B-B14F-4D97-AF65-F5344CB8AC3E}">
        <p14:creationId xmlns:p14="http://schemas.microsoft.com/office/powerpoint/2010/main" val="1759643920"/>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Lst>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 1"/>
          <p:cNvSpPr>
            <a:spLocks noGrp="1"/>
          </p:cNvSpPr>
          <p:nvPr>
            <p:ph type="title"/>
          </p:nvPr>
        </p:nvSpPr>
        <p:spPr>
          <a:xfrm>
            <a:off x="58739" y="55395"/>
            <a:ext cx="9612000" cy="374888"/>
          </a:xfrm>
          <a:prstGeom prst="rect">
            <a:avLst/>
          </a:prstGeom>
        </p:spPr>
        <p:txBody>
          <a:bodyPr vert="horz" lIns="36000" tIns="36000" rIns="36000" bIns="36000" rtlCol="0" anchor="ctr">
            <a:noAutofit/>
          </a:bodyPr>
          <a:lstStyle/>
          <a:p>
            <a:r>
              <a:rPr kumimoji="1" lang="ja-JP" altLang="en-US" dirty="0"/>
              <a:t>マスター タイトルの書式設定</a:t>
            </a:r>
          </a:p>
        </p:txBody>
      </p:sp>
      <p:sp>
        <p:nvSpPr>
          <p:cNvPr id="7" name="Line 8"/>
          <p:cNvSpPr>
            <a:spLocks noChangeShapeType="1"/>
          </p:cNvSpPr>
          <p:nvPr/>
        </p:nvSpPr>
        <p:spPr bwMode="auto">
          <a:xfrm>
            <a:off x="11" y="515938"/>
            <a:ext cx="9904413" cy="0"/>
          </a:xfrm>
          <a:prstGeom prst="line">
            <a:avLst/>
          </a:prstGeom>
          <a:noFill/>
          <a:ln w="57150">
            <a:solidFill>
              <a:srgbClr val="3366FF"/>
            </a:solidFill>
            <a:round/>
            <a:headEnd/>
            <a:tailEnd/>
          </a:ln>
        </p:spPr>
        <p:txBody>
          <a:bodyPr/>
          <a:lstStyle/>
          <a:p>
            <a:endParaRPr lang="ja-JP" altLang="en-US" sz="1200">
              <a:solidFill>
                <a:prstClr val="black"/>
              </a:solidFill>
            </a:endParaRPr>
          </a:p>
        </p:txBody>
      </p:sp>
      <p:sp>
        <p:nvSpPr>
          <p:cNvPr id="4" name="テキスト ボックス 3"/>
          <p:cNvSpPr txBox="1"/>
          <p:nvPr userDrawn="1"/>
        </p:nvSpPr>
        <p:spPr>
          <a:xfrm>
            <a:off x="9543017" y="7202433"/>
            <a:ext cx="706583" cy="270074"/>
          </a:xfrm>
          <a:prstGeom prst="rect">
            <a:avLst/>
          </a:prstGeom>
          <a:noFill/>
        </p:spPr>
        <p:txBody>
          <a:bodyPr wrap="square" rtlCol="0">
            <a:spAutoFit/>
          </a:bodyPr>
          <a:lstStyle/>
          <a:p>
            <a:fld id="{2F101A5D-C534-455B-A1B7-FEFA57DB3C14}" type="slidenum">
              <a:rPr kumimoji="1" lang="ja-JP" altLang="en-US" sz="1050" smtClean="0">
                <a:latin typeface="+mn-lt"/>
              </a:rPr>
              <a:t>‹#›</a:t>
            </a:fld>
            <a:endParaRPr kumimoji="1" lang="ja-JP" altLang="en-US" sz="1050" dirty="0">
              <a:latin typeface="+mn-lt"/>
            </a:endParaRPr>
          </a:p>
        </p:txBody>
      </p:sp>
      <p:sp>
        <p:nvSpPr>
          <p:cNvPr id="5" name="テキスト ボックス 4"/>
          <p:cNvSpPr txBox="1"/>
          <p:nvPr userDrawn="1"/>
        </p:nvSpPr>
        <p:spPr>
          <a:xfrm>
            <a:off x="128464" y="7106082"/>
            <a:ext cx="5040000" cy="270074"/>
          </a:xfrm>
          <a:prstGeom prst="rect">
            <a:avLst/>
          </a:prstGeom>
          <a:noFill/>
        </p:spPr>
        <p:txBody>
          <a:bodyPr wrap="square" rtlCol="0">
            <a:spAutoFit/>
          </a:bodyPr>
          <a:lstStyle/>
          <a:p>
            <a:r>
              <a:rPr lang="en-US" altLang="ja-JP" sz="1050" dirty="0" smtClean="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rPr>
              <a:t>Copyright©2020 </a:t>
            </a:r>
            <a:r>
              <a:rPr lang="en-US" altLang="ja-JP" sz="1050" dirty="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rPr>
              <a:t>Nippon Telegraph and Telephone Corporation</a:t>
            </a:r>
            <a:endParaRPr lang="ja-JP" altLang="en-US" sz="1050" dirty="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82557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Lst>
  <p:timing>
    <p:tnLst>
      <p:par>
        <p:cTn id="1" dur="indefinite" restart="never" nodeType="tmRoot"/>
      </p:par>
    </p:tnLst>
  </p:timing>
  <p:hf hdr="0" ftr="0" dt="0"/>
  <p:txStyles>
    <p:titleStyle>
      <a:lvl1pPr algn="l" defTabSz="914400" rtl="0" eaLnBrk="1" latinLnBrk="0" hangingPunct="1">
        <a:spcBef>
          <a:spcPct val="0"/>
        </a:spcBef>
        <a:buNone/>
        <a:defRPr kumimoji="1" sz="2000" kern="1200">
          <a:solidFill>
            <a:schemeClr val="tx1"/>
          </a:solidFill>
          <a:latin typeface="+mn-lt"/>
          <a:ea typeface="+mn-ea"/>
          <a:cs typeface="+mj-cs"/>
        </a:defRPr>
      </a:lvl1pPr>
    </p:titleStyle>
    <p:bodyStyle>
      <a:lvl1pPr marL="273050" indent="-273050" algn="l" defTabSz="914400" rtl="0" eaLnBrk="1" latinLnBrk="0" hangingPunct="1">
        <a:spcBef>
          <a:spcPct val="20000"/>
        </a:spcBef>
        <a:buFont typeface="+mj-lt"/>
        <a:buAutoNum type="arabicPeriod"/>
        <a:defRPr kumimoji="1" sz="1400" kern="1200">
          <a:solidFill>
            <a:schemeClr val="tx1"/>
          </a:solidFill>
          <a:latin typeface="+mn-lt"/>
          <a:ea typeface="+mn-ea"/>
          <a:cs typeface="+mn-cs"/>
        </a:defRPr>
      </a:lvl1pPr>
      <a:lvl2pPr marL="457200" indent="-184150" algn="l" defTabSz="914400" rtl="0" eaLnBrk="1" latinLnBrk="0" hangingPunct="1">
        <a:spcBef>
          <a:spcPct val="20000"/>
        </a:spcBef>
        <a:buFont typeface="Arial" pitchFamily="34" charset="0"/>
        <a:buAutoNum type="arabicParenBoth"/>
        <a:defRPr kumimoji="1" sz="1400" kern="1200">
          <a:solidFill>
            <a:schemeClr val="tx1"/>
          </a:solidFill>
          <a:latin typeface="+mn-lt"/>
          <a:ea typeface="+mn-ea"/>
          <a:cs typeface="+mn-cs"/>
        </a:defRPr>
      </a:lvl2pPr>
      <a:lvl3pPr marL="808038" indent="-273050" algn="l" defTabSz="914400" rtl="0" eaLnBrk="1" latinLnBrk="0" hangingPunct="1">
        <a:spcBef>
          <a:spcPct val="20000"/>
        </a:spcBef>
        <a:buFont typeface="+mj-ea"/>
        <a:buAutoNum type="circleNumDbPlain"/>
        <a:defRPr kumimoji="1" sz="1400" kern="1200">
          <a:solidFill>
            <a:schemeClr val="tx1"/>
          </a:solidFill>
          <a:latin typeface="+mn-lt"/>
          <a:ea typeface="+mn-ea"/>
          <a:cs typeface="+mn-cs"/>
        </a:defRPr>
      </a:lvl3pPr>
      <a:lvl4pPr marL="982663" indent="-174625"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4pPr>
      <a:lvl5pPr marL="1079500" indent="-96838" algn="l" defTabSz="914400" rtl="0" eaLnBrk="1" latinLnBrk="0" hangingPunct="1">
        <a:spcBef>
          <a:spcPct val="200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5" cstate="print"/>
          <a:srcRect/>
          <a:stretch>
            <a:fillRect/>
          </a:stretch>
        </p:blipFill>
        <p:spPr bwMode="auto">
          <a:xfrm>
            <a:off x="9061015" y="7069123"/>
            <a:ext cx="683061" cy="264593"/>
          </a:xfrm>
          <a:prstGeom prst="rect">
            <a:avLst/>
          </a:prstGeom>
          <a:noFill/>
          <a:ln w="9525">
            <a:noFill/>
            <a:miter lim="800000"/>
            <a:headEnd/>
            <a:tailEnd/>
          </a:ln>
          <a:effectLst/>
        </p:spPr>
      </p:pic>
      <p:sp>
        <p:nvSpPr>
          <p:cNvPr id="6" name="テキスト ボックス 5"/>
          <p:cNvSpPr txBox="1"/>
          <p:nvPr/>
        </p:nvSpPr>
        <p:spPr>
          <a:xfrm>
            <a:off x="128464" y="7106082"/>
            <a:ext cx="5040000" cy="270074"/>
          </a:xfrm>
          <a:prstGeom prst="rect">
            <a:avLst/>
          </a:prstGeom>
          <a:noFill/>
        </p:spPr>
        <p:txBody>
          <a:bodyPr wrap="square" rtlCol="0">
            <a:spAutoFit/>
          </a:bodyPr>
          <a:lstStyle/>
          <a:p>
            <a:r>
              <a:rPr lang="en-US" altLang="ja-JP" sz="1050" dirty="0" smtClean="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rPr>
              <a:t>Copyright©2020 </a:t>
            </a:r>
            <a:r>
              <a:rPr lang="en-US" altLang="ja-JP" sz="1050" dirty="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rPr>
              <a:t>Nippon Telegraph and Telephone Corporation</a:t>
            </a:r>
            <a:endParaRPr lang="ja-JP" altLang="en-US" sz="1050" dirty="0">
              <a:solidFill>
                <a:prstClr val="black">
                  <a:tint val="75000"/>
                </a:prstClr>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62665276"/>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性能測定結果レポート</a:t>
            </a:r>
            <a:endParaRPr lang="ja-JP" altLang="en-US" dirty="0">
              <a:cs typeface="Meiryo UI" pitchFamily="50" charset="-128"/>
            </a:endParaRPr>
          </a:p>
        </p:txBody>
      </p:sp>
      <p:sp>
        <p:nvSpPr>
          <p:cNvPr id="5" name="正方形/長方形 4"/>
          <p:cNvSpPr/>
          <p:nvPr/>
        </p:nvSpPr>
        <p:spPr>
          <a:xfrm>
            <a:off x="75887" y="762340"/>
            <a:ext cx="9485753" cy="295466"/>
          </a:xfrm>
          <a:prstGeom prst="rect">
            <a:avLst/>
          </a:prstGeom>
        </p:spPr>
        <p:txBody>
          <a:bodyPr wrap="square">
            <a:spAutoFit/>
          </a:bodyPr>
          <a:lstStyle/>
          <a:p>
            <a:pPr algn="l"/>
            <a:r>
              <a:rPr lang="ja-JP" altLang="en-US" dirty="0" smtClean="0">
                <a:latin typeface="BIZ UDPゴシック" panose="020B0400000000000000" pitchFamily="50" charset="-128"/>
                <a:ea typeface="BIZ UDPゴシック" panose="020B0400000000000000" pitchFamily="50" charset="-128"/>
              </a:rPr>
              <a:t>本資料では性能測定モデルにおける各種性能結果について記載します。</a:t>
            </a:r>
            <a:endParaRPr lang="en-US" altLang="ja-JP" b="1" u="sng" dirty="0" smtClean="0">
              <a:latin typeface="BIZ UDPゴシック" panose="020B0400000000000000" pitchFamily="50" charset="-128"/>
              <a:ea typeface="BIZ UDPゴシック" panose="020B0400000000000000"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614747626"/>
              </p:ext>
            </p:extLst>
          </p:nvPr>
        </p:nvGraphicFramePr>
        <p:xfrm>
          <a:off x="272350" y="1536549"/>
          <a:ext cx="9217280" cy="3108960"/>
        </p:xfrm>
        <a:graphic>
          <a:graphicData uri="http://schemas.openxmlformats.org/drawingml/2006/table">
            <a:tbl>
              <a:tblPr firstRow="1" bandRow="1">
                <a:tableStyleId>{5940675A-B579-460E-94D1-54222C63F5DA}</a:tableStyleId>
              </a:tblPr>
              <a:tblGrid>
                <a:gridCol w="1476415">
                  <a:extLst>
                    <a:ext uri="{9D8B030D-6E8A-4147-A177-3AD203B41FA5}">
                      <a16:colId xmlns:a16="http://schemas.microsoft.com/office/drawing/2014/main" xmlns="" val="20000"/>
                    </a:ext>
                  </a:extLst>
                </a:gridCol>
                <a:gridCol w="5515661">
                  <a:extLst>
                    <a:ext uri="{9D8B030D-6E8A-4147-A177-3AD203B41FA5}">
                      <a16:colId xmlns:a16="http://schemas.microsoft.com/office/drawing/2014/main" xmlns="" val="20001"/>
                    </a:ext>
                  </a:extLst>
                </a:gridCol>
                <a:gridCol w="2225204">
                  <a:extLst>
                    <a:ext uri="{9D8B030D-6E8A-4147-A177-3AD203B41FA5}">
                      <a16:colId xmlns:a16="http://schemas.microsoft.com/office/drawing/2014/main" xmlns="" val="20003"/>
                    </a:ext>
                  </a:extLst>
                </a:gridCol>
              </a:tblGrid>
              <a:tr h="152400">
                <a:tc rowSpan="2">
                  <a:txBody>
                    <a:bodyPr/>
                    <a:lstStyle/>
                    <a:p>
                      <a:pPr algn="ctr"/>
                      <a:r>
                        <a:rPr kumimoji="1" lang="ja-JP" altLang="en-US" sz="1100" b="1" dirty="0" smtClean="0">
                          <a:latin typeface="Meiryo UI" panose="020B0604030504040204" pitchFamily="50" charset="-128"/>
                          <a:ea typeface="Meiryo UI" panose="020B0604030504040204" pitchFamily="50" charset="-128"/>
                        </a:rPr>
                        <a:t>分類</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rowSpan="2">
                  <a:txBody>
                    <a:bodyPr/>
                    <a:lstStyle/>
                    <a:p>
                      <a:pPr algn="ctr"/>
                      <a:r>
                        <a:rPr kumimoji="1" lang="ja-JP" altLang="en-US" sz="1100" b="1" dirty="0" smtClean="0">
                          <a:latin typeface="Meiryo UI" panose="020B0604030504040204" pitchFamily="50" charset="-128"/>
                          <a:ea typeface="Meiryo UI" panose="020B0604030504040204" pitchFamily="50" charset="-128"/>
                        </a:rPr>
                        <a:t>指標値</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情報モデル</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extLst>
                  <a:ext uri="{0D108BD9-81ED-4DB2-BD59-A6C34878D82A}">
                    <a16:rowId xmlns:a16="http://schemas.microsoft.com/office/drawing/2014/main" xmlns="" val="10000"/>
                  </a:ext>
                </a:extLst>
              </a:tr>
              <a:tr h="152400">
                <a:tc vMerge="1">
                  <a:txBody>
                    <a:bodyPr/>
                    <a:lstStyle/>
                    <a:p>
                      <a:endParaRPr kumimoji="1" lang="ja-JP" altLang="en-US"/>
                    </a:p>
                  </a:txBody>
                  <a:tcPr/>
                </a:tc>
                <a:tc vMerge="1">
                  <a:txBody>
                    <a:bodyPr/>
                    <a:lstStyle/>
                    <a:p>
                      <a:endParaRPr kumimoji="1" lang="ja-JP" altLang="en-US"/>
                    </a:p>
                  </a:txBody>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①</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extLst>
                  <a:ext uri="{0D108BD9-81ED-4DB2-BD59-A6C34878D82A}">
                    <a16:rowId xmlns:a16="http://schemas.microsoft.com/office/drawing/2014/main" xmlns="" val="10001"/>
                  </a:ext>
                </a:extLst>
              </a:tr>
              <a:tr h="0">
                <a:tc rowSpan="3">
                  <a:txBody>
                    <a:bodyPr/>
                    <a:lstStyle/>
                    <a:p>
                      <a:pPr algn="ctr"/>
                      <a:r>
                        <a:rPr kumimoji="1" lang="ja-JP" altLang="en-US" sz="1100" dirty="0" smtClean="0">
                          <a:latin typeface="Meiryo UI" panose="020B0604030504040204" pitchFamily="50" charset="-128"/>
                          <a:ea typeface="Meiryo UI" panose="020B0604030504040204" pitchFamily="50" charset="-128"/>
                        </a:rPr>
                        <a:t>プラットフォーム</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r>
                        <a:rPr kumimoji="1" lang="ja-JP" altLang="en-US" sz="1100" dirty="0" smtClean="0">
                          <a:latin typeface="Meiryo UI" panose="020B0604030504040204" pitchFamily="50" charset="-128"/>
                          <a:ea typeface="Meiryo UI" panose="020B0604030504040204" pitchFamily="50" charset="-128"/>
                        </a:rPr>
                        <a:t>プラットフォーム種別</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共用</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917704332"/>
                  </a:ext>
                </a:extLst>
              </a:tr>
              <a:tr h="0">
                <a:tc vMerge="1">
                  <a:txBody>
                    <a:bodyPr/>
                    <a:lstStyle/>
                    <a:p>
                      <a:endParaRPr kumimoji="1" lang="ja-JP" altLang="en-US"/>
                    </a:p>
                  </a:txBody>
                  <a:tcPr/>
                </a:tc>
                <a:tc>
                  <a:txBody>
                    <a:bodyPr/>
                    <a:lstStyle/>
                    <a:p>
                      <a:r>
                        <a:rPr kumimoji="1" lang="ja-JP" altLang="en-US" sz="1100" dirty="0" smtClean="0">
                          <a:latin typeface="Meiryo UI" panose="020B0604030504040204" pitchFamily="50" charset="-128"/>
                          <a:ea typeface="Meiryo UI" panose="020B0604030504040204" pitchFamily="50" charset="-128"/>
                        </a:rPr>
                        <a:t>利用テナント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2</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3771896793"/>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r>
                        <a:rPr kumimoji="1" lang="ja-JP" altLang="en-US" sz="1100" dirty="0" smtClean="0">
                          <a:latin typeface="Meiryo UI" panose="020B0604030504040204" pitchFamily="50" charset="-128"/>
                          <a:ea typeface="Meiryo UI" panose="020B0604030504040204" pitchFamily="50" charset="-128"/>
                        </a:rPr>
                        <a:t>卸先テナント連結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735288571"/>
                  </a:ext>
                </a:extLst>
              </a:tr>
              <a:tr h="0">
                <a:tc rowSpan="4">
                  <a:txBody>
                    <a:bodyPr/>
                    <a:lstStyle/>
                    <a:p>
                      <a:pPr algn="ctr"/>
                      <a:r>
                        <a:rPr kumimoji="1" lang="ja-JP" altLang="en-US" sz="1100" dirty="0" smtClean="0">
                          <a:latin typeface="Meiryo UI" panose="020B0604030504040204" pitchFamily="50" charset="-128"/>
                          <a:ea typeface="Meiryo UI" panose="020B0604030504040204" pitchFamily="50" charset="-128"/>
                        </a:rPr>
                        <a:t>商品管理</a:t>
                      </a:r>
                      <a:endParaRPr kumimoji="1" lang="ja-JP" altLang="en-US"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テナントあたりのサービス仕様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marL="0" marR="0" lvl="0" indent="0" algn="ctr" defTabSz="912004" rtl="0" eaLnBrk="1" fontAlgn="auto" latinLnBrk="0" hangingPunct="1">
                        <a:lnSpc>
                          <a:spcPct val="100000"/>
                        </a:lnSpc>
                        <a:spcBef>
                          <a:spcPts val="0"/>
                        </a:spcBef>
                        <a:spcAft>
                          <a:spcPts val="0"/>
                        </a:spcAft>
                        <a:buClrTx/>
                        <a:buSzTx/>
                        <a:buFontTx/>
                        <a:buNone/>
                        <a:tabLst/>
                        <a:defRPr/>
                      </a:pPr>
                      <a:r>
                        <a:rPr lang="en-US" altLang="ja-JP" sz="1100" dirty="0" smtClean="0">
                          <a:latin typeface="Meiryo UI" panose="020B0604030504040204" pitchFamily="50" charset="-128"/>
                          <a:ea typeface="Meiryo UI" panose="020B0604030504040204" pitchFamily="50" charset="-128"/>
                        </a:rPr>
                        <a:t>100</a:t>
                      </a:r>
                    </a:p>
                  </a:txBody>
                  <a:tcPr>
                    <a:solidFill>
                      <a:schemeClr val="bg1"/>
                    </a:solidFill>
                  </a:tcPr>
                </a:tc>
                <a:extLst>
                  <a:ext uri="{0D108BD9-81ED-4DB2-BD59-A6C34878D82A}">
                    <a16:rowId xmlns:a16="http://schemas.microsoft.com/office/drawing/2014/main" xmlns="" val="10002"/>
                  </a:ext>
                </a:extLst>
              </a:tr>
              <a:tr h="0">
                <a:tc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テナントあたりの小売商品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20</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3"/>
                  </a:ext>
                </a:extLst>
              </a:tr>
              <a:tr h="0">
                <a:tc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商品あたりのサービス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3</a:t>
                      </a:r>
                      <a:r>
                        <a:rPr kumimoji="1" lang="ja-JP" altLang="en-US" sz="1100" dirty="0" smtClean="0">
                          <a:latin typeface="Meiryo UI" panose="020B0604030504040204" pitchFamily="50" charset="-128"/>
                          <a:ea typeface="Meiryo UI" panose="020B0604030504040204" pitchFamily="50" charset="-128"/>
                        </a:rPr>
                        <a:t>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4"/>
                  </a:ext>
                </a:extLst>
              </a:tr>
              <a:tr h="0">
                <a:tc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小売商品あたりの特性数</a:t>
                      </a:r>
                      <a:endParaRPr kumimoji="1" lang="ja-JP" altLang="en-US"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0</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5"/>
                  </a:ext>
                </a:extLst>
              </a:tr>
              <a:tr h="0">
                <a:tc>
                  <a:txBody>
                    <a:bodyPr/>
                    <a:lstStyle/>
                    <a:p>
                      <a:pPr algn="ctr"/>
                      <a:r>
                        <a:rPr kumimoji="1" lang="ja-JP" altLang="en-US" sz="1100" dirty="0" smtClean="0">
                          <a:latin typeface="Meiryo UI" panose="020B0604030504040204" pitchFamily="50" charset="-128"/>
                          <a:ea typeface="Meiryo UI" panose="020B0604030504040204" pitchFamily="50" charset="-128"/>
                        </a:rPr>
                        <a:t>顧客管理</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テナントあたりの顧客数</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2004" rtl="0" eaLnBrk="1" fontAlgn="auto" latinLnBrk="0" hangingPunct="1">
                        <a:lnSpc>
                          <a:spcPct val="100000"/>
                        </a:lnSpc>
                        <a:spcBef>
                          <a:spcPts val="0"/>
                        </a:spcBef>
                        <a:spcAft>
                          <a:spcPts val="0"/>
                        </a:spcAft>
                        <a:buClrTx/>
                        <a:buSzTx/>
                        <a:buFontTx/>
                        <a:buNone/>
                        <a:tabLst/>
                        <a:defRPr/>
                      </a:pPr>
                      <a:r>
                        <a:rPr lang="en-US" altLang="ja-JP" sz="1100" dirty="0" smtClean="0">
                          <a:latin typeface="Meiryo UI" panose="020B0604030504040204" pitchFamily="50" charset="-128"/>
                          <a:ea typeface="Meiryo UI" panose="020B0604030504040204" pitchFamily="50" charset="-128"/>
                        </a:rPr>
                        <a:t>6.5</a:t>
                      </a:r>
                      <a:r>
                        <a:rPr lang="ja-JP" altLang="en-US" sz="1100" dirty="0" smtClean="0">
                          <a:latin typeface="Meiryo UI" panose="020B0604030504040204" pitchFamily="50" charset="-128"/>
                          <a:ea typeface="Meiryo UI" panose="020B0604030504040204" pitchFamily="50" charset="-128"/>
                        </a:rPr>
                        <a:t>万</a:t>
                      </a:r>
                      <a:endParaRPr lang="en-US" altLang="ja-JP" sz="1100" dirty="0" smtClean="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6"/>
                  </a:ext>
                </a:extLst>
              </a:tr>
              <a:tr h="0">
                <a:tc>
                  <a:txBody>
                    <a:bodyPr/>
                    <a:lstStyle/>
                    <a:p>
                      <a:pPr algn="ctr"/>
                      <a:r>
                        <a:rPr kumimoji="1" lang="ja-JP" altLang="en-US" sz="1100" dirty="0" smtClean="0">
                          <a:latin typeface="Meiryo UI" panose="020B0604030504040204" pitchFamily="50" charset="-128"/>
                          <a:ea typeface="Meiryo UI" panose="020B0604030504040204" pitchFamily="50" charset="-128"/>
                        </a:rPr>
                        <a:t>オーダ管理</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オーダあたりの商品数</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7"/>
                  </a:ext>
                </a:extLst>
              </a:tr>
              <a:tr h="0">
                <a:tc>
                  <a:txBody>
                    <a:bodyPr/>
                    <a:lstStyle/>
                    <a:p>
                      <a:pPr algn="ctr"/>
                      <a:r>
                        <a:rPr kumimoji="1" lang="ja-JP" altLang="en-US" sz="1100" dirty="0" smtClean="0">
                          <a:latin typeface="Meiryo UI" panose="020B0604030504040204" pitchFamily="50" charset="-128"/>
                          <a:ea typeface="Meiryo UI" panose="020B0604030504040204" pitchFamily="50" charset="-128"/>
                        </a:rPr>
                        <a:t>料金管理</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料金サイクルあたりの顧客数</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2004" rtl="0" eaLnBrk="1" fontAlgn="auto" latinLnBrk="0" hangingPunct="1">
                        <a:lnSpc>
                          <a:spcPct val="100000"/>
                        </a:lnSpc>
                        <a:spcBef>
                          <a:spcPts val="0"/>
                        </a:spcBef>
                        <a:spcAft>
                          <a:spcPts val="0"/>
                        </a:spcAft>
                        <a:buClrTx/>
                        <a:buSzTx/>
                        <a:buFontTx/>
                        <a:buNone/>
                        <a:tabLst/>
                        <a:defRPr/>
                      </a:pPr>
                      <a:r>
                        <a:rPr lang="en-US" altLang="ja-JP" sz="1100" dirty="0" smtClean="0">
                          <a:latin typeface="Meiryo UI" panose="020B0604030504040204" pitchFamily="50" charset="-128"/>
                          <a:ea typeface="Meiryo UI" panose="020B0604030504040204" pitchFamily="50" charset="-128"/>
                        </a:rPr>
                        <a:t>6.5</a:t>
                      </a:r>
                      <a:r>
                        <a:rPr lang="ja-JP" altLang="en-US" sz="1100" dirty="0" smtClean="0">
                          <a:latin typeface="Meiryo UI" panose="020B0604030504040204" pitchFamily="50" charset="-128"/>
                          <a:ea typeface="Meiryo UI" panose="020B0604030504040204" pitchFamily="50" charset="-128"/>
                        </a:rPr>
                        <a:t>万</a:t>
                      </a:r>
                      <a:endParaRPr lang="en-US" altLang="ja-JP" sz="1100" dirty="0" smtClean="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0008"/>
                  </a:ext>
                </a:extLst>
              </a:tr>
            </a:tbl>
          </a:graphicData>
        </a:graphic>
      </p:graphicFrame>
      <p:sp>
        <p:nvSpPr>
          <p:cNvPr id="3" name="正方形/長方形 2"/>
          <p:cNvSpPr/>
          <p:nvPr/>
        </p:nvSpPr>
        <p:spPr>
          <a:xfrm>
            <a:off x="272350" y="1266410"/>
            <a:ext cx="1249060" cy="270139"/>
          </a:xfrm>
          <a:prstGeom prst="rect">
            <a:avLst/>
          </a:prstGeom>
        </p:spPr>
        <p:txBody>
          <a:bodyPr wrap="none">
            <a:spAutoFit/>
          </a:bodyPr>
          <a:lstStyle/>
          <a:p>
            <a:pPr algn="l"/>
            <a:r>
              <a:rPr lang="ja-JP" altLang="en-US" dirty="0" smtClean="0">
                <a:latin typeface="BIZ UDPゴシック" panose="020B0400000000000000" pitchFamily="50" charset="-128"/>
                <a:ea typeface="BIZ UDPゴシック" panose="020B0400000000000000" pitchFamily="50" charset="-128"/>
              </a:rPr>
              <a:t>性能測定モデル</a:t>
            </a:r>
            <a:endParaRPr lang="ja-JP" altLang="en-US" dirty="0"/>
          </a:p>
        </p:txBody>
      </p:sp>
    </p:spTree>
    <p:extLst>
      <p:ext uri="{BB962C8B-B14F-4D97-AF65-F5344CB8AC3E}">
        <p14:creationId xmlns:p14="http://schemas.microsoft.com/office/powerpoint/2010/main" val="2204075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性能測定結果レポート</a:t>
            </a:r>
            <a:endParaRPr lang="ja-JP" altLang="en-US" dirty="0">
              <a:cs typeface="Meiryo UI" pitchFamily="50" charset="-128"/>
            </a:endParaRPr>
          </a:p>
        </p:txBody>
      </p:sp>
      <p:sp>
        <p:nvSpPr>
          <p:cNvPr id="5" name="正方形/長方形 4"/>
          <p:cNvSpPr/>
          <p:nvPr/>
        </p:nvSpPr>
        <p:spPr>
          <a:xfrm>
            <a:off x="75887" y="762340"/>
            <a:ext cx="9485753" cy="295466"/>
          </a:xfrm>
          <a:prstGeom prst="rect">
            <a:avLst/>
          </a:prstGeom>
        </p:spPr>
        <p:txBody>
          <a:bodyPr wrap="square">
            <a:spAutoFit/>
          </a:bodyPr>
          <a:lstStyle/>
          <a:p>
            <a:pPr algn="l"/>
            <a:r>
              <a:rPr lang="ja-JP" altLang="en-US" dirty="0" smtClean="0">
                <a:latin typeface="BIZ UDPゴシック" panose="020B0400000000000000" pitchFamily="50" charset="-128"/>
                <a:ea typeface="BIZ UDPゴシック" panose="020B0400000000000000" pitchFamily="50" charset="-128"/>
              </a:rPr>
              <a:t>本資料では性能測定モデルにおける各種性能結果について記載します。</a:t>
            </a:r>
            <a:endParaRPr lang="en-US" altLang="ja-JP" b="1" u="sng" dirty="0" smtClean="0">
              <a:latin typeface="BIZ UDPゴシック" panose="020B0400000000000000" pitchFamily="50" charset="-128"/>
              <a:ea typeface="BIZ UDPゴシック" panose="020B0400000000000000"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431443734"/>
              </p:ext>
            </p:extLst>
          </p:nvPr>
        </p:nvGraphicFramePr>
        <p:xfrm>
          <a:off x="272350" y="1464539"/>
          <a:ext cx="9145269" cy="3627120"/>
        </p:xfrm>
        <a:graphic>
          <a:graphicData uri="http://schemas.openxmlformats.org/drawingml/2006/table">
            <a:tbl>
              <a:tblPr firstRow="1" bandRow="1">
                <a:tableStyleId>{5940675A-B579-460E-94D1-54222C63F5DA}</a:tableStyleId>
              </a:tblPr>
              <a:tblGrid>
                <a:gridCol w="1464880">
                  <a:extLst>
                    <a:ext uri="{9D8B030D-6E8A-4147-A177-3AD203B41FA5}">
                      <a16:colId xmlns:a16="http://schemas.microsoft.com/office/drawing/2014/main" xmlns="" val="20000"/>
                    </a:ext>
                  </a:extLst>
                </a:gridCol>
                <a:gridCol w="2736285">
                  <a:extLst>
                    <a:ext uri="{9D8B030D-6E8A-4147-A177-3AD203B41FA5}">
                      <a16:colId xmlns:a16="http://schemas.microsoft.com/office/drawing/2014/main" xmlns="" val="20001"/>
                    </a:ext>
                  </a:extLst>
                </a:gridCol>
                <a:gridCol w="2736285">
                  <a:extLst>
                    <a:ext uri="{9D8B030D-6E8A-4147-A177-3AD203B41FA5}">
                      <a16:colId xmlns:a16="http://schemas.microsoft.com/office/drawing/2014/main" xmlns="" val="2682994602"/>
                    </a:ext>
                  </a:extLst>
                </a:gridCol>
                <a:gridCol w="2207819">
                  <a:extLst>
                    <a:ext uri="{9D8B030D-6E8A-4147-A177-3AD203B41FA5}">
                      <a16:colId xmlns:a16="http://schemas.microsoft.com/office/drawing/2014/main" xmlns="" val="20003"/>
                    </a:ext>
                  </a:extLst>
                </a:gridCol>
              </a:tblGrid>
              <a:tr h="152400">
                <a:tc rowSpan="2">
                  <a:txBody>
                    <a:bodyPr/>
                    <a:lstStyle/>
                    <a:p>
                      <a:pPr algn="ctr"/>
                      <a:r>
                        <a:rPr kumimoji="1" lang="ja-JP" altLang="en-US" sz="1100" b="1" dirty="0" smtClean="0">
                          <a:latin typeface="Meiryo UI" panose="020B0604030504040204" pitchFamily="50" charset="-128"/>
                          <a:ea typeface="Meiryo UI" panose="020B0604030504040204" pitchFamily="50" charset="-128"/>
                        </a:rPr>
                        <a:t>分類</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rowSpan="2" gridSpan="2">
                  <a:txBody>
                    <a:bodyPr/>
                    <a:lstStyle/>
                    <a:p>
                      <a:pPr algn="ctr"/>
                      <a:r>
                        <a:rPr kumimoji="1" lang="ja-JP" altLang="en-US" sz="1100" b="1" dirty="0" smtClean="0">
                          <a:latin typeface="Meiryo UI" panose="020B0604030504040204" pitchFamily="50" charset="-128"/>
                          <a:ea typeface="Meiryo UI" panose="020B0604030504040204" pitchFamily="50" charset="-128"/>
                        </a:rPr>
                        <a:t>指標値</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tc rowSpan="2" hMerge="1">
                  <a:txBody>
                    <a:bodyPr/>
                    <a:lstStyle/>
                    <a:p>
                      <a:endParaRPr kumimoji="1" lang="ja-JP" altLang="en-US"/>
                    </a:p>
                  </a:txBody>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情報モデル</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extLst>
                  <a:ext uri="{0D108BD9-81ED-4DB2-BD59-A6C34878D82A}">
                    <a16:rowId xmlns:a16="http://schemas.microsoft.com/office/drawing/2014/main" xmlns="" val="10000"/>
                  </a:ext>
                </a:extLst>
              </a:tr>
              <a:tr h="152400">
                <a:tc vMerge="1">
                  <a:txBody>
                    <a:bodyPr/>
                    <a:lstStyle/>
                    <a:p>
                      <a:endParaRPr kumimoji="1" lang="ja-JP" altLang="en-US"/>
                    </a:p>
                  </a:txBody>
                  <a:tcPr/>
                </a:tc>
                <a:tc gridSpan="2"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b="1" dirty="0" smtClean="0">
                          <a:latin typeface="Meiryo UI" panose="020B0604030504040204" pitchFamily="50" charset="-128"/>
                          <a:ea typeface="Meiryo UI" panose="020B0604030504040204" pitchFamily="50" charset="-128"/>
                        </a:rPr>
                        <a:t>①</a:t>
                      </a:r>
                      <a:endParaRPr kumimoji="1" lang="ja-JP" altLang="en-US" sz="1100" b="1" dirty="0">
                        <a:latin typeface="Meiryo UI" panose="020B0604030504040204" pitchFamily="50" charset="-128"/>
                        <a:ea typeface="Meiryo UI" panose="020B0604030504040204" pitchFamily="50" charset="-128"/>
                      </a:endParaRPr>
                    </a:p>
                  </a:txBody>
                  <a:tcPr>
                    <a:solidFill>
                      <a:schemeClr val="accent1">
                        <a:lumMod val="20000"/>
                        <a:lumOff val="80000"/>
                      </a:schemeClr>
                    </a:solidFill>
                  </a:tcPr>
                </a:tc>
                <a:extLst>
                  <a:ext uri="{0D108BD9-81ED-4DB2-BD59-A6C34878D82A}">
                    <a16:rowId xmlns:a16="http://schemas.microsoft.com/office/drawing/2014/main" xmlns="" val="10001"/>
                  </a:ext>
                </a:extLst>
              </a:tr>
              <a:tr h="0">
                <a:tc rowSpan="2">
                  <a:txBody>
                    <a:bodyPr/>
                    <a:lstStyle/>
                    <a:p>
                      <a:pPr algn="ctr"/>
                      <a:r>
                        <a:rPr kumimoji="1" lang="ja-JP" altLang="en-US" sz="1100" dirty="0" smtClean="0">
                          <a:latin typeface="Meiryo UI" panose="020B0604030504040204" pitchFamily="50" charset="-128"/>
                          <a:ea typeface="Meiryo UI" panose="020B0604030504040204" pitchFamily="50" charset="-128"/>
                        </a:rPr>
                        <a:t>認証</a:t>
                      </a:r>
                      <a:endParaRPr kumimoji="1" lang="ja-JP" altLang="en-US"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solidFill>
                      <a:schemeClr val="bg1"/>
                    </a:solidFill>
                  </a:tcPr>
                </a:tc>
                <a:tc rowSpan="2">
                  <a:txBody>
                    <a:bodyPr/>
                    <a:lstStyle/>
                    <a:p>
                      <a:r>
                        <a:rPr kumimoji="1" lang="ja-JP" altLang="en-US" sz="1100" dirty="0" smtClean="0">
                          <a:latin typeface="Meiryo UI" panose="020B0604030504040204" pitchFamily="50" charset="-128"/>
                          <a:ea typeface="Meiryo UI" panose="020B0604030504040204" pitchFamily="50" charset="-128"/>
                        </a:rPr>
                        <a:t>トークン取得</a:t>
                      </a:r>
                      <a:endParaRPr kumimoji="1" lang="ja-JP" altLang="en-US"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平均時間</a:t>
                      </a:r>
                      <a:endParaRPr kumimoji="1" lang="ja-JP" altLang="en-US" sz="1100" dirty="0">
                        <a:latin typeface="Meiryo UI" panose="020B0604030504040204" pitchFamily="50" charset="-128"/>
                        <a:ea typeface="Meiryo UI" panose="020B0604030504040204" pitchFamily="50" charset="-128"/>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0.1</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917704332"/>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99.99</a:t>
                      </a:r>
                      <a:r>
                        <a:rPr kumimoji="1" lang="ja-JP" altLang="en-US" sz="1100" dirty="0" smtClean="0">
                          <a:latin typeface="Meiryo UI" panose="020B0604030504040204" pitchFamily="50" charset="-128"/>
                          <a:ea typeface="Meiryo UI" panose="020B0604030504040204" pitchFamily="50" charset="-128"/>
                        </a:rPr>
                        <a:t>％タイル時間</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3771896793"/>
                  </a:ext>
                </a:extLst>
              </a:tr>
              <a:tr h="0">
                <a:tc rowSpan="5">
                  <a:txBody>
                    <a:bodyPr/>
                    <a:lstStyle/>
                    <a:p>
                      <a:pPr algn="ctr"/>
                      <a:r>
                        <a:rPr kumimoji="1" lang="ja-JP" altLang="en-US" sz="1100" dirty="0" smtClean="0">
                          <a:latin typeface="Meiryo UI" panose="020B0604030504040204" pitchFamily="50" charset="-128"/>
                          <a:ea typeface="Meiryo UI" panose="020B0604030504040204" pitchFamily="50" charset="-128"/>
                        </a:rPr>
                        <a:t>顧客関連</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solidFill>
                      <a:schemeClr val="bg1"/>
                    </a:solidFill>
                  </a:tcPr>
                </a:tc>
                <a:tc rowSpan="2">
                  <a:txBody>
                    <a:bodyPr/>
                    <a:lstStyle/>
                    <a:p>
                      <a:r>
                        <a:rPr kumimoji="1" lang="ja-JP" altLang="en-US" sz="1100" dirty="0" smtClean="0">
                          <a:latin typeface="Meiryo UI" panose="020B0604030504040204" pitchFamily="50" charset="-128"/>
                          <a:ea typeface="Meiryo UI" panose="020B0604030504040204" pitchFamily="50" charset="-128"/>
                        </a:rPr>
                        <a:t>顧客情報照会</a:t>
                      </a:r>
                      <a:endParaRPr kumimoji="1" lang="ja-JP" altLang="en-US" sz="1100" dirty="0">
                        <a:latin typeface="Meiryo UI" panose="020B0604030504040204" pitchFamily="50" charset="-128"/>
                        <a:ea typeface="Meiryo UI" panose="020B0604030504040204" pitchFamily="50" charset="-128"/>
                      </a:endParaRPr>
                    </a:p>
                  </a:txBody>
                  <a:tcPr>
                    <a:lnT w="12700" cap="flat" cmpd="sng" algn="ctr">
                      <a:solidFill>
                        <a:schemeClr val="tx1"/>
                      </a:solidFill>
                      <a:prstDash val="solid"/>
                      <a:round/>
                      <a:headEnd type="none" w="med" len="med"/>
                      <a:tailEnd type="none" w="med" len="med"/>
                    </a:lnT>
                    <a:solidFill>
                      <a:schemeClr val="bg1"/>
                    </a:solidFill>
                  </a:tcPr>
                </a:tc>
                <a:tc>
                  <a:txBody>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rPr>
                        <a:t>平均時間</a:t>
                      </a:r>
                    </a:p>
                  </a:txBody>
                  <a:tcPr>
                    <a:lnT w="12700" cap="flat" cmpd="sng" algn="ctr">
                      <a:solidFill>
                        <a:schemeClr val="tx1"/>
                      </a:solidFill>
                      <a:prstDash val="solid"/>
                      <a:round/>
                      <a:headEnd type="none" w="med" len="med"/>
                      <a:tailEnd type="none" w="med" len="med"/>
                    </a:lnT>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0.1</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735288571"/>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99.99</a:t>
                      </a:r>
                      <a:r>
                        <a:rPr kumimoji="1" lang="ja-JP" altLang="en-US" sz="1100" dirty="0" smtClean="0">
                          <a:latin typeface="Meiryo UI" panose="020B0604030504040204" pitchFamily="50" charset="-128"/>
                          <a:ea typeface="Meiryo UI" panose="020B0604030504040204" pitchFamily="50" charset="-128"/>
                        </a:rPr>
                        <a:t>％タイル時間</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881315635"/>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rowSpan="3">
                  <a:txBody>
                    <a:bodyPr/>
                    <a:lstStyle/>
                    <a:p>
                      <a:r>
                        <a:rPr kumimoji="1" lang="ja-JP" altLang="en-US" sz="1100" dirty="0" smtClean="0">
                          <a:latin typeface="Meiryo UI" panose="020B0604030504040204" pitchFamily="50" charset="-128"/>
                          <a:ea typeface="Meiryo UI" panose="020B0604030504040204" pitchFamily="50" charset="-128"/>
                        </a:rPr>
                        <a:t>顧客情報登録</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平均時間</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0.8</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4073322200"/>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100" dirty="0" smtClean="0">
                          <a:latin typeface="Meiryo UI" panose="020B0604030504040204" pitchFamily="50" charset="-128"/>
                          <a:ea typeface="Meiryo UI" panose="020B0604030504040204" pitchFamily="50" charset="-128"/>
                        </a:rPr>
                        <a:t>99.99</a:t>
                      </a:r>
                      <a:r>
                        <a:rPr kumimoji="1" lang="ja-JP" altLang="en-US" sz="1100" dirty="0" smtClean="0">
                          <a:latin typeface="Meiryo UI" panose="020B0604030504040204" pitchFamily="50" charset="-128"/>
                          <a:ea typeface="Meiryo UI" panose="020B0604030504040204" pitchFamily="50" charset="-128"/>
                        </a:rPr>
                        <a:t>％タイル時間</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2356535947"/>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時間あたりの登録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0,000</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159204009"/>
                  </a:ext>
                </a:extLst>
              </a:tr>
              <a:tr h="0">
                <a:tc rowSpan="3">
                  <a:txBody>
                    <a:bodyPr/>
                    <a:lstStyle/>
                    <a:p>
                      <a:pPr algn="ctr"/>
                      <a:r>
                        <a:rPr kumimoji="1" lang="ja-JP" altLang="en-US" sz="1100" dirty="0" smtClean="0">
                          <a:latin typeface="Meiryo UI" panose="020B0604030504040204" pitchFamily="50" charset="-128"/>
                          <a:ea typeface="Meiryo UI" panose="020B0604030504040204" pitchFamily="50" charset="-128"/>
                        </a:rPr>
                        <a:t>商品契約</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rowSpan="3">
                  <a:txBody>
                    <a:bodyPr/>
                    <a:lstStyle/>
                    <a:p>
                      <a:r>
                        <a:rPr kumimoji="1" lang="ja-JP" altLang="en-US" sz="1100" dirty="0" smtClean="0">
                          <a:latin typeface="Meiryo UI" panose="020B0604030504040204" pitchFamily="50" charset="-128"/>
                          <a:ea typeface="Meiryo UI" panose="020B0604030504040204" pitchFamily="50" charset="-128"/>
                        </a:rPr>
                        <a:t>契約情報登録</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平均時間</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2</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2578373231"/>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a:r>
                        <a:rPr kumimoji="1" lang="en-US" altLang="ja-JP" sz="1100" dirty="0" smtClean="0">
                          <a:latin typeface="Meiryo UI" panose="020B0604030504040204" pitchFamily="50" charset="-128"/>
                          <a:ea typeface="Meiryo UI" panose="020B0604030504040204" pitchFamily="50" charset="-128"/>
                        </a:rPr>
                        <a:t>99</a:t>
                      </a:r>
                      <a:r>
                        <a:rPr kumimoji="1" lang="ja-JP" altLang="en-US" sz="1100" dirty="0" smtClean="0">
                          <a:latin typeface="Meiryo UI" panose="020B0604030504040204" pitchFamily="50" charset="-128"/>
                          <a:ea typeface="Meiryo UI" panose="020B0604030504040204" pitchFamily="50" charset="-128"/>
                        </a:rPr>
                        <a:t>％タイル時間</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3</a:t>
                      </a:r>
                      <a:r>
                        <a:rPr kumimoji="1" lang="ja-JP" altLang="en-US" sz="1100" dirty="0" smtClean="0">
                          <a:latin typeface="Meiryo UI" panose="020B0604030504040204" pitchFamily="50" charset="-128"/>
                          <a:ea typeface="Meiryo UI" panose="020B0604030504040204" pitchFamily="50" charset="-128"/>
                        </a:rPr>
                        <a:t>秒以下</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4178966174"/>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時間あたりの登録数</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6,000</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2026144194"/>
                  </a:ext>
                </a:extLst>
              </a:tr>
              <a:tr h="0">
                <a:tc rowSpan="2">
                  <a:txBody>
                    <a:bodyPr/>
                    <a:lstStyle/>
                    <a:p>
                      <a:pPr algn="ctr"/>
                      <a:r>
                        <a:rPr kumimoji="1" lang="ja-JP" altLang="en-US" sz="1100" dirty="0" smtClean="0">
                          <a:latin typeface="Meiryo UI" panose="020B0604030504040204" pitchFamily="50" charset="-128"/>
                          <a:ea typeface="Meiryo UI" panose="020B0604030504040204" pitchFamily="50" charset="-128"/>
                        </a:rPr>
                        <a:t>料金計算</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rowSpan="2">
                  <a:txBody>
                    <a:bodyPr/>
                    <a:lstStyle/>
                    <a:p>
                      <a:r>
                        <a:rPr kumimoji="1" lang="ja-JP" altLang="en-US" sz="1100" dirty="0" smtClean="0">
                          <a:latin typeface="Meiryo UI" panose="020B0604030504040204" pitchFamily="50" charset="-128"/>
                          <a:ea typeface="Meiryo UI" panose="020B0604030504040204" pitchFamily="50" charset="-128"/>
                        </a:rPr>
                        <a:t>料金計算処理</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課金処理</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15</a:t>
                      </a:r>
                      <a:r>
                        <a:rPr kumimoji="1" lang="ja-JP" altLang="en-US" sz="1100" dirty="0" smtClean="0">
                          <a:latin typeface="Meiryo UI" panose="020B0604030504040204" pitchFamily="50" charset="-128"/>
                          <a:ea typeface="Meiryo UI" panose="020B0604030504040204" pitchFamily="50" charset="-128"/>
                        </a:rPr>
                        <a:t>分</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709873598"/>
                  </a:ext>
                </a:extLst>
              </a:tr>
              <a:tr h="0">
                <a:tc vMerge="1">
                  <a:txBody>
                    <a:bodyPr/>
                    <a:lstStyle/>
                    <a:p>
                      <a:pPr algn="ct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ja-JP" altLang="en-US" sz="1100" dirty="0" smtClean="0">
                          <a:latin typeface="Meiryo UI" panose="020B0604030504040204" pitchFamily="50" charset="-128"/>
                          <a:ea typeface="Meiryo UI" panose="020B0604030504040204" pitchFamily="50" charset="-128"/>
                        </a:rPr>
                        <a:t>課金確定</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tc>
                  <a:txBody>
                    <a:bodyPr/>
                    <a:lstStyle/>
                    <a:p>
                      <a:pPr algn="ctr"/>
                      <a:r>
                        <a:rPr kumimoji="1" lang="en-US" altLang="ja-JP" sz="1100" dirty="0" smtClean="0">
                          <a:latin typeface="Meiryo UI" panose="020B0604030504040204" pitchFamily="50" charset="-128"/>
                          <a:ea typeface="Meiryo UI" panose="020B0604030504040204" pitchFamily="50" charset="-128"/>
                        </a:rPr>
                        <a:t>2</a:t>
                      </a:r>
                      <a:r>
                        <a:rPr kumimoji="1" lang="ja-JP" altLang="en-US" sz="1100" dirty="0" smtClean="0">
                          <a:latin typeface="Meiryo UI" panose="020B0604030504040204" pitchFamily="50" charset="-128"/>
                          <a:ea typeface="Meiryo UI" panose="020B0604030504040204" pitchFamily="50" charset="-128"/>
                        </a:rPr>
                        <a:t>分</a:t>
                      </a:r>
                      <a:endParaRPr kumimoji="1" lang="ja-JP" altLang="en-US" sz="1100" dirty="0">
                        <a:latin typeface="Meiryo UI" panose="020B0604030504040204" pitchFamily="50" charset="-128"/>
                        <a:ea typeface="Meiryo UI" panose="020B0604030504040204" pitchFamily="50" charset="-128"/>
                      </a:endParaRPr>
                    </a:p>
                  </a:txBody>
                  <a:tcPr>
                    <a:solidFill>
                      <a:schemeClr val="bg1"/>
                    </a:solidFill>
                  </a:tcPr>
                </a:tc>
                <a:extLst>
                  <a:ext uri="{0D108BD9-81ED-4DB2-BD59-A6C34878D82A}">
                    <a16:rowId xmlns:a16="http://schemas.microsoft.com/office/drawing/2014/main" xmlns="" val="2293360212"/>
                  </a:ext>
                </a:extLst>
              </a:tr>
            </a:tbl>
          </a:graphicData>
        </a:graphic>
      </p:graphicFrame>
      <p:sp>
        <p:nvSpPr>
          <p:cNvPr id="8" name="正方形/長方形 7"/>
          <p:cNvSpPr/>
          <p:nvPr/>
        </p:nvSpPr>
        <p:spPr>
          <a:xfrm>
            <a:off x="272350" y="1194400"/>
            <a:ext cx="1107996" cy="270139"/>
          </a:xfrm>
          <a:prstGeom prst="rect">
            <a:avLst/>
          </a:prstGeom>
        </p:spPr>
        <p:txBody>
          <a:bodyPr wrap="none">
            <a:spAutoFit/>
          </a:bodyPr>
          <a:lstStyle/>
          <a:p>
            <a:pPr algn="l"/>
            <a:r>
              <a:rPr lang="ja-JP" altLang="en-US" dirty="0" smtClean="0">
                <a:latin typeface="BIZ UDPゴシック" panose="020B0400000000000000" pitchFamily="50" charset="-128"/>
                <a:ea typeface="BIZ UDPゴシック" panose="020B0400000000000000" pitchFamily="50" charset="-128"/>
              </a:rPr>
              <a:t>性能測定結果</a:t>
            </a:r>
            <a:endParaRPr lang="ja-JP" altLang="en-US" dirty="0"/>
          </a:p>
        </p:txBody>
      </p:sp>
    </p:spTree>
    <p:extLst>
      <p:ext uri="{BB962C8B-B14F-4D97-AF65-F5344CB8AC3E}">
        <p14:creationId xmlns:p14="http://schemas.microsoft.com/office/powerpoint/2010/main" val="28525927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性能測定結果レポート</a:t>
            </a:r>
            <a:endParaRPr lang="ja-JP" altLang="en-US" dirty="0">
              <a:cs typeface="Meiryo UI" pitchFamily="50" charset="-128"/>
            </a:endParaRPr>
          </a:p>
        </p:txBody>
      </p:sp>
      <p:sp>
        <p:nvSpPr>
          <p:cNvPr id="5" name="正方形/長方形 4"/>
          <p:cNvSpPr/>
          <p:nvPr/>
        </p:nvSpPr>
        <p:spPr>
          <a:xfrm>
            <a:off x="75887" y="762340"/>
            <a:ext cx="9485753" cy="960263"/>
          </a:xfrm>
          <a:prstGeom prst="rect">
            <a:avLst/>
          </a:prstGeom>
        </p:spPr>
        <p:txBody>
          <a:bodyPr wrap="square">
            <a:spAutoFit/>
          </a:bodyPr>
          <a:lstStyle/>
          <a:p>
            <a:pPr algn="l"/>
            <a:r>
              <a:rPr lang="ja-JP" altLang="en-US" dirty="0" smtClean="0">
                <a:latin typeface="BIZ UDPゴシック" panose="020B0400000000000000" pitchFamily="50" charset="-128"/>
                <a:ea typeface="BIZ UDPゴシック" panose="020B0400000000000000" pitchFamily="50" charset="-128"/>
              </a:rPr>
              <a:t>本資料では各モデル</a:t>
            </a:r>
            <a:endParaRPr lang="en-US" altLang="ja-JP" b="1" u="sng" dirty="0" smtClean="0">
              <a:latin typeface="BIZ UDPゴシック" panose="020B0400000000000000" pitchFamily="50" charset="-128"/>
              <a:ea typeface="BIZ UDPゴシック" panose="020B0400000000000000" pitchFamily="50" charset="-128"/>
            </a:endParaRPr>
          </a:p>
          <a:p>
            <a:pPr algn="l"/>
            <a:r>
              <a:rPr lang="ja-JP" altLang="en-US" b="1" u="sng" dirty="0" smtClean="0">
                <a:latin typeface="BIZ UDPゴシック" panose="020B0400000000000000" pitchFamily="50" charset="-128"/>
                <a:ea typeface="BIZ UDPゴシック" panose="020B0400000000000000" pitchFamily="50" charset="-128"/>
              </a:rPr>
              <a:t>認証（トークン取得について）</a:t>
            </a:r>
            <a:r>
              <a:rPr lang="en-US" altLang="ja-JP" dirty="0" smtClean="0">
                <a:latin typeface="BIZ UDPゴシック" panose="020B0400000000000000" pitchFamily="50" charset="-128"/>
                <a:ea typeface="BIZ UDPゴシック" panose="020B0400000000000000" pitchFamily="50" charset="-128"/>
              </a:rPr>
              <a:t/>
            </a:r>
            <a:br>
              <a:rPr lang="en-US" altLang="ja-JP" dirty="0" smtClean="0">
                <a:latin typeface="BIZ UDPゴシック" panose="020B0400000000000000" pitchFamily="50" charset="-128"/>
                <a:ea typeface="BIZ UDPゴシック" panose="020B0400000000000000" pitchFamily="50" charset="-128"/>
              </a:rPr>
            </a:br>
            <a:r>
              <a:rPr lang="ja-JP" altLang="en-US" dirty="0" smtClean="0">
                <a:latin typeface="BIZ UDPゴシック" panose="020B0400000000000000" pitchFamily="50" charset="-128"/>
                <a:ea typeface="BIZ UDPゴシック" panose="020B0400000000000000" pitchFamily="50" charset="-128"/>
              </a:rPr>
              <a:t>　・</a:t>
            </a:r>
            <a:r>
              <a:rPr lang="en-US" altLang="ja-JP" dirty="0" smtClean="0">
                <a:latin typeface="BIZ UDPゴシック" panose="020B0400000000000000" pitchFamily="50" charset="-128"/>
                <a:ea typeface="BIZ UDPゴシック" panose="020B0400000000000000" pitchFamily="50" charset="-128"/>
              </a:rPr>
              <a:t>99.99</a:t>
            </a:r>
            <a:r>
              <a:rPr lang="ja-JP" altLang="en-US" dirty="0">
                <a:latin typeface="BIZ UDPゴシック" panose="020B0400000000000000" pitchFamily="50" charset="-128"/>
                <a:ea typeface="BIZ UDPゴシック" panose="020B0400000000000000" pitchFamily="50" charset="-128"/>
              </a:rPr>
              <a:t>％タイルで</a:t>
            </a:r>
            <a:r>
              <a:rPr lang="en-US" altLang="ja-JP" dirty="0">
                <a:latin typeface="BIZ UDPゴシック" panose="020B0400000000000000" pitchFamily="50" charset="-128"/>
                <a:ea typeface="BIZ UDPゴシック" panose="020B0400000000000000" pitchFamily="50" charset="-128"/>
              </a:rPr>
              <a:t>1</a:t>
            </a:r>
            <a:r>
              <a:rPr lang="ja-JP" altLang="en-US" dirty="0">
                <a:latin typeface="BIZ UDPゴシック" panose="020B0400000000000000" pitchFamily="50" charset="-128"/>
                <a:ea typeface="BIZ UDPゴシック" panose="020B0400000000000000" pitchFamily="50" charset="-128"/>
              </a:rPr>
              <a:t>秒</a:t>
            </a:r>
            <a:r>
              <a:rPr lang="ja-JP" altLang="en-US" dirty="0" smtClean="0">
                <a:latin typeface="BIZ UDPゴシック" panose="020B0400000000000000" pitchFamily="50" charset="-128"/>
                <a:ea typeface="BIZ UDPゴシック" panose="020B0400000000000000" pitchFamily="50" charset="-128"/>
              </a:rPr>
              <a:t>以下で認証情報の参照が完了。</a:t>
            </a:r>
            <a:r>
              <a:rPr lang="en-US" altLang="ja-JP" dirty="0" smtClean="0">
                <a:latin typeface="BIZ UDPゴシック" panose="020B0400000000000000" pitchFamily="50" charset="-128"/>
                <a:ea typeface="BIZ UDPゴシック" panose="020B0400000000000000" pitchFamily="50" charset="-128"/>
              </a:rPr>
              <a:t/>
            </a:r>
            <a:br>
              <a:rPr lang="en-US" altLang="ja-JP" dirty="0" smtClean="0">
                <a:latin typeface="BIZ UDPゴシック" panose="020B0400000000000000" pitchFamily="50" charset="-128"/>
                <a:ea typeface="BIZ UDPゴシック" panose="020B0400000000000000" pitchFamily="50" charset="-128"/>
              </a:rPr>
            </a:br>
            <a:r>
              <a:rPr lang="ja-JP" altLang="en-US" dirty="0" smtClean="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全体平均は</a:t>
            </a:r>
            <a:r>
              <a:rPr lang="en-US" altLang="ja-JP" dirty="0">
                <a:latin typeface="BIZ UDPゴシック" panose="020B0400000000000000" pitchFamily="50" charset="-128"/>
                <a:ea typeface="BIZ UDPゴシック" panose="020B0400000000000000" pitchFamily="50" charset="-128"/>
              </a:rPr>
              <a:t>0.1</a:t>
            </a:r>
            <a:r>
              <a:rPr lang="ja-JP" altLang="en-US" dirty="0">
                <a:latin typeface="BIZ UDPゴシック" panose="020B0400000000000000" pitchFamily="50" charset="-128"/>
                <a:ea typeface="BIZ UDPゴシック" panose="020B0400000000000000" pitchFamily="50" charset="-128"/>
              </a:rPr>
              <a:t>秒以下で回答</a:t>
            </a:r>
          </a:p>
        </p:txBody>
      </p:sp>
      <p:graphicFrame>
        <p:nvGraphicFramePr>
          <p:cNvPr id="36" name="グラフ 35"/>
          <p:cNvGraphicFramePr>
            <a:graphicFrameLocks/>
          </p:cNvGraphicFramePr>
          <p:nvPr>
            <p:extLst/>
          </p:nvPr>
        </p:nvGraphicFramePr>
        <p:xfrm>
          <a:off x="272351" y="2706610"/>
          <a:ext cx="9397914" cy="38380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00769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各種</a:t>
            </a:r>
            <a:r>
              <a:rPr lang="en-US" altLang="ja-JP" dirty="0" smtClean="0">
                <a:cs typeface="Meiryo UI" pitchFamily="50" charset="-128"/>
              </a:rPr>
              <a:t>API</a:t>
            </a:r>
            <a:r>
              <a:rPr lang="ja-JP" altLang="en-US" dirty="0" smtClean="0">
                <a:cs typeface="Meiryo UI" pitchFamily="50" charset="-128"/>
              </a:rPr>
              <a:t>の測定結果について</a:t>
            </a:r>
            <a:endParaRPr lang="ja-JP" altLang="en-US" dirty="0">
              <a:cs typeface="Meiryo UI" pitchFamily="50" charset="-128"/>
            </a:endParaRPr>
          </a:p>
        </p:txBody>
      </p:sp>
      <p:sp>
        <p:nvSpPr>
          <p:cNvPr id="5" name="正方形/長方形 4"/>
          <p:cNvSpPr/>
          <p:nvPr/>
        </p:nvSpPr>
        <p:spPr>
          <a:xfrm>
            <a:off x="75887" y="762340"/>
            <a:ext cx="9485753" cy="650947"/>
          </a:xfrm>
          <a:prstGeom prst="rect">
            <a:avLst/>
          </a:prstGeom>
        </p:spPr>
        <p:txBody>
          <a:bodyPr wrap="square">
            <a:spAutoFit/>
          </a:bodyPr>
          <a:lstStyle/>
          <a:p>
            <a:pPr algn="l"/>
            <a:r>
              <a:rPr lang="ja-JP" altLang="en-US" sz="1100" b="1" u="sng" dirty="0" smtClean="0">
                <a:latin typeface="BIZ UDPゴシック" panose="020B0400000000000000" pitchFamily="50" charset="-128"/>
                <a:ea typeface="BIZ UDPゴシック" panose="020B0400000000000000" pitchFamily="50" charset="-128"/>
              </a:rPr>
              <a:t>顧客情報照会 （</a:t>
            </a:r>
            <a:r>
              <a:rPr lang="en-US" altLang="ja-JP" sz="1100" b="1" u="sng" dirty="0" err="1" smtClean="0">
                <a:latin typeface="BIZ UDPゴシック" panose="020B0400000000000000" pitchFamily="50" charset="-128"/>
                <a:ea typeface="BIZ UDPゴシック" panose="020B0400000000000000" pitchFamily="50" charset="-128"/>
              </a:rPr>
              <a:t>CustomerAccount</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b="1" u="sng" dirty="0" err="1" smtClean="0">
                <a:latin typeface="BIZ UDPゴシック" panose="020B0400000000000000" pitchFamily="50" charset="-128"/>
                <a:ea typeface="BIZ UDPゴシック" panose="020B0400000000000000" pitchFamily="50" charset="-128"/>
              </a:rPr>
              <a:t>BillingAccount</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b="1" u="sng" dirty="0" smtClean="0">
                <a:latin typeface="BIZ UDPゴシック" panose="020B0400000000000000" pitchFamily="50" charset="-128"/>
                <a:ea typeface="BIZ UDPゴシック" panose="020B0400000000000000" pitchFamily="50" charset="-128"/>
              </a:rPr>
              <a:t>Address</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en-US" altLang="ja-JP" sz="1100" dirty="0" smtClean="0">
                <a:latin typeface="BIZ UDPゴシック" panose="020B0400000000000000" pitchFamily="50" charset="-128"/>
                <a:ea typeface="BIZ UDPゴシック" panose="020B0400000000000000" pitchFamily="50" charset="-128"/>
              </a:rPr>
              <a:t>99.99</a:t>
            </a:r>
            <a:r>
              <a:rPr lang="ja-JP" altLang="en-US" sz="1100" dirty="0">
                <a:latin typeface="BIZ UDPゴシック" panose="020B0400000000000000" pitchFamily="50" charset="-128"/>
                <a:ea typeface="BIZ UDPゴシック" panose="020B0400000000000000" pitchFamily="50" charset="-128"/>
              </a:rPr>
              <a:t>％タイルで</a:t>
            </a:r>
            <a:r>
              <a:rPr lang="en-US" altLang="ja-JP" sz="1100" dirty="0">
                <a:latin typeface="BIZ UDPゴシック" panose="020B0400000000000000" pitchFamily="50" charset="-128"/>
                <a:ea typeface="BIZ UDPゴシック" panose="020B0400000000000000" pitchFamily="50" charset="-128"/>
              </a:rPr>
              <a:t>1</a:t>
            </a:r>
            <a:r>
              <a:rPr lang="ja-JP" altLang="en-US" sz="1100" dirty="0">
                <a:latin typeface="BIZ UDPゴシック" panose="020B0400000000000000" pitchFamily="50" charset="-128"/>
                <a:ea typeface="BIZ UDPゴシック" panose="020B0400000000000000" pitchFamily="50" charset="-128"/>
              </a:rPr>
              <a:t>秒</a:t>
            </a:r>
            <a:r>
              <a:rPr lang="ja-JP" altLang="en-US" sz="1100" dirty="0" smtClean="0">
                <a:latin typeface="BIZ UDPゴシック" panose="020B0400000000000000" pitchFamily="50" charset="-128"/>
                <a:ea typeface="BIZ UDPゴシック" panose="020B0400000000000000" pitchFamily="50" charset="-128"/>
              </a:rPr>
              <a:t>以下で顧客情報の照会が完了。</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ja-JP" altLang="en-US" sz="1100" dirty="0">
                <a:latin typeface="BIZ UDPゴシック" panose="020B0400000000000000" pitchFamily="50" charset="-128"/>
                <a:ea typeface="BIZ UDPゴシック" panose="020B0400000000000000" pitchFamily="50" charset="-128"/>
              </a:rPr>
              <a:t>全体平均は</a:t>
            </a:r>
            <a:r>
              <a:rPr lang="en-US" altLang="ja-JP" sz="1100" dirty="0">
                <a:latin typeface="BIZ UDPゴシック" panose="020B0400000000000000" pitchFamily="50" charset="-128"/>
                <a:ea typeface="BIZ UDPゴシック" panose="020B0400000000000000" pitchFamily="50" charset="-128"/>
              </a:rPr>
              <a:t>0.1</a:t>
            </a:r>
            <a:r>
              <a:rPr lang="ja-JP" altLang="en-US" sz="1100" dirty="0">
                <a:latin typeface="BIZ UDPゴシック" panose="020B0400000000000000" pitchFamily="50" charset="-128"/>
                <a:ea typeface="BIZ UDPゴシック" panose="020B0400000000000000" pitchFamily="50" charset="-128"/>
              </a:rPr>
              <a:t>秒以下で回答</a:t>
            </a:r>
          </a:p>
        </p:txBody>
      </p:sp>
      <p:graphicFrame>
        <p:nvGraphicFramePr>
          <p:cNvPr id="6" name="グラフ 5"/>
          <p:cNvGraphicFramePr>
            <a:graphicFrameLocks/>
          </p:cNvGraphicFramePr>
          <p:nvPr>
            <p:extLst>
              <p:ext uri="{D42A27DB-BD31-4B8C-83A1-F6EECF244321}">
                <p14:modId xmlns:p14="http://schemas.microsoft.com/office/powerpoint/2010/main" val="4275734099"/>
              </p:ext>
            </p:extLst>
          </p:nvPr>
        </p:nvGraphicFramePr>
        <p:xfrm>
          <a:off x="241807" y="1626460"/>
          <a:ext cx="9319833" cy="49185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3841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各種</a:t>
            </a:r>
            <a:r>
              <a:rPr lang="en-US" altLang="ja-JP" dirty="0" smtClean="0">
                <a:cs typeface="Meiryo UI" pitchFamily="50" charset="-128"/>
              </a:rPr>
              <a:t>API</a:t>
            </a:r>
            <a:r>
              <a:rPr lang="ja-JP" altLang="en-US" dirty="0" smtClean="0">
                <a:cs typeface="Meiryo UI" pitchFamily="50" charset="-128"/>
              </a:rPr>
              <a:t>の測定結果について</a:t>
            </a:r>
            <a:endParaRPr lang="ja-JP" altLang="en-US" dirty="0">
              <a:cs typeface="Meiryo UI" pitchFamily="50" charset="-128"/>
            </a:endParaRPr>
          </a:p>
        </p:txBody>
      </p:sp>
      <p:sp>
        <p:nvSpPr>
          <p:cNvPr id="5" name="正方形/長方形 4"/>
          <p:cNvSpPr/>
          <p:nvPr/>
        </p:nvSpPr>
        <p:spPr>
          <a:xfrm>
            <a:off x="75887" y="762340"/>
            <a:ext cx="9485753" cy="837152"/>
          </a:xfrm>
          <a:prstGeom prst="rect">
            <a:avLst/>
          </a:prstGeom>
        </p:spPr>
        <p:txBody>
          <a:bodyPr wrap="square">
            <a:spAutoFit/>
          </a:bodyPr>
          <a:lstStyle/>
          <a:p>
            <a:pPr algn="l"/>
            <a:r>
              <a:rPr lang="ja-JP" altLang="en-US" sz="1100" b="1" u="sng" dirty="0" smtClean="0">
                <a:latin typeface="BIZ UDPゴシック" panose="020B0400000000000000" pitchFamily="50" charset="-128"/>
                <a:ea typeface="BIZ UDPゴシック" panose="020B0400000000000000" pitchFamily="50" charset="-128"/>
              </a:rPr>
              <a:t>顧客情報登録 （</a:t>
            </a:r>
            <a:r>
              <a:rPr lang="en-US" altLang="ja-JP" sz="1100" b="1" u="sng" dirty="0" err="1" smtClean="0">
                <a:latin typeface="BIZ UDPゴシック" panose="020B0400000000000000" pitchFamily="50" charset="-128"/>
                <a:ea typeface="BIZ UDPゴシック" panose="020B0400000000000000" pitchFamily="50" charset="-128"/>
              </a:rPr>
              <a:t>CustomerAccount</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b="1" u="sng" dirty="0" err="1" smtClean="0">
                <a:latin typeface="BIZ UDPゴシック" panose="020B0400000000000000" pitchFamily="50" charset="-128"/>
                <a:ea typeface="BIZ UDPゴシック" panose="020B0400000000000000" pitchFamily="50" charset="-128"/>
              </a:rPr>
              <a:t>BillingAccount</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b="1" u="sng" dirty="0" smtClean="0">
                <a:latin typeface="BIZ UDPゴシック" panose="020B0400000000000000" pitchFamily="50" charset="-128"/>
                <a:ea typeface="BIZ UDPゴシック" panose="020B0400000000000000" pitchFamily="50" charset="-128"/>
              </a:rPr>
              <a:t>Address</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en-US" altLang="ja-JP" sz="1100" dirty="0">
                <a:latin typeface="BIZ UDPゴシック" panose="020B0400000000000000" pitchFamily="50" charset="-128"/>
                <a:ea typeface="BIZ UDPゴシック" panose="020B0400000000000000" pitchFamily="50" charset="-128"/>
              </a:rPr>
              <a:t>1</a:t>
            </a:r>
            <a:r>
              <a:rPr lang="ja-JP" altLang="en-US" sz="1100" dirty="0">
                <a:latin typeface="BIZ UDPゴシック" panose="020B0400000000000000" pitchFamily="50" charset="-128"/>
                <a:ea typeface="BIZ UDPゴシック" panose="020B0400000000000000" pitchFamily="50" charset="-128"/>
              </a:rPr>
              <a:t>時間</a:t>
            </a:r>
            <a:r>
              <a:rPr lang="ja-JP" altLang="en-US" sz="1100" dirty="0" smtClean="0">
                <a:latin typeface="BIZ UDPゴシック" panose="020B0400000000000000" pitchFamily="50" charset="-128"/>
                <a:ea typeface="BIZ UDPゴシック" panose="020B0400000000000000" pitchFamily="50" charset="-128"/>
              </a:rPr>
              <a:t>あたり</a:t>
            </a:r>
            <a:r>
              <a:rPr lang="en-US" altLang="ja-JP" sz="1100" dirty="0" smtClean="0">
                <a:latin typeface="BIZ UDPゴシック" panose="020B0400000000000000" pitchFamily="50" charset="-128"/>
                <a:ea typeface="BIZ UDPゴシック" panose="020B0400000000000000" pitchFamily="50" charset="-128"/>
              </a:rPr>
              <a:t>10,000</a:t>
            </a:r>
            <a:r>
              <a:rPr lang="ja-JP" altLang="en-US" sz="1100" dirty="0" smtClean="0">
                <a:latin typeface="BIZ UDPゴシック" panose="020B0400000000000000" pitchFamily="50" charset="-128"/>
                <a:ea typeface="BIZ UDPゴシック" panose="020B0400000000000000" pitchFamily="50" charset="-128"/>
              </a:rPr>
              <a:t>件の顧客を登録する前提のシナリオ</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en-US" altLang="ja-JP" sz="1100" dirty="0" smtClean="0">
                <a:latin typeface="BIZ UDPゴシック" panose="020B0400000000000000" pitchFamily="50" charset="-128"/>
                <a:ea typeface="BIZ UDPゴシック" panose="020B0400000000000000" pitchFamily="50" charset="-128"/>
              </a:rPr>
              <a:t>99.99</a:t>
            </a:r>
            <a:r>
              <a:rPr lang="ja-JP" altLang="en-US" sz="1100" dirty="0" smtClean="0">
                <a:latin typeface="BIZ UDPゴシック" panose="020B0400000000000000" pitchFamily="50" charset="-128"/>
                <a:ea typeface="BIZ UDPゴシック" panose="020B0400000000000000" pitchFamily="50" charset="-128"/>
              </a:rPr>
              <a:t>％タイルで</a:t>
            </a:r>
            <a:r>
              <a:rPr lang="en-US" altLang="ja-JP" sz="1100" dirty="0" smtClean="0">
                <a:latin typeface="BIZ UDPゴシック" panose="020B0400000000000000" pitchFamily="50" charset="-128"/>
                <a:ea typeface="BIZ UDPゴシック" panose="020B0400000000000000" pitchFamily="50" charset="-128"/>
              </a:rPr>
              <a:t>1</a:t>
            </a:r>
            <a:r>
              <a:rPr lang="ja-JP" altLang="en-US" sz="1100" dirty="0" smtClean="0">
                <a:latin typeface="BIZ UDPゴシック" panose="020B0400000000000000" pitchFamily="50" charset="-128"/>
                <a:ea typeface="BIZ UDPゴシック" panose="020B0400000000000000" pitchFamily="50" charset="-128"/>
              </a:rPr>
              <a:t>秒</a:t>
            </a:r>
            <a:r>
              <a:rPr lang="ja-JP" altLang="en-US" sz="1100" dirty="0" smtClean="0">
                <a:latin typeface="BIZ UDPゴシック" panose="020B0400000000000000" pitchFamily="50" charset="-128"/>
                <a:ea typeface="BIZ UDPゴシック" panose="020B0400000000000000" pitchFamily="50" charset="-128"/>
              </a:rPr>
              <a:t>以下にて顧客登録を完了</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全体平均は</a:t>
            </a:r>
            <a:r>
              <a:rPr lang="en-US" altLang="ja-JP" sz="1100" dirty="0" smtClean="0">
                <a:latin typeface="BIZ UDPゴシック" panose="020B0400000000000000" pitchFamily="50" charset="-128"/>
                <a:ea typeface="BIZ UDPゴシック" panose="020B0400000000000000" pitchFamily="50" charset="-128"/>
              </a:rPr>
              <a:t>0.8</a:t>
            </a:r>
            <a:r>
              <a:rPr lang="ja-JP" altLang="en-US" sz="1100" dirty="0" smtClean="0">
                <a:latin typeface="BIZ UDPゴシック" panose="020B0400000000000000" pitchFamily="50" charset="-128"/>
                <a:ea typeface="BIZ UDPゴシック" panose="020B0400000000000000" pitchFamily="50" charset="-128"/>
              </a:rPr>
              <a:t>秒以下で回答　　</a:t>
            </a:r>
            <a:r>
              <a:rPr lang="en-US" altLang="ja-JP" sz="1100" dirty="0">
                <a:solidFill>
                  <a:srgbClr val="FF0000"/>
                </a:solidFill>
                <a:latin typeface="Meiryo UI" panose="020B0604030504040204" pitchFamily="50" charset="-128"/>
                <a:ea typeface="Meiryo UI" panose="020B0604030504040204" pitchFamily="50" charset="-128"/>
              </a:rPr>
              <a:t>※</a:t>
            </a:r>
            <a:r>
              <a:rPr lang="en-US" altLang="ja-JP" sz="1100" dirty="0" smtClean="0">
                <a:solidFill>
                  <a:srgbClr val="FF0000"/>
                </a:solidFill>
                <a:latin typeface="Meiryo UI" panose="020B0604030504040204" pitchFamily="50" charset="-128"/>
                <a:ea typeface="Meiryo UI" panose="020B0604030504040204" pitchFamily="50" charset="-128"/>
              </a:rPr>
              <a:t>4API</a:t>
            </a:r>
            <a:r>
              <a:rPr lang="ja-JP" altLang="en-US" sz="1100" dirty="0" smtClean="0">
                <a:solidFill>
                  <a:srgbClr val="FF0000"/>
                </a:solidFill>
                <a:latin typeface="Meiryo UI" panose="020B0604030504040204" pitchFamily="50" charset="-128"/>
                <a:ea typeface="Meiryo UI" panose="020B0604030504040204" pitchFamily="50" charset="-128"/>
              </a:rPr>
              <a:t>をシリアルで発行した場合（</a:t>
            </a:r>
            <a:r>
              <a:rPr lang="ja-JP" altLang="en-US" sz="1100" dirty="0">
                <a:solidFill>
                  <a:srgbClr val="FF0000"/>
                </a:solidFill>
                <a:latin typeface="Meiryo UI" panose="020B0604030504040204" pitchFamily="50" charset="-128"/>
                <a:ea typeface="Meiryo UI" panose="020B0604030504040204" pitchFamily="50" charset="-128"/>
              </a:rPr>
              <a:t>住所登録、顧客登録、請求登録、支払方法登録</a:t>
            </a:r>
            <a:r>
              <a:rPr lang="ja-JP" altLang="en-US" sz="1100" dirty="0" smtClean="0">
                <a:solidFill>
                  <a:srgbClr val="FF0000"/>
                </a:solidFill>
                <a:latin typeface="Meiryo UI" panose="020B0604030504040204" pitchFamily="50" charset="-128"/>
                <a:ea typeface="Meiryo UI" panose="020B0604030504040204" pitchFamily="50" charset="-128"/>
              </a:rPr>
              <a:t>）</a:t>
            </a:r>
            <a:endParaRPr lang="en-US" altLang="ja-JP" sz="1100" dirty="0">
              <a:solidFill>
                <a:srgbClr val="FF0000"/>
              </a:solidFill>
              <a:latin typeface="Meiryo UI" panose="020B0604030504040204" pitchFamily="50" charset="-128"/>
              <a:ea typeface="Meiryo UI" panose="020B0604030504040204" pitchFamily="50" charset="-128"/>
            </a:endParaRPr>
          </a:p>
        </p:txBody>
      </p:sp>
      <p:graphicFrame>
        <p:nvGraphicFramePr>
          <p:cNvPr id="4" name="グラフ 3"/>
          <p:cNvGraphicFramePr>
            <a:graphicFrameLocks/>
          </p:cNvGraphicFramePr>
          <p:nvPr>
            <p:extLst>
              <p:ext uri="{D42A27DB-BD31-4B8C-83A1-F6EECF244321}">
                <p14:modId xmlns:p14="http://schemas.microsoft.com/office/powerpoint/2010/main" val="222018589"/>
              </p:ext>
            </p:extLst>
          </p:nvPr>
        </p:nvGraphicFramePr>
        <p:xfrm>
          <a:off x="488380" y="1743513"/>
          <a:ext cx="8713210" cy="51396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85624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defTabSz="684213"/>
            <a:r>
              <a:rPr lang="ja-JP" altLang="en-US" dirty="0" smtClean="0">
                <a:cs typeface="Meiryo UI" pitchFamily="50" charset="-128"/>
              </a:rPr>
              <a:t>各種</a:t>
            </a:r>
            <a:r>
              <a:rPr lang="en-US" altLang="ja-JP" dirty="0" smtClean="0">
                <a:cs typeface="Meiryo UI" pitchFamily="50" charset="-128"/>
              </a:rPr>
              <a:t>API</a:t>
            </a:r>
            <a:r>
              <a:rPr lang="ja-JP" altLang="en-US" dirty="0" smtClean="0">
                <a:cs typeface="Meiryo UI" pitchFamily="50" charset="-128"/>
              </a:rPr>
              <a:t>の測定結果について</a:t>
            </a:r>
            <a:endParaRPr lang="ja-JP" altLang="en-US" dirty="0">
              <a:cs typeface="Meiryo UI" pitchFamily="50" charset="-128"/>
            </a:endParaRPr>
          </a:p>
        </p:txBody>
      </p:sp>
      <p:sp>
        <p:nvSpPr>
          <p:cNvPr id="5" name="正方形/長方形 4"/>
          <p:cNvSpPr/>
          <p:nvPr/>
        </p:nvSpPr>
        <p:spPr>
          <a:xfrm>
            <a:off x="75887" y="762340"/>
            <a:ext cx="9485753" cy="1023357"/>
          </a:xfrm>
          <a:prstGeom prst="rect">
            <a:avLst/>
          </a:prstGeom>
        </p:spPr>
        <p:txBody>
          <a:bodyPr wrap="square">
            <a:spAutoFit/>
          </a:bodyPr>
          <a:lstStyle/>
          <a:p>
            <a:pPr algn="l"/>
            <a:r>
              <a:rPr lang="ja-JP" altLang="en-US" sz="1100" b="1" u="sng" dirty="0" smtClean="0">
                <a:latin typeface="BIZ UDPゴシック" panose="020B0400000000000000" pitchFamily="50" charset="-128"/>
                <a:ea typeface="BIZ UDPゴシック" panose="020B0400000000000000" pitchFamily="50" charset="-128"/>
              </a:rPr>
              <a:t>商品情報登録 （</a:t>
            </a:r>
            <a:r>
              <a:rPr lang="en-US" altLang="ja-JP" sz="1100" b="1" u="sng" dirty="0" err="1" smtClean="0">
                <a:latin typeface="BIZ UDPゴシック" panose="020B0400000000000000" pitchFamily="50" charset="-128"/>
                <a:ea typeface="BIZ UDPゴシック" panose="020B0400000000000000" pitchFamily="50" charset="-128"/>
              </a:rPr>
              <a:t>ServiceOrdering</a:t>
            </a:r>
            <a:r>
              <a:rPr lang="ja-JP" altLang="en-US" sz="1100" b="1" u="sng" dirty="0" smtClean="0">
                <a:latin typeface="BIZ UDPゴシック" panose="020B0400000000000000" pitchFamily="50" charset="-128"/>
                <a:ea typeface="BIZ UDPゴシック" panose="020B0400000000000000" pitchFamily="50" charset="-128"/>
              </a:rPr>
              <a:t>）</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en-US" altLang="ja-JP" sz="1100" dirty="0" smtClean="0">
                <a:latin typeface="BIZ UDPゴシック" panose="020B0400000000000000" pitchFamily="50" charset="-128"/>
                <a:ea typeface="BIZ UDPゴシック" panose="020B0400000000000000" pitchFamily="50" charset="-128"/>
              </a:rPr>
              <a:t>1</a:t>
            </a:r>
            <a:r>
              <a:rPr lang="ja-JP" altLang="en-US" sz="1100" dirty="0" smtClean="0">
                <a:latin typeface="BIZ UDPゴシック" panose="020B0400000000000000" pitchFamily="50" charset="-128"/>
                <a:ea typeface="BIZ UDPゴシック" panose="020B0400000000000000" pitchFamily="50" charset="-128"/>
              </a:rPr>
              <a:t>時間あたり</a:t>
            </a:r>
            <a:r>
              <a:rPr lang="en-US" altLang="ja-JP" sz="1100" dirty="0">
                <a:latin typeface="BIZ UDPゴシック" panose="020B0400000000000000" pitchFamily="50" charset="-128"/>
                <a:ea typeface="BIZ UDPゴシック" panose="020B0400000000000000" pitchFamily="50" charset="-128"/>
              </a:rPr>
              <a:t>6</a:t>
            </a:r>
            <a:r>
              <a:rPr lang="en-US" altLang="ja-JP" sz="1100" dirty="0" smtClean="0">
                <a:latin typeface="BIZ UDPゴシック" panose="020B0400000000000000" pitchFamily="50" charset="-128"/>
                <a:ea typeface="BIZ UDPゴシック" panose="020B0400000000000000" pitchFamily="50" charset="-128"/>
              </a:rPr>
              <a:t>,000</a:t>
            </a:r>
            <a:r>
              <a:rPr lang="ja-JP" altLang="en-US" sz="1100" dirty="0" smtClean="0">
                <a:latin typeface="BIZ UDPゴシック" panose="020B0400000000000000" pitchFamily="50" charset="-128"/>
                <a:ea typeface="BIZ UDPゴシック" panose="020B0400000000000000" pitchFamily="50" charset="-128"/>
              </a:rPr>
              <a:t>件の</a:t>
            </a:r>
            <a:r>
              <a:rPr lang="ja-JP" altLang="en-US" sz="1100" dirty="0">
                <a:latin typeface="BIZ UDPゴシック" panose="020B0400000000000000" pitchFamily="50" charset="-128"/>
                <a:ea typeface="BIZ UDPゴシック" panose="020B0400000000000000" pitchFamily="50" charset="-128"/>
              </a:rPr>
              <a:t>オーダ</a:t>
            </a:r>
            <a:r>
              <a:rPr lang="ja-JP" altLang="en-US" sz="1100" dirty="0" smtClean="0">
                <a:latin typeface="BIZ UDPゴシック" panose="020B0400000000000000" pitchFamily="50" charset="-128"/>
                <a:ea typeface="BIZ UDPゴシック" panose="020B0400000000000000" pitchFamily="50" charset="-128"/>
              </a:rPr>
              <a:t>がある前提のシナリオ</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a:latin typeface="BIZ UDPゴシック" panose="020B0400000000000000" pitchFamily="50" charset="-128"/>
                <a:ea typeface="BIZ UDPゴシック" panose="020B0400000000000000" pitchFamily="50" charset="-128"/>
              </a:rPr>
              <a:t>　</a:t>
            </a:r>
            <a:r>
              <a:rPr lang="ja-JP" altLang="en-US" sz="1100" dirty="0" smtClean="0">
                <a:latin typeface="BIZ UDPゴシック" panose="020B0400000000000000" pitchFamily="50" charset="-128"/>
                <a:ea typeface="BIZ UDPゴシック" panose="020B0400000000000000" pitchFamily="50" charset="-128"/>
              </a:rPr>
              <a:t>・</a:t>
            </a:r>
            <a:r>
              <a:rPr lang="en-US" altLang="ja-JP" sz="1100" dirty="0" smtClean="0">
                <a:latin typeface="BIZ UDPゴシック" panose="020B0400000000000000" pitchFamily="50" charset="-128"/>
                <a:ea typeface="BIZ UDPゴシック" panose="020B0400000000000000" pitchFamily="50" charset="-128"/>
              </a:rPr>
              <a:t>99</a:t>
            </a:r>
            <a:r>
              <a:rPr lang="ja-JP" altLang="en-US" sz="1100" dirty="0">
                <a:latin typeface="BIZ UDPゴシック" panose="020B0400000000000000" pitchFamily="50" charset="-128"/>
                <a:ea typeface="BIZ UDPゴシック" panose="020B0400000000000000" pitchFamily="50" charset="-128"/>
              </a:rPr>
              <a:t>％タイルで</a:t>
            </a:r>
            <a:r>
              <a:rPr lang="en-US" altLang="ja-JP" sz="1100" dirty="0">
                <a:latin typeface="BIZ UDPゴシック" panose="020B0400000000000000" pitchFamily="50" charset="-128"/>
                <a:ea typeface="BIZ UDPゴシック" panose="020B0400000000000000" pitchFamily="50" charset="-128"/>
              </a:rPr>
              <a:t>3</a:t>
            </a:r>
            <a:r>
              <a:rPr lang="ja-JP" altLang="en-US" sz="1100" dirty="0">
                <a:latin typeface="BIZ UDPゴシック" panose="020B0400000000000000" pitchFamily="50" charset="-128"/>
                <a:ea typeface="BIZ UDPゴシック" panose="020B0400000000000000" pitchFamily="50" charset="-128"/>
              </a:rPr>
              <a:t>秒</a:t>
            </a:r>
            <a:r>
              <a:rPr lang="ja-JP" altLang="en-US" sz="1100" dirty="0" smtClean="0">
                <a:latin typeface="BIZ UDPゴシック" panose="020B0400000000000000" pitchFamily="50" charset="-128"/>
                <a:ea typeface="BIZ UDPゴシック" panose="020B0400000000000000" pitchFamily="50" charset="-128"/>
              </a:rPr>
              <a:t>以下で</a:t>
            </a:r>
            <a:r>
              <a:rPr lang="ja-JP" altLang="en-US" sz="1100" dirty="0" smtClean="0">
                <a:latin typeface="BIZ UDPゴシック" panose="020B0400000000000000" pitchFamily="50" charset="-128"/>
                <a:ea typeface="BIZ UDPゴシック" panose="020B0400000000000000" pitchFamily="50" charset="-128"/>
              </a:rPr>
              <a:t>商品</a:t>
            </a:r>
            <a:r>
              <a:rPr lang="ja-JP" altLang="en-US" sz="1100" dirty="0">
                <a:latin typeface="BIZ UDPゴシック" panose="020B0400000000000000" pitchFamily="50" charset="-128"/>
                <a:ea typeface="BIZ UDPゴシック" panose="020B0400000000000000" pitchFamily="50" charset="-128"/>
              </a:rPr>
              <a:t>情報</a:t>
            </a:r>
            <a:r>
              <a:rPr lang="ja-JP" altLang="en-US" sz="1100" dirty="0" smtClean="0">
                <a:latin typeface="BIZ UDPゴシック" panose="020B0400000000000000" pitchFamily="50" charset="-128"/>
                <a:ea typeface="BIZ UDPゴシック" panose="020B0400000000000000" pitchFamily="50" charset="-128"/>
              </a:rPr>
              <a:t>の</a:t>
            </a:r>
            <a:r>
              <a:rPr lang="ja-JP" altLang="en-US" sz="1100" dirty="0">
                <a:latin typeface="BIZ UDPゴシック" panose="020B0400000000000000" pitchFamily="50" charset="-128"/>
                <a:ea typeface="BIZ UDPゴシック" panose="020B0400000000000000" pitchFamily="50" charset="-128"/>
              </a:rPr>
              <a:t>登録</a:t>
            </a:r>
            <a:r>
              <a:rPr lang="ja-JP" altLang="en-US" sz="1100" dirty="0" smtClean="0">
                <a:latin typeface="BIZ UDPゴシック" panose="020B0400000000000000" pitchFamily="50" charset="-128"/>
                <a:ea typeface="BIZ UDPゴシック" panose="020B0400000000000000" pitchFamily="50" charset="-128"/>
              </a:rPr>
              <a:t>が</a:t>
            </a:r>
            <a:r>
              <a:rPr lang="ja-JP" altLang="en-US" sz="1100" dirty="0">
                <a:latin typeface="BIZ UDPゴシック" panose="020B0400000000000000" pitchFamily="50" charset="-128"/>
                <a:ea typeface="BIZ UDPゴシック" panose="020B0400000000000000" pitchFamily="50" charset="-128"/>
              </a:rPr>
              <a:t>完了</a:t>
            </a:r>
            <a:r>
              <a:rPr lang="ja-JP" altLang="en-US" sz="1100" dirty="0" smtClean="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a:t>
            </a:r>
            <a:r>
              <a:rPr lang="en-US" altLang="ja-JP" sz="1100" dirty="0">
                <a:latin typeface="BIZ UDPゴシック" panose="020B0400000000000000" pitchFamily="50" charset="-128"/>
                <a:ea typeface="BIZ UDPゴシック" panose="020B0400000000000000" pitchFamily="50" charset="-128"/>
              </a:rPr>
              <a:t>98</a:t>
            </a:r>
            <a:r>
              <a:rPr lang="ja-JP" altLang="en-US" sz="1100" dirty="0">
                <a:latin typeface="BIZ UDPゴシック" panose="020B0400000000000000" pitchFamily="50" charset="-128"/>
                <a:ea typeface="BIZ UDPゴシック" panose="020B0400000000000000" pitchFamily="50" charset="-128"/>
              </a:rPr>
              <a:t>％タイルで</a:t>
            </a:r>
            <a:r>
              <a:rPr lang="en-US" altLang="ja-JP" sz="1100" dirty="0">
                <a:latin typeface="BIZ UDPゴシック" panose="020B0400000000000000" pitchFamily="50" charset="-128"/>
                <a:ea typeface="BIZ UDPゴシック" panose="020B0400000000000000" pitchFamily="50" charset="-128"/>
              </a:rPr>
              <a:t>2</a:t>
            </a:r>
            <a:r>
              <a:rPr lang="ja-JP" altLang="en-US" sz="1100" dirty="0">
                <a:latin typeface="BIZ UDPゴシック" panose="020B0400000000000000" pitchFamily="50" charset="-128"/>
                <a:ea typeface="BIZ UDPゴシック" panose="020B0400000000000000" pitchFamily="50" charset="-128"/>
              </a:rPr>
              <a:t>秒以下</a:t>
            </a:r>
            <a:r>
              <a:rPr lang="ja-JP" altLang="en-US" sz="1100" dirty="0" smtClean="0">
                <a:latin typeface="BIZ UDPゴシック" panose="020B0400000000000000" pitchFamily="50" charset="-128"/>
                <a:ea typeface="BIZ UDPゴシック" panose="020B0400000000000000" pitchFamily="50" charset="-128"/>
              </a:rPr>
              <a:t>）</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r>
              <a:rPr lang="ja-JP" altLang="en-US" sz="1100" dirty="0" smtClean="0">
                <a:latin typeface="BIZ UDPゴシック" panose="020B0400000000000000" pitchFamily="50" charset="-128"/>
                <a:ea typeface="BIZ UDPゴシック" panose="020B0400000000000000" pitchFamily="50" charset="-128"/>
              </a:rPr>
              <a:t>　・</a:t>
            </a:r>
            <a:r>
              <a:rPr lang="ja-JP" altLang="en-US" sz="1100" dirty="0">
                <a:latin typeface="BIZ UDPゴシック" panose="020B0400000000000000" pitchFamily="50" charset="-128"/>
                <a:ea typeface="BIZ UDPゴシック" panose="020B0400000000000000" pitchFamily="50" charset="-128"/>
              </a:rPr>
              <a:t>全体平均は</a:t>
            </a:r>
            <a:r>
              <a:rPr lang="en-US" altLang="ja-JP" sz="1100" dirty="0">
                <a:latin typeface="BIZ UDPゴシック" panose="020B0400000000000000" pitchFamily="50" charset="-128"/>
                <a:ea typeface="BIZ UDPゴシック" panose="020B0400000000000000" pitchFamily="50" charset="-128"/>
              </a:rPr>
              <a:t>1.2</a:t>
            </a:r>
            <a:r>
              <a:rPr lang="ja-JP" altLang="en-US" sz="1100" dirty="0">
                <a:latin typeface="BIZ UDPゴシック" panose="020B0400000000000000" pitchFamily="50" charset="-128"/>
                <a:ea typeface="BIZ UDPゴシック" panose="020B0400000000000000" pitchFamily="50" charset="-128"/>
              </a:rPr>
              <a:t>秒以下で回答　</a:t>
            </a:r>
            <a:r>
              <a:rPr lang="en-US" altLang="ja-JP" sz="1100" dirty="0">
                <a:latin typeface="BIZ UDPゴシック" panose="020B0400000000000000" pitchFamily="50" charset="-128"/>
                <a:ea typeface="BIZ UDPゴシック" panose="020B0400000000000000" pitchFamily="50" charset="-128"/>
              </a:rPr>
              <a:t>※</a:t>
            </a:r>
            <a:r>
              <a:rPr lang="ja-JP" altLang="en-US" sz="1100" dirty="0">
                <a:latin typeface="BIZ UDPゴシック" panose="020B0400000000000000" pitchFamily="50" charset="-128"/>
                <a:ea typeface="BIZ UDPゴシック" panose="020B0400000000000000" pitchFamily="50" charset="-128"/>
              </a:rPr>
              <a:t>非同期処理</a:t>
            </a:r>
            <a:r>
              <a:rPr lang="ja-JP" altLang="en-US" sz="1100" dirty="0" smtClean="0">
                <a:latin typeface="BIZ UDPゴシック" panose="020B0400000000000000" pitchFamily="50" charset="-128"/>
                <a:ea typeface="BIZ UDPゴシック" panose="020B0400000000000000" pitchFamily="50" charset="-128"/>
              </a:rPr>
              <a:t>含まず。非同期処理は順次実施となる</a:t>
            </a:r>
            <a:r>
              <a:rPr lang="en-US" altLang="ja-JP" sz="1100" dirty="0" smtClean="0">
                <a:latin typeface="BIZ UDPゴシック" panose="020B0400000000000000" pitchFamily="50" charset="-128"/>
                <a:ea typeface="BIZ UDPゴシック" panose="020B0400000000000000" pitchFamily="50" charset="-128"/>
              </a:rPr>
              <a:t/>
            </a:r>
            <a:br>
              <a:rPr lang="en-US" altLang="ja-JP" sz="1100" dirty="0" smtClean="0">
                <a:latin typeface="BIZ UDPゴシック" panose="020B0400000000000000" pitchFamily="50" charset="-128"/>
                <a:ea typeface="BIZ UDPゴシック" panose="020B0400000000000000" pitchFamily="50" charset="-128"/>
              </a:rPr>
            </a:br>
            <a:endParaRPr lang="ja-JP" altLang="en-US" sz="1100" dirty="0">
              <a:latin typeface="BIZ UDPゴシック" panose="020B0400000000000000" pitchFamily="50" charset="-128"/>
              <a:ea typeface="BIZ UDPゴシック" panose="020B0400000000000000" pitchFamily="50" charset="-128"/>
            </a:endParaRPr>
          </a:p>
        </p:txBody>
      </p:sp>
      <p:graphicFrame>
        <p:nvGraphicFramePr>
          <p:cNvPr id="6" name="グラフ 5"/>
          <p:cNvGraphicFramePr>
            <a:graphicFrameLocks/>
          </p:cNvGraphicFramePr>
          <p:nvPr>
            <p:extLst>
              <p:ext uri="{D42A27DB-BD31-4B8C-83A1-F6EECF244321}">
                <p14:modId xmlns:p14="http://schemas.microsoft.com/office/powerpoint/2010/main" val="3838944863"/>
              </p:ext>
            </p:extLst>
          </p:nvPr>
        </p:nvGraphicFramePr>
        <p:xfrm>
          <a:off x="291641" y="1482440"/>
          <a:ext cx="9344025" cy="56197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938025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3175">
          <a:solidFill>
            <a:schemeClr val="bg1">
              <a:lumMod val="50000"/>
            </a:schemeClr>
          </a:solidFill>
        </a:ln>
      </a:spPr>
      <a:bodyPr wrap="none" rtlCol="0" anchor="t">
        <a:noAutofit/>
      </a:bodyPr>
      <a:lstStyle>
        <a:defPPr algn="l">
          <a:defRPr kumimoji="1" smtClean="0">
            <a:latin typeface="BIZ UDPゴシック" panose="020B0400000000000000" pitchFamily="50" charset="-128"/>
            <a:ea typeface="BIZ UDPゴシック" panose="020B0400000000000000" pitchFamily="50" charset="-128"/>
          </a:defRPr>
        </a:defPPr>
      </a:lstStyle>
    </a:spDef>
    <a:txDef>
      <a:spPr>
        <a:noFill/>
      </a:spPr>
      <a:bodyPr wrap="none" lIns="36000" tIns="36000" rIns="36000" bIns="36000" rtlCol="0">
        <a:spAutoFit/>
      </a:bodyPr>
      <a:lstStyle>
        <a:defPPr algn="l">
          <a:defRPr kumimoji="1" sz="1400" smtClean="0">
            <a:latin typeface="BIZ UDPゴシック" panose="020B0400000000000000" pitchFamily="50" charset="-128"/>
            <a:ea typeface="BIZ UDPゴシック" panose="020B0400000000000000" pitchFamily="50" charset="-128"/>
          </a:defRPr>
        </a:defPPr>
      </a:lstStyle>
    </a:txDef>
  </a:objectDefaults>
  <a:extraClrSchemeLst/>
</a:theme>
</file>

<file path=ppt/theme/theme10.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bg1">
              <a:lumMod val="50000"/>
            </a:schemeClr>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3.xml><?xml version="1.0" encoding="utf-8"?>
<a:theme xmlns:a="http://schemas.openxmlformats.org/drawingml/2006/main" name="2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vert="horz" rtlCol="0" anchor="ctr"/>
      <a:lstStyle>
        <a:defPPr algn="ctr" defTabSz="990570">
          <a:defRPr kumimoji="1" sz="1600" dirty="0" smtClean="0">
            <a:latin typeface="Meiryo UI" panose="020B0604030504040204" pitchFamily="50" charset="-128"/>
            <a:ea typeface="Meiryo UI" panose="020B0604030504040204" pitchFamily="50" charset="-128"/>
          </a:defRPr>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4.xml><?xml version="1.0" encoding="utf-8"?>
<a:theme xmlns:a="http://schemas.openxmlformats.org/drawingml/2006/main" name="14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bg1">
              <a:lumMod val="50000"/>
            </a:schemeClr>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5.xml><?xml version="1.0" encoding="utf-8"?>
<a:theme xmlns:a="http://schemas.openxmlformats.org/drawingml/2006/main" name="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bg1">
              <a:lumMod val="50000"/>
            </a:schemeClr>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6.xml><?xml version="1.0" encoding="utf-8"?>
<a:theme xmlns:a="http://schemas.openxmlformats.org/drawingml/2006/main" name="3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bg1">
              <a:lumMod val="50000"/>
            </a:schemeClr>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7.xml><?xml version="1.0" encoding="utf-8"?>
<a:theme xmlns:a="http://schemas.openxmlformats.org/drawingml/2006/main" name="12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bg1">
              <a:lumMod val="50000"/>
            </a:schemeClr>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8.xml><?xml version="1.0" encoding="utf-8"?>
<a:theme xmlns:a="http://schemas.openxmlformats.org/drawingml/2006/main" name="4_ブルーライン有">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G丸ゴシ＋Verdana">
      <a:majorFont>
        <a:latin typeface="Verdana"/>
        <a:ea typeface="HG丸ｺﾞｼｯｸM-PRO"/>
        <a:cs typeface=""/>
      </a:majorFont>
      <a:minorFont>
        <a:latin typeface="Verdana"/>
        <a:ea typeface="HG丸ｺﾞｼｯｸM-PRO"/>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effectLst/>
      </a:spPr>
      <a:bodyPr rtlCol="0" anchor="ctr"/>
      <a:lstStyle>
        <a:defPPr algn="ctr">
          <a:defRPr sz="12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36000" tIns="36000" rIns="36000" bIns="36000" rtlCol="0">
        <a:spAutoFit/>
      </a:bodyPr>
      <a:lstStyle>
        <a:defPPr>
          <a:defRPr kumimoji="1" sz="1400" dirty="0"/>
        </a:defPPr>
      </a:lstStyle>
    </a:txDef>
  </a:objectDefaults>
  <a:extraClrSchemeLst/>
</a:theme>
</file>

<file path=ppt/theme/theme9.xml><?xml version="1.0" encoding="utf-8"?>
<a:theme xmlns:a="http://schemas.openxmlformats.org/drawingml/2006/main" name="1_PPTテンプレート（内部統制室ITガバナンス担当）_r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pPr>
      <a:bodyPr rtlCol="0" anchor="ctr"/>
      <a:lstStyle>
        <a:defPPr algn="ctr">
          <a:defRPr kumimoji="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97947B5818C294FA88796D06910F403" ma:contentTypeVersion="6" ma:contentTypeDescription="新しいドキュメントを作成します。" ma:contentTypeScope="" ma:versionID="c2ab9dae11ccd2244ed12e93493ab815">
  <xsd:schema xmlns:xsd="http://www.w3.org/2001/XMLSchema" xmlns:xs="http://www.w3.org/2001/XMLSchema" xmlns:p="http://schemas.microsoft.com/office/2006/metadata/properties" xmlns:ns1="http://schemas.microsoft.com/sharepoint/v3" xmlns:ns2="6f533454-383e-487b-97f9-8c81018a7b1c" targetNamespace="http://schemas.microsoft.com/office/2006/metadata/properties" ma:root="true" ma:fieldsID="06b15909bcbb55ac7b7f31c8a81469ce" ns1:_="" ns2:_="">
    <xsd:import namespace="http://schemas.microsoft.com/sharepoint/v3"/>
    <xsd:import namespace="6f533454-383e-487b-97f9-8c81018a7b1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533454-383e-487b-97f9-8c81018a7b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B344BAD-03F3-42ED-AEC1-AD696E4105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533454-383e-487b-97f9-8c81018a7b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BD94515-A99F-4035-B689-F57BDE4D052B}">
  <ds:schemaRefs>
    <ds:schemaRef ds:uri="http://schemas.microsoft.com/sharepoint/v3/contenttype/forms"/>
  </ds:schemaRefs>
</ds:datastoreItem>
</file>

<file path=customXml/itemProps3.xml><?xml version="1.0" encoding="utf-8"?>
<ds:datastoreItem xmlns:ds="http://schemas.openxmlformats.org/officeDocument/2006/customXml" ds:itemID="{DA626953-4A41-408B-B1D2-D22CD475BF57}">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41110</TotalTime>
  <Words>281</Words>
  <Application>Microsoft Office PowerPoint</Application>
  <PresentationFormat>ユーザー設定</PresentationFormat>
  <Paragraphs>85</Paragraphs>
  <Slides>6</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9</vt:i4>
      </vt:variant>
      <vt:variant>
        <vt:lpstr>埋め込まれた OLE サーバー</vt:lpstr>
      </vt:variant>
      <vt:variant>
        <vt:i4>1</vt:i4>
      </vt:variant>
      <vt:variant>
        <vt:lpstr>スライド タイトル</vt:lpstr>
      </vt:variant>
      <vt:variant>
        <vt:i4>6</vt:i4>
      </vt:variant>
    </vt:vector>
  </HeadingPairs>
  <TitlesOfParts>
    <vt:vector size="23" baseType="lpstr">
      <vt:lpstr>BIZ UDPゴシック</vt:lpstr>
      <vt:lpstr>HG丸ｺﾞｼｯｸM-PRO</vt:lpstr>
      <vt:lpstr>Meiryo UI</vt:lpstr>
      <vt:lpstr>ＭＳ Ｐゴシック</vt:lpstr>
      <vt:lpstr>Arial</vt:lpstr>
      <vt:lpstr>Verdana</vt:lpstr>
      <vt:lpstr>Wingdings</vt:lpstr>
      <vt:lpstr>21_ブルーライン有</vt:lpstr>
      <vt:lpstr>1_ブルーライン有</vt:lpstr>
      <vt:lpstr>2_ブルーライン有</vt:lpstr>
      <vt:lpstr>14_ブルーライン有</vt:lpstr>
      <vt:lpstr>ブルーライン有</vt:lpstr>
      <vt:lpstr>3_ブルーライン有</vt:lpstr>
      <vt:lpstr>12_ブルーライン有</vt:lpstr>
      <vt:lpstr>4_ブルーライン有</vt:lpstr>
      <vt:lpstr>1_PPTテンプレート（内部統制室ITガバナンス担当）_r2</vt:lpstr>
      <vt:lpstr>think-cell Slide</vt:lpstr>
      <vt:lpstr>性能測定結果レポート</vt:lpstr>
      <vt:lpstr>性能測定結果レポート</vt:lpstr>
      <vt:lpstr>性能測定結果レポート</vt:lpstr>
      <vt:lpstr>各種APIの測定結果について</vt:lpstr>
      <vt:lpstr>各種APIの測定結果について</vt:lpstr>
      <vt:lpstr>各種APIの測定結果について</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タイトル1</dc:title>
  <dc:creator>中嶋 奈穂</dc:creator>
  <cp:lastModifiedBy>布花原 一志</cp:lastModifiedBy>
  <cp:revision>1961</cp:revision>
  <cp:lastPrinted>2020-04-02T15:08:18Z</cp:lastPrinted>
  <dcterms:created xsi:type="dcterms:W3CDTF">1998-09-28T05:47:37Z</dcterms:created>
  <dcterms:modified xsi:type="dcterms:W3CDTF">2022-02-13T07:5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7947B5818C294FA88796D06910F403</vt:lpwstr>
  </property>
</Properties>
</file>